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5" r:id="rId4"/>
    <p:sldMasterId id="2147483676" r:id="rId5"/>
  </p:sldMasterIdLst>
  <p:notesMasterIdLst>
    <p:notesMasterId r:id="rId101"/>
  </p:notesMasterIdLst>
  <p:sldIdLst>
    <p:sldId id="256" r:id="rId6"/>
    <p:sldId id="287" r:id="rId7"/>
    <p:sldId id="347" r:id="rId8"/>
    <p:sldId id="319" r:id="rId9"/>
    <p:sldId id="325" r:id="rId10"/>
    <p:sldId id="326" r:id="rId11"/>
    <p:sldId id="329" r:id="rId12"/>
    <p:sldId id="327" r:id="rId13"/>
    <p:sldId id="328" r:id="rId14"/>
    <p:sldId id="330" r:id="rId15"/>
    <p:sldId id="331" r:id="rId16"/>
    <p:sldId id="332" r:id="rId17"/>
    <p:sldId id="333" r:id="rId18"/>
    <p:sldId id="345" r:id="rId19"/>
    <p:sldId id="346" r:id="rId20"/>
    <p:sldId id="334" r:id="rId21"/>
    <p:sldId id="337" r:id="rId22"/>
    <p:sldId id="310" r:id="rId23"/>
    <p:sldId id="344" r:id="rId24"/>
    <p:sldId id="312" r:id="rId25"/>
    <p:sldId id="340" r:id="rId26"/>
    <p:sldId id="339" r:id="rId27"/>
    <p:sldId id="358" r:id="rId28"/>
    <p:sldId id="360" r:id="rId29"/>
    <p:sldId id="359" r:id="rId30"/>
    <p:sldId id="363" r:id="rId31"/>
    <p:sldId id="362" r:id="rId32"/>
    <p:sldId id="349" r:id="rId33"/>
    <p:sldId id="356" r:id="rId34"/>
    <p:sldId id="351" r:id="rId35"/>
    <p:sldId id="350" r:id="rId36"/>
    <p:sldId id="355" r:id="rId37"/>
    <p:sldId id="352" r:id="rId38"/>
    <p:sldId id="357" r:id="rId39"/>
    <p:sldId id="365" r:id="rId40"/>
    <p:sldId id="366" r:id="rId41"/>
    <p:sldId id="367" r:id="rId42"/>
    <p:sldId id="368" r:id="rId43"/>
    <p:sldId id="348" r:id="rId44"/>
    <p:sldId id="341" r:id="rId45"/>
    <p:sldId id="314" r:id="rId46"/>
    <p:sldId id="316" r:id="rId47"/>
    <p:sldId id="318" r:id="rId48"/>
    <p:sldId id="323" r:id="rId49"/>
    <p:sldId id="258" r:id="rId50"/>
    <p:sldId id="259" r:id="rId51"/>
    <p:sldId id="260" r:id="rId52"/>
    <p:sldId id="261" r:id="rId53"/>
    <p:sldId id="262" r:id="rId54"/>
    <p:sldId id="263" r:id="rId55"/>
    <p:sldId id="264" r:id="rId56"/>
    <p:sldId id="265" r:id="rId57"/>
    <p:sldId id="266" r:id="rId58"/>
    <p:sldId id="267" r:id="rId59"/>
    <p:sldId id="268" r:id="rId60"/>
    <p:sldId id="269" r:id="rId61"/>
    <p:sldId id="270" r:id="rId62"/>
    <p:sldId id="271" r:id="rId63"/>
    <p:sldId id="272" r:id="rId64"/>
    <p:sldId id="273" r:id="rId65"/>
    <p:sldId id="274" r:id="rId66"/>
    <p:sldId id="275" r:id="rId67"/>
    <p:sldId id="276" r:id="rId68"/>
    <p:sldId id="277" r:id="rId69"/>
    <p:sldId id="278" r:id="rId70"/>
    <p:sldId id="279" r:id="rId71"/>
    <p:sldId id="280" r:id="rId72"/>
    <p:sldId id="281" r:id="rId73"/>
    <p:sldId id="282" r:id="rId74"/>
    <p:sldId id="283" r:id="rId75"/>
    <p:sldId id="284" r:id="rId76"/>
    <p:sldId id="285" r:id="rId77"/>
    <p:sldId id="286" r:id="rId78"/>
    <p:sldId id="288" r:id="rId79"/>
    <p:sldId id="289" r:id="rId80"/>
    <p:sldId id="290" r:id="rId81"/>
    <p:sldId id="291" r:id="rId82"/>
    <p:sldId id="292" r:id="rId83"/>
    <p:sldId id="293" r:id="rId84"/>
    <p:sldId id="294" r:id="rId85"/>
    <p:sldId id="295" r:id="rId86"/>
    <p:sldId id="296" r:id="rId87"/>
    <p:sldId id="297" r:id="rId88"/>
    <p:sldId id="298" r:id="rId89"/>
    <p:sldId id="299" r:id="rId90"/>
    <p:sldId id="300" r:id="rId91"/>
    <p:sldId id="301" r:id="rId92"/>
    <p:sldId id="302" r:id="rId93"/>
    <p:sldId id="303" r:id="rId94"/>
    <p:sldId id="304" r:id="rId95"/>
    <p:sldId id="305" r:id="rId96"/>
    <p:sldId id="306" r:id="rId97"/>
    <p:sldId id="307" r:id="rId98"/>
    <p:sldId id="308" r:id="rId99"/>
    <p:sldId id="364" r:id="rId100"/>
  </p:sldIdLst>
  <p:sldSz cx="9144000" cy="5143500" type="screen16x9"/>
  <p:notesSz cx="6858000" cy="9144000"/>
  <p:embeddedFontLst>
    <p:embeddedFont>
      <p:font typeface="Amatic SC" panose="020B0604020202020204" charset="-79"/>
      <p:regular r:id="rId102"/>
      <p:bold r:id="rId103"/>
    </p:embeddedFont>
    <p:embeddedFont>
      <p:font typeface="Consolas" panose="020B0609020204030204" pitchFamily="49" charset="0"/>
      <p:regular r:id="rId104"/>
      <p:bold r:id="rId105"/>
      <p:italic r:id="rId106"/>
      <p:boldItalic r:id="rId107"/>
    </p:embeddedFont>
    <p:embeddedFont>
      <p:font typeface="Helvetica" panose="020B0604020202020204" pitchFamily="34" charset="0"/>
      <p:regular r:id="rId108"/>
      <p:bold r:id="rId109"/>
      <p:italic r:id="rId110"/>
      <p:boldItalic r:id="rId111"/>
    </p:embeddedFont>
    <p:embeddedFont>
      <p:font typeface="Montserrat" panose="020B0604020202020204" charset="0"/>
      <p:regular r:id="rId112"/>
      <p:bold r:id="rId113"/>
      <p:italic r:id="rId114"/>
      <p:boldItalic r:id="rId115"/>
    </p:embeddedFont>
    <p:embeddedFont>
      <p:font typeface="Roboto Medium" panose="020B0604020202020204" charset="0"/>
      <p:regular r:id="rId116"/>
      <p:bold r:id="rId117"/>
      <p:italic r:id="rId118"/>
      <p:boldItalic r:id="rId119"/>
    </p:embeddedFont>
    <p:embeddedFont>
      <p:font typeface="Roboto Slab" panose="020B0604020202020204" charset="0"/>
      <p:regular r:id="rId120"/>
      <p:bold r:id="rId12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0A0B02FC-7054-4A41-ADA9-DDE2A5A1DB08}">
          <p14:sldIdLst>
            <p14:sldId id="256"/>
          </p14:sldIdLst>
        </p14:section>
        <p14:section name="Front End &amp; UI" id="{6FA2B2FA-E457-9D4B-B2D3-57627568692A}">
          <p14:sldIdLst>
            <p14:sldId id="287"/>
            <p14:sldId id="347"/>
            <p14:sldId id="319"/>
            <p14:sldId id="325"/>
            <p14:sldId id="326"/>
            <p14:sldId id="329"/>
            <p14:sldId id="327"/>
            <p14:sldId id="328"/>
            <p14:sldId id="330"/>
            <p14:sldId id="331"/>
            <p14:sldId id="332"/>
            <p14:sldId id="333"/>
            <p14:sldId id="345"/>
            <p14:sldId id="346"/>
            <p14:sldId id="334"/>
            <p14:sldId id="337"/>
          </p14:sldIdLst>
        </p14:section>
        <p14:section name="Interaktionsmodalitäten, Output und Output formateng" id="{3979BB0F-7516-462E-B999-A598CACC92EB}">
          <p14:sldIdLst>
            <p14:sldId id="310"/>
            <p14:sldId id="344"/>
            <p14:sldId id="312"/>
            <p14:sldId id="340"/>
            <p14:sldId id="339"/>
            <p14:sldId id="358"/>
            <p14:sldId id="360"/>
            <p14:sldId id="359"/>
            <p14:sldId id="363"/>
            <p14:sldId id="362"/>
            <p14:sldId id="349"/>
            <p14:sldId id="356"/>
            <p14:sldId id="351"/>
            <p14:sldId id="350"/>
            <p14:sldId id="355"/>
            <p14:sldId id="352"/>
            <p14:sldId id="357"/>
            <p14:sldId id="365"/>
            <p14:sldId id="366"/>
            <p14:sldId id="367"/>
            <p14:sldId id="368"/>
            <p14:sldId id="348"/>
            <p14:sldId id="341"/>
            <p14:sldId id="314"/>
            <p14:sldId id="316"/>
            <p14:sldId id="318"/>
            <p14:sldId id="323"/>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8"/>
            <p14:sldId id="289"/>
            <p14:sldId id="290"/>
            <p14:sldId id="291"/>
            <p14:sldId id="292"/>
            <p14:sldId id="293"/>
            <p14:sldId id="294"/>
            <p14:sldId id="295"/>
            <p14:sldId id="296"/>
            <p14:sldId id="297"/>
            <p14:sldId id="298"/>
            <p14:sldId id="299"/>
            <p14:sldId id="300"/>
            <p14:sldId id="301"/>
            <p14:sldId id="302"/>
            <p14:sldId id="303"/>
            <p14:sldId id="304"/>
            <p14:sldId id="305"/>
            <p14:sldId id="306"/>
            <p14:sldId id="307"/>
            <p14:sldId id="308"/>
            <p14:sldId id="36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D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DF278D-A61D-5B6C-2A3E-FBCA501C4399}" v="353" dt="2025-01-12T20:59:03.452"/>
    <p1510:client id="{83CCD963-C46C-63FC-D42A-430C31DCFDCE}" v="614" dt="2025-01-12T22:42:06.493"/>
    <p1510:client id="{8FB0C48C-738F-52F7-E3C7-903881CCAF3E}" v="119" dt="2025-01-13T11:45:11.263"/>
    <p1510:client id="{B24960FC-0675-C245-B57C-DBBD58239436}" v="780" dt="2025-01-12T14:07:59.300"/>
    <p1510:client id="{F1C77EFE-4245-9044-8274-3EB2A93CECE4}" v="139" dt="2025-01-12T13:41:18.364"/>
  </p1510:revLst>
</p1510:revInfo>
</file>

<file path=ppt/tableStyles.xml><?xml version="1.0" encoding="utf-8"?>
<a:tblStyleLst xmlns:a="http://schemas.openxmlformats.org/drawingml/2006/main" def="{0D388EE7-05B4-4AC6-A653-FD656CC95793}">
  <a:tblStyle styleId="{0D388EE7-05B4-4AC6-A653-FD656CC95793}"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font" Target="fonts/font16.fntdata"/><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font" Target="fonts/font11.fntdata"/><Relationship Id="rId16" Type="http://schemas.openxmlformats.org/officeDocument/2006/relationships/slide" Target="slides/slide11.xml"/><Relationship Id="rId107" Type="http://schemas.openxmlformats.org/officeDocument/2006/relationships/font" Target="fonts/font6.fntdata"/><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font" Target="fonts/font1.fntdata"/><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font" Target="fonts/font12.fntdata"/><Relationship Id="rId118" Type="http://schemas.openxmlformats.org/officeDocument/2006/relationships/font" Target="fonts/font17.fntdata"/><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font" Target="fonts/font2.fntdata"/><Relationship Id="rId108" Type="http://schemas.openxmlformats.org/officeDocument/2006/relationships/font" Target="fonts/font7.fntdata"/><Relationship Id="rId124" Type="http://schemas.openxmlformats.org/officeDocument/2006/relationships/theme" Target="theme/theme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font" Target="fonts/font13.fntdata"/><Relationship Id="rId119" Type="http://schemas.openxmlformats.org/officeDocument/2006/relationships/font" Target="fonts/font18.fntdata"/><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font" Target="fonts/font8.fntdata"/><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font" Target="fonts/font3.fntdata"/><Relationship Id="rId120" Type="http://schemas.openxmlformats.org/officeDocument/2006/relationships/font" Target="fonts/font19.fntdata"/><Relationship Id="rId125"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font" Target="fonts/font9.fntdata"/><Relationship Id="rId115" Type="http://schemas.openxmlformats.org/officeDocument/2006/relationships/font" Target="fonts/font14.fntdata"/><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font" Target="fonts/font4.fntdata"/><Relationship Id="rId12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font" Target="fonts/font20.fntdata"/><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font" Target="fonts/font15.fntdata"/><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font" Target="fonts/font10.fntdata"/><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font" Target="fonts/font5.fntdata"/><Relationship Id="rId12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notesMaster" Target="notesMasters/notesMaster1.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yatas, Sinem" userId="5031fa3d-1ae0-41de-83a0-488c250e9385" providerId="ADAL" clId="{96397F04-CCE5-4020-B186-2D9A2210B422}"/>
    <pc:docChg chg="undo custSel addSld delSld modSld sldOrd modSection">
      <pc:chgData name="Kayatas, Sinem" userId="5031fa3d-1ae0-41de-83a0-488c250e9385" providerId="ADAL" clId="{96397F04-CCE5-4020-B186-2D9A2210B422}" dt="2025-01-10T20:08:29.452" v="404" actId="2696"/>
      <pc:docMkLst>
        <pc:docMk/>
      </pc:docMkLst>
      <pc:sldChg chg="modSp mod">
        <pc:chgData name="Kayatas, Sinem" userId="5031fa3d-1ae0-41de-83a0-488c250e9385" providerId="ADAL" clId="{96397F04-CCE5-4020-B186-2D9A2210B422}" dt="2025-01-10T19:30:41.280" v="31" actId="1076"/>
        <pc:sldMkLst>
          <pc:docMk/>
          <pc:sldMk cId="2431215773" sldId="310"/>
        </pc:sldMkLst>
        <pc:graphicFrameChg chg="mod modGraphic">
          <ac:chgData name="Kayatas, Sinem" userId="5031fa3d-1ae0-41de-83a0-488c250e9385" providerId="ADAL" clId="{96397F04-CCE5-4020-B186-2D9A2210B422}" dt="2025-01-10T19:30:41.280" v="31" actId="1076"/>
          <ac:graphicFrameMkLst>
            <pc:docMk/>
            <pc:sldMk cId="2431215773" sldId="310"/>
            <ac:graphicFrameMk id="4" creationId="{DA01CDC7-59BA-2282-532A-E25EFC7C205A}"/>
          </ac:graphicFrameMkLst>
        </pc:graphicFrameChg>
      </pc:sldChg>
      <pc:sldChg chg="add mod ord modShow">
        <pc:chgData name="Kayatas, Sinem" userId="5031fa3d-1ae0-41de-83a0-488c250e9385" providerId="ADAL" clId="{96397F04-CCE5-4020-B186-2D9A2210B422}" dt="2025-01-10T19:19:58.584" v="5" actId="729"/>
        <pc:sldMkLst>
          <pc:docMk/>
          <pc:sldMk cId="426449635" sldId="341"/>
        </pc:sldMkLst>
      </pc:sldChg>
      <pc:sldChg chg="addSp delSp modSp new del mod">
        <pc:chgData name="Kayatas, Sinem" userId="5031fa3d-1ae0-41de-83a0-488c250e9385" providerId="ADAL" clId="{96397F04-CCE5-4020-B186-2D9A2210B422}" dt="2025-01-10T20:08:29.452" v="404" actId="2696"/>
        <pc:sldMkLst>
          <pc:docMk/>
          <pc:sldMk cId="2211911664" sldId="342"/>
        </pc:sldMkLst>
      </pc:sldChg>
      <pc:sldChg chg="addSp delSp modSp new mod">
        <pc:chgData name="Kayatas, Sinem" userId="5031fa3d-1ae0-41de-83a0-488c250e9385" providerId="ADAL" clId="{96397F04-CCE5-4020-B186-2D9A2210B422}" dt="2025-01-10T20:00:15.854" v="302" actId="20577"/>
        <pc:sldMkLst>
          <pc:docMk/>
          <pc:sldMk cId="2293985569" sldId="343"/>
        </pc:sldMkLst>
      </pc:sldChg>
      <pc:sldChg chg="addSp delSp modSp add mod modClrScheme chgLayout">
        <pc:chgData name="Kayatas, Sinem" userId="5031fa3d-1ae0-41de-83a0-488c250e9385" providerId="ADAL" clId="{96397F04-CCE5-4020-B186-2D9A2210B422}" dt="2025-01-10T20:08:16.153" v="403" actId="14100"/>
        <pc:sldMkLst>
          <pc:docMk/>
          <pc:sldMk cId="2736734302" sldId="344"/>
        </pc:sldMkLst>
        <pc:spChg chg="mod">
          <ac:chgData name="Kayatas, Sinem" userId="5031fa3d-1ae0-41de-83a0-488c250e9385" providerId="ADAL" clId="{96397F04-CCE5-4020-B186-2D9A2210B422}" dt="2025-01-10T20:05:50.869" v="335" actId="26606"/>
          <ac:spMkLst>
            <pc:docMk/>
            <pc:sldMk cId="2736734302" sldId="344"/>
            <ac:spMk id="2" creationId="{F7A7FD66-C2FA-39BE-E43A-19A316D80EB7}"/>
          </ac:spMkLst>
        </pc:spChg>
        <pc:spChg chg="add mod">
          <ac:chgData name="Kayatas, Sinem" userId="5031fa3d-1ae0-41de-83a0-488c250e9385" providerId="ADAL" clId="{96397F04-CCE5-4020-B186-2D9A2210B422}" dt="2025-01-10T20:08:16.153" v="403" actId="14100"/>
          <ac:spMkLst>
            <pc:docMk/>
            <pc:sldMk cId="2736734302" sldId="344"/>
            <ac:spMk id="4" creationId="{DA566AAE-966C-3A3F-3343-22FDDFB1C2D9}"/>
          </ac:spMkLst>
        </pc:spChg>
        <pc:spChg chg="mod">
          <ac:chgData name="Kayatas, Sinem" userId="5031fa3d-1ae0-41de-83a0-488c250e9385" providerId="ADAL" clId="{96397F04-CCE5-4020-B186-2D9A2210B422}" dt="2025-01-10T20:05:50.869" v="335" actId="26606"/>
          <ac:spMkLst>
            <pc:docMk/>
            <pc:sldMk cId="2736734302" sldId="344"/>
            <ac:spMk id="5" creationId="{2937E42F-C8E4-4276-5BAB-C3963A3E026D}"/>
          </ac:spMkLst>
        </pc:spChg>
        <pc:spChg chg="add mod ord">
          <ac:chgData name="Kayatas, Sinem" userId="5031fa3d-1ae0-41de-83a0-488c250e9385" providerId="ADAL" clId="{96397F04-CCE5-4020-B186-2D9A2210B422}" dt="2025-01-10T20:08:05.834" v="401" actId="14100"/>
          <ac:spMkLst>
            <pc:docMk/>
            <pc:sldMk cId="2736734302" sldId="344"/>
            <ac:spMk id="8" creationId="{D4E8B3BE-232D-9192-7F65-CB945C3249D7}"/>
          </ac:spMkLst>
        </pc:spChg>
        <pc:spChg chg="add mod">
          <ac:chgData name="Kayatas, Sinem" userId="5031fa3d-1ae0-41de-83a0-488c250e9385" providerId="ADAL" clId="{96397F04-CCE5-4020-B186-2D9A2210B422}" dt="2025-01-10T20:07:45.223" v="391" actId="1076"/>
          <ac:spMkLst>
            <pc:docMk/>
            <pc:sldMk cId="2736734302" sldId="344"/>
            <ac:spMk id="9" creationId="{30C834D9-23E7-27D2-B461-8C7E64586AB7}"/>
          </ac:spMkLst>
        </pc:spChg>
        <pc:spChg chg="add mod">
          <ac:chgData name="Kayatas, Sinem" userId="5031fa3d-1ae0-41de-83a0-488c250e9385" providerId="ADAL" clId="{96397F04-CCE5-4020-B186-2D9A2210B422}" dt="2025-01-10T20:08:11.359" v="402" actId="14100"/>
          <ac:spMkLst>
            <pc:docMk/>
            <pc:sldMk cId="2736734302" sldId="344"/>
            <ac:spMk id="10" creationId="{59C3658E-7E7E-B1FE-4584-0AF65CFF722D}"/>
          </ac:spMkLst>
        </pc:spChg>
      </pc:sldChg>
    </pc:docChg>
  </pc:docChgLst>
  <pc:docChgLst>
    <pc:chgData name="Kayatas, Sinem (710)" userId="S::sinem.kayatas_daimlertruck.com#ext#@reutlingenuniversityde.onmicrosoft.com::768514dd-3739-4567-98cf-64d896456353" providerId="AD" clId="Web-{20C8009E-92B0-4373-8E1E-C6504EBEFB8D}"/>
    <pc:docChg chg="addSld modSld modSection">
      <pc:chgData name="Kayatas, Sinem (710)" userId="S::sinem.kayatas_daimlertruck.com#ext#@reutlingenuniversityde.onmicrosoft.com::768514dd-3739-4567-98cf-64d896456353" providerId="AD" clId="Web-{20C8009E-92B0-4373-8E1E-C6504EBEFB8D}" dt="2025-01-10T14:27:19.994" v="66"/>
      <pc:docMkLst>
        <pc:docMk/>
      </pc:docMkLst>
      <pc:sldChg chg="modSp">
        <pc:chgData name="Kayatas, Sinem (710)" userId="S::sinem.kayatas_daimlertruck.com#ext#@reutlingenuniversityde.onmicrosoft.com::768514dd-3739-4567-98cf-64d896456353" providerId="AD" clId="Web-{20C8009E-92B0-4373-8E1E-C6504EBEFB8D}" dt="2025-01-10T14:27:19.994" v="66"/>
        <pc:sldMkLst>
          <pc:docMk/>
          <pc:sldMk cId="2517486238" sldId="312"/>
        </pc:sldMkLst>
        <pc:graphicFrameChg chg="mod modGraphic">
          <ac:chgData name="Kayatas, Sinem (710)" userId="S::sinem.kayatas_daimlertruck.com#ext#@reutlingenuniversityde.onmicrosoft.com::768514dd-3739-4567-98cf-64d896456353" providerId="AD" clId="Web-{20C8009E-92B0-4373-8E1E-C6504EBEFB8D}" dt="2025-01-10T14:27:19.994" v="66"/>
          <ac:graphicFrameMkLst>
            <pc:docMk/>
            <pc:sldMk cId="2517486238" sldId="312"/>
            <ac:graphicFrameMk id="4" creationId="{C22A1241-E0C8-7E64-60B1-5E58F79558E6}"/>
          </ac:graphicFrameMkLst>
        </pc:graphicFrameChg>
      </pc:sldChg>
      <pc:sldChg chg="new">
        <pc:chgData name="Kayatas, Sinem (710)" userId="S::sinem.kayatas_daimlertruck.com#ext#@reutlingenuniversityde.onmicrosoft.com::768514dd-3739-4567-98cf-64d896456353" providerId="AD" clId="Web-{20C8009E-92B0-4373-8E1E-C6504EBEFB8D}" dt="2025-01-10T14:18:57.646" v="0"/>
        <pc:sldMkLst>
          <pc:docMk/>
          <pc:sldMk cId="514796029" sldId="338"/>
        </pc:sldMkLst>
      </pc:sldChg>
    </pc:docChg>
  </pc:docChgLst>
  <pc:docChgLst>
    <pc:chgData name="Fahrner, Michelle" userId="7672c29c-0219-4e1e-943d-44b255e75464" providerId="ADAL" clId="{B24960FC-0675-C245-B57C-DBBD58239436}"/>
    <pc:docChg chg="undo redo custSel addSld delSld modSld sldOrd modSection">
      <pc:chgData name="Fahrner, Michelle" userId="7672c29c-0219-4e1e-943d-44b255e75464" providerId="ADAL" clId="{B24960FC-0675-C245-B57C-DBBD58239436}" dt="2025-01-12T14:21:30.752" v="2840" actId="20577"/>
      <pc:docMkLst>
        <pc:docMk/>
      </pc:docMkLst>
      <pc:sldChg chg="modSp mod ord modShow">
        <pc:chgData name="Fahrner, Michelle" userId="7672c29c-0219-4e1e-943d-44b255e75464" providerId="ADAL" clId="{B24960FC-0675-C245-B57C-DBBD58239436}" dt="2025-01-10T17:25:22.592" v="769" actId="20578"/>
        <pc:sldMkLst>
          <pc:docMk/>
          <pc:sldMk cId="2108382887" sldId="314"/>
        </pc:sldMkLst>
        <pc:spChg chg="mod">
          <ac:chgData name="Fahrner, Michelle" userId="7672c29c-0219-4e1e-943d-44b255e75464" providerId="ADAL" clId="{B24960FC-0675-C245-B57C-DBBD58239436}" dt="2025-01-10T17:04:18.949" v="385" actId="1076"/>
          <ac:spMkLst>
            <pc:docMk/>
            <pc:sldMk cId="2108382887" sldId="314"/>
            <ac:spMk id="7" creationId="{4F623946-E3C3-4528-5BFC-440CC6A13CA5}"/>
          </ac:spMkLst>
        </pc:spChg>
      </pc:sldChg>
      <pc:sldChg chg="addSp delSp modSp add del mod">
        <pc:chgData name="Fahrner, Michelle" userId="7672c29c-0219-4e1e-943d-44b255e75464" providerId="ADAL" clId="{B24960FC-0675-C245-B57C-DBBD58239436}" dt="2025-01-10T16:49:06.809" v="192" actId="2696"/>
        <pc:sldMkLst>
          <pc:docMk/>
          <pc:sldMk cId="1789471806" sldId="320"/>
        </pc:sldMkLst>
      </pc:sldChg>
      <pc:sldChg chg="modSp add mod">
        <pc:chgData name="Fahrner, Michelle" userId="7672c29c-0219-4e1e-943d-44b255e75464" providerId="ADAL" clId="{B24960FC-0675-C245-B57C-DBBD58239436}" dt="2025-01-05T21:35:15.390" v="6" actId="167"/>
        <pc:sldMkLst>
          <pc:docMk/>
          <pc:sldMk cId="1719451404" sldId="321"/>
        </pc:sldMkLst>
      </pc:sldChg>
      <pc:sldChg chg="modSp add mod">
        <pc:chgData name="Fahrner, Michelle" userId="7672c29c-0219-4e1e-943d-44b255e75464" providerId="ADAL" clId="{B24960FC-0675-C245-B57C-DBBD58239436}" dt="2025-01-05T21:35:07.988" v="5"/>
        <pc:sldMkLst>
          <pc:docMk/>
          <pc:sldMk cId="1525934557" sldId="322"/>
        </pc:sldMkLst>
      </pc:sldChg>
      <pc:sldChg chg="add">
        <pc:chgData name="Fahrner, Michelle" userId="7672c29c-0219-4e1e-943d-44b255e75464" providerId="ADAL" clId="{B24960FC-0675-C245-B57C-DBBD58239436}" dt="2025-01-05T21:34:03.482" v="0"/>
        <pc:sldMkLst>
          <pc:docMk/>
          <pc:sldMk cId="48557679" sldId="323"/>
        </pc:sldMkLst>
      </pc:sldChg>
      <pc:sldChg chg="del">
        <pc:chgData name="Fahrner, Michelle" userId="7672c29c-0219-4e1e-943d-44b255e75464" providerId="ADAL" clId="{B24960FC-0675-C245-B57C-DBBD58239436}" dt="2025-01-10T17:25:26.550" v="770" actId="2696"/>
        <pc:sldMkLst>
          <pc:docMk/>
          <pc:sldMk cId="514796029" sldId="338"/>
        </pc:sldMkLst>
      </pc:sldChg>
      <pc:sldChg chg="addSp delSp modSp mod modNotesTx">
        <pc:chgData name="Fahrner, Michelle" userId="7672c29c-0219-4e1e-943d-44b255e75464" providerId="ADAL" clId="{B24960FC-0675-C245-B57C-DBBD58239436}" dt="2025-01-12T14:21:30.752" v="2840" actId="20577"/>
        <pc:sldMkLst>
          <pc:docMk/>
          <pc:sldMk cId="2720047416" sldId="339"/>
        </pc:sldMkLst>
        <pc:spChg chg="mod">
          <ac:chgData name="Fahrner, Michelle" userId="7672c29c-0219-4e1e-943d-44b255e75464" providerId="ADAL" clId="{B24960FC-0675-C245-B57C-DBBD58239436}" dt="2025-01-10T17:04:41.243" v="390" actId="108"/>
          <ac:spMkLst>
            <pc:docMk/>
            <pc:sldMk cId="2720047416" sldId="339"/>
            <ac:spMk id="2" creationId="{72986061-A0C6-365B-DD03-A49AE8E8F591}"/>
          </ac:spMkLst>
        </pc:spChg>
        <pc:graphicFrameChg chg="add mod modGraphic">
          <ac:chgData name="Fahrner, Michelle" userId="7672c29c-0219-4e1e-943d-44b255e75464" providerId="ADAL" clId="{B24960FC-0675-C245-B57C-DBBD58239436}" dt="2025-01-12T14:21:30.752" v="2840" actId="20577"/>
          <ac:graphicFrameMkLst>
            <pc:docMk/>
            <pc:sldMk cId="2720047416" sldId="339"/>
            <ac:graphicFrameMk id="4" creationId="{F33ADC6A-AF72-6029-BAE9-DD9BD51AE711}"/>
          </ac:graphicFrameMkLst>
        </pc:graphicFrameChg>
      </pc:sldChg>
      <pc:sldChg chg="addSp delSp modSp add mod modNotesTx">
        <pc:chgData name="Fahrner, Michelle" userId="7672c29c-0219-4e1e-943d-44b255e75464" providerId="ADAL" clId="{B24960FC-0675-C245-B57C-DBBD58239436}" dt="2025-01-12T13:38:36.021" v="2319" actId="1076"/>
        <pc:sldMkLst>
          <pc:docMk/>
          <pc:sldMk cId="634971730" sldId="340"/>
        </pc:sldMkLst>
        <pc:spChg chg="mod">
          <ac:chgData name="Fahrner, Michelle" userId="7672c29c-0219-4e1e-943d-44b255e75464" providerId="ADAL" clId="{B24960FC-0675-C245-B57C-DBBD58239436}" dt="2025-01-10T16:46:50.053" v="65"/>
          <ac:spMkLst>
            <pc:docMk/>
            <pc:sldMk cId="634971730" sldId="340"/>
            <ac:spMk id="2" creationId="{9A7967F8-D533-FDDB-EB8E-0AE6C630906E}"/>
          </ac:spMkLst>
        </pc:spChg>
        <pc:spChg chg="add mod">
          <ac:chgData name="Fahrner, Michelle" userId="7672c29c-0219-4e1e-943d-44b255e75464" providerId="ADAL" clId="{B24960FC-0675-C245-B57C-DBBD58239436}" dt="2025-01-12T13:38:36.021" v="2319" actId="1076"/>
          <ac:spMkLst>
            <pc:docMk/>
            <pc:sldMk cId="634971730" sldId="340"/>
            <ac:spMk id="3" creationId="{12E55178-B9E9-0029-4D0F-9F9A64126F66}"/>
          </ac:spMkLst>
        </pc:spChg>
        <pc:graphicFrameChg chg="mod modGraphic">
          <ac:chgData name="Fahrner, Michelle" userId="7672c29c-0219-4e1e-943d-44b255e75464" providerId="ADAL" clId="{B24960FC-0675-C245-B57C-DBBD58239436}" dt="2025-01-12T13:38:24.122" v="2312" actId="403"/>
          <ac:graphicFrameMkLst>
            <pc:docMk/>
            <pc:sldMk cId="634971730" sldId="340"/>
            <ac:graphicFrameMk id="4" creationId="{B83C42CB-3E75-0D1D-7C39-94636D150FDA}"/>
          </ac:graphicFrameMkLst>
        </pc:graphicFrameChg>
        <pc:picChg chg="add del mod">
          <ac:chgData name="Fahrner, Michelle" userId="7672c29c-0219-4e1e-943d-44b255e75464" providerId="ADAL" clId="{B24960FC-0675-C245-B57C-DBBD58239436}" dt="2025-01-12T13:15:40.082" v="2033" actId="21"/>
          <ac:picMkLst>
            <pc:docMk/>
            <pc:sldMk cId="634971730" sldId="340"/>
            <ac:picMk id="6" creationId="{C9915680-EC03-688F-E12D-024CE19BABF0}"/>
          </ac:picMkLst>
        </pc:picChg>
        <pc:picChg chg="add del mod">
          <ac:chgData name="Fahrner, Michelle" userId="7672c29c-0219-4e1e-943d-44b255e75464" providerId="ADAL" clId="{B24960FC-0675-C245-B57C-DBBD58239436}" dt="2025-01-12T13:15:40.082" v="2033" actId="21"/>
          <ac:picMkLst>
            <pc:docMk/>
            <pc:sldMk cId="634971730" sldId="340"/>
            <ac:picMk id="7" creationId="{66AC0D27-F2BF-C549-C70A-7FB505BBC748}"/>
          </ac:picMkLst>
        </pc:picChg>
        <pc:picChg chg="add del mod">
          <ac:chgData name="Fahrner, Michelle" userId="7672c29c-0219-4e1e-943d-44b255e75464" providerId="ADAL" clId="{B24960FC-0675-C245-B57C-DBBD58239436}" dt="2025-01-12T13:15:40.082" v="2033" actId="21"/>
          <ac:picMkLst>
            <pc:docMk/>
            <pc:sldMk cId="634971730" sldId="340"/>
            <ac:picMk id="8" creationId="{A3A11866-43BE-EDAD-2B0C-22D6FDF3EAE1}"/>
          </ac:picMkLst>
        </pc:picChg>
      </pc:sldChg>
      <pc:sldChg chg="del">
        <pc:chgData name="Fahrner, Michelle" userId="7672c29c-0219-4e1e-943d-44b255e75464" providerId="ADAL" clId="{B24960FC-0675-C245-B57C-DBBD58239436}" dt="2025-01-12T13:33:55.160" v="2283" actId="2696"/>
        <pc:sldMkLst>
          <pc:docMk/>
          <pc:sldMk cId="2293985569" sldId="343"/>
        </pc:sldMkLst>
      </pc:sldChg>
      <pc:sldChg chg="add del ord">
        <pc:chgData name="Fahrner, Michelle" userId="7672c29c-0219-4e1e-943d-44b255e75464" providerId="ADAL" clId="{B24960FC-0675-C245-B57C-DBBD58239436}" dt="2025-01-12T13:25:52.341" v="2127" actId="2696"/>
        <pc:sldMkLst>
          <pc:docMk/>
          <pc:sldMk cId="1405048677" sldId="348"/>
        </pc:sldMkLst>
      </pc:sldChg>
      <pc:sldChg chg="modSp add mod ord modShow">
        <pc:chgData name="Fahrner, Michelle" userId="7672c29c-0219-4e1e-943d-44b255e75464" providerId="ADAL" clId="{B24960FC-0675-C245-B57C-DBBD58239436}" dt="2025-01-12T13:58:10.101" v="2438" actId="729"/>
        <pc:sldMkLst>
          <pc:docMk/>
          <pc:sldMk cId="3702973468" sldId="348"/>
        </pc:sldMkLst>
        <pc:graphicFrameChg chg="modGraphic">
          <ac:chgData name="Fahrner, Michelle" userId="7672c29c-0219-4e1e-943d-44b255e75464" providerId="ADAL" clId="{B24960FC-0675-C245-B57C-DBBD58239436}" dt="2025-01-12T13:56:31.717" v="2437" actId="207"/>
          <ac:graphicFrameMkLst>
            <pc:docMk/>
            <pc:sldMk cId="3702973468" sldId="348"/>
            <ac:graphicFrameMk id="8" creationId="{A55D20AE-9B9C-0C34-A8B0-1614A3DE001F}"/>
          </ac:graphicFrameMkLst>
        </pc:graphicFrameChg>
      </pc:sldChg>
    </pc:docChg>
  </pc:docChgLst>
  <pc:docChgLst>
    <pc:chgData name="Rottler, Liv" userId="a078eb17-4cea-4bc4-84cc-b99500c3c450" providerId="ADAL" clId="{F209FC32-3EA3-9A4B-988A-71742E084F86}"/>
    <pc:docChg chg="undo custSel addSld delSld modSld sldOrd modSection">
      <pc:chgData name="Rottler, Liv" userId="a078eb17-4cea-4bc4-84cc-b99500c3c450" providerId="ADAL" clId="{F209FC32-3EA3-9A4B-988A-71742E084F86}" dt="2025-01-06T09:23:59.353" v="977"/>
      <pc:docMkLst>
        <pc:docMk/>
      </pc:docMkLst>
      <pc:sldChg chg="addSp delSp modSp mod ord modNotesTx">
        <pc:chgData name="Rottler, Liv" userId="a078eb17-4cea-4bc4-84cc-b99500c3c450" providerId="ADAL" clId="{F209FC32-3EA3-9A4B-988A-71742E084F86}" dt="2025-01-05T22:23:23.343" v="714" actId="20577"/>
        <pc:sldMkLst>
          <pc:docMk/>
          <pc:sldMk cId="0" sldId="287"/>
        </pc:sldMkLst>
        <pc:spChg chg="add mod">
          <ac:chgData name="Rottler, Liv" userId="a078eb17-4cea-4bc4-84cc-b99500c3c450" providerId="ADAL" clId="{F209FC32-3EA3-9A4B-988A-71742E084F86}" dt="2025-01-05T22:12:45.480" v="339" actId="20577"/>
          <ac:spMkLst>
            <pc:docMk/>
            <pc:sldMk cId="0" sldId="287"/>
            <ac:spMk id="28" creationId="{8BFD7D12-D8D6-406E-CBDD-62C7642C1A1E}"/>
          </ac:spMkLst>
        </pc:spChg>
        <pc:spChg chg="add mod">
          <ac:chgData name="Rottler, Liv" userId="a078eb17-4cea-4bc4-84cc-b99500c3c450" providerId="ADAL" clId="{F209FC32-3EA3-9A4B-988A-71742E084F86}" dt="2025-01-05T22:15:36.978" v="426" actId="20577"/>
          <ac:spMkLst>
            <pc:docMk/>
            <pc:sldMk cId="0" sldId="287"/>
            <ac:spMk id="29" creationId="{401B7834-B4C0-20C3-DC0C-734955D9D119}"/>
          </ac:spMkLst>
        </pc:spChg>
        <pc:spChg chg="add mod">
          <ac:chgData name="Rottler, Liv" userId="a078eb17-4cea-4bc4-84cc-b99500c3c450" providerId="ADAL" clId="{F209FC32-3EA3-9A4B-988A-71742E084F86}" dt="2025-01-05T22:16:08.619" v="448" actId="20577"/>
          <ac:spMkLst>
            <pc:docMk/>
            <pc:sldMk cId="0" sldId="287"/>
            <ac:spMk id="30" creationId="{2EFD4BBD-D555-A6BE-6D93-4FF3D059E0F9}"/>
          </ac:spMkLst>
        </pc:spChg>
        <pc:spChg chg="add del mod">
          <ac:chgData name="Rottler, Liv" userId="a078eb17-4cea-4bc4-84cc-b99500c3c450" providerId="ADAL" clId="{F209FC32-3EA3-9A4B-988A-71742E084F86}" dt="2025-01-05T22:20:16.371" v="592" actId="20577"/>
          <ac:spMkLst>
            <pc:docMk/>
            <pc:sldMk cId="0" sldId="287"/>
            <ac:spMk id="31" creationId="{642321CF-31E0-00CB-2AAB-A4A704FAE648}"/>
          </ac:spMkLst>
        </pc:spChg>
        <pc:spChg chg="add mod">
          <ac:chgData name="Rottler, Liv" userId="a078eb17-4cea-4bc4-84cc-b99500c3c450" providerId="ADAL" clId="{F209FC32-3EA3-9A4B-988A-71742E084F86}" dt="2025-01-05T22:19:53.012" v="582" actId="20577"/>
          <ac:spMkLst>
            <pc:docMk/>
            <pc:sldMk cId="0" sldId="287"/>
            <ac:spMk id="32" creationId="{F732BBFC-5E5A-D87C-FFF1-E5B28BB0620F}"/>
          </ac:spMkLst>
        </pc:spChg>
        <pc:spChg chg="add mod">
          <ac:chgData name="Rottler, Liv" userId="a078eb17-4cea-4bc4-84cc-b99500c3c450" providerId="ADAL" clId="{F209FC32-3EA3-9A4B-988A-71742E084F86}" dt="2025-01-05T22:23:23.343" v="714" actId="20577"/>
          <ac:spMkLst>
            <pc:docMk/>
            <pc:sldMk cId="0" sldId="287"/>
            <ac:spMk id="33" creationId="{DAC430F4-F835-3DAD-32DF-55BC807A59F9}"/>
          </ac:spMkLst>
        </pc:spChg>
        <pc:spChg chg="mod">
          <ac:chgData name="Rottler, Liv" userId="a078eb17-4cea-4bc4-84cc-b99500c3c450" providerId="ADAL" clId="{F209FC32-3EA3-9A4B-988A-71742E084F86}" dt="2025-01-05T22:11:55.178" v="290" actId="14100"/>
          <ac:spMkLst>
            <pc:docMk/>
            <pc:sldMk cId="0" sldId="287"/>
            <ac:spMk id="631" creationId="{00000000-0000-0000-0000-000000000000}"/>
          </ac:spMkLst>
        </pc:spChg>
        <pc:spChg chg="mod">
          <ac:chgData name="Rottler, Liv" userId="a078eb17-4cea-4bc4-84cc-b99500c3c450" providerId="ADAL" clId="{F209FC32-3EA3-9A4B-988A-71742E084F86}" dt="2025-01-05T22:16:48.108" v="449" actId="14100"/>
          <ac:spMkLst>
            <pc:docMk/>
            <pc:sldMk cId="0" sldId="287"/>
            <ac:spMk id="632" creationId="{00000000-0000-0000-0000-000000000000}"/>
          </ac:spMkLst>
        </pc:spChg>
        <pc:spChg chg="mod">
          <ac:chgData name="Rottler, Liv" userId="a078eb17-4cea-4bc4-84cc-b99500c3c450" providerId="ADAL" clId="{F209FC32-3EA3-9A4B-988A-71742E084F86}" dt="2025-01-05T22:20:34.343" v="595" actId="1076"/>
          <ac:spMkLst>
            <pc:docMk/>
            <pc:sldMk cId="0" sldId="287"/>
            <ac:spMk id="643" creationId="{00000000-0000-0000-0000-000000000000}"/>
          </ac:spMkLst>
        </pc:spChg>
      </pc:sldChg>
      <pc:sldChg chg="addSp modSp mod modNotesTx">
        <pc:chgData name="Rottler, Liv" userId="a078eb17-4cea-4bc4-84cc-b99500c3c450" providerId="ADAL" clId="{F209FC32-3EA3-9A4B-988A-71742E084F86}" dt="2025-01-05T22:28:14.063" v="931" actId="1076"/>
        <pc:sldMkLst>
          <pc:docMk/>
          <pc:sldMk cId="3657474177" sldId="319"/>
        </pc:sldMkLst>
        <pc:spChg chg="add mod">
          <ac:chgData name="Rottler, Liv" userId="a078eb17-4cea-4bc4-84cc-b99500c3c450" providerId="ADAL" clId="{F209FC32-3EA3-9A4B-988A-71742E084F86}" dt="2025-01-05T22:28:02.651" v="930" actId="20577"/>
          <ac:spMkLst>
            <pc:docMk/>
            <pc:sldMk cId="3657474177" sldId="319"/>
            <ac:spMk id="4" creationId="{0BB1C9C0-E844-145B-99A4-11E81100348D}"/>
          </ac:spMkLst>
        </pc:spChg>
        <pc:picChg chg="add mod">
          <ac:chgData name="Rottler, Liv" userId="a078eb17-4cea-4bc4-84cc-b99500c3c450" providerId="ADAL" clId="{F209FC32-3EA3-9A4B-988A-71742E084F86}" dt="2025-01-05T22:28:14.063" v="931" actId="1076"/>
          <ac:picMkLst>
            <pc:docMk/>
            <pc:sldMk cId="3657474177" sldId="319"/>
            <ac:picMk id="3" creationId="{5666B473-2EE9-3E24-B8B0-3A56C3E516B2}"/>
          </ac:picMkLst>
        </pc:picChg>
      </pc:sldChg>
      <pc:sldChg chg="add">
        <pc:chgData name="Rottler, Liv" userId="a078eb17-4cea-4bc4-84cc-b99500c3c450" providerId="ADAL" clId="{F209FC32-3EA3-9A4B-988A-71742E084F86}" dt="2025-01-06T09:21:01.347" v="932" actId="2890"/>
        <pc:sldMkLst>
          <pc:docMk/>
          <pc:sldMk cId="1778933160" sldId="324"/>
        </pc:sldMkLst>
      </pc:sldChg>
      <pc:sldChg chg="del">
        <pc:chgData name="Rottler, Liv" userId="a078eb17-4cea-4bc4-84cc-b99500c3c450" providerId="ADAL" clId="{F209FC32-3EA3-9A4B-988A-71742E084F86}" dt="2025-01-06T09:21:13.376" v="934" actId="2696"/>
        <pc:sldMkLst>
          <pc:docMk/>
          <pc:sldMk cId="4069161424" sldId="324"/>
        </pc:sldMkLst>
      </pc:sldChg>
      <pc:sldChg chg="addSp delSp modSp mod ord modNotesTx">
        <pc:chgData name="Rottler, Liv" userId="a078eb17-4cea-4bc4-84cc-b99500c3c450" providerId="ADAL" clId="{F209FC32-3EA3-9A4B-988A-71742E084F86}" dt="2025-01-06T09:23:59.353" v="977"/>
        <pc:sldMkLst>
          <pc:docMk/>
          <pc:sldMk cId="1778933160" sldId="325"/>
        </pc:sldMkLst>
        <pc:spChg chg="mod">
          <ac:chgData name="Rottler, Liv" userId="a078eb17-4cea-4bc4-84cc-b99500c3c450" providerId="ADAL" clId="{F209FC32-3EA3-9A4B-988A-71742E084F86}" dt="2025-01-06T09:23:17.411" v="972" actId="20577"/>
          <ac:spMkLst>
            <pc:docMk/>
            <pc:sldMk cId="1778933160" sldId="325"/>
            <ac:spMk id="632" creationId="{DFACE807-0CD0-D3E1-A798-B32D2FE00F16}"/>
          </ac:spMkLst>
        </pc:spChg>
        <pc:spChg chg="mod">
          <ac:chgData name="Rottler, Liv" userId="a078eb17-4cea-4bc4-84cc-b99500c3c450" providerId="ADAL" clId="{F209FC32-3EA3-9A4B-988A-71742E084F86}" dt="2025-01-06T09:21:19.481" v="942" actId="20577"/>
          <ac:spMkLst>
            <pc:docMk/>
            <pc:sldMk cId="1778933160" sldId="325"/>
            <ac:spMk id="643" creationId="{431857E0-57BA-AD95-C54A-28B314BE6C98}"/>
          </ac:spMkLst>
        </pc:spChg>
      </pc:sldChg>
    </pc:docChg>
  </pc:docChgLst>
  <pc:docChgLst>
    <pc:chgData name="de Bakker, Philip" userId="S::philip.de_bakker@student.reutlingen-university.de::da87f56e-ed00-42e3-b850-dc780f4865d5" providerId="AD" clId="Web-{8FB0C48C-738F-52F7-E3C7-903881CCAF3E}"/>
    <pc:docChg chg="addSld delSld modSld modSection">
      <pc:chgData name="de Bakker, Philip" userId="S::philip.de_bakker@student.reutlingen-university.de::da87f56e-ed00-42e3-b850-dc780f4865d5" providerId="AD" clId="Web-{8FB0C48C-738F-52F7-E3C7-903881CCAF3E}" dt="2025-01-13T11:45:11.263" v="118" actId="1076"/>
      <pc:docMkLst>
        <pc:docMk/>
      </pc:docMkLst>
      <pc:sldChg chg="new">
        <pc:chgData name="de Bakker, Philip" userId="S::philip.de_bakker@student.reutlingen-university.de::da87f56e-ed00-42e3-b850-dc780f4865d5" providerId="AD" clId="Web-{8FB0C48C-738F-52F7-E3C7-903881CCAF3E}" dt="2025-01-13T11:31:18.188" v="0"/>
        <pc:sldMkLst>
          <pc:docMk/>
          <pc:sldMk cId="924892547" sldId="364"/>
        </pc:sldMkLst>
      </pc:sldChg>
      <pc:sldChg chg="addSp delSp modSp add replId">
        <pc:chgData name="de Bakker, Philip" userId="S::philip.de_bakker@student.reutlingen-university.de::da87f56e-ed00-42e3-b850-dc780f4865d5" providerId="AD" clId="Web-{8FB0C48C-738F-52F7-E3C7-903881CCAF3E}" dt="2025-01-13T11:38:20.585" v="76" actId="1076"/>
        <pc:sldMkLst>
          <pc:docMk/>
          <pc:sldMk cId="1806711159" sldId="365"/>
        </pc:sldMkLst>
        <pc:spChg chg="mod">
          <ac:chgData name="de Bakker, Philip" userId="S::philip.de_bakker@student.reutlingen-university.de::da87f56e-ed00-42e3-b850-dc780f4865d5" providerId="AD" clId="Web-{8FB0C48C-738F-52F7-E3C7-903881CCAF3E}" dt="2025-01-13T11:32:49.596" v="63" actId="20577"/>
          <ac:spMkLst>
            <pc:docMk/>
            <pc:sldMk cId="1806711159" sldId="365"/>
            <ac:spMk id="2" creationId="{2BB63C31-41E1-7EB7-DA4A-E6E01A937E88}"/>
          </ac:spMkLst>
        </pc:spChg>
        <pc:spChg chg="del">
          <ac:chgData name="de Bakker, Philip" userId="S::philip.de_bakker@student.reutlingen-university.de::da87f56e-ed00-42e3-b850-dc780f4865d5" providerId="AD" clId="Web-{8FB0C48C-738F-52F7-E3C7-903881CCAF3E}" dt="2025-01-13T11:32:53.127" v="64"/>
          <ac:spMkLst>
            <pc:docMk/>
            <pc:sldMk cId="1806711159" sldId="365"/>
            <ac:spMk id="3" creationId="{195EF4AC-F13B-57A5-3FD6-38AC0E3DF9D6}"/>
          </ac:spMkLst>
        </pc:spChg>
        <pc:spChg chg="add del mod">
          <ac:chgData name="de Bakker, Philip" userId="S::philip.de_bakker@student.reutlingen-university.de::da87f56e-ed00-42e3-b850-dc780f4865d5" providerId="AD" clId="Web-{8FB0C48C-738F-52F7-E3C7-903881CCAF3E}" dt="2025-01-13T11:33:25.315" v="67"/>
          <ac:spMkLst>
            <pc:docMk/>
            <pc:sldMk cId="1806711159" sldId="365"/>
            <ac:spMk id="5" creationId="{8C264458-8AB8-4C1E-76BF-667390C1058F}"/>
          </ac:spMkLst>
        </pc:spChg>
        <pc:picChg chg="add del mod">
          <ac:chgData name="de Bakker, Philip" userId="S::philip.de_bakker@student.reutlingen-university.de::da87f56e-ed00-42e3-b850-dc780f4865d5" providerId="AD" clId="Web-{8FB0C48C-738F-52F7-E3C7-903881CCAF3E}" dt="2025-01-13T11:33:56.941" v="71"/>
          <ac:picMkLst>
            <pc:docMk/>
            <pc:sldMk cId="1806711159" sldId="365"/>
            <ac:picMk id="6" creationId="{E4FF3CA7-CE7A-4B9E-3167-B7BFA6200405}"/>
          </ac:picMkLst>
        </pc:picChg>
        <pc:picChg chg="add mod">
          <ac:chgData name="de Bakker, Philip" userId="S::philip.de_bakker@student.reutlingen-university.de::da87f56e-ed00-42e3-b850-dc780f4865d5" providerId="AD" clId="Web-{8FB0C48C-738F-52F7-E3C7-903881CCAF3E}" dt="2025-01-13T11:38:20.585" v="76" actId="1076"/>
          <ac:picMkLst>
            <pc:docMk/>
            <pc:sldMk cId="1806711159" sldId="365"/>
            <ac:picMk id="7" creationId="{7DCA790A-2C5E-EC7C-8E7D-53BFD4412789}"/>
          </ac:picMkLst>
        </pc:picChg>
      </pc:sldChg>
      <pc:sldChg chg="addSp delSp modSp add replId">
        <pc:chgData name="de Bakker, Philip" userId="S::philip.de_bakker@student.reutlingen-university.de::da87f56e-ed00-42e3-b850-dc780f4865d5" providerId="AD" clId="Web-{8FB0C48C-738F-52F7-E3C7-903881CCAF3E}" dt="2025-01-13T11:39:22.368" v="83" actId="1076"/>
        <pc:sldMkLst>
          <pc:docMk/>
          <pc:sldMk cId="3998115223" sldId="366"/>
        </pc:sldMkLst>
        <pc:picChg chg="add del mod">
          <ac:chgData name="de Bakker, Philip" userId="S::philip.de_bakker@student.reutlingen-university.de::da87f56e-ed00-42e3-b850-dc780f4865d5" providerId="AD" clId="Web-{8FB0C48C-738F-52F7-E3C7-903881CCAF3E}" dt="2025-01-13T11:38:51.367" v="80"/>
          <ac:picMkLst>
            <pc:docMk/>
            <pc:sldMk cId="3998115223" sldId="366"/>
            <ac:picMk id="3" creationId="{298E6CBB-EAF8-F52E-43F2-7BFC20B787AA}"/>
          </ac:picMkLst>
        </pc:picChg>
        <pc:picChg chg="add mod">
          <ac:chgData name="de Bakker, Philip" userId="S::philip.de_bakker@student.reutlingen-university.de::da87f56e-ed00-42e3-b850-dc780f4865d5" providerId="AD" clId="Web-{8FB0C48C-738F-52F7-E3C7-903881CCAF3E}" dt="2025-01-13T11:39:22.368" v="83" actId="1076"/>
          <ac:picMkLst>
            <pc:docMk/>
            <pc:sldMk cId="3998115223" sldId="366"/>
            <ac:picMk id="4" creationId="{1BABCDA3-D23C-009C-B794-F9C8E2382F1D}"/>
          </ac:picMkLst>
        </pc:picChg>
        <pc:picChg chg="del">
          <ac:chgData name="de Bakker, Philip" userId="S::philip.de_bakker@student.reutlingen-university.de::da87f56e-ed00-42e3-b850-dc780f4865d5" providerId="AD" clId="Web-{8FB0C48C-738F-52F7-E3C7-903881CCAF3E}" dt="2025-01-13T11:38:30.179" v="78"/>
          <ac:picMkLst>
            <pc:docMk/>
            <pc:sldMk cId="3998115223" sldId="366"/>
            <ac:picMk id="7" creationId="{7DCA790A-2C5E-EC7C-8E7D-53BFD4412789}"/>
          </ac:picMkLst>
        </pc:picChg>
      </pc:sldChg>
      <pc:sldChg chg="addSp delSp modSp add replId">
        <pc:chgData name="de Bakker, Philip" userId="S::philip.de_bakker@student.reutlingen-university.de::da87f56e-ed00-42e3-b850-dc780f4865d5" providerId="AD" clId="Web-{8FB0C48C-738F-52F7-E3C7-903881CCAF3E}" dt="2025-01-13T11:45:11.263" v="118" actId="1076"/>
        <pc:sldMkLst>
          <pc:docMk/>
          <pc:sldMk cId="857968287" sldId="367"/>
        </pc:sldMkLst>
        <pc:picChg chg="add del mod">
          <ac:chgData name="de Bakker, Philip" userId="S::philip.de_bakker@student.reutlingen-university.de::da87f56e-ed00-42e3-b850-dc780f4865d5" providerId="AD" clId="Web-{8FB0C48C-738F-52F7-E3C7-903881CCAF3E}" dt="2025-01-13T11:40:09.665" v="96"/>
          <ac:picMkLst>
            <pc:docMk/>
            <pc:sldMk cId="857968287" sldId="367"/>
            <ac:picMk id="3" creationId="{55AB211B-CFD4-80DD-DA53-7180378392A2}"/>
          </ac:picMkLst>
        </pc:picChg>
        <pc:picChg chg="del">
          <ac:chgData name="de Bakker, Philip" userId="S::philip.de_bakker@student.reutlingen-university.de::da87f56e-ed00-42e3-b850-dc780f4865d5" providerId="AD" clId="Web-{8FB0C48C-738F-52F7-E3C7-903881CCAF3E}" dt="2025-01-13T11:39:29.118" v="85"/>
          <ac:picMkLst>
            <pc:docMk/>
            <pc:sldMk cId="857968287" sldId="367"/>
            <ac:picMk id="4" creationId="{1BABCDA3-D23C-009C-B794-F9C8E2382F1D}"/>
          </ac:picMkLst>
        </pc:picChg>
        <pc:picChg chg="add del mod">
          <ac:chgData name="de Bakker, Philip" userId="S::philip.de_bakker@student.reutlingen-university.de::da87f56e-ed00-42e3-b850-dc780f4865d5" providerId="AD" clId="Web-{8FB0C48C-738F-52F7-E3C7-903881CCAF3E}" dt="2025-01-13T11:40:08.275" v="95"/>
          <ac:picMkLst>
            <pc:docMk/>
            <pc:sldMk cId="857968287" sldId="367"/>
            <ac:picMk id="5" creationId="{0306ACAC-1C0B-3806-9330-07D23CC9587B}"/>
          </ac:picMkLst>
        </pc:picChg>
        <pc:picChg chg="add del mod">
          <ac:chgData name="de Bakker, Philip" userId="S::philip.de_bakker@student.reutlingen-university.de::da87f56e-ed00-42e3-b850-dc780f4865d5" providerId="AD" clId="Web-{8FB0C48C-738F-52F7-E3C7-903881CCAF3E}" dt="2025-01-13T11:40:07.071" v="94"/>
          <ac:picMkLst>
            <pc:docMk/>
            <pc:sldMk cId="857968287" sldId="367"/>
            <ac:picMk id="6" creationId="{F9235BEA-B257-7CE8-67BD-06DECFB1B6FD}"/>
          </ac:picMkLst>
        </pc:picChg>
        <pc:picChg chg="add del mod">
          <ac:chgData name="de Bakker, Philip" userId="S::philip.de_bakker@student.reutlingen-university.de::da87f56e-ed00-42e3-b850-dc780f4865d5" providerId="AD" clId="Web-{8FB0C48C-738F-52F7-E3C7-903881CCAF3E}" dt="2025-01-13T11:40:03.493" v="92"/>
          <ac:picMkLst>
            <pc:docMk/>
            <pc:sldMk cId="857968287" sldId="367"/>
            <ac:picMk id="7" creationId="{D2378BBA-0A51-3E1B-631E-C7443102A484}"/>
          </ac:picMkLst>
        </pc:picChg>
        <pc:picChg chg="add del mod">
          <ac:chgData name="de Bakker, Philip" userId="S::philip.de_bakker@student.reutlingen-university.de::da87f56e-ed00-42e3-b850-dc780f4865d5" providerId="AD" clId="Web-{8FB0C48C-738F-52F7-E3C7-903881CCAF3E}" dt="2025-01-13T11:40:02.009" v="91"/>
          <ac:picMkLst>
            <pc:docMk/>
            <pc:sldMk cId="857968287" sldId="367"/>
            <ac:picMk id="8" creationId="{DBF653DB-4F1A-D596-A4F1-DDF2878AAD30}"/>
          </ac:picMkLst>
        </pc:picChg>
        <pc:picChg chg="add del mod">
          <ac:chgData name="de Bakker, Philip" userId="S::philip.de_bakker@student.reutlingen-university.de::da87f56e-ed00-42e3-b850-dc780f4865d5" providerId="AD" clId="Web-{8FB0C48C-738F-52F7-E3C7-903881CCAF3E}" dt="2025-01-13T11:44:50.716" v="107"/>
          <ac:picMkLst>
            <pc:docMk/>
            <pc:sldMk cId="857968287" sldId="367"/>
            <ac:picMk id="9" creationId="{BC118E00-CD91-4591-1007-0908FCBD963B}"/>
          </ac:picMkLst>
        </pc:picChg>
        <pc:picChg chg="add del mod">
          <ac:chgData name="de Bakker, Philip" userId="S::philip.de_bakker@student.reutlingen-university.de::da87f56e-ed00-42e3-b850-dc780f4865d5" providerId="AD" clId="Web-{8FB0C48C-738F-52F7-E3C7-903881CCAF3E}" dt="2025-01-13T11:45:06.920" v="117"/>
          <ac:picMkLst>
            <pc:docMk/>
            <pc:sldMk cId="857968287" sldId="367"/>
            <ac:picMk id="10" creationId="{009EAF95-15E2-A1A4-35D1-2B975DA921F0}"/>
          </ac:picMkLst>
        </pc:picChg>
        <pc:picChg chg="add del mod">
          <ac:chgData name="de Bakker, Philip" userId="S::philip.de_bakker@student.reutlingen-university.de::da87f56e-ed00-42e3-b850-dc780f4865d5" providerId="AD" clId="Web-{8FB0C48C-738F-52F7-E3C7-903881CCAF3E}" dt="2025-01-13T11:45:05.482" v="116"/>
          <ac:picMkLst>
            <pc:docMk/>
            <pc:sldMk cId="857968287" sldId="367"/>
            <ac:picMk id="11" creationId="{0DE0318F-8CF2-63C3-7957-47AA844F2CBE}"/>
          </ac:picMkLst>
        </pc:picChg>
        <pc:picChg chg="add del mod">
          <ac:chgData name="de Bakker, Philip" userId="S::philip.de_bakker@student.reutlingen-university.de::da87f56e-ed00-42e3-b850-dc780f4865d5" providerId="AD" clId="Web-{8FB0C48C-738F-52F7-E3C7-903881CCAF3E}" dt="2025-01-13T11:45:03.920" v="115"/>
          <ac:picMkLst>
            <pc:docMk/>
            <pc:sldMk cId="857968287" sldId="367"/>
            <ac:picMk id="12" creationId="{C1F05B26-37DA-5506-88A5-CF83154B83B4}"/>
          </ac:picMkLst>
        </pc:picChg>
        <pc:picChg chg="add del mod">
          <ac:chgData name="de Bakker, Philip" userId="S::philip.de_bakker@student.reutlingen-university.de::da87f56e-ed00-42e3-b850-dc780f4865d5" providerId="AD" clId="Web-{8FB0C48C-738F-52F7-E3C7-903881CCAF3E}" dt="2025-01-13T11:45:02.498" v="114"/>
          <ac:picMkLst>
            <pc:docMk/>
            <pc:sldMk cId="857968287" sldId="367"/>
            <ac:picMk id="13" creationId="{ECCFF3E2-7267-B7E5-7367-D13FE57FA310}"/>
          </ac:picMkLst>
        </pc:picChg>
        <pc:picChg chg="add mod">
          <ac:chgData name="de Bakker, Philip" userId="S::philip.de_bakker@student.reutlingen-university.de::da87f56e-ed00-42e3-b850-dc780f4865d5" providerId="AD" clId="Web-{8FB0C48C-738F-52F7-E3C7-903881CCAF3E}" dt="2025-01-13T11:45:11.263" v="118" actId="1076"/>
          <ac:picMkLst>
            <pc:docMk/>
            <pc:sldMk cId="857968287" sldId="367"/>
            <ac:picMk id="14" creationId="{C37FF472-16B0-319F-558B-BCA815E16B50}"/>
          </ac:picMkLst>
        </pc:picChg>
      </pc:sldChg>
      <pc:sldChg chg="addSp delSp modSp add replId">
        <pc:chgData name="de Bakker, Philip" userId="S::philip.de_bakker@student.reutlingen-university.de::da87f56e-ed00-42e3-b850-dc780f4865d5" providerId="AD" clId="Web-{8FB0C48C-738F-52F7-E3C7-903881CCAF3E}" dt="2025-01-13T11:44:15.059" v="106" actId="1076"/>
        <pc:sldMkLst>
          <pc:docMk/>
          <pc:sldMk cId="2258676333" sldId="368"/>
        </pc:sldMkLst>
        <pc:picChg chg="add del mod">
          <ac:chgData name="de Bakker, Philip" userId="S::philip.de_bakker@student.reutlingen-university.de::da87f56e-ed00-42e3-b850-dc780f4865d5" providerId="AD" clId="Web-{8FB0C48C-738F-52F7-E3C7-903881CCAF3E}" dt="2025-01-13T11:43:54.137" v="103"/>
          <ac:picMkLst>
            <pc:docMk/>
            <pc:sldMk cId="2258676333" sldId="368"/>
            <ac:picMk id="3" creationId="{A4CAE220-6C71-22BD-1294-4481385CE14D}"/>
          </ac:picMkLst>
        </pc:picChg>
        <pc:picChg chg="add mod">
          <ac:chgData name="de Bakker, Philip" userId="S::philip.de_bakker@student.reutlingen-university.de::da87f56e-ed00-42e3-b850-dc780f4865d5" providerId="AD" clId="Web-{8FB0C48C-738F-52F7-E3C7-903881CCAF3E}" dt="2025-01-13T11:44:15.059" v="106" actId="1076"/>
          <ac:picMkLst>
            <pc:docMk/>
            <pc:sldMk cId="2258676333" sldId="368"/>
            <ac:picMk id="4" creationId="{428FF23A-68D8-06D5-27AE-825F6C945375}"/>
          </ac:picMkLst>
        </pc:picChg>
        <pc:picChg chg="del">
          <ac:chgData name="de Bakker, Philip" userId="S::philip.de_bakker@student.reutlingen-university.de::da87f56e-ed00-42e3-b850-dc780f4865d5" providerId="AD" clId="Web-{8FB0C48C-738F-52F7-E3C7-903881CCAF3E}" dt="2025-01-13T11:40:33.134" v="101"/>
          <ac:picMkLst>
            <pc:docMk/>
            <pc:sldMk cId="2258676333" sldId="368"/>
            <ac:picMk id="9" creationId="{BC118E00-CD91-4591-1007-0908FCBD963B}"/>
          </ac:picMkLst>
        </pc:picChg>
      </pc:sldChg>
      <pc:sldChg chg="add del">
        <pc:chgData name="de Bakker, Philip" userId="S::philip.de_bakker@student.reutlingen-university.de::da87f56e-ed00-42e3-b850-dc780f4865d5" providerId="AD" clId="Web-{8FB0C48C-738F-52F7-E3C7-903881CCAF3E}" dt="2025-01-13T11:33:09.534" v="66"/>
        <pc:sldMkLst>
          <pc:docMk/>
          <pc:sldMk cId="3837165171" sldId="2147475648"/>
        </pc:sldMkLst>
      </pc:sldChg>
      <pc:sldMasterChg chg="addSldLayout">
        <pc:chgData name="de Bakker, Philip" userId="S::philip.de_bakker@student.reutlingen-university.de::da87f56e-ed00-42e3-b850-dc780f4865d5" providerId="AD" clId="Web-{8FB0C48C-738F-52F7-E3C7-903881CCAF3E}" dt="2025-01-13T11:33:00.659" v="65"/>
        <pc:sldMasterMkLst>
          <pc:docMk/>
          <pc:sldMasterMk cId="0" sldId="2147483675"/>
        </pc:sldMasterMkLst>
        <pc:sldLayoutChg chg="add">
          <pc:chgData name="de Bakker, Philip" userId="S::philip.de_bakker@student.reutlingen-university.de::da87f56e-ed00-42e3-b850-dc780f4865d5" providerId="AD" clId="Web-{8FB0C48C-738F-52F7-E3C7-903881CCAF3E}" dt="2025-01-13T11:33:00.659" v="65"/>
          <pc:sldLayoutMkLst>
            <pc:docMk/>
            <pc:sldMasterMk cId="0" sldId="2147483675"/>
            <pc:sldLayoutMk cId="1232543616" sldId="2147483678"/>
          </pc:sldLayoutMkLst>
        </pc:sldLayoutChg>
      </pc:sldMasterChg>
    </pc:docChg>
  </pc:docChgLst>
  <pc:docChgLst>
    <pc:chgData name="Rottler, Liv" userId="S::liv.rottler@student.reutlingen-university.de::a078eb17-4cea-4bc4-84cc-b99500c3c450" providerId="AD" clId="Web-{D2B9A54D-29C6-9047-D963-3515C3874BAA}"/>
    <pc:docChg chg="addSld modSld modSection">
      <pc:chgData name="Rottler, Liv" userId="S::liv.rottler@student.reutlingen-university.de::a078eb17-4cea-4bc4-84cc-b99500c3c450" providerId="AD" clId="Web-{D2B9A54D-29C6-9047-D963-3515C3874BAA}" dt="2025-01-06T09:20:12.419" v="7"/>
      <pc:docMkLst>
        <pc:docMk/>
      </pc:docMkLst>
      <pc:sldChg chg="modSp">
        <pc:chgData name="Rottler, Liv" userId="S::liv.rottler@student.reutlingen-university.de::a078eb17-4cea-4bc4-84cc-b99500c3c450" providerId="AD" clId="Web-{D2B9A54D-29C6-9047-D963-3515C3874BAA}" dt="2025-01-06T09:10:43.824" v="1" actId="20577"/>
        <pc:sldMkLst>
          <pc:docMk/>
          <pc:sldMk cId="3657474177" sldId="319"/>
        </pc:sldMkLst>
        <pc:spChg chg="mod">
          <ac:chgData name="Rottler, Liv" userId="S::liv.rottler@student.reutlingen-university.de::a078eb17-4cea-4bc4-84cc-b99500c3c450" providerId="AD" clId="Web-{D2B9A54D-29C6-9047-D963-3515C3874BAA}" dt="2025-01-06T09:10:43.824" v="1" actId="20577"/>
          <ac:spMkLst>
            <pc:docMk/>
            <pc:sldMk cId="3657474177" sldId="319"/>
            <ac:spMk id="4" creationId="{0BB1C9C0-E844-145B-99A4-11E81100348D}"/>
          </ac:spMkLst>
        </pc:spChg>
      </pc:sldChg>
      <pc:sldChg chg="addSp delSp modSp new">
        <pc:chgData name="Rottler, Liv" userId="S::liv.rottler@student.reutlingen-university.de::a078eb17-4cea-4bc4-84cc-b99500c3c450" providerId="AD" clId="Web-{D2B9A54D-29C6-9047-D963-3515C3874BAA}" dt="2025-01-06T09:20:12.419" v="7"/>
        <pc:sldMkLst>
          <pc:docMk/>
          <pc:sldMk cId="4069161424" sldId="324"/>
        </pc:sldMkLst>
      </pc:sldChg>
    </pc:docChg>
  </pc:docChgLst>
  <pc:docChgLst>
    <pc:chgData name="Kayatas, Sinem (710)" userId="S::sinem.kayatas_daimlertruck.com#ext#@reutlingenuniversityde.onmicrosoft.com::768514dd-3739-4567-98cf-64d896456353" providerId="AD" clId="Web-{AB385941-8C25-A42C-117E-2CBCED3BA1C3}"/>
    <pc:docChg chg="addSld delSld modSld">
      <pc:chgData name="Kayatas, Sinem (710)" userId="S::sinem.kayatas_daimlertruck.com#ext#@reutlingenuniversityde.onmicrosoft.com::768514dd-3739-4567-98cf-64d896456353" providerId="AD" clId="Web-{AB385941-8C25-A42C-117E-2CBCED3BA1C3}" dt="2025-01-06T08:31:02.263" v="342"/>
      <pc:docMkLst>
        <pc:docMk/>
      </pc:docMkLst>
      <pc:sldChg chg="addSp delSp modSp new del">
        <pc:chgData name="Kayatas, Sinem (710)" userId="S::sinem.kayatas_daimlertruck.com#ext#@reutlingenuniversityde.onmicrosoft.com::768514dd-3739-4567-98cf-64d896456353" providerId="AD" clId="Web-{AB385941-8C25-A42C-117E-2CBCED3BA1C3}" dt="2025-01-04T20:28:43.639" v="131"/>
        <pc:sldMkLst>
          <pc:docMk/>
          <pc:sldMk cId="3460856699" sldId="309"/>
        </pc:sldMkLst>
      </pc:sldChg>
      <pc:sldChg chg="new del">
        <pc:chgData name="Kayatas, Sinem (710)" userId="S::sinem.kayatas_daimlertruck.com#ext#@reutlingenuniversityde.onmicrosoft.com::768514dd-3739-4567-98cf-64d896456353" providerId="AD" clId="Web-{AB385941-8C25-A42C-117E-2CBCED3BA1C3}" dt="2025-01-04T20:17:53.874" v="1"/>
        <pc:sldMkLst>
          <pc:docMk/>
          <pc:sldMk cId="4197678471" sldId="309"/>
        </pc:sldMkLst>
      </pc:sldChg>
      <pc:sldChg chg="modSp add">
        <pc:chgData name="Kayatas, Sinem (710)" userId="S::sinem.kayatas_daimlertruck.com#ext#@reutlingenuniversityde.onmicrosoft.com::768514dd-3739-4567-98cf-64d896456353" providerId="AD" clId="Web-{AB385941-8C25-A42C-117E-2CBCED3BA1C3}" dt="2025-01-04T20:28:36.858" v="130" actId="14100"/>
        <pc:sldMkLst>
          <pc:docMk/>
          <pc:sldMk cId="2431215773" sldId="310"/>
        </pc:sldMkLst>
        <pc:spChg chg="mod">
          <ac:chgData name="Kayatas, Sinem (710)" userId="S::sinem.kayatas_daimlertruck.com#ext#@reutlingenuniversityde.onmicrosoft.com::768514dd-3739-4567-98cf-64d896456353" providerId="AD" clId="Web-{AB385941-8C25-A42C-117E-2CBCED3BA1C3}" dt="2025-01-04T20:28:34.264" v="129" actId="14100"/>
          <ac:spMkLst>
            <pc:docMk/>
            <pc:sldMk cId="2431215773" sldId="310"/>
            <ac:spMk id="2" creationId="{84A1F18F-23D0-D3E0-A41E-EF029F92DB6C}"/>
          </ac:spMkLst>
        </pc:spChg>
        <pc:spChg chg="mod">
          <ac:chgData name="Kayatas, Sinem (710)" userId="S::sinem.kayatas_daimlertruck.com#ext#@reutlingenuniversityde.onmicrosoft.com::768514dd-3739-4567-98cf-64d896456353" providerId="AD" clId="Web-{AB385941-8C25-A42C-117E-2CBCED3BA1C3}" dt="2025-01-04T20:28:36.858" v="130" actId="14100"/>
          <ac:spMkLst>
            <pc:docMk/>
            <pc:sldMk cId="2431215773" sldId="310"/>
            <ac:spMk id="5" creationId="{EA2A8EED-DA4A-2196-AB01-DBA3B04D575E}"/>
          </ac:spMkLst>
        </pc:spChg>
        <pc:graphicFrameChg chg="mod modGraphic">
          <ac:chgData name="Kayatas, Sinem (710)" userId="S::sinem.kayatas_daimlertruck.com#ext#@reutlingenuniversityde.onmicrosoft.com::768514dd-3739-4567-98cf-64d896456353" providerId="AD" clId="Web-{AB385941-8C25-A42C-117E-2CBCED3BA1C3}" dt="2025-01-04T20:28:07.639" v="125"/>
          <ac:graphicFrameMkLst>
            <pc:docMk/>
            <pc:sldMk cId="2431215773" sldId="310"/>
            <ac:graphicFrameMk id="4" creationId="{DA01CDC7-59BA-2282-532A-E25EFC7C205A}"/>
          </ac:graphicFrameMkLst>
        </pc:graphicFrameChg>
      </pc:sldChg>
      <pc:sldChg chg="new del">
        <pc:chgData name="Kayatas, Sinem (710)" userId="S::sinem.kayatas_daimlertruck.com#ext#@reutlingenuniversityde.onmicrosoft.com::768514dd-3739-4567-98cf-64d896456353" providerId="AD" clId="Web-{AB385941-8C25-A42C-117E-2CBCED3BA1C3}" dt="2025-01-04T20:29:04.968" v="134"/>
        <pc:sldMkLst>
          <pc:docMk/>
          <pc:sldMk cId="3111607517" sldId="311"/>
        </pc:sldMkLst>
      </pc:sldChg>
      <pc:sldChg chg="modSp add">
        <pc:chgData name="Kayatas, Sinem (710)" userId="S::sinem.kayatas_daimlertruck.com#ext#@reutlingenuniversityde.onmicrosoft.com::768514dd-3739-4567-98cf-64d896456353" providerId="AD" clId="Web-{AB385941-8C25-A42C-117E-2CBCED3BA1C3}" dt="2025-01-04T20:29:17.078" v="148" actId="20577"/>
        <pc:sldMkLst>
          <pc:docMk/>
          <pc:sldMk cId="2517486238" sldId="312"/>
        </pc:sldMkLst>
        <pc:spChg chg="mod">
          <ac:chgData name="Kayatas, Sinem (710)" userId="S::sinem.kayatas_daimlertruck.com#ext#@reutlingenuniversityde.onmicrosoft.com::768514dd-3739-4567-98cf-64d896456353" providerId="AD" clId="Web-{AB385941-8C25-A42C-117E-2CBCED3BA1C3}" dt="2025-01-04T20:29:17.078" v="148" actId="20577"/>
          <ac:spMkLst>
            <pc:docMk/>
            <pc:sldMk cId="2517486238" sldId="312"/>
            <ac:spMk id="2" creationId="{C75FA53C-06E3-1FE1-60CC-FC4954F5D992}"/>
          </ac:spMkLst>
        </pc:spChg>
        <pc:graphicFrameChg chg="mod modGraphic">
          <ac:chgData name="Kayatas, Sinem (710)" userId="S::sinem.kayatas_daimlertruck.com#ext#@reutlingenuniversityde.onmicrosoft.com::768514dd-3739-4567-98cf-64d896456353" providerId="AD" clId="Web-{AB385941-8C25-A42C-117E-2CBCED3BA1C3}" dt="2025-01-04T20:29:12.218" v="147"/>
          <ac:graphicFrameMkLst>
            <pc:docMk/>
            <pc:sldMk cId="2517486238" sldId="312"/>
            <ac:graphicFrameMk id="4" creationId="{C22A1241-E0C8-7E64-60B1-5E58F79558E6}"/>
          </ac:graphicFrameMkLst>
        </pc:graphicFrameChg>
      </pc:sldChg>
      <pc:sldChg chg="new del">
        <pc:chgData name="Kayatas, Sinem (710)" userId="S::sinem.kayatas_daimlertruck.com#ext#@reutlingenuniversityde.onmicrosoft.com::768514dd-3739-4567-98cf-64d896456353" providerId="AD" clId="Web-{AB385941-8C25-A42C-117E-2CBCED3BA1C3}" dt="2025-01-04T20:29:34" v="151"/>
        <pc:sldMkLst>
          <pc:docMk/>
          <pc:sldMk cId="1387515743" sldId="313"/>
        </pc:sldMkLst>
      </pc:sldChg>
      <pc:sldChg chg="modSp add">
        <pc:chgData name="Kayatas, Sinem (710)" userId="S::sinem.kayatas_daimlertruck.com#ext#@reutlingenuniversityde.onmicrosoft.com::768514dd-3739-4567-98cf-64d896456353" providerId="AD" clId="Web-{AB385941-8C25-A42C-117E-2CBCED3BA1C3}" dt="2025-01-06T08:20:59.559" v="340" actId="1076"/>
        <pc:sldMkLst>
          <pc:docMk/>
          <pc:sldMk cId="2108382887" sldId="314"/>
        </pc:sldMkLst>
        <pc:spChg chg="mod">
          <ac:chgData name="Kayatas, Sinem (710)" userId="S::sinem.kayatas_daimlertruck.com#ext#@reutlingenuniversityde.onmicrosoft.com::768514dd-3739-4567-98cf-64d896456353" providerId="AD" clId="Web-{AB385941-8C25-A42C-117E-2CBCED3BA1C3}" dt="2025-01-04T20:30:19.923" v="176" actId="20577"/>
          <ac:spMkLst>
            <pc:docMk/>
            <pc:sldMk cId="2108382887" sldId="314"/>
            <ac:spMk id="2" creationId="{7862DE16-76D8-5A04-8C38-0D7396DDF01F}"/>
          </ac:spMkLst>
        </pc:spChg>
        <pc:spChg chg="mod">
          <ac:chgData name="Kayatas, Sinem (710)" userId="S::sinem.kayatas_daimlertruck.com#ext#@reutlingenuniversityde.onmicrosoft.com::768514dd-3739-4567-98cf-64d896456353" providerId="AD" clId="Web-{AB385941-8C25-A42C-117E-2CBCED3BA1C3}" dt="2025-01-04T20:30:14.892" v="174" actId="20577"/>
          <ac:spMkLst>
            <pc:docMk/>
            <pc:sldMk cId="2108382887" sldId="314"/>
            <ac:spMk id="6" creationId="{F9AD64D6-665F-B7A4-EDB0-DB11F76D7FC9}"/>
          </ac:spMkLst>
        </pc:spChg>
        <pc:spChg chg="mod">
          <ac:chgData name="Kayatas, Sinem (710)" userId="S::sinem.kayatas_daimlertruck.com#ext#@reutlingenuniversityde.onmicrosoft.com::768514dd-3739-4567-98cf-64d896456353" providerId="AD" clId="Web-{AB385941-8C25-A42C-117E-2CBCED3BA1C3}" dt="2025-01-06T08:20:41.777" v="335" actId="1076"/>
          <ac:spMkLst>
            <pc:docMk/>
            <pc:sldMk cId="2108382887" sldId="314"/>
            <ac:spMk id="7" creationId="{4F623946-E3C3-4528-5BFC-440CC6A13CA5}"/>
          </ac:spMkLst>
        </pc:spChg>
        <pc:spChg chg="mod">
          <ac:chgData name="Kayatas, Sinem (710)" userId="S::sinem.kayatas_daimlertruck.com#ext#@reutlingenuniversityde.onmicrosoft.com::768514dd-3739-4567-98cf-64d896456353" providerId="AD" clId="Web-{AB385941-8C25-A42C-117E-2CBCED3BA1C3}" dt="2025-01-06T08:20:47.371" v="336" actId="1076"/>
          <ac:spMkLst>
            <pc:docMk/>
            <pc:sldMk cId="2108382887" sldId="314"/>
            <ac:spMk id="8" creationId="{CF2D9A17-7FAE-4AFD-A3BB-F0C44852F9A5}"/>
          </ac:spMkLst>
        </pc:spChg>
        <pc:spChg chg="mod">
          <ac:chgData name="Kayatas, Sinem (710)" userId="S::sinem.kayatas_daimlertruck.com#ext#@reutlingenuniversityde.onmicrosoft.com::768514dd-3739-4567-98cf-64d896456353" providerId="AD" clId="Web-{AB385941-8C25-A42C-117E-2CBCED3BA1C3}" dt="2025-01-06T08:20:53.215" v="338" actId="1076"/>
          <ac:spMkLst>
            <pc:docMk/>
            <pc:sldMk cId="2108382887" sldId="314"/>
            <ac:spMk id="9" creationId="{45D2BC0C-290F-C935-849F-26DF14482F81}"/>
          </ac:spMkLst>
        </pc:spChg>
        <pc:spChg chg="mod">
          <ac:chgData name="Kayatas, Sinem (710)" userId="S::sinem.kayatas_daimlertruck.com#ext#@reutlingenuniversityde.onmicrosoft.com::768514dd-3739-4567-98cf-64d896456353" providerId="AD" clId="Web-{AB385941-8C25-A42C-117E-2CBCED3BA1C3}" dt="2025-01-06T08:20:59.559" v="340" actId="1076"/>
          <ac:spMkLst>
            <pc:docMk/>
            <pc:sldMk cId="2108382887" sldId="314"/>
            <ac:spMk id="10" creationId="{26A9ABD8-0D29-BFE6-8239-73A405212320}"/>
          </ac:spMkLst>
        </pc:spChg>
      </pc:sldChg>
      <pc:sldChg chg="new del">
        <pc:chgData name="Kayatas, Sinem (710)" userId="S::sinem.kayatas_daimlertruck.com#ext#@reutlingenuniversityde.onmicrosoft.com::768514dd-3739-4567-98cf-64d896456353" providerId="AD" clId="Web-{AB385941-8C25-A42C-117E-2CBCED3BA1C3}" dt="2025-01-04T20:30:42.533" v="179"/>
        <pc:sldMkLst>
          <pc:docMk/>
          <pc:sldMk cId="3442365774" sldId="315"/>
        </pc:sldMkLst>
      </pc:sldChg>
      <pc:sldChg chg="modSp add mod modShow">
        <pc:chgData name="Kayatas, Sinem (710)" userId="S::sinem.kayatas_daimlertruck.com#ext#@reutlingenuniversityde.onmicrosoft.com::768514dd-3739-4567-98cf-64d896456353" providerId="AD" clId="Web-{AB385941-8C25-A42C-117E-2CBCED3BA1C3}" dt="2025-01-06T08:26:13.848" v="341"/>
        <pc:sldMkLst>
          <pc:docMk/>
          <pc:sldMk cId="2920682847" sldId="316"/>
        </pc:sldMkLst>
        <pc:spChg chg="mod">
          <ac:chgData name="Kayatas, Sinem (710)" userId="S::sinem.kayatas_daimlertruck.com#ext#@reutlingenuniversityde.onmicrosoft.com::768514dd-3739-4567-98cf-64d896456353" providerId="AD" clId="Web-{AB385941-8C25-A42C-117E-2CBCED3BA1C3}" dt="2025-01-04T20:33:02.665" v="197" actId="20577"/>
          <ac:spMkLst>
            <pc:docMk/>
            <pc:sldMk cId="2920682847" sldId="316"/>
            <ac:spMk id="2" creationId="{B98DE98A-BF53-2DCA-E57D-934EB505D771}"/>
          </ac:spMkLst>
        </pc:spChg>
        <pc:graphicFrameChg chg="mod modGraphic">
          <ac:chgData name="Kayatas, Sinem (710)" userId="S::sinem.kayatas_daimlertruck.com#ext#@reutlingenuniversityde.onmicrosoft.com::768514dd-3739-4567-98cf-64d896456353" providerId="AD" clId="Web-{AB385941-8C25-A42C-117E-2CBCED3BA1C3}" dt="2025-01-04T20:30:53.892" v="196"/>
          <ac:graphicFrameMkLst>
            <pc:docMk/>
            <pc:sldMk cId="2920682847" sldId="316"/>
            <ac:graphicFrameMk id="4" creationId="{F8A0FFD8-ACAA-03F3-4DEB-0A2566C41395}"/>
          </ac:graphicFrameMkLst>
        </pc:graphicFrameChg>
      </pc:sldChg>
      <pc:sldChg chg="new del">
        <pc:chgData name="Kayatas, Sinem (710)" userId="S::sinem.kayatas_daimlertruck.com#ext#@reutlingenuniversityde.onmicrosoft.com::768514dd-3739-4567-98cf-64d896456353" providerId="AD" clId="Web-{AB385941-8C25-A42C-117E-2CBCED3BA1C3}" dt="2025-01-04T20:43:09.007" v="326"/>
        <pc:sldMkLst>
          <pc:docMk/>
          <pc:sldMk cId="682833859" sldId="317"/>
        </pc:sldMkLst>
      </pc:sldChg>
      <pc:sldChg chg="new del">
        <pc:chgData name="Kayatas, Sinem (710)" userId="S::sinem.kayatas_daimlertruck.com#ext#@reutlingenuniversityde.onmicrosoft.com::768514dd-3739-4567-98cf-64d896456353" providerId="AD" clId="Web-{AB385941-8C25-A42C-117E-2CBCED3BA1C3}" dt="2025-01-04T20:38:26.204" v="278"/>
        <pc:sldMkLst>
          <pc:docMk/>
          <pc:sldMk cId="2628989416" sldId="317"/>
        </pc:sldMkLst>
      </pc:sldChg>
      <pc:sldChg chg="delSp modSp add del mod modShow">
        <pc:chgData name="Kayatas, Sinem (710)" userId="S::sinem.kayatas_daimlertruck.com#ext#@reutlingenuniversityde.onmicrosoft.com::768514dd-3739-4567-98cf-64d896456353" providerId="AD" clId="Web-{AB385941-8C25-A42C-117E-2CBCED3BA1C3}" dt="2025-01-06T08:16:52.396" v="333"/>
        <pc:sldMkLst>
          <pc:docMk/>
          <pc:sldMk cId="1072091939" sldId="318"/>
        </pc:sldMkLst>
        <pc:spChg chg="mod">
          <ac:chgData name="Kayatas, Sinem (710)" userId="S::sinem.kayatas_daimlertruck.com#ext#@reutlingenuniversityde.onmicrosoft.com::768514dd-3739-4567-98cf-64d896456353" providerId="AD" clId="Web-{AB385941-8C25-A42C-117E-2CBCED3BA1C3}" dt="2025-01-04T20:43:17.616" v="329" actId="14100"/>
          <ac:spMkLst>
            <pc:docMk/>
            <pc:sldMk cId="1072091939" sldId="318"/>
            <ac:spMk id="2" creationId="{80D3DD31-0350-2C97-B263-37C51C76ACD0}"/>
          </ac:spMkLst>
        </pc:spChg>
        <pc:graphicFrameChg chg="mod modGraphic">
          <ac:chgData name="Kayatas, Sinem (710)" userId="S::sinem.kayatas_daimlertruck.com#ext#@reutlingenuniversityde.onmicrosoft.com::768514dd-3739-4567-98cf-64d896456353" providerId="AD" clId="Web-{AB385941-8C25-A42C-117E-2CBCED3BA1C3}" dt="2025-01-04T20:43:28.038" v="331"/>
          <ac:graphicFrameMkLst>
            <pc:docMk/>
            <pc:sldMk cId="1072091939" sldId="318"/>
            <ac:graphicFrameMk id="4" creationId="{8E613696-B129-0C9F-24F6-BD5A2B34B8AB}"/>
          </ac:graphicFrameMkLst>
        </pc:graphicFrameChg>
      </pc:sldChg>
      <pc:sldChg chg="mod modShow">
        <pc:chgData name="Kayatas, Sinem (710)" userId="S::sinem.kayatas_daimlertruck.com#ext#@reutlingenuniversityde.onmicrosoft.com::768514dd-3739-4567-98cf-64d896456353" providerId="AD" clId="Web-{AB385941-8C25-A42C-117E-2CBCED3BA1C3}" dt="2025-01-06T08:31:02.263" v="342"/>
        <pc:sldMkLst>
          <pc:docMk/>
          <pc:sldMk cId="48557679" sldId="323"/>
        </pc:sldMkLst>
      </pc:sldChg>
      <pc:sldMasterChg chg="addSldLayout">
        <pc:chgData name="Kayatas, Sinem (710)" userId="S::sinem.kayatas_daimlertruck.com#ext#@reutlingenuniversityde.onmicrosoft.com::768514dd-3739-4567-98cf-64d896456353" providerId="AD" clId="Web-{AB385941-8C25-A42C-117E-2CBCED3BA1C3}" dt="2025-01-04T20:27:25.575" v="101"/>
        <pc:sldMasterMkLst>
          <pc:docMk/>
          <pc:sldMasterMk cId="0" sldId="2147483675"/>
        </pc:sldMasterMkLst>
        <pc:sldLayoutChg chg="add replId">
          <pc:chgData name="Kayatas, Sinem (710)" userId="S::sinem.kayatas_daimlertruck.com#ext#@reutlingenuniversityde.onmicrosoft.com::768514dd-3739-4567-98cf-64d896456353" providerId="AD" clId="Web-{AB385941-8C25-A42C-117E-2CBCED3BA1C3}" dt="2025-01-04T20:27:25.575" v="101"/>
          <pc:sldLayoutMkLst>
            <pc:docMk/>
            <pc:sldMasterMk cId="0" sldId="2147483675"/>
            <pc:sldLayoutMk cId="3379674678" sldId="2147483677"/>
          </pc:sldLayoutMkLst>
        </pc:sldLayoutChg>
      </pc:sldMasterChg>
    </pc:docChg>
  </pc:docChgLst>
  <pc:docChgLst>
    <pc:chgData name="Kayatas, Sinem" userId="5031fa3d-1ae0-41de-83a0-488c250e9385" providerId="ADAL" clId="{07D35378-3884-4A6E-B125-B864B2A11E5B}"/>
    <pc:docChg chg="modSld">
      <pc:chgData name="Kayatas, Sinem" userId="5031fa3d-1ae0-41de-83a0-488c250e9385" providerId="ADAL" clId="{07D35378-3884-4A6E-B125-B864B2A11E5B}" dt="2025-01-10T20:22:12.600" v="5" actId="692"/>
      <pc:docMkLst>
        <pc:docMk/>
      </pc:docMkLst>
      <pc:sldChg chg="modSp mod">
        <pc:chgData name="Kayatas, Sinem" userId="5031fa3d-1ae0-41de-83a0-488c250e9385" providerId="ADAL" clId="{07D35378-3884-4A6E-B125-B864B2A11E5B}" dt="2025-01-10T20:22:12.600" v="5" actId="692"/>
        <pc:sldMkLst>
          <pc:docMk/>
          <pc:sldMk cId="2736734302" sldId="344"/>
        </pc:sldMkLst>
        <pc:spChg chg="mod">
          <ac:chgData name="Kayatas, Sinem" userId="5031fa3d-1ae0-41de-83a0-488c250e9385" providerId="ADAL" clId="{07D35378-3884-4A6E-B125-B864B2A11E5B}" dt="2025-01-10T20:22:12.600" v="5" actId="692"/>
          <ac:spMkLst>
            <pc:docMk/>
            <pc:sldMk cId="2736734302" sldId="344"/>
            <ac:spMk id="3" creationId="{051C3B2E-9E95-A1FD-612D-D78C374933E2}"/>
          </ac:spMkLst>
        </pc:spChg>
      </pc:sldChg>
    </pc:docChg>
  </pc:docChgLst>
  <pc:docChgLst>
    <pc:chgData name="Kayatas, Sinem (710)" userId="S::sinem.kayatas_daimlertruck.com#ext#@reutlingenuniversityde.onmicrosoft.com::768514dd-3739-4567-98cf-64d896456353" providerId="AD" clId="Web-{7C8C47FE-49BB-8C55-9CC2-D41C415BFF46}"/>
    <pc:docChg chg="modSld">
      <pc:chgData name="Kayatas, Sinem (710)" userId="S::sinem.kayatas_daimlertruck.com#ext#@reutlingenuniversityde.onmicrosoft.com::768514dd-3739-4567-98cf-64d896456353" providerId="AD" clId="Web-{7C8C47FE-49BB-8C55-9CC2-D41C415BFF46}" dt="2025-01-10T20:21:29.127" v="14" actId="1076"/>
      <pc:docMkLst>
        <pc:docMk/>
      </pc:docMkLst>
      <pc:sldChg chg="addSp modSp">
        <pc:chgData name="Kayatas, Sinem (710)" userId="S::sinem.kayatas_daimlertruck.com#ext#@reutlingenuniversityde.onmicrosoft.com::768514dd-3739-4567-98cf-64d896456353" providerId="AD" clId="Web-{7C8C47FE-49BB-8C55-9CC2-D41C415BFF46}" dt="2025-01-10T20:21:29.127" v="14" actId="1076"/>
        <pc:sldMkLst>
          <pc:docMk/>
          <pc:sldMk cId="2736734302" sldId="344"/>
        </pc:sldMkLst>
        <pc:spChg chg="add mod">
          <ac:chgData name="Kayatas, Sinem (710)" userId="S::sinem.kayatas_daimlertruck.com#ext#@reutlingenuniversityde.onmicrosoft.com::768514dd-3739-4567-98cf-64d896456353" providerId="AD" clId="Web-{7C8C47FE-49BB-8C55-9CC2-D41C415BFF46}" dt="2025-01-10T20:21:29.127" v="14" actId="1076"/>
          <ac:spMkLst>
            <pc:docMk/>
            <pc:sldMk cId="2736734302" sldId="344"/>
            <ac:spMk id="3" creationId="{051C3B2E-9E95-A1FD-612D-D78C374933E2}"/>
          </ac:spMkLst>
        </pc:spChg>
        <pc:spChg chg="mod">
          <ac:chgData name="Kayatas, Sinem (710)" userId="S::sinem.kayatas_daimlertruck.com#ext#@reutlingenuniversityde.onmicrosoft.com::768514dd-3739-4567-98cf-64d896456353" providerId="AD" clId="Web-{7C8C47FE-49BB-8C55-9CC2-D41C415BFF46}" dt="2025-01-10T20:18:25.682" v="1" actId="20577"/>
          <ac:spMkLst>
            <pc:docMk/>
            <pc:sldMk cId="2736734302" sldId="344"/>
            <ac:spMk id="8" creationId="{D4E8B3BE-232D-9192-7F65-CB945C3249D7}"/>
          </ac:spMkLst>
        </pc:spChg>
      </pc:sldChg>
    </pc:docChg>
  </pc:docChgLst>
  <pc:docChgLst>
    <pc:chgData name="Willig, Katharina" userId="S::katharina.willig@student.reutlingen-university.de::3c0ab8a1-9bbb-4e0e-aa5f-880623f24d8c" providerId="AD" clId="Web-{44DF278D-A61D-5B6C-2A3E-FBCA501C4399}"/>
    <pc:docChg chg="addSld delSld modSld sldOrd modSection">
      <pc:chgData name="Willig, Katharina" userId="S::katharina.willig@student.reutlingen-university.de::3c0ab8a1-9bbb-4e0e-aa5f-880623f24d8c" providerId="AD" clId="Web-{44DF278D-A61D-5B6C-2A3E-FBCA501C4399}" dt="2025-01-12T20:59:03.452" v="339" actId="20577"/>
      <pc:docMkLst>
        <pc:docMk/>
      </pc:docMkLst>
      <pc:sldChg chg="modSp new">
        <pc:chgData name="Willig, Katharina" userId="S::katharina.willig@student.reutlingen-university.de::3c0ab8a1-9bbb-4e0e-aa5f-880623f24d8c" providerId="AD" clId="Web-{44DF278D-A61D-5B6C-2A3E-FBCA501C4399}" dt="2025-01-12T20:40:59.961" v="200" actId="20577"/>
        <pc:sldMkLst>
          <pc:docMk/>
          <pc:sldMk cId="2698038996" sldId="349"/>
        </pc:sldMkLst>
        <pc:spChg chg="mod">
          <ac:chgData name="Willig, Katharina" userId="S::katharina.willig@student.reutlingen-university.de::3c0ab8a1-9bbb-4e0e-aa5f-880623f24d8c" providerId="AD" clId="Web-{44DF278D-A61D-5B6C-2A3E-FBCA501C4399}" dt="2025-01-12T20:40:59.961" v="200" actId="20577"/>
          <ac:spMkLst>
            <pc:docMk/>
            <pc:sldMk cId="2698038996" sldId="349"/>
            <ac:spMk id="2" creationId="{B675F64F-4228-B194-49CD-111B5B28F34D}"/>
          </ac:spMkLst>
        </pc:spChg>
        <pc:spChg chg="mod">
          <ac:chgData name="Willig, Katharina" userId="S::katharina.willig@student.reutlingen-university.de::3c0ab8a1-9bbb-4e0e-aa5f-880623f24d8c" providerId="AD" clId="Web-{44DF278D-A61D-5B6C-2A3E-FBCA501C4399}" dt="2025-01-12T20:40:48.210" v="192" actId="20577"/>
          <ac:spMkLst>
            <pc:docMk/>
            <pc:sldMk cId="2698038996" sldId="349"/>
            <ac:spMk id="3" creationId="{CC572D32-64D5-E7E1-84E6-77C59FA249BE}"/>
          </ac:spMkLst>
        </pc:spChg>
      </pc:sldChg>
      <pc:sldChg chg="modSp add ord replId">
        <pc:chgData name="Willig, Katharina" userId="S::katharina.willig@student.reutlingen-university.de::3c0ab8a1-9bbb-4e0e-aa5f-880623f24d8c" providerId="AD" clId="Web-{44DF278D-A61D-5B6C-2A3E-FBCA501C4399}" dt="2025-01-12T20:50:44.575" v="287" actId="20577"/>
        <pc:sldMkLst>
          <pc:docMk/>
          <pc:sldMk cId="1623946320" sldId="350"/>
        </pc:sldMkLst>
        <pc:spChg chg="mod">
          <ac:chgData name="Willig, Katharina" userId="S::katharina.willig@student.reutlingen-university.de::3c0ab8a1-9bbb-4e0e-aa5f-880623f24d8c" providerId="AD" clId="Web-{44DF278D-A61D-5B6C-2A3E-FBCA501C4399}" dt="2025-01-12T20:50:44.575" v="287" actId="20577"/>
          <ac:spMkLst>
            <pc:docMk/>
            <pc:sldMk cId="1623946320" sldId="350"/>
            <ac:spMk id="2" creationId="{B675F64F-4228-B194-49CD-111B5B28F34D}"/>
          </ac:spMkLst>
        </pc:spChg>
        <pc:spChg chg="mod">
          <ac:chgData name="Willig, Katharina" userId="S::katharina.willig@student.reutlingen-university.de::3c0ab8a1-9bbb-4e0e-aa5f-880623f24d8c" providerId="AD" clId="Web-{44DF278D-A61D-5B6C-2A3E-FBCA501C4399}" dt="2025-01-12T20:47:45.006" v="257" actId="20577"/>
          <ac:spMkLst>
            <pc:docMk/>
            <pc:sldMk cId="1623946320" sldId="350"/>
            <ac:spMk id="3" creationId="{CC572D32-64D5-E7E1-84E6-77C59FA249BE}"/>
          </ac:spMkLst>
        </pc:spChg>
      </pc:sldChg>
      <pc:sldChg chg="modSp add replId">
        <pc:chgData name="Willig, Katharina" userId="S::katharina.willig@student.reutlingen-university.de::3c0ab8a1-9bbb-4e0e-aa5f-880623f24d8c" providerId="AD" clId="Web-{44DF278D-A61D-5B6C-2A3E-FBCA501C4399}" dt="2025-01-12T20:41:07.539" v="202" actId="20577"/>
        <pc:sldMkLst>
          <pc:docMk/>
          <pc:sldMk cId="1986675776" sldId="351"/>
        </pc:sldMkLst>
        <pc:spChg chg="mod">
          <ac:chgData name="Willig, Katharina" userId="S::katharina.willig@student.reutlingen-university.de::3c0ab8a1-9bbb-4e0e-aa5f-880623f24d8c" providerId="AD" clId="Web-{44DF278D-A61D-5B6C-2A3E-FBCA501C4399}" dt="2025-01-12T20:41:07.539" v="202" actId="20577"/>
          <ac:spMkLst>
            <pc:docMk/>
            <pc:sldMk cId="1986675776" sldId="351"/>
            <ac:spMk id="3" creationId="{CC572D32-64D5-E7E1-84E6-77C59FA249BE}"/>
          </ac:spMkLst>
        </pc:spChg>
      </pc:sldChg>
      <pc:sldChg chg="modSp add replId">
        <pc:chgData name="Willig, Katharina" userId="S::katharina.willig@student.reutlingen-university.de::3c0ab8a1-9bbb-4e0e-aa5f-880623f24d8c" providerId="AD" clId="Web-{44DF278D-A61D-5B6C-2A3E-FBCA501C4399}" dt="2025-01-12T20:52:53.282" v="326" actId="20577"/>
        <pc:sldMkLst>
          <pc:docMk/>
          <pc:sldMk cId="1111659731" sldId="352"/>
        </pc:sldMkLst>
        <pc:spChg chg="mod">
          <ac:chgData name="Willig, Katharina" userId="S::katharina.willig@student.reutlingen-university.de::3c0ab8a1-9bbb-4e0e-aa5f-880623f24d8c" providerId="AD" clId="Web-{44DF278D-A61D-5B6C-2A3E-FBCA501C4399}" dt="2025-01-12T20:51:56.890" v="312" actId="20577"/>
          <ac:spMkLst>
            <pc:docMk/>
            <pc:sldMk cId="1111659731" sldId="352"/>
            <ac:spMk id="2" creationId="{B675F64F-4228-B194-49CD-111B5B28F34D}"/>
          </ac:spMkLst>
        </pc:spChg>
        <pc:spChg chg="mod">
          <ac:chgData name="Willig, Katharina" userId="S::katharina.willig@student.reutlingen-university.de::3c0ab8a1-9bbb-4e0e-aa5f-880623f24d8c" providerId="AD" clId="Web-{44DF278D-A61D-5B6C-2A3E-FBCA501C4399}" dt="2025-01-12T20:52:53.282" v="326" actId="20577"/>
          <ac:spMkLst>
            <pc:docMk/>
            <pc:sldMk cId="1111659731" sldId="352"/>
            <ac:spMk id="3" creationId="{CC572D32-64D5-E7E1-84E6-77C59FA249BE}"/>
          </ac:spMkLst>
        </pc:spChg>
      </pc:sldChg>
      <pc:sldChg chg="modSp add del replId">
        <pc:chgData name="Willig, Katharina" userId="S::katharina.willig@student.reutlingen-university.de::3c0ab8a1-9bbb-4e0e-aa5f-880623f24d8c" providerId="AD" clId="Web-{44DF278D-A61D-5B6C-2A3E-FBCA501C4399}" dt="2025-01-12T20:53:30.659" v="327"/>
        <pc:sldMkLst>
          <pc:docMk/>
          <pc:sldMk cId="2788157051" sldId="353"/>
        </pc:sldMkLst>
        <pc:spChg chg="mod">
          <ac:chgData name="Willig, Katharina" userId="S::katharina.willig@student.reutlingen-university.de::3c0ab8a1-9bbb-4e0e-aa5f-880623f24d8c" providerId="AD" clId="Web-{44DF278D-A61D-5B6C-2A3E-FBCA501C4399}" dt="2025-01-12T20:35:26.668" v="158" actId="20577"/>
          <ac:spMkLst>
            <pc:docMk/>
            <pc:sldMk cId="2788157051" sldId="353"/>
            <ac:spMk id="3" creationId="{CC572D32-64D5-E7E1-84E6-77C59FA249BE}"/>
          </ac:spMkLst>
        </pc:spChg>
      </pc:sldChg>
      <pc:sldChg chg="modSp add del replId">
        <pc:chgData name="Willig, Katharina" userId="S::katharina.willig@student.reutlingen-university.de::3c0ab8a1-9bbb-4e0e-aa5f-880623f24d8c" providerId="AD" clId="Web-{44DF278D-A61D-5B6C-2A3E-FBCA501C4399}" dt="2025-01-12T20:53:32.799" v="328"/>
        <pc:sldMkLst>
          <pc:docMk/>
          <pc:sldMk cId="888854249" sldId="354"/>
        </pc:sldMkLst>
        <pc:spChg chg="mod">
          <ac:chgData name="Willig, Katharina" userId="S::katharina.willig@student.reutlingen-university.de::3c0ab8a1-9bbb-4e0e-aa5f-880623f24d8c" providerId="AD" clId="Web-{44DF278D-A61D-5B6C-2A3E-FBCA501C4399}" dt="2025-01-12T20:35:44.278" v="164" actId="20577"/>
          <ac:spMkLst>
            <pc:docMk/>
            <pc:sldMk cId="888854249" sldId="354"/>
            <ac:spMk id="3" creationId="{CC572D32-64D5-E7E1-84E6-77C59FA249BE}"/>
          </ac:spMkLst>
        </pc:spChg>
      </pc:sldChg>
      <pc:sldChg chg="modSp add ord replId">
        <pc:chgData name="Willig, Katharina" userId="S::katharina.willig@student.reutlingen-university.de::3c0ab8a1-9bbb-4e0e-aa5f-880623f24d8c" providerId="AD" clId="Web-{44DF278D-A61D-5B6C-2A3E-FBCA501C4399}" dt="2025-01-12T20:51:03.372" v="294" actId="20577"/>
        <pc:sldMkLst>
          <pc:docMk/>
          <pc:sldMk cId="3439420667" sldId="355"/>
        </pc:sldMkLst>
        <pc:spChg chg="mod">
          <ac:chgData name="Willig, Katharina" userId="S::katharina.willig@student.reutlingen-university.de::3c0ab8a1-9bbb-4e0e-aa5f-880623f24d8c" providerId="AD" clId="Web-{44DF278D-A61D-5B6C-2A3E-FBCA501C4399}" dt="2025-01-12T20:51:03.372" v="294" actId="20577"/>
          <ac:spMkLst>
            <pc:docMk/>
            <pc:sldMk cId="3439420667" sldId="355"/>
            <ac:spMk id="2" creationId="{B675F64F-4228-B194-49CD-111B5B28F34D}"/>
          </ac:spMkLst>
        </pc:spChg>
        <pc:spChg chg="mod">
          <ac:chgData name="Willig, Katharina" userId="S::katharina.willig@student.reutlingen-university.de::3c0ab8a1-9bbb-4e0e-aa5f-880623f24d8c" providerId="AD" clId="Web-{44DF278D-A61D-5B6C-2A3E-FBCA501C4399}" dt="2025-01-12T20:48:30.242" v="272" actId="20577"/>
          <ac:spMkLst>
            <pc:docMk/>
            <pc:sldMk cId="3439420667" sldId="355"/>
            <ac:spMk id="3" creationId="{CC572D32-64D5-E7E1-84E6-77C59FA249BE}"/>
          </ac:spMkLst>
        </pc:spChg>
      </pc:sldChg>
      <pc:sldChg chg="add replId">
        <pc:chgData name="Willig, Katharina" userId="S::katharina.willig@student.reutlingen-university.de::3c0ab8a1-9bbb-4e0e-aa5f-880623f24d8c" providerId="AD" clId="Web-{44DF278D-A61D-5B6C-2A3E-FBCA501C4399}" dt="2025-01-12T20:40:38.429" v="189"/>
        <pc:sldMkLst>
          <pc:docMk/>
          <pc:sldMk cId="1982833915" sldId="356"/>
        </pc:sldMkLst>
      </pc:sldChg>
      <pc:sldChg chg="modSp new">
        <pc:chgData name="Willig, Katharina" userId="S::katharina.willig@student.reutlingen-university.de::3c0ab8a1-9bbb-4e0e-aa5f-880623f24d8c" providerId="AD" clId="Web-{44DF278D-A61D-5B6C-2A3E-FBCA501C4399}" dt="2025-01-12T20:59:03.452" v="339" actId="20577"/>
        <pc:sldMkLst>
          <pc:docMk/>
          <pc:sldMk cId="2754504794" sldId="357"/>
        </pc:sldMkLst>
        <pc:spChg chg="mod">
          <ac:chgData name="Willig, Katharina" userId="S::katharina.willig@student.reutlingen-university.de::3c0ab8a1-9bbb-4e0e-aa5f-880623f24d8c" providerId="AD" clId="Web-{44DF278D-A61D-5B6C-2A3E-FBCA501C4399}" dt="2025-01-12T20:55:18.725" v="331" actId="20577"/>
          <ac:spMkLst>
            <pc:docMk/>
            <pc:sldMk cId="2754504794" sldId="357"/>
            <ac:spMk id="2" creationId="{2BB63C31-41E1-7EB7-DA4A-E6E01A937E88}"/>
          </ac:spMkLst>
        </pc:spChg>
        <pc:spChg chg="mod">
          <ac:chgData name="Willig, Katharina" userId="S::katharina.willig@student.reutlingen-university.de::3c0ab8a1-9bbb-4e0e-aa5f-880623f24d8c" providerId="AD" clId="Web-{44DF278D-A61D-5B6C-2A3E-FBCA501C4399}" dt="2025-01-12T20:59:03.452" v="339" actId="20577"/>
          <ac:spMkLst>
            <pc:docMk/>
            <pc:sldMk cId="2754504794" sldId="357"/>
            <ac:spMk id="3" creationId="{195EF4AC-F13B-57A5-3FD6-38AC0E3DF9D6}"/>
          </ac:spMkLst>
        </pc:spChg>
      </pc:sldChg>
    </pc:docChg>
  </pc:docChgLst>
  <pc:docChgLst>
    <pc:chgData name="Fahrner, Michelle" userId="S::michelle.fahrner@student.reutlingen-university.de::7672c29c-0219-4e1e-943d-44b255e75464" providerId="AD" clId="Web-{D0EB1D9A-AF1E-2B61-CD11-D8BE773E8C50}"/>
    <pc:docChg chg="sldOrd addSection modSection">
      <pc:chgData name="Fahrner, Michelle" userId="S::michelle.fahrner@student.reutlingen-university.de::7672c29c-0219-4e1e-943d-44b255e75464" providerId="AD" clId="Web-{D0EB1D9A-AF1E-2B61-CD11-D8BE773E8C50}" dt="2025-01-05T10:03:04.608" v="4"/>
      <pc:docMkLst>
        <pc:docMk/>
      </pc:docMkLst>
      <pc:sldChg chg="ord">
        <pc:chgData name="Fahrner, Michelle" userId="S::michelle.fahrner@student.reutlingen-university.de::7672c29c-0219-4e1e-943d-44b255e75464" providerId="AD" clId="Web-{D0EB1D9A-AF1E-2B61-CD11-D8BE773E8C50}" dt="2025-01-05T10:03:04.608" v="4"/>
        <pc:sldMkLst>
          <pc:docMk/>
          <pc:sldMk cId="0" sldId="257"/>
        </pc:sldMkLst>
      </pc:sldChg>
    </pc:docChg>
  </pc:docChgLst>
  <pc:docChgLst>
    <pc:chgData name="Erman, Dominik" userId="S::dominik.erman@student.reutlingen-university.de::4fb193da-0ad7-4eb0-a496-4da35b94c70c" providerId="AD" clId="Web-{83CCD963-C46C-63FC-D42A-430C31DCFDCE}"/>
    <pc:docChg chg="addSld delSld modSld sldOrd modSection">
      <pc:chgData name="Erman, Dominik" userId="S::dominik.erman@student.reutlingen-university.de::4fb193da-0ad7-4eb0-a496-4da35b94c70c" providerId="AD" clId="Web-{83CCD963-C46C-63FC-D42A-430C31DCFDCE}" dt="2025-01-12T22:42:06.493" v="639" actId="1076"/>
      <pc:docMkLst>
        <pc:docMk/>
      </pc:docMkLst>
      <pc:sldChg chg="addSp delSp modSp new ord">
        <pc:chgData name="Erman, Dominik" userId="S::dominik.erman@student.reutlingen-university.de::4fb193da-0ad7-4eb0-a496-4da35b94c70c" providerId="AD" clId="Web-{83CCD963-C46C-63FC-D42A-430C31DCFDCE}" dt="2025-01-12T22:17:38.201" v="219"/>
        <pc:sldMkLst>
          <pc:docMk/>
          <pc:sldMk cId="3063671922" sldId="358"/>
        </pc:sldMkLst>
        <pc:spChg chg="mod">
          <ac:chgData name="Erman, Dominik" userId="S::dominik.erman@student.reutlingen-university.de::4fb193da-0ad7-4eb0-a496-4da35b94c70c" providerId="AD" clId="Web-{83CCD963-C46C-63FC-D42A-430C31DCFDCE}" dt="2025-01-12T21:58:31.323" v="20" actId="20577"/>
          <ac:spMkLst>
            <pc:docMk/>
            <pc:sldMk cId="3063671922" sldId="358"/>
            <ac:spMk id="2" creationId="{CBC95856-1A89-857D-FA2F-D016ED85EE37}"/>
          </ac:spMkLst>
        </pc:spChg>
        <pc:spChg chg="mod">
          <ac:chgData name="Erman, Dominik" userId="S::dominik.erman@student.reutlingen-university.de::4fb193da-0ad7-4eb0-a496-4da35b94c70c" providerId="AD" clId="Web-{83CCD963-C46C-63FC-D42A-430C31DCFDCE}" dt="2025-01-12T22:10:40.796" v="117" actId="20577"/>
          <ac:spMkLst>
            <pc:docMk/>
            <pc:sldMk cId="3063671922" sldId="358"/>
            <ac:spMk id="3" creationId="{0866A2E3-DF7B-65BA-CC7D-36EA193B9F7B}"/>
          </ac:spMkLst>
        </pc:spChg>
        <pc:spChg chg="add mod">
          <ac:chgData name="Erman, Dominik" userId="S::dominik.erman@student.reutlingen-university.de::4fb193da-0ad7-4eb0-a496-4da35b94c70c" providerId="AD" clId="Web-{83CCD963-C46C-63FC-D42A-430C31DCFDCE}" dt="2025-01-12T22:11:12.610" v="127" actId="1076"/>
          <ac:spMkLst>
            <pc:docMk/>
            <pc:sldMk cId="3063671922" sldId="358"/>
            <ac:spMk id="4" creationId="{3A352525-7773-C4B9-E57E-22C618668A30}"/>
          </ac:spMkLst>
        </pc:spChg>
        <pc:spChg chg="add del mod">
          <ac:chgData name="Erman, Dominik" userId="S::dominik.erman@student.reutlingen-university.de::4fb193da-0ad7-4eb0-a496-4da35b94c70c" providerId="AD" clId="Web-{83CCD963-C46C-63FC-D42A-430C31DCFDCE}" dt="2025-01-12T21:58:40.745" v="23"/>
          <ac:spMkLst>
            <pc:docMk/>
            <pc:sldMk cId="3063671922" sldId="358"/>
            <ac:spMk id="4" creationId="{4FBE4B81-6D1B-1D8B-B473-13B76791B4E7}"/>
          </ac:spMkLst>
        </pc:spChg>
        <pc:picChg chg="add del mod">
          <ac:chgData name="Erman, Dominik" userId="S::dominik.erman@student.reutlingen-university.de::4fb193da-0ad7-4eb0-a496-4da35b94c70c" providerId="AD" clId="Web-{83CCD963-C46C-63FC-D42A-430C31DCFDCE}" dt="2025-01-12T22:17:38.201" v="219"/>
          <ac:picMkLst>
            <pc:docMk/>
            <pc:sldMk cId="3063671922" sldId="358"/>
            <ac:picMk id="5" creationId="{63EB8702-14A6-1C30-9BDF-309A485212B6}"/>
          </ac:picMkLst>
        </pc:picChg>
      </pc:sldChg>
      <pc:sldChg chg="addSp delSp modSp add replId">
        <pc:chgData name="Erman, Dominik" userId="S::dominik.erman@student.reutlingen-university.de::4fb193da-0ad7-4eb0-a496-4da35b94c70c" providerId="AD" clId="Web-{83CCD963-C46C-63FC-D42A-430C31DCFDCE}" dt="2025-01-12T22:26:44.129" v="463" actId="1076"/>
        <pc:sldMkLst>
          <pc:docMk/>
          <pc:sldMk cId="4074253474" sldId="359"/>
        </pc:sldMkLst>
        <pc:spChg chg="mod">
          <ac:chgData name="Erman, Dominik" userId="S::dominik.erman@student.reutlingen-university.de::4fb193da-0ad7-4eb0-a496-4da35b94c70c" providerId="AD" clId="Web-{83CCD963-C46C-63FC-D42A-430C31DCFDCE}" dt="2025-01-12T21:58:51.823" v="28" actId="20577"/>
          <ac:spMkLst>
            <pc:docMk/>
            <pc:sldMk cId="4074253474" sldId="359"/>
            <ac:spMk id="2" creationId="{CBC95856-1A89-857D-FA2F-D016ED85EE37}"/>
          </ac:spMkLst>
        </pc:spChg>
        <pc:spChg chg="del">
          <ac:chgData name="Erman, Dominik" userId="S::dominik.erman@student.reutlingen-university.de::4fb193da-0ad7-4eb0-a496-4da35b94c70c" providerId="AD" clId="Web-{83CCD963-C46C-63FC-D42A-430C31DCFDCE}" dt="2025-01-12T22:20:35.772" v="375"/>
          <ac:spMkLst>
            <pc:docMk/>
            <pc:sldMk cId="4074253474" sldId="359"/>
            <ac:spMk id="3" creationId="{0866A2E3-DF7B-65BA-CC7D-36EA193B9F7B}"/>
          </ac:spMkLst>
        </pc:spChg>
        <pc:spChg chg="add del mod">
          <ac:chgData name="Erman, Dominik" userId="S::dominik.erman@student.reutlingen-university.de::4fb193da-0ad7-4eb0-a496-4da35b94c70c" providerId="AD" clId="Web-{83CCD963-C46C-63FC-D42A-430C31DCFDCE}" dt="2025-01-12T22:19:40.705" v="374"/>
          <ac:spMkLst>
            <pc:docMk/>
            <pc:sldMk cId="4074253474" sldId="359"/>
            <ac:spMk id="4" creationId="{72C724E9-5194-44DF-9ABB-B122BF81D0DA}"/>
          </ac:spMkLst>
        </pc:spChg>
        <pc:spChg chg="add del mod">
          <ac:chgData name="Erman, Dominik" userId="S::dominik.erman@student.reutlingen-university.de::4fb193da-0ad7-4eb0-a496-4da35b94c70c" providerId="AD" clId="Web-{83CCD963-C46C-63FC-D42A-430C31DCFDCE}" dt="2025-01-12T22:22:42.042" v="383"/>
          <ac:spMkLst>
            <pc:docMk/>
            <pc:sldMk cId="4074253474" sldId="359"/>
            <ac:spMk id="7" creationId="{657E7BFE-5165-AF67-6AAE-B294ADE6F2F6}"/>
          </ac:spMkLst>
        </pc:spChg>
        <pc:spChg chg="add del mod">
          <ac:chgData name="Erman, Dominik" userId="S::dominik.erman@student.reutlingen-university.de::4fb193da-0ad7-4eb0-a496-4da35b94c70c" providerId="AD" clId="Web-{83CCD963-C46C-63FC-D42A-430C31DCFDCE}" dt="2025-01-12T22:22:38.135" v="382"/>
          <ac:spMkLst>
            <pc:docMk/>
            <pc:sldMk cId="4074253474" sldId="359"/>
            <ac:spMk id="8" creationId="{258A5223-FC68-9D38-E89F-668B75897537}"/>
          </ac:spMkLst>
        </pc:spChg>
        <pc:spChg chg="add mod">
          <ac:chgData name="Erman, Dominik" userId="S::dominik.erman@student.reutlingen-university.de::4fb193da-0ad7-4eb0-a496-4da35b94c70c" providerId="AD" clId="Web-{83CCD963-C46C-63FC-D42A-430C31DCFDCE}" dt="2025-01-12T22:26:20.175" v="453" actId="1076"/>
          <ac:spMkLst>
            <pc:docMk/>
            <pc:sldMk cId="4074253474" sldId="359"/>
            <ac:spMk id="13" creationId="{AE88932D-A9A0-3ECB-B0CE-9BB9236330A4}"/>
          </ac:spMkLst>
        </pc:spChg>
        <pc:spChg chg="add mod">
          <ac:chgData name="Erman, Dominik" userId="S::dominik.erman@student.reutlingen-university.de::4fb193da-0ad7-4eb0-a496-4da35b94c70c" providerId="AD" clId="Web-{83CCD963-C46C-63FC-D42A-430C31DCFDCE}" dt="2025-01-12T22:26:44.129" v="463" actId="1076"/>
          <ac:spMkLst>
            <pc:docMk/>
            <pc:sldMk cId="4074253474" sldId="359"/>
            <ac:spMk id="14" creationId="{3F1BE64A-4068-65FB-31DE-D22F177C6CEF}"/>
          </ac:spMkLst>
        </pc:spChg>
        <pc:grpChg chg="add mod">
          <ac:chgData name="Erman, Dominik" userId="S::dominik.erman@student.reutlingen-university.de::4fb193da-0ad7-4eb0-a496-4da35b94c70c" providerId="AD" clId="Web-{83CCD963-C46C-63FC-D42A-430C31DCFDCE}" dt="2025-01-12T22:24:33.905" v="396" actId="1076"/>
          <ac:grpSpMkLst>
            <pc:docMk/>
            <pc:sldMk cId="4074253474" sldId="359"/>
            <ac:grpSpMk id="12" creationId="{B74588AA-86C9-136E-46D5-133714FD6124}"/>
          </ac:grpSpMkLst>
        </pc:grpChg>
        <pc:picChg chg="add del mod ord">
          <ac:chgData name="Erman, Dominik" userId="S::dominik.erman@student.reutlingen-university.de::4fb193da-0ad7-4eb0-a496-4da35b94c70c" providerId="AD" clId="Web-{83CCD963-C46C-63FC-D42A-430C31DCFDCE}" dt="2025-01-12T22:20:42.663" v="377"/>
          <ac:picMkLst>
            <pc:docMk/>
            <pc:sldMk cId="4074253474" sldId="359"/>
            <ac:picMk id="5" creationId="{0F172E1A-CE3F-002F-82A1-74060A1A73EF}"/>
          </ac:picMkLst>
        </pc:picChg>
        <pc:picChg chg="add mod ord">
          <ac:chgData name="Erman, Dominik" userId="S::dominik.erman@student.reutlingen-university.de::4fb193da-0ad7-4eb0-a496-4da35b94c70c" providerId="AD" clId="Web-{83CCD963-C46C-63FC-D42A-430C31DCFDCE}" dt="2025-01-12T22:23:51.794" v="389" actId="1076"/>
          <ac:picMkLst>
            <pc:docMk/>
            <pc:sldMk cId="4074253474" sldId="359"/>
            <ac:picMk id="9" creationId="{0B75D2D3-E28F-4EED-2701-BEC107055D38}"/>
          </ac:picMkLst>
        </pc:picChg>
        <pc:picChg chg="add mod modCrop">
          <ac:chgData name="Erman, Dominik" userId="S::dominik.erman@student.reutlingen-university.de::4fb193da-0ad7-4eb0-a496-4da35b94c70c" providerId="AD" clId="Web-{83CCD963-C46C-63FC-D42A-430C31DCFDCE}" dt="2025-01-12T22:23:53.638" v="390" actId="1076"/>
          <ac:picMkLst>
            <pc:docMk/>
            <pc:sldMk cId="4074253474" sldId="359"/>
            <ac:picMk id="10" creationId="{F9591FA6-B4E6-321E-8E3E-08522D39DD9C}"/>
          </ac:picMkLst>
        </pc:picChg>
        <pc:picChg chg="add mod modCrop">
          <ac:chgData name="Erman, Dominik" userId="S::dominik.erman@student.reutlingen-university.de::4fb193da-0ad7-4eb0-a496-4da35b94c70c" providerId="AD" clId="Web-{83CCD963-C46C-63FC-D42A-430C31DCFDCE}" dt="2025-01-12T22:24:09.013" v="394" actId="1076"/>
          <ac:picMkLst>
            <pc:docMk/>
            <pc:sldMk cId="4074253474" sldId="359"/>
            <ac:picMk id="11" creationId="{57B54DCC-3840-2125-F50E-79381AD397C7}"/>
          </ac:picMkLst>
        </pc:picChg>
      </pc:sldChg>
      <pc:sldChg chg="addSp delSp modSp add mod replId modShow modNotes">
        <pc:chgData name="Erman, Dominik" userId="S::dominik.erman@student.reutlingen-university.de::4fb193da-0ad7-4eb0-a496-4da35b94c70c" providerId="AD" clId="Web-{83CCD963-C46C-63FC-D42A-430C31DCFDCE}" dt="2025-01-12T22:18:50.297" v="360"/>
        <pc:sldMkLst>
          <pc:docMk/>
          <pc:sldMk cId="2428689039" sldId="360"/>
        </pc:sldMkLst>
        <pc:spChg chg="del">
          <ac:chgData name="Erman, Dominik" userId="S::dominik.erman@student.reutlingen-university.de::4fb193da-0ad7-4eb0-a496-4da35b94c70c" providerId="AD" clId="Web-{83CCD963-C46C-63FC-D42A-430C31DCFDCE}" dt="2025-01-12T22:14:05.788" v="137"/>
          <ac:spMkLst>
            <pc:docMk/>
            <pc:sldMk cId="2428689039" sldId="360"/>
            <ac:spMk id="2" creationId="{CBC95856-1A89-857D-FA2F-D016ED85EE37}"/>
          </ac:spMkLst>
        </pc:spChg>
        <pc:spChg chg="del">
          <ac:chgData name="Erman, Dominik" userId="S::dominik.erman@student.reutlingen-university.de::4fb193da-0ad7-4eb0-a496-4da35b94c70c" providerId="AD" clId="Web-{83CCD963-C46C-63FC-D42A-430C31DCFDCE}" dt="2025-01-12T22:13:46.287" v="129"/>
          <ac:spMkLst>
            <pc:docMk/>
            <pc:sldMk cId="2428689039" sldId="360"/>
            <ac:spMk id="3" creationId="{0866A2E3-DF7B-65BA-CC7D-36EA193B9F7B}"/>
          </ac:spMkLst>
        </pc:spChg>
        <pc:spChg chg="del">
          <ac:chgData name="Erman, Dominik" userId="S::dominik.erman@student.reutlingen-university.de::4fb193da-0ad7-4eb0-a496-4da35b94c70c" providerId="AD" clId="Web-{83CCD963-C46C-63FC-D42A-430C31DCFDCE}" dt="2025-01-12T22:13:50.303" v="131"/>
          <ac:spMkLst>
            <pc:docMk/>
            <pc:sldMk cId="2428689039" sldId="360"/>
            <ac:spMk id="4" creationId="{3A352525-7773-C4B9-E57E-22C618668A30}"/>
          </ac:spMkLst>
        </pc:spChg>
        <pc:spChg chg="add del mod">
          <ac:chgData name="Erman, Dominik" userId="S::dominik.erman@student.reutlingen-university.de::4fb193da-0ad7-4eb0-a496-4da35b94c70c" providerId="AD" clId="Web-{83CCD963-C46C-63FC-D42A-430C31DCFDCE}" dt="2025-01-12T22:13:48.725" v="130"/>
          <ac:spMkLst>
            <pc:docMk/>
            <pc:sldMk cId="2428689039" sldId="360"/>
            <ac:spMk id="6" creationId="{BF4A6C89-7559-07F3-0903-8893DCA7BEA0}"/>
          </ac:spMkLst>
        </pc:spChg>
        <pc:spChg chg="add del mod">
          <ac:chgData name="Erman, Dominik" userId="S::dominik.erman@student.reutlingen-university.de::4fb193da-0ad7-4eb0-a496-4da35b94c70c" providerId="AD" clId="Web-{83CCD963-C46C-63FC-D42A-430C31DCFDCE}" dt="2025-01-12T22:14:11.397" v="138"/>
          <ac:spMkLst>
            <pc:docMk/>
            <pc:sldMk cId="2428689039" sldId="360"/>
            <ac:spMk id="9" creationId="{357FE71A-9A6E-D5ED-94AF-73F365CD74BC}"/>
          </ac:spMkLst>
        </pc:spChg>
        <pc:picChg chg="add mod">
          <ac:chgData name="Erman, Dominik" userId="S::dominik.erman@student.reutlingen-university.de::4fb193da-0ad7-4eb0-a496-4da35b94c70c" providerId="AD" clId="Web-{83CCD963-C46C-63FC-D42A-430C31DCFDCE}" dt="2025-01-12T22:14:18.507" v="140" actId="1076"/>
          <ac:picMkLst>
            <pc:docMk/>
            <pc:sldMk cId="2428689039" sldId="360"/>
            <ac:picMk id="7" creationId="{84F3BEB9-0AC8-8052-1E3B-4C75A382FB4C}"/>
          </ac:picMkLst>
        </pc:picChg>
      </pc:sldChg>
      <pc:sldChg chg="addSp delSp modSp add del replId">
        <pc:chgData name="Erman, Dominik" userId="S::dominik.erman@student.reutlingen-university.de::4fb193da-0ad7-4eb0-a496-4da35b94c70c" providerId="AD" clId="Web-{83CCD963-C46C-63FC-D42A-430C31DCFDCE}" dt="2025-01-12T22:33:28.397" v="543"/>
        <pc:sldMkLst>
          <pc:docMk/>
          <pc:sldMk cId="1649515556" sldId="361"/>
        </pc:sldMkLst>
        <pc:spChg chg="add del mod">
          <ac:chgData name="Erman, Dominik" userId="S::dominik.erman@student.reutlingen-university.de::4fb193da-0ad7-4eb0-a496-4da35b94c70c" providerId="AD" clId="Web-{83CCD963-C46C-63FC-D42A-430C31DCFDCE}" dt="2025-01-12T22:33:12.334" v="538"/>
          <ac:spMkLst>
            <pc:docMk/>
            <pc:sldMk cId="1649515556" sldId="361"/>
            <ac:spMk id="6" creationId="{0A9120DC-5842-DA4A-E1A3-15F5FF584F2D}"/>
          </ac:spMkLst>
        </pc:spChg>
        <pc:spChg chg="del">
          <ac:chgData name="Erman, Dominik" userId="S::dominik.erman@student.reutlingen-university.de::4fb193da-0ad7-4eb0-a496-4da35b94c70c" providerId="AD" clId="Web-{83CCD963-C46C-63FC-D42A-430C31DCFDCE}" dt="2025-01-12T22:28:22.088" v="464"/>
          <ac:spMkLst>
            <pc:docMk/>
            <pc:sldMk cId="1649515556" sldId="361"/>
            <ac:spMk id="7" creationId="{657E7BFE-5165-AF67-6AAE-B294ADE6F2F6}"/>
          </ac:spMkLst>
        </pc:spChg>
        <pc:picChg chg="add del mod ord">
          <ac:chgData name="Erman, Dominik" userId="S::dominik.erman@student.reutlingen-university.de::4fb193da-0ad7-4eb0-a496-4da35b94c70c" providerId="AD" clId="Web-{83CCD963-C46C-63FC-D42A-430C31DCFDCE}" dt="2025-01-12T22:28:54.232" v="471"/>
          <ac:picMkLst>
            <pc:docMk/>
            <pc:sldMk cId="1649515556" sldId="361"/>
            <ac:picMk id="3" creationId="{98BD0911-54A4-3271-E210-164AF1075DA4}"/>
          </ac:picMkLst>
        </pc:picChg>
        <pc:picChg chg="add mod">
          <ac:chgData name="Erman, Dominik" userId="S::dominik.erman@student.reutlingen-university.de::4fb193da-0ad7-4eb0-a496-4da35b94c70c" providerId="AD" clId="Web-{83CCD963-C46C-63FC-D42A-430C31DCFDCE}" dt="2025-01-12T22:28:56.263" v="472" actId="1076"/>
          <ac:picMkLst>
            <pc:docMk/>
            <pc:sldMk cId="1649515556" sldId="361"/>
            <ac:picMk id="4" creationId="{09F77EFF-8B54-DB67-CFE8-AAB3830796D5}"/>
          </ac:picMkLst>
        </pc:picChg>
        <pc:picChg chg="add mod">
          <ac:chgData name="Erman, Dominik" userId="S::dominik.erman@student.reutlingen-university.de::4fb193da-0ad7-4eb0-a496-4da35b94c70c" providerId="AD" clId="Web-{83CCD963-C46C-63FC-D42A-430C31DCFDCE}" dt="2025-01-12T22:33:23.553" v="542" actId="1076"/>
          <ac:picMkLst>
            <pc:docMk/>
            <pc:sldMk cId="1649515556" sldId="361"/>
            <ac:picMk id="8" creationId="{BA9DB36D-48FD-3753-CB36-8E0E5F86BDEF}"/>
          </ac:picMkLst>
        </pc:picChg>
      </pc:sldChg>
      <pc:sldChg chg="addSp delSp modSp add ord replId">
        <pc:chgData name="Erman, Dominik" userId="S::dominik.erman@student.reutlingen-university.de::4fb193da-0ad7-4eb0-a496-4da35b94c70c" providerId="AD" clId="Web-{83CCD963-C46C-63FC-D42A-430C31DCFDCE}" dt="2025-01-12T22:33:01.334" v="537" actId="1076"/>
        <pc:sldMkLst>
          <pc:docMk/>
          <pc:sldMk cId="2500961917" sldId="362"/>
        </pc:sldMkLst>
        <pc:spChg chg="add mod">
          <ac:chgData name="Erman, Dominik" userId="S::dominik.erman@student.reutlingen-university.de::4fb193da-0ad7-4eb0-a496-4da35b94c70c" providerId="AD" clId="Web-{83CCD963-C46C-63FC-D42A-430C31DCFDCE}" dt="2025-01-12T22:32:46.833" v="535" actId="1076"/>
          <ac:spMkLst>
            <pc:docMk/>
            <pc:sldMk cId="2500961917" sldId="362"/>
            <ac:spMk id="6" creationId="{A68F0CB1-3452-686B-796A-9A7AB1FC37CB}"/>
          </ac:spMkLst>
        </pc:spChg>
        <pc:spChg chg="add mod">
          <ac:chgData name="Erman, Dominik" userId="S::dominik.erman@student.reutlingen-university.de::4fb193da-0ad7-4eb0-a496-4da35b94c70c" providerId="AD" clId="Web-{83CCD963-C46C-63FC-D42A-430C31DCFDCE}" dt="2025-01-12T22:33:01.334" v="537" actId="1076"/>
          <ac:spMkLst>
            <pc:docMk/>
            <pc:sldMk cId="2500961917" sldId="362"/>
            <ac:spMk id="7" creationId="{A4D362AF-AC9F-465E-E2F5-E127E9367750}"/>
          </ac:spMkLst>
        </pc:spChg>
        <pc:picChg chg="mod">
          <ac:chgData name="Erman, Dominik" userId="S::dominik.erman@student.reutlingen-university.de::4fb193da-0ad7-4eb0-a496-4da35b94c70c" providerId="AD" clId="Web-{83CCD963-C46C-63FC-D42A-430C31DCFDCE}" dt="2025-01-12T22:32:43.974" v="534" actId="1076"/>
          <ac:picMkLst>
            <pc:docMk/>
            <pc:sldMk cId="2500961917" sldId="362"/>
            <ac:picMk id="3" creationId="{98BD0911-54A4-3271-E210-164AF1075DA4}"/>
          </ac:picMkLst>
        </pc:picChg>
        <pc:picChg chg="del">
          <ac:chgData name="Erman, Dominik" userId="S::dominik.erman@student.reutlingen-university.de::4fb193da-0ad7-4eb0-a496-4da35b94c70c" providerId="AD" clId="Web-{83CCD963-C46C-63FC-D42A-430C31DCFDCE}" dt="2025-01-12T22:28:44.886" v="469"/>
          <ac:picMkLst>
            <pc:docMk/>
            <pc:sldMk cId="2500961917" sldId="362"/>
            <ac:picMk id="4" creationId="{09F77EFF-8B54-DB67-CFE8-AAB3830796D5}"/>
          </ac:picMkLst>
        </pc:picChg>
        <pc:picChg chg="add mod">
          <ac:chgData name="Erman, Dominik" userId="S::dominik.erman@student.reutlingen-university.de::4fb193da-0ad7-4eb0-a496-4da35b94c70c" providerId="AD" clId="Web-{83CCD963-C46C-63FC-D42A-430C31DCFDCE}" dt="2025-01-12T22:32:51.318" v="536" actId="1076"/>
          <ac:picMkLst>
            <pc:docMk/>
            <pc:sldMk cId="2500961917" sldId="362"/>
            <ac:picMk id="8" creationId="{B27885E7-9C22-673C-E00F-536941F8215F}"/>
          </ac:picMkLst>
        </pc:picChg>
      </pc:sldChg>
      <pc:sldChg chg="addSp delSp modSp add ord replId">
        <pc:chgData name="Erman, Dominik" userId="S::dominik.erman@student.reutlingen-university.de::4fb193da-0ad7-4eb0-a496-4da35b94c70c" providerId="AD" clId="Web-{83CCD963-C46C-63FC-D42A-430C31DCFDCE}" dt="2025-01-12T22:42:06.493" v="639" actId="1076"/>
        <pc:sldMkLst>
          <pc:docMk/>
          <pc:sldMk cId="1879178572" sldId="363"/>
        </pc:sldMkLst>
        <pc:spChg chg="add del mod">
          <ac:chgData name="Erman, Dominik" userId="S::dominik.erman@student.reutlingen-university.de::4fb193da-0ad7-4eb0-a496-4da35b94c70c" providerId="AD" clId="Web-{83CCD963-C46C-63FC-D42A-430C31DCFDCE}" dt="2025-01-12T22:34:36.259" v="547"/>
          <ac:spMkLst>
            <pc:docMk/>
            <pc:sldMk cId="1879178572" sldId="363"/>
            <ac:spMk id="5" creationId="{4453AD6E-A5CC-198F-6A3E-FAFFAA6F9465}"/>
          </ac:spMkLst>
        </pc:spChg>
        <pc:spChg chg="mod">
          <ac:chgData name="Erman, Dominik" userId="S::dominik.erman@student.reutlingen-university.de::4fb193da-0ad7-4eb0-a496-4da35b94c70c" providerId="AD" clId="Web-{83CCD963-C46C-63FC-D42A-430C31DCFDCE}" dt="2025-01-12T22:42:06.493" v="639" actId="1076"/>
          <ac:spMkLst>
            <pc:docMk/>
            <pc:sldMk cId="1879178572" sldId="363"/>
            <ac:spMk id="6" creationId="{A68F0CB1-3452-686B-796A-9A7AB1FC37CB}"/>
          </ac:spMkLst>
        </pc:spChg>
        <pc:spChg chg="mod">
          <ac:chgData name="Erman, Dominik" userId="S::dominik.erman@student.reutlingen-university.de::4fb193da-0ad7-4eb0-a496-4da35b94c70c" providerId="AD" clId="Web-{83CCD963-C46C-63FC-D42A-430C31DCFDCE}" dt="2025-01-12T22:41:52.508" v="636" actId="1076"/>
          <ac:spMkLst>
            <pc:docMk/>
            <pc:sldMk cId="1879178572" sldId="363"/>
            <ac:spMk id="7" creationId="{A4D362AF-AC9F-465E-E2F5-E127E9367750}"/>
          </ac:spMkLst>
        </pc:spChg>
        <pc:picChg chg="del">
          <ac:chgData name="Erman, Dominik" userId="S::dominik.erman@student.reutlingen-university.de::4fb193da-0ad7-4eb0-a496-4da35b94c70c" providerId="AD" clId="Web-{83CCD963-C46C-63FC-D42A-430C31DCFDCE}" dt="2025-01-12T22:34:31.462" v="545"/>
          <ac:picMkLst>
            <pc:docMk/>
            <pc:sldMk cId="1879178572" sldId="363"/>
            <ac:picMk id="3" creationId="{98BD0911-54A4-3271-E210-164AF1075DA4}"/>
          </ac:picMkLst>
        </pc:picChg>
        <pc:picChg chg="del">
          <ac:chgData name="Erman, Dominik" userId="S::dominik.erman@student.reutlingen-university.de::4fb193da-0ad7-4eb0-a496-4da35b94c70c" providerId="AD" clId="Web-{83CCD963-C46C-63FC-D42A-430C31DCFDCE}" dt="2025-01-12T22:34:31.915" v="546"/>
          <ac:picMkLst>
            <pc:docMk/>
            <pc:sldMk cId="1879178572" sldId="363"/>
            <ac:picMk id="8" creationId="{B27885E7-9C22-673C-E00F-536941F8215F}"/>
          </ac:picMkLst>
        </pc:picChg>
        <pc:picChg chg="add mod">
          <ac:chgData name="Erman, Dominik" userId="S::dominik.erman@student.reutlingen-university.de::4fb193da-0ad7-4eb0-a496-4da35b94c70c" providerId="AD" clId="Web-{83CCD963-C46C-63FC-D42A-430C31DCFDCE}" dt="2025-01-12T22:41:59.227" v="638" actId="1076"/>
          <ac:picMkLst>
            <pc:docMk/>
            <pc:sldMk cId="1879178572" sldId="363"/>
            <ac:picMk id="9" creationId="{BB26BDF7-1EFF-B77D-5540-191D2F9A3CF3}"/>
          </ac:picMkLst>
        </pc:picChg>
        <pc:picChg chg="add mod">
          <ac:chgData name="Erman, Dominik" userId="S::dominik.erman@student.reutlingen-university.de::4fb193da-0ad7-4eb0-a496-4da35b94c70c" providerId="AD" clId="Web-{83CCD963-C46C-63FC-D42A-430C31DCFDCE}" dt="2025-01-12T22:41:55.055" v="637" actId="1076"/>
          <ac:picMkLst>
            <pc:docMk/>
            <pc:sldMk cId="1879178572" sldId="363"/>
            <ac:picMk id="10" creationId="{5017C13C-8A8E-DA5B-C9E7-64AF20497984}"/>
          </ac:picMkLst>
        </pc:picChg>
      </pc:sldChg>
    </pc:docChg>
  </pc:docChgLst>
  <pc:docChgLst>
    <pc:chgData name="Kayatas, Sinem (710)" userId="S::sinem.kayatas_daimlertruck.com#ext#@reutlingenuniversityde.onmicrosoft.com::768514dd-3739-4567-98cf-64d896456353" providerId="AD" clId="Web-{55604388-A3E2-10E4-06C9-527BC3E757E4}"/>
    <pc:docChg chg="modSld">
      <pc:chgData name="Kayatas, Sinem (710)" userId="S::sinem.kayatas_daimlertruck.com#ext#@reutlingenuniversityde.onmicrosoft.com::768514dd-3739-4567-98cf-64d896456353" providerId="AD" clId="Web-{55604388-A3E2-10E4-06C9-527BC3E757E4}" dt="2025-01-10T19:10:04.339" v="0"/>
      <pc:docMkLst>
        <pc:docMk/>
      </pc:docMkLst>
      <pc:sldChg chg="modSp">
        <pc:chgData name="Kayatas, Sinem (710)" userId="S::sinem.kayatas_daimlertruck.com#ext#@reutlingenuniversityde.onmicrosoft.com::768514dd-3739-4567-98cf-64d896456353" providerId="AD" clId="Web-{55604388-A3E2-10E4-06C9-527BC3E757E4}" dt="2025-01-10T19:10:04.339" v="0"/>
        <pc:sldMkLst>
          <pc:docMk/>
          <pc:sldMk cId="2431215773" sldId="310"/>
        </pc:sldMkLst>
        <pc:graphicFrameChg chg="modGraphic">
          <ac:chgData name="Kayatas, Sinem (710)" userId="S::sinem.kayatas_daimlertruck.com#ext#@reutlingenuniversityde.onmicrosoft.com::768514dd-3739-4567-98cf-64d896456353" providerId="AD" clId="Web-{55604388-A3E2-10E4-06C9-527BC3E757E4}" dt="2025-01-10T19:10:04.339" v="0"/>
          <ac:graphicFrameMkLst>
            <pc:docMk/>
            <pc:sldMk cId="2431215773" sldId="310"/>
            <ac:graphicFrameMk id="4" creationId="{DA01CDC7-59BA-2282-532A-E25EFC7C205A}"/>
          </ac:graphicFrameMkLst>
        </pc:graphicFrameChg>
      </pc:sldChg>
    </pc:docChg>
  </pc:docChgLst>
  <pc:docChgLst>
    <pc:chgData name="Braun, Glen" userId="15f4bf44-f62f-4b95-be37-16385bc8444b" providerId="ADAL" clId="{F1C77EFE-4245-9044-8274-3EB2A93CECE4}"/>
    <pc:docChg chg="undo custSel addSld delSld modSld sldOrd addSection modSection">
      <pc:chgData name="Braun, Glen" userId="15f4bf44-f62f-4b95-be37-16385bc8444b" providerId="ADAL" clId="{F1C77EFE-4245-9044-8274-3EB2A93CECE4}" dt="2025-01-12T17:42:26.407" v="986" actId="14734"/>
      <pc:docMkLst>
        <pc:docMk/>
      </pc:docMkLst>
      <pc:sldChg chg="modSp mod modNotes modNotesTx">
        <pc:chgData name="Braun, Glen" userId="15f4bf44-f62f-4b95-be37-16385bc8444b" providerId="ADAL" clId="{F1C77EFE-4245-9044-8274-3EB2A93CECE4}" dt="2025-01-12T11:56:29.258" v="847" actId="20577"/>
        <pc:sldMkLst>
          <pc:docMk/>
          <pc:sldMk cId="0" sldId="256"/>
        </pc:sldMkLst>
        <pc:spChg chg="mod">
          <ac:chgData name="Braun, Glen" userId="15f4bf44-f62f-4b95-be37-16385bc8444b" providerId="ADAL" clId="{F1C77EFE-4245-9044-8274-3EB2A93CECE4}" dt="2025-01-07T21:42:14.202" v="34" actId="20577"/>
          <ac:spMkLst>
            <pc:docMk/>
            <pc:sldMk cId="0" sldId="256"/>
            <ac:spMk id="185" creationId="{00000000-0000-0000-0000-000000000000}"/>
          </ac:spMkLst>
        </pc:spChg>
        <pc:spChg chg="mod">
          <ac:chgData name="Braun, Glen" userId="15f4bf44-f62f-4b95-be37-16385bc8444b" providerId="ADAL" clId="{F1C77EFE-4245-9044-8274-3EB2A93CECE4}" dt="2025-01-07T21:42:30.283" v="76" actId="20577"/>
          <ac:spMkLst>
            <pc:docMk/>
            <pc:sldMk cId="0" sldId="256"/>
            <ac:spMk id="186" creationId="{00000000-0000-0000-0000-000000000000}"/>
          </ac:spMkLst>
        </pc:spChg>
      </pc:sldChg>
      <pc:sldChg chg="del">
        <pc:chgData name="Braun, Glen" userId="15f4bf44-f62f-4b95-be37-16385bc8444b" providerId="ADAL" clId="{F1C77EFE-4245-9044-8274-3EB2A93CECE4}" dt="2025-01-05T21:19:48.197" v="0" actId="2696"/>
        <pc:sldMkLst>
          <pc:docMk/>
          <pc:sldMk cId="0" sldId="257"/>
        </pc:sldMkLst>
      </pc:sldChg>
      <pc:sldChg chg="modNotes">
        <pc:chgData name="Braun, Glen" userId="15f4bf44-f62f-4b95-be37-16385bc8444b" providerId="ADAL" clId="{F1C77EFE-4245-9044-8274-3EB2A93CECE4}" dt="2025-01-05T21:19:48.198" v="1"/>
        <pc:sldMkLst>
          <pc:docMk/>
          <pc:sldMk cId="0" sldId="258"/>
        </pc:sldMkLst>
      </pc:sldChg>
      <pc:sldChg chg="modNotes">
        <pc:chgData name="Braun, Glen" userId="15f4bf44-f62f-4b95-be37-16385bc8444b" providerId="ADAL" clId="{F1C77EFE-4245-9044-8274-3EB2A93CECE4}" dt="2025-01-05T21:19:48.198" v="1"/>
        <pc:sldMkLst>
          <pc:docMk/>
          <pc:sldMk cId="0" sldId="259"/>
        </pc:sldMkLst>
      </pc:sldChg>
      <pc:sldChg chg="modNotes">
        <pc:chgData name="Braun, Glen" userId="15f4bf44-f62f-4b95-be37-16385bc8444b" providerId="ADAL" clId="{F1C77EFE-4245-9044-8274-3EB2A93CECE4}" dt="2025-01-05T21:19:48.198" v="1"/>
        <pc:sldMkLst>
          <pc:docMk/>
          <pc:sldMk cId="0" sldId="260"/>
        </pc:sldMkLst>
      </pc:sldChg>
      <pc:sldChg chg="modNotes">
        <pc:chgData name="Braun, Glen" userId="15f4bf44-f62f-4b95-be37-16385bc8444b" providerId="ADAL" clId="{F1C77EFE-4245-9044-8274-3EB2A93CECE4}" dt="2025-01-05T21:19:48.198" v="1"/>
        <pc:sldMkLst>
          <pc:docMk/>
          <pc:sldMk cId="0" sldId="261"/>
        </pc:sldMkLst>
      </pc:sldChg>
      <pc:sldChg chg="modNotes">
        <pc:chgData name="Braun, Glen" userId="15f4bf44-f62f-4b95-be37-16385bc8444b" providerId="ADAL" clId="{F1C77EFE-4245-9044-8274-3EB2A93CECE4}" dt="2025-01-05T21:19:48.198" v="1"/>
        <pc:sldMkLst>
          <pc:docMk/>
          <pc:sldMk cId="0" sldId="262"/>
        </pc:sldMkLst>
      </pc:sldChg>
      <pc:sldChg chg="modNotes">
        <pc:chgData name="Braun, Glen" userId="15f4bf44-f62f-4b95-be37-16385bc8444b" providerId="ADAL" clId="{F1C77EFE-4245-9044-8274-3EB2A93CECE4}" dt="2025-01-05T21:19:48.198" v="1"/>
        <pc:sldMkLst>
          <pc:docMk/>
          <pc:sldMk cId="0" sldId="264"/>
        </pc:sldMkLst>
      </pc:sldChg>
      <pc:sldChg chg="modNotes">
        <pc:chgData name="Braun, Glen" userId="15f4bf44-f62f-4b95-be37-16385bc8444b" providerId="ADAL" clId="{F1C77EFE-4245-9044-8274-3EB2A93CECE4}" dt="2025-01-05T21:19:48.198" v="1"/>
        <pc:sldMkLst>
          <pc:docMk/>
          <pc:sldMk cId="0" sldId="265"/>
        </pc:sldMkLst>
      </pc:sldChg>
      <pc:sldChg chg="modNotes">
        <pc:chgData name="Braun, Glen" userId="15f4bf44-f62f-4b95-be37-16385bc8444b" providerId="ADAL" clId="{F1C77EFE-4245-9044-8274-3EB2A93CECE4}" dt="2025-01-05T21:19:48.198" v="1"/>
        <pc:sldMkLst>
          <pc:docMk/>
          <pc:sldMk cId="0" sldId="266"/>
        </pc:sldMkLst>
      </pc:sldChg>
      <pc:sldChg chg="modNotes">
        <pc:chgData name="Braun, Glen" userId="15f4bf44-f62f-4b95-be37-16385bc8444b" providerId="ADAL" clId="{F1C77EFE-4245-9044-8274-3EB2A93CECE4}" dt="2025-01-05T21:19:48.198" v="1"/>
        <pc:sldMkLst>
          <pc:docMk/>
          <pc:sldMk cId="0" sldId="267"/>
        </pc:sldMkLst>
      </pc:sldChg>
      <pc:sldChg chg="modNotes">
        <pc:chgData name="Braun, Glen" userId="15f4bf44-f62f-4b95-be37-16385bc8444b" providerId="ADAL" clId="{F1C77EFE-4245-9044-8274-3EB2A93CECE4}" dt="2025-01-05T21:19:48.198" v="1"/>
        <pc:sldMkLst>
          <pc:docMk/>
          <pc:sldMk cId="0" sldId="268"/>
        </pc:sldMkLst>
      </pc:sldChg>
      <pc:sldChg chg="modNotes">
        <pc:chgData name="Braun, Glen" userId="15f4bf44-f62f-4b95-be37-16385bc8444b" providerId="ADAL" clId="{F1C77EFE-4245-9044-8274-3EB2A93CECE4}" dt="2025-01-05T21:19:48.198" v="1"/>
        <pc:sldMkLst>
          <pc:docMk/>
          <pc:sldMk cId="0" sldId="269"/>
        </pc:sldMkLst>
      </pc:sldChg>
      <pc:sldChg chg="modNotes">
        <pc:chgData name="Braun, Glen" userId="15f4bf44-f62f-4b95-be37-16385bc8444b" providerId="ADAL" clId="{F1C77EFE-4245-9044-8274-3EB2A93CECE4}" dt="2025-01-05T21:19:48.198" v="1"/>
        <pc:sldMkLst>
          <pc:docMk/>
          <pc:sldMk cId="0" sldId="270"/>
        </pc:sldMkLst>
      </pc:sldChg>
      <pc:sldChg chg="modNotes">
        <pc:chgData name="Braun, Glen" userId="15f4bf44-f62f-4b95-be37-16385bc8444b" providerId="ADAL" clId="{F1C77EFE-4245-9044-8274-3EB2A93CECE4}" dt="2025-01-05T21:19:48.198" v="1"/>
        <pc:sldMkLst>
          <pc:docMk/>
          <pc:sldMk cId="0" sldId="271"/>
        </pc:sldMkLst>
      </pc:sldChg>
      <pc:sldChg chg="modNotes">
        <pc:chgData name="Braun, Glen" userId="15f4bf44-f62f-4b95-be37-16385bc8444b" providerId="ADAL" clId="{F1C77EFE-4245-9044-8274-3EB2A93CECE4}" dt="2025-01-05T21:19:48.198" v="1"/>
        <pc:sldMkLst>
          <pc:docMk/>
          <pc:sldMk cId="0" sldId="272"/>
        </pc:sldMkLst>
      </pc:sldChg>
      <pc:sldChg chg="modNotes">
        <pc:chgData name="Braun, Glen" userId="15f4bf44-f62f-4b95-be37-16385bc8444b" providerId="ADAL" clId="{F1C77EFE-4245-9044-8274-3EB2A93CECE4}" dt="2025-01-05T21:19:48.198" v="1"/>
        <pc:sldMkLst>
          <pc:docMk/>
          <pc:sldMk cId="0" sldId="273"/>
        </pc:sldMkLst>
      </pc:sldChg>
      <pc:sldChg chg="modNotes">
        <pc:chgData name="Braun, Glen" userId="15f4bf44-f62f-4b95-be37-16385bc8444b" providerId="ADAL" clId="{F1C77EFE-4245-9044-8274-3EB2A93CECE4}" dt="2025-01-05T21:19:48.198" v="1"/>
        <pc:sldMkLst>
          <pc:docMk/>
          <pc:sldMk cId="0" sldId="274"/>
        </pc:sldMkLst>
      </pc:sldChg>
      <pc:sldChg chg="modNotes">
        <pc:chgData name="Braun, Glen" userId="15f4bf44-f62f-4b95-be37-16385bc8444b" providerId="ADAL" clId="{F1C77EFE-4245-9044-8274-3EB2A93CECE4}" dt="2025-01-05T21:19:48.198" v="1"/>
        <pc:sldMkLst>
          <pc:docMk/>
          <pc:sldMk cId="0" sldId="275"/>
        </pc:sldMkLst>
      </pc:sldChg>
      <pc:sldChg chg="modNotes">
        <pc:chgData name="Braun, Glen" userId="15f4bf44-f62f-4b95-be37-16385bc8444b" providerId="ADAL" clId="{F1C77EFE-4245-9044-8274-3EB2A93CECE4}" dt="2025-01-05T21:19:48.198" v="1"/>
        <pc:sldMkLst>
          <pc:docMk/>
          <pc:sldMk cId="0" sldId="277"/>
        </pc:sldMkLst>
      </pc:sldChg>
      <pc:sldChg chg="modNotes">
        <pc:chgData name="Braun, Glen" userId="15f4bf44-f62f-4b95-be37-16385bc8444b" providerId="ADAL" clId="{F1C77EFE-4245-9044-8274-3EB2A93CECE4}" dt="2025-01-05T21:19:48.198" v="1"/>
        <pc:sldMkLst>
          <pc:docMk/>
          <pc:sldMk cId="0" sldId="279"/>
        </pc:sldMkLst>
      </pc:sldChg>
      <pc:sldChg chg="modNotes">
        <pc:chgData name="Braun, Glen" userId="15f4bf44-f62f-4b95-be37-16385bc8444b" providerId="ADAL" clId="{F1C77EFE-4245-9044-8274-3EB2A93CECE4}" dt="2025-01-05T21:19:48.198" v="1"/>
        <pc:sldMkLst>
          <pc:docMk/>
          <pc:sldMk cId="0" sldId="280"/>
        </pc:sldMkLst>
      </pc:sldChg>
      <pc:sldChg chg="modNotes">
        <pc:chgData name="Braun, Glen" userId="15f4bf44-f62f-4b95-be37-16385bc8444b" providerId="ADAL" clId="{F1C77EFE-4245-9044-8274-3EB2A93CECE4}" dt="2025-01-05T21:19:48.198" v="1"/>
        <pc:sldMkLst>
          <pc:docMk/>
          <pc:sldMk cId="0" sldId="281"/>
        </pc:sldMkLst>
      </pc:sldChg>
      <pc:sldChg chg="modNotes">
        <pc:chgData name="Braun, Glen" userId="15f4bf44-f62f-4b95-be37-16385bc8444b" providerId="ADAL" clId="{F1C77EFE-4245-9044-8274-3EB2A93CECE4}" dt="2025-01-05T21:19:48.198" v="1"/>
        <pc:sldMkLst>
          <pc:docMk/>
          <pc:sldMk cId="0" sldId="284"/>
        </pc:sldMkLst>
      </pc:sldChg>
      <pc:sldChg chg="modNotes">
        <pc:chgData name="Braun, Glen" userId="15f4bf44-f62f-4b95-be37-16385bc8444b" providerId="ADAL" clId="{F1C77EFE-4245-9044-8274-3EB2A93CECE4}" dt="2025-01-05T21:19:48.198" v="1"/>
        <pc:sldMkLst>
          <pc:docMk/>
          <pc:sldMk cId="0" sldId="285"/>
        </pc:sldMkLst>
      </pc:sldChg>
      <pc:sldChg chg="modNotes">
        <pc:chgData name="Braun, Glen" userId="15f4bf44-f62f-4b95-be37-16385bc8444b" providerId="ADAL" clId="{F1C77EFE-4245-9044-8274-3EB2A93CECE4}" dt="2025-01-05T21:19:48.198" v="1"/>
        <pc:sldMkLst>
          <pc:docMk/>
          <pc:sldMk cId="0" sldId="286"/>
        </pc:sldMkLst>
      </pc:sldChg>
      <pc:sldChg chg="mod modShow modNotes">
        <pc:chgData name="Braun, Glen" userId="15f4bf44-f62f-4b95-be37-16385bc8444b" providerId="ADAL" clId="{F1C77EFE-4245-9044-8274-3EB2A93CECE4}" dt="2025-01-12T12:24:06.935" v="979" actId="729"/>
        <pc:sldMkLst>
          <pc:docMk/>
          <pc:sldMk cId="0" sldId="287"/>
        </pc:sldMkLst>
      </pc:sldChg>
      <pc:sldChg chg="modNotes">
        <pc:chgData name="Braun, Glen" userId="15f4bf44-f62f-4b95-be37-16385bc8444b" providerId="ADAL" clId="{F1C77EFE-4245-9044-8274-3EB2A93CECE4}" dt="2025-01-05T21:19:48.198" v="1"/>
        <pc:sldMkLst>
          <pc:docMk/>
          <pc:sldMk cId="0" sldId="288"/>
        </pc:sldMkLst>
      </pc:sldChg>
      <pc:sldChg chg="modNotes">
        <pc:chgData name="Braun, Glen" userId="15f4bf44-f62f-4b95-be37-16385bc8444b" providerId="ADAL" clId="{F1C77EFE-4245-9044-8274-3EB2A93CECE4}" dt="2025-01-05T21:19:48.198" v="1"/>
        <pc:sldMkLst>
          <pc:docMk/>
          <pc:sldMk cId="0" sldId="289"/>
        </pc:sldMkLst>
      </pc:sldChg>
      <pc:sldChg chg="modNotes">
        <pc:chgData name="Braun, Glen" userId="15f4bf44-f62f-4b95-be37-16385bc8444b" providerId="ADAL" clId="{F1C77EFE-4245-9044-8274-3EB2A93CECE4}" dt="2025-01-05T21:19:48.198" v="1"/>
        <pc:sldMkLst>
          <pc:docMk/>
          <pc:sldMk cId="0" sldId="290"/>
        </pc:sldMkLst>
      </pc:sldChg>
      <pc:sldChg chg="modNotesTx">
        <pc:chgData name="Braun, Glen" userId="15f4bf44-f62f-4b95-be37-16385bc8444b" providerId="ADAL" clId="{F1C77EFE-4245-9044-8274-3EB2A93CECE4}" dt="2025-01-08T18:11:10.272" v="816" actId="20577"/>
        <pc:sldMkLst>
          <pc:docMk/>
          <pc:sldMk cId="2431215773" sldId="310"/>
        </pc:sldMkLst>
      </pc:sldChg>
      <pc:sldChg chg="new del">
        <pc:chgData name="Braun, Glen" userId="15f4bf44-f62f-4b95-be37-16385bc8444b" providerId="ADAL" clId="{F1C77EFE-4245-9044-8274-3EB2A93CECE4}" dt="2025-01-05T21:20:10.262" v="3" actId="2696"/>
        <pc:sldMkLst>
          <pc:docMk/>
          <pc:sldMk cId="93041159" sldId="319"/>
        </pc:sldMkLst>
      </pc:sldChg>
      <pc:sldChg chg="new">
        <pc:chgData name="Braun, Glen" userId="15f4bf44-f62f-4b95-be37-16385bc8444b" providerId="ADAL" clId="{F1C77EFE-4245-9044-8274-3EB2A93CECE4}" dt="2025-01-05T21:20:20.640" v="6" actId="680"/>
        <pc:sldMkLst>
          <pc:docMk/>
          <pc:sldMk cId="3657474177" sldId="319"/>
        </pc:sldMkLst>
      </pc:sldChg>
      <pc:sldChg chg="new del">
        <pc:chgData name="Braun, Glen" userId="15f4bf44-f62f-4b95-be37-16385bc8444b" providerId="ADAL" clId="{F1C77EFE-4245-9044-8274-3EB2A93CECE4}" dt="2025-01-05T21:20:16.066" v="5" actId="2696"/>
        <pc:sldMkLst>
          <pc:docMk/>
          <pc:sldMk cId="4095247221" sldId="319"/>
        </pc:sldMkLst>
      </pc:sldChg>
      <pc:sldChg chg="delSp modSp add mod ord modNotesTx">
        <pc:chgData name="Braun, Glen" userId="15f4bf44-f62f-4b95-be37-16385bc8444b" providerId="ADAL" clId="{F1C77EFE-4245-9044-8274-3EB2A93CECE4}" dt="2025-01-07T21:49:07.862" v="197" actId="20577"/>
        <pc:sldMkLst>
          <pc:docMk/>
          <pc:sldMk cId="3158205740" sldId="326"/>
        </pc:sldMkLst>
        <pc:spChg chg="mod">
          <ac:chgData name="Braun, Glen" userId="15f4bf44-f62f-4b95-be37-16385bc8444b" providerId="ADAL" clId="{F1C77EFE-4245-9044-8274-3EB2A93CECE4}" dt="2025-01-07T21:46:11.420" v="111" actId="20577"/>
          <ac:spMkLst>
            <pc:docMk/>
            <pc:sldMk cId="3158205740" sldId="326"/>
            <ac:spMk id="28" creationId="{4E2F6A65-1E35-6662-8D22-574EBF151601}"/>
          </ac:spMkLst>
        </pc:spChg>
        <pc:spChg chg="mod">
          <ac:chgData name="Braun, Glen" userId="15f4bf44-f62f-4b95-be37-16385bc8444b" providerId="ADAL" clId="{F1C77EFE-4245-9044-8274-3EB2A93CECE4}" dt="2025-01-07T21:48:01.236" v="137" actId="20577"/>
          <ac:spMkLst>
            <pc:docMk/>
            <pc:sldMk cId="3158205740" sldId="326"/>
            <ac:spMk id="29" creationId="{643E4297-0686-AA24-41FC-27DDCE075053}"/>
          </ac:spMkLst>
        </pc:spChg>
        <pc:spChg chg="mod">
          <ac:chgData name="Braun, Glen" userId="15f4bf44-f62f-4b95-be37-16385bc8444b" providerId="ADAL" clId="{F1C77EFE-4245-9044-8274-3EB2A93CECE4}" dt="2025-01-07T21:46:16.367" v="122" actId="20577"/>
          <ac:spMkLst>
            <pc:docMk/>
            <pc:sldMk cId="3158205740" sldId="326"/>
            <ac:spMk id="30" creationId="{4B1C0A2C-5063-B735-4C7B-06027E66538D}"/>
          </ac:spMkLst>
        </pc:spChg>
        <pc:spChg chg="mod">
          <ac:chgData name="Braun, Glen" userId="15f4bf44-f62f-4b95-be37-16385bc8444b" providerId="ADAL" clId="{F1C77EFE-4245-9044-8274-3EB2A93CECE4}" dt="2025-01-07T21:48:55.937" v="195" actId="20577"/>
          <ac:spMkLst>
            <pc:docMk/>
            <pc:sldMk cId="3158205740" sldId="326"/>
            <ac:spMk id="31" creationId="{8DD1B058-A004-6FFF-E68C-76D448E18D21}"/>
          </ac:spMkLst>
        </pc:spChg>
        <pc:spChg chg="mod">
          <ac:chgData name="Braun, Glen" userId="15f4bf44-f62f-4b95-be37-16385bc8444b" providerId="ADAL" clId="{F1C77EFE-4245-9044-8274-3EB2A93CECE4}" dt="2025-01-07T21:45:56.507" v="94" actId="20577"/>
          <ac:spMkLst>
            <pc:docMk/>
            <pc:sldMk cId="3158205740" sldId="326"/>
            <ac:spMk id="631" creationId="{3556D9E9-D725-2C93-215E-176332D94DA1}"/>
          </ac:spMkLst>
        </pc:spChg>
        <pc:spChg chg="mod">
          <ac:chgData name="Braun, Glen" userId="15f4bf44-f62f-4b95-be37-16385bc8444b" providerId="ADAL" clId="{F1C77EFE-4245-9044-8274-3EB2A93CECE4}" dt="2025-01-07T21:46:32.735" v="124" actId="108"/>
          <ac:spMkLst>
            <pc:docMk/>
            <pc:sldMk cId="3158205740" sldId="326"/>
            <ac:spMk id="632" creationId="{FECE4BDE-CF50-F06E-CE1F-F87F6FB2FF0E}"/>
          </ac:spMkLst>
        </pc:spChg>
        <pc:spChg chg="mod">
          <ac:chgData name="Braun, Glen" userId="15f4bf44-f62f-4b95-be37-16385bc8444b" providerId="ADAL" clId="{F1C77EFE-4245-9044-8274-3EB2A93CECE4}" dt="2025-01-07T21:42:52.393" v="83" actId="20577"/>
          <ac:spMkLst>
            <pc:docMk/>
            <pc:sldMk cId="3158205740" sldId="326"/>
            <ac:spMk id="643" creationId="{16D4FF0E-4BD0-1203-F680-4BD689A4A26D}"/>
          </ac:spMkLst>
        </pc:spChg>
      </pc:sldChg>
      <pc:sldChg chg="addSp modSp add mod modNotesTx">
        <pc:chgData name="Braun, Glen" userId="15f4bf44-f62f-4b95-be37-16385bc8444b" providerId="ADAL" clId="{F1C77EFE-4245-9044-8274-3EB2A93CECE4}" dt="2025-01-07T22:02:55.737" v="324"/>
        <pc:sldMkLst>
          <pc:docMk/>
          <pc:sldMk cId="356522598" sldId="327"/>
        </pc:sldMkLst>
        <pc:spChg chg="add mod">
          <ac:chgData name="Braun, Glen" userId="15f4bf44-f62f-4b95-be37-16385bc8444b" providerId="ADAL" clId="{F1C77EFE-4245-9044-8274-3EB2A93CECE4}" dt="2025-01-07T22:02:55.737" v="324"/>
          <ac:spMkLst>
            <pc:docMk/>
            <pc:sldMk cId="356522598" sldId="327"/>
            <ac:spMk id="2" creationId="{26E8ABEE-37C2-7E74-B957-B5B48016FDC6}"/>
          </ac:spMkLst>
        </pc:spChg>
        <pc:spChg chg="mod">
          <ac:chgData name="Braun, Glen" userId="15f4bf44-f62f-4b95-be37-16385bc8444b" providerId="ADAL" clId="{F1C77EFE-4245-9044-8274-3EB2A93CECE4}" dt="2025-01-07T21:54:24.144" v="232" actId="20577"/>
          <ac:spMkLst>
            <pc:docMk/>
            <pc:sldMk cId="356522598" sldId="327"/>
            <ac:spMk id="28" creationId="{CEE0A6A7-E753-EB9E-8C96-316000314641}"/>
          </ac:spMkLst>
        </pc:spChg>
        <pc:spChg chg="mod">
          <ac:chgData name="Braun, Glen" userId="15f4bf44-f62f-4b95-be37-16385bc8444b" providerId="ADAL" clId="{F1C77EFE-4245-9044-8274-3EB2A93CECE4}" dt="2025-01-07T21:54:41.837" v="234" actId="207"/>
          <ac:spMkLst>
            <pc:docMk/>
            <pc:sldMk cId="356522598" sldId="327"/>
            <ac:spMk id="29" creationId="{0692E25F-B15A-0565-F3B2-2D9F1EC0423B}"/>
          </ac:spMkLst>
        </pc:spChg>
        <pc:spChg chg="mod">
          <ac:chgData name="Braun, Glen" userId="15f4bf44-f62f-4b95-be37-16385bc8444b" providerId="ADAL" clId="{F1C77EFE-4245-9044-8274-3EB2A93CECE4}" dt="2025-01-07T21:55:32.006" v="243" actId="404"/>
          <ac:spMkLst>
            <pc:docMk/>
            <pc:sldMk cId="356522598" sldId="327"/>
            <ac:spMk id="31" creationId="{9D162C5C-12A8-FCD6-A439-F8B5E07E2C59}"/>
          </ac:spMkLst>
        </pc:spChg>
        <pc:spChg chg="mod">
          <ac:chgData name="Braun, Glen" userId="15f4bf44-f62f-4b95-be37-16385bc8444b" providerId="ADAL" clId="{F1C77EFE-4245-9044-8274-3EB2A93CECE4}" dt="2025-01-07T21:54:09.566" v="219" actId="179"/>
          <ac:spMkLst>
            <pc:docMk/>
            <pc:sldMk cId="356522598" sldId="327"/>
            <ac:spMk id="632" creationId="{B16FC411-FA14-B7A7-EE56-8960627C9585}"/>
          </ac:spMkLst>
        </pc:spChg>
        <pc:spChg chg="mod">
          <ac:chgData name="Braun, Glen" userId="15f4bf44-f62f-4b95-be37-16385bc8444b" providerId="ADAL" clId="{F1C77EFE-4245-9044-8274-3EB2A93CECE4}" dt="2025-01-07T21:52:55.113" v="200" actId="207"/>
          <ac:spMkLst>
            <pc:docMk/>
            <pc:sldMk cId="356522598" sldId="327"/>
            <ac:spMk id="643" creationId="{511F0962-C241-A86C-2421-C171478CC6AF}"/>
          </ac:spMkLst>
        </pc:spChg>
      </pc:sldChg>
      <pc:sldChg chg="add del">
        <pc:chgData name="Braun, Glen" userId="15f4bf44-f62f-4b95-be37-16385bc8444b" providerId="ADAL" clId="{F1C77EFE-4245-9044-8274-3EB2A93CECE4}" dt="2025-01-07T21:59:34.109" v="250"/>
        <pc:sldMkLst>
          <pc:docMk/>
          <pc:sldMk cId="1761219095" sldId="328"/>
        </pc:sldMkLst>
      </pc:sldChg>
      <pc:sldChg chg="modSp add mod modNotesTx">
        <pc:chgData name="Braun, Glen" userId="15f4bf44-f62f-4b95-be37-16385bc8444b" providerId="ADAL" clId="{F1C77EFE-4245-9044-8274-3EB2A93CECE4}" dt="2025-01-07T22:10:46.014" v="389" actId="20577"/>
        <pc:sldMkLst>
          <pc:docMk/>
          <pc:sldMk cId="3450651062" sldId="328"/>
        </pc:sldMkLst>
        <pc:spChg chg="mod">
          <ac:chgData name="Braun, Glen" userId="15f4bf44-f62f-4b95-be37-16385bc8444b" providerId="ADAL" clId="{F1C77EFE-4245-9044-8274-3EB2A93CECE4}" dt="2025-01-07T22:00:02.777" v="265" actId="20577"/>
          <ac:spMkLst>
            <pc:docMk/>
            <pc:sldMk cId="3450651062" sldId="328"/>
            <ac:spMk id="4" creationId="{FAEE67BC-12A8-08F5-BAA0-EA861970A9DA}"/>
          </ac:spMkLst>
        </pc:spChg>
        <pc:picChg chg="mod">
          <ac:chgData name="Braun, Glen" userId="15f4bf44-f62f-4b95-be37-16385bc8444b" providerId="ADAL" clId="{F1C77EFE-4245-9044-8274-3EB2A93CECE4}" dt="2025-01-07T21:59:45.313" v="252" actId="14826"/>
          <ac:picMkLst>
            <pc:docMk/>
            <pc:sldMk cId="3450651062" sldId="328"/>
            <ac:picMk id="3" creationId="{E793A395-E9A9-5D16-D3D9-D9D75E29D8AD}"/>
          </ac:picMkLst>
        </pc:picChg>
      </pc:sldChg>
      <pc:sldChg chg="modSp add modNotesTx">
        <pc:chgData name="Braun, Glen" userId="15f4bf44-f62f-4b95-be37-16385bc8444b" providerId="ADAL" clId="{F1C77EFE-4245-9044-8274-3EB2A93CECE4}" dt="2025-01-07T22:10:50.151" v="390" actId="20577"/>
        <pc:sldMkLst>
          <pc:docMk/>
          <pc:sldMk cId="3949267432" sldId="329"/>
        </pc:sldMkLst>
        <pc:picChg chg="mod">
          <ac:chgData name="Braun, Glen" userId="15f4bf44-f62f-4b95-be37-16385bc8444b" providerId="ADAL" clId="{F1C77EFE-4245-9044-8274-3EB2A93CECE4}" dt="2025-01-07T22:00:41.209" v="267" actId="14826"/>
          <ac:picMkLst>
            <pc:docMk/>
            <pc:sldMk cId="3949267432" sldId="329"/>
            <ac:picMk id="3" creationId="{BF205946-9C87-0E86-29CE-6D6BDC387E29}"/>
          </ac:picMkLst>
        </pc:picChg>
      </pc:sldChg>
      <pc:sldChg chg="addSp modSp add mod modNotesTx">
        <pc:chgData name="Braun, Glen" userId="15f4bf44-f62f-4b95-be37-16385bc8444b" providerId="ADAL" clId="{F1C77EFE-4245-9044-8274-3EB2A93CECE4}" dt="2025-01-07T22:11:28.605" v="393"/>
        <pc:sldMkLst>
          <pc:docMk/>
          <pc:sldMk cId="1613981690" sldId="330"/>
        </pc:sldMkLst>
        <pc:spChg chg="add mod">
          <ac:chgData name="Braun, Glen" userId="15f4bf44-f62f-4b95-be37-16385bc8444b" providerId="ADAL" clId="{F1C77EFE-4245-9044-8274-3EB2A93CECE4}" dt="2025-01-07T22:09:05.350" v="357" actId="20577"/>
          <ac:spMkLst>
            <pc:docMk/>
            <pc:sldMk cId="1613981690" sldId="330"/>
            <ac:spMk id="2" creationId="{87B26627-B43E-0360-87E8-F4E8D09B2F45}"/>
          </ac:spMkLst>
        </pc:spChg>
        <pc:spChg chg="mod">
          <ac:chgData name="Braun, Glen" userId="15f4bf44-f62f-4b95-be37-16385bc8444b" providerId="ADAL" clId="{F1C77EFE-4245-9044-8274-3EB2A93CECE4}" dt="2025-01-07T22:04:44.432" v="330" actId="207"/>
          <ac:spMkLst>
            <pc:docMk/>
            <pc:sldMk cId="1613981690" sldId="330"/>
            <ac:spMk id="29" creationId="{32CE4AAA-368C-05D3-7BE3-907266407A75}"/>
          </ac:spMkLst>
        </pc:spChg>
        <pc:spChg chg="mod">
          <ac:chgData name="Braun, Glen" userId="15f4bf44-f62f-4b95-be37-16385bc8444b" providerId="ADAL" clId="{F1C77EFE-4245-9044-8274-3EB2A93CECE4}" dt="2025-01-07T22:09:49.843" v="386" actId="20577"/>
          <ac:spMkLst>
            <pc:docMk/>
            <pc:sldMk cId="1613981690" sldId="330"/>
            <ac:spMk id="31" creationId="{D2677CFA-9FD8-5AA0-B716-FC8843E4C72D}"/>
          </ac:spMkLst>
        </pc:spChg>
        <pc:spChg chg="mod">
          <ac:chgData name="Braun, Glen" userId="15f4bf44-f62f-4b95-be37-16385bc8444b" providerId="ADAL" clId="{F1C77EFE-4245-9044-8274-3EB2A93CECE4}" dt="2025-01-07T22:03:58.603" v="328" actId="179"/>
          <ac:spMkLst>
            <pc:docMk/>
            <pc:sldMk cId="1613981690" sldId="330"/>
            <ac:spMk id="632" creationId="{FA8422B7-4D91-767A-B35D-E061BC036299}"/>
          </ac:spMkLst>
        </pc:spChg>
        <pc:spChg chg="mod">
          <ac:chgData name="Braun, Glen" userId="15f4bf44-f62f-4b95-be37-16385bc8444b" providerId="ADAL" clId="{F1C77EFE-4245-9044-8274-3EB2A93CECE4}" dt="2025-01-07T22:09:39.176" v="362" actId="20577"/>
          <ac:spMkLst>
            <pc:docMk/>
            <pc:sldMk cId="1613981690" sldId="330"/>
            <ac:spMk id="643" creationId="{921E0B46-B171-D757-9107-95F09E5F7103}"/>
          </ac:spMkLst>
        </pc:spChg>
      </pc:sldChg>
      <pc:sldChg chg="modSp add modNotesTx">
        <pc:chgData name="Braun, Glen" userId="15f4bf44-f62f-4b95-be37-16385bc8444b" providerId="ADAL" clId="{F1C77EFE-4245-9044-8274-3EB2A93CECE4}" dt="2025-01-07T22:10:42.765" v="388" actId="20577"/>
        <pc:sldMkLst>
          <pc:docMk/>
          <pc:sldMk cId="345758758" sldId="331"/>
        </pc:sldMkLst>
        <pc:picChg chg="mod">
          <ac:chgData name="Braun, Glen" userId="15f4bf44-f62f-4b95-be37-16385bc8444b" providerId="ADAL" clId="{F1C77EFE-4245-9044-8274-3EB2A93CECE4}" dt="2025-01-07T22:08:55.838" v="336" actId="14826"/>
          <ac:picMkLst>
            <pc:docMk/>
            <pc:sldMk cId="345758758" sldId="331"/>
            <ac:picMk id="3" creationId="{984DDD12-5309-4547-0E6E-16B6F85DC024}"/>
          </ac:picMkLst>
        </pc:picChg>
      </pc:sldChg>
      <pc:sldChg chg="modSp add mod modNotesTx">
        <pc:chgData name="Braun, Glen" userId="15f4bf44-f62f-4b95-be37-16385bc8444b" providerId="ADAL" clId="{F1C77EFE-4245-9044-8274-3EB2A93CECE4}" dt="2025-01-07T22:35:45.395" v="778"/>
        <pc:sldMkLst>
          <pc:docMk/>
          <pc:sldMk cId="772659963" sldId="332"/>
        </pc:sldMkLst>
        <pc:spChg chg="mod">
          <ac:chgData name="Braun, Glen" userId="15f4bf44-f62f-4b95-be37-16385bc8444b" providerId="ADAL" clId="{F1C77EFE-4245-9044-8274-3EB2A93CECE4}" dt="2025-01-07T22:16:53.548" v="435" actId="20577"/>
          <ac:spMkLst>
            <pc:docMk/>
            <pc:sldMk cId="772659963" sldId="332"/>
            <ac:spMk id="2" creationId="{3A369E2F-D851-6421-EE32-5AFD4598FF04}"/>
          </ac:spMkLst>
        </pc:spChg>
        <pc:spChg chg="mod">
          <ac:chgData name="Braun, Glen" userId="15f4bf44-f62f-4b95-be37-16385bc8444b" providerId="ADAL" clId="{F1C77EFE-4245-9044-8274-3EB2A93CECE4}" dt="2025-01-07T22:15:39.299" v="413" actId="113"/>
          <ac:spMkLst>
            <pc:docMk/>
            <pc:sldMk cId="772659963" sldId="332"/>
            <ac:spMk id="29" creationId="{09FFBFE4-04D6-2DE6-65ED-E5E1A3351A22}"/>
          </ac:spMkLst>
        </pc:spChg>
        <pc:spChg chg="mod">
          <ac:chgData name="Braun, Glen" userId="15f4bf44-f62f-4b95-be37-16385bc8444b" providerId="ADAL" clId="{F1C77EFE-4245-9044-8274-3EB2A93CECE4}" dt="2025-01-07T22:18:39.213" v="556" actId="20577"/>
          <ac:spMkLst>
            <pc:docMk/>
            <pc:sldMk cId="772659963" sldId="332"/>
            <ac:spMk id="31" creationId="{D468F2D4-DB83-6AD6-1844-A292215691AF}"/>
          </ac:spMkLst>
        </pc:spChg>
        <pc:spChg chg="mod">
          <ac:chgData name="Braun, Glen" userId="15f4bf44-f62f-4b95-be37-16385bc8444b" providerId="ADAL" clId="{F1C77EFE-4245-9044-8274-3EB2A93CECE4}" dt="2025-01-07T22:14:42.853" v="406" actId="179"/>
          <ac:spMkLst>
            <pc:docMk/>
            <pc:sldMk cId="772659963" sldId="332"/>
            <ac:spMk id="632" creationId="{BF45B254-CAB4-37EC-C482-47C175AF7A1E}"/>
          </ac:spMkLst>
        </pc:spChg>
        <pc:spChg chg="mod">
          <ac:chgData name="Braun, Glen" userId="15f4bf44-f62f-4b95-be37-16385bc8444b" providerId="ADAL" clId="{F1C77EFE-4245-9044-8274-3EB2A93CECE4}" dt="2025-01-07T22:14:21.704" v="399" actId="20577"/>
          <ac:spMkLst>
            <pc:docMk/>
            <pc:sldMk cId="772659963" sldId="332"/>
            <ac:spMk id="643" creationId="{CA1E9AF4-F1D5-6FED-4878-F1AF7E0D8B12}"/>
          </ac:spMkLst>
        </pc:spChg>
      </pc:sldChg>
      <pc:sldChg chg="modSp add">
        <pc:chgData name="Braun, Glen" userId="15f4bf44-f62f-4b95-be37-16385bc8444b" providerId="ADAL" clId="{F1C77EFE-4245-9044-8274-3EB2A93CECE4}" dt="2025-01-07T22:19:46.542" v="557" actId="14826"/>
        <pc:sldMkLst>
          <pc:docMk/>
          <pc:sldMk cId="2354670770" sldId="333"/>
        </pc:sldMkLst>
        <pc:picChg chg="mod">
          <ac:chgData name="Braun, Glen" userId="15f4bf44-f62f-4b95-be37-16385bc8444b" providerId="ADAL" clId="{F1C77EFE-4245-9044-8274-3EB2A93CECE4}" dt="2025-01-07T22:19:46.542" v="557" actId="14826"/>
          <ac:picMkLst>
            <pc:docMk/>
            <pc:sldMk cId="2354670770" sldId="333"/>
            <ac:picMk id="3" creationId="{A477779F-19E5-D19E-042E-26AE76A310E6}"/>
          </ac:picMkLst>
        </pc:picChg>
      </pc:sldChg>
      <pc:sldChg chg="addSp delSp modSp new mod ord">
        <pc:chgData name="Braun, Glen" userId="15f4bf44-f62f-4b95-be37-16385bc8444b" providerId="ADAL" clId="{F1C77EFE-4245-9044-8274-3EB2A93CECE4}" dt="2025-01-12T13:41:18.364" v="985" actId="20577"/>
        <pc:sldMkLst>
          <pc:docMk/>
          <pc:sldMk cId="2372439464" sldId="334"/>
        </pc:sldMkLst>
        <pc:graphicFrameChg chg="add mod modGraphic">
          <ac:chgData name="Braun, Glen" userId="15f4bf44-f62f-4b95-be37-16385bc8444b" providerId="ADAL" clId="{F1C77EFE-4245-9044-8274-3EB2A93CECE4}" dt="2025-01-12T13:41:18.364" v="985" actId="20577"/>
          <ac:graphicFrameMkLst>
            <pc:docMk/>
            <pc:sldMk cId="2372439464" sldId="334"/>
            <ac:graphicFrameMk id="2" creationId="{CD60C13B-5936-EB13-99E4-99BF21E0DDF4}"/>
          </ac:graphicFrameMkLst>
        </pc:graphicFrameChg>
        <pc:graphicFrameChg chg="add del mod modGraphic">
          <ac:chgData name="Braun, Glen" userId="15f4bf44-f62f-4b95-be37-16385bc8444b" providerId="ADAL" clId="{F1C77EFE-4245-9044-8274-3EB2A93CECE4}" dt="2025-01-12T12:17:15.604" v="889" actId="478"/>
          <ac:graphicFrameMkLst>
            <pc:docMk/>
            <pc:sldMk cId="2372439464" sldId="334"/>
            <ac:graphicFrameMk id="5" creationId="{9D32BBF1-4512-DC01-3250-7B4F2186FED5}"/>
          </ac:graphicFrameMkLst>
        </pc:graphicFrameChg>
      </pc:sldChg>
      <pc:sldChg chg="modSp new del mod ord">
        <pc:chgData name="Braun, Glen" userId="15f4bf44-f62f-4b95-be37-16385bc8444b" providerId="ADAL" clId="{F1C77EFE-4245-9044-8274-3EB2A93CECE4}" dt="2025-01-07T22:33:33.398" v="739" actId="2696"/>
        <pc:sldMkLst>
          <pc:docMk/>
          <pc:sldMk cId="314391609" sldId="335"/>
        </pc:sldMkLst>
      </pc:sldChg>
      <pc:sldChg chg="new del">
        <pc:chgData name="Braun, Glen" userId="15f4bf44-f62f-4b95-be37-16385bc8444b" providerId="ADAL" clId="{F1C77EFE-4245-9044-8274-3EB2A93CECE4}" dt="2025-01-07T22:28:59.233" v="589" actId="2696"/>
        <pc:sldMkLst>
          <pc:docMk/>
          <pc:sldMk cId="2711404018" sldId="335"/>
        </pc:sldMkLst>
      </pc:sldChg>
      <pc:sldChg chg="addSp delSp modSp new del mod">
        <pc:chgData name="Braun, Glen" userId="15f4bf44-f62f-4b95-be37-16385bc8444b" providerId="ADAL" clId="{F1C77EFE-4245-9044-8274-3EB2A93CECE4}" dt="2025-01-07T22:28:56.342" v="587" actId="2696"/>
        <pc:sldMkLst>
          <pc:docMk/>
          <pc:sldMk cId="3909269288" sldId="335"/>
        </pc:sldMkLst>
      </pc:sldChg>
      <pc:sldChg chg="addSp delSp modSp new del mod">
        <pc:chgData name="Braun, Glen" userId="15f4bf44-f62f-4b95-be37-16385bc8444b" providerId="ADAL" clId="{F1C77EFE-4245-9044-8274-3EB2A93CECE4}" dt="2025-01-12T12:14:10.123" v="883" actId="2696"/>
        <pc:sldMkLst>
          <pc:docMk/>
          <pc:sldMk cId="3451821809" sldId="336"/>
        </pc:sldMkLst>
      </pc:sldChg>
      <pc:sldChg chg="add del">
        <pc:chgData name="Braun, Glen" userId="15f4bf44-f62f-4b95-be37-16385bc8444b" providerId="ADAL" clId="{F1C77EFE-4245-9044-8274-3EB2A93CECE4}" dt="2025-01-07T22:33:40.193" v="741" actId="2696"/>
        <pc:sldMkLst>
          <pc:docMk/>
          <pc:sldMk cId="482726706" sldId="337"/>
        </pc:sldMkLst>
      </pc:sldChg>
      <pc:sldChg chg="modSp new mod">
        <pc:chgData name="Braun, Glen" userId="15f4bf44-f62f-4b95-be37-16385bc8444b" providerId="ADAL" clId="{F1C77EFE-4245-9044-8274-3EB2A93CECE4}" dt="2025-01-12T12:20:22.518" v="943" actId="14100"/>
        <pc:sldMkLst>
          <pc:docMk/>
          <pc:sldMk cId="3681696721" sldId="337"/>
        </pc:sldMkLst>
        <pc:spChg chg="mod">
          <ac:chgData name="Braun, Glen" userId="15f4bf44-f62f-4b95-be37-16385bc8444b" providerId="ADAL" clId="{F1C77EFE-4245-9044-8274-3EB2A93CECE4}" dt="2025-01-07T22:33:55.436" v="770" actId="20577"/>
          <ac:spMkLst>
            <pc:docMk/>
            <pc:sldMk cId="3681696721" sldId="337"/>
            <ac:spMk id="2" creationId="{B36C75DE-777E-152E-8CEE-FD958C197973}"/>
          </ac:spMkLst>
        </pc:spChg>
        <pc:spChg chg="mod">
          <ac:chgData name="Braun, Glen" userId="15f4bf44-f62f-4b95-be37-16385bc8444b" providerId="ADAL" clId="{F1C77EFE-4245-9044-8274-3EB2A93CECE4}" dt="2025-01-12T12:20:22.518" v="943" actId="14100"/>
          <ac:spMkLst>
            <pc:docMk/>
            <pc:sldMk cId="3681696721" sldId="337"/>
            <ac:spMk id="3" creationId="{939D06C0-FB46-727E-EEA4-9E272F568A55}"/>
          </ac:spMkLst>
        </pc:spChg>
      </pc:sldChg>
      <pc:sldChg chg="modSp mod">
        <pc:chgData name="Braun, Glen" userId="15f4bf44-f62f-4b95-be37-16385bc8444b" providerId="ADAL" clId="{F1C77EFE-4245-9044-8274-3EB2A93CECE4}" dt="2025-01-12T17:42:26.407" v="986" actId="14734"/>
        <pc:sldMkLst>
          <pc:docMk/>
          <pc:sldMk cId="634971730" sldId="340"/>
        </pc:sldMkLst>
        <pc:graphicFrameChg chg="modGraphic">
          <ac:chgData name="Braun, Glen" userId="15f4bf44-f62f-4b95-be37-16385bc8444b" providerId="ADAL" clId="{F1C77EFE-4245-9044-8274-3EB2A93CECE4}" dt="2025-01-12T17:42:26.407" v="986" actId="14734"/>
          <ac:graphicFrameMkLst>
            <pc:docMk/>
            <pc:sldMk cId="634971730" sldId="340"/>
            <ac:graphicFrameMk id="4" creationId="{B83C42CB-3E75-0D1D-7C39-94636D150FDA}"/>
          </ac:graphicFrameMkLst>
        </pc:graphicFrameChg>
      </pc:sldChg>
      <pc:sldChg chg="modSp add mod modNotesTx">
        <pc:chgData name="Braun, Glen" userId="15f4bf44-f62f-4b95-be37-16385bc8444b" providerId="ADAL" clId="{F1C77EFE-4245-9044-8274-3EB2A93CECE4}" dt="2025-01-12T12:13:08.245" v="879"/>
        <pc:sldMkLst>
          <pc:docMk/>
          <pc:sldMk cId="1834548128" sldId="345"/>
        </pc:sldMkLst>
        <pc:spChg chg="mod">
          <ac:chgData name="Braun, Glen" userId="15f4bf44-f62f-4b95-be37-16385bc8444b" providerId="ADAL" clId="{F1C77EFE-4245-9044-8274-3EB2A93CECE4}" dt="2025-01-12T12:12:15.998" v="866" actId="404"/>
          <ac:spMkLst>
            <pc:docMk/>
            <pc:sldMk cId="1834548128" sldId="345"/>
            <ac:spMk id="29" creationId="{21CE4AA2-4324-FE9C-D90F-F3DBE86120DE}"/>
          </ac:spMkLst>
        </pc:spChg>
        <pc:spChg chg="mod">
          <ac:chgData name="Braun, Glen" userId="15f4bf44-f62f-4b95-be37-16385bc8444b" providerId="ADAL" clId="{F1C77EFE-4245-9044-8274-3EB2A93CECE4}" dt="2025-01-12T12:12:57.326" v="877" actId="20577"/>
          <ac:spMkLst>
            <pc:docMk/>
            <pc:sldMk cId="1834548128" sldId="345"/>
            <ac:spMk id="31" creationId="{25F570E8-75F0-6A22-3647-334A497207BC}"/>
          </ac:spMkLst>
        </pc:spChg>
        <pc:spChg chg="mod">
          <ac:chgData name="Braun, Glen" userId="15f4bf44-f62f-4b95-be37-16385bc8444b" providerId="ADAL" clId="{F1C77EFE-4245-9044-8274-3EB2A93CECE4}" dt="2025-01-12T12:11:54.832" v="861" actId="404"/>
          <ac:spMkLst>
            <pc:docMk/>
            <pc:sldMk cId="1834548128" sldId="345"/>
            <ac:spMk id="632" creationId="{C94D8E91-6B70-11FD-F264-40FB17444DDC}"/>
          </ac:spMkLst>
        </pc:spChg>
        <pc:spChg chg="mod">
          <ac:chgData name="Braun, Glen" userId="15f4bf44-f62f-4b95-be37-16385bc8444b" providerId="ADAL" clId="{F1C77EFE-4245-9044-8274-3EB2A93CECE4}" dt="2025-01-12T12:06:56.924" v="858" actId="20577"/>
          <ac:spMkLst>
            <pc:docMk/>
            <pc:sldMk cId="1834548128" sldId="345"/>
            <ac:spMk id="643" creationId="{7D5D60A0-E6A4-B283-4DD7-11B01AE372B5}"/>
          </ac:spMkLst>
        </pc:spChg>
      </pc:sldChg>
      <pc:sldChg chg="add del">
        <pc:chgData name="Braun, Glen" userId="15f4bf44-f62f-4b95-be37-16385bc8444b" providerId="ADAL" clId="{F1C77EFE-4245-9044-8274-3EB2A93CECE4}" dt="2025-01-12T12:13:15.436" v="880" actId="2696"/>
        <pc:sldMkLst>
          <pc:docMk/>
          <pc:sldMk cId="3025021865" sldId="346"/>
        </pc:sldMkLst>
      </pc:sldChg>
      <pc:sldChg chg="modSp add">
        <pc:chgData name="Braun, Glen" userId="15f4bf44-f62f-4b95-be37-16385bc8444b" providerId="ADAL" clId="{F1C77EFE-4245-9044-8274-3EB2A93CECE4}" dt="2025-01-12T12:13:53.840" v="882" actId="14826"/>
        <pc:sldMkLst>
          <pc:docMk/>
          <pc:sldMk cId="4265536366" sldId="346"/>
        </pc:sldMkLst>
        <pc:picChg chg="mod">
          <ac:chgData name="Braun, Glen" userId="15f4bf44-f62f-4b95-be37-16385bc8444b" providerId="ADAL" clId="{F1C77EFE-4245-9044-8274-3EB2A93CECE4}" dt="2025-01-12T12:13:53.840" v="882" actId="14826"/>
          <ac:picMkLst>
            <pc:docMk/>
            <pc:sldMk cId="4265536366" sldId="346"/>
            <ac:picMk id="3" creationId="{66D5A577-A04E-97AB-2A7A-4CA61A7B5C98}"/>
          </ac:picMkLst>
        </pc:picChg>
      </pc:sldChg>
      <pc:sldChg chg="modSp add mod modNotesTx">
        <pc:chgData name="Braun, Glen" userId="15f4bf44-f62f-4b95-be37-16385bc8444b" providerId="ADAL" clId="{F1C77EFE-4245-9044-8274-3EB2A93CECE4}" dt="2025-01-12T12:23:57.620" v="978"/>
        <pc:sldMkLst>
          <pc:docMk/>
          <pc:sldMk cId="653102690" sldId="347"/>
        </pc:sldMkLst>
        <pc:spChg chg="mod">
          <ac:chgData name="Braun, Glen" userId="15f4bf44-f62f-4b95-be37-16385bc8444b" providerId="ADAL" clId="{F1C77EFE-4245-9044-8274-3EB2A93CECE4}" dt="2025-01-12T12:23:09.937" v="968" actId="404"/>
          <ac:spMkLst>
            <pc:docMk/>
            <pc:sldMk cId="653102690" sldId="347"/>
            <ac:spMk id="29" creationId="{60E17710-1791-1E19-9B0A-5D3C22F7575B}"/>
          </ac:spMkLst>
        </pc:spChg>
        <pc:spChg chg="mod">
          <ac:chgData name="Braun, Glen" userId="15f4bf44-f62f-4b95-be37-16385bc8444b" providerId="ADAL" clId="{F1C77EFE-4245-9044-8274-3EB2A93CECE4}" dt="2025-01-12T12:23:35.089" v="976" actId="403"/>
          <ac:spMkLst>
            <pc:docMk/>
            <pc:sldMk cId="653102690" sldId="347"/>
            <ac:spMk id="31" creationId="{E67985D5-CAB9-0BBA-9090-3FFC842B4E65}"/>
          </ac:spMkLst>
        </pc:spChg>
        <pc:spChg chg="mod">
          <ac:chgData name="Braun, Glen" userId="15f4bf44-f62f-4b95-be37-16385bc8444b" providerId="ADAL" clId="{F1C77EFE-4245-9044-8274-3EB2A93CECE4}" dt="2025-01-12T12:21:40.981" v="961" actId="179"/>
          <ac:spMkLst>
            <pc:docMk/>
            <pc:sldMk cId="653102690" sldId="347"/>
            <ac:spMk id="632" creationId="{089F4830-18D1-035C-509E-6A390C235D22}"/>
          </ac:spMkLst>
        </pc:spChg>
        <pc:spChg chg="mod">
          <ac:chgData name="Braun, Glen" userId="15f4bf44-f62f-4b95-be37-16385bc8444b" providerId="ADAL" clId="{F1C77EFE-4245-9044-8274-3EB2A93CECE4}" dt="2025-01-12T12:21:18.435" v="953" actId="20577"/>
          <ac:spMkLst>
            <pc:docMk/>
            <pc:sldMk cId="653102690" sldId="347"/>
            <ac:spMk id="643" creationId="{307386DF-51B6-0812-50DC-C18C7825735A}"/>
          </ac:spMkLst>
        </pc:spChg>
      </pc:sldChg>
    </pc:docChg>
  </pc:docChgLst>
  <pc:docChgLst>
    <pc:chgData name="Kayatas, Sinem" userId="5031fa3d-1ae0-41de-83a0-488c250e9385" providerId="ADAL" clId="{2BFDC527-A6AC-4986-B9B4-9C645F867525}"/>
    <pc:docChg chg="undo custSel addSld modSld modSection">
      <pc:chgData name="Kayatas, Sinem" userId="5031fa3d-1ae0-41de-83a0-488c250e9385" providerId="ADAL" clId="{2BFDC527-A6AC-4986-B9B4-9C645F867525}" dt="2025-01-10T14:41:02.302" v="36" actId="680"/>
      <pc:docMkLst>
        <pc:docMk/>
      </pc:docMkLst>
      <pc:sldChg chg="modSp mod">
        <pc:chgData name="Kayatas, Sinem" userId="5031fa3d-1ae0-41de-83a0-488c250e9385" providerId="ADAL" clId="{2BFDC527-A6AC-4986-B9B4-9C645F867525}" dt="2025-01-10T14:34:47.317" v="35" actId="1076"/>
        <pc:sldMkLst>
          <pc:docMk/>
          <pc:sldMk cId="2431215773" sldId="310"/>
        </pc:sldMkLst>
        <pc:graphicFrameChg chg="mod modGraphic">
          <ac:chgData name="Kayatas, Sinem" userId="5031fa3d-1ae0-41de-83a0-488c250e9385" providerId="ADAL" clId="{2BFDC527-A6AC-4986-B9B4-9C645F867525}" dt="2025-01-10T14:34:47.317" v="35" actId="1076"/>
          <ac:graphicFrameMkLst>
            <pc:docMk/>
            <pc:sldMk cId="2431215773" sldId="310"/>
            <ac:graphicFrameMk id="4" creationId="{DA01CDC7-59BA-2282-532A-E25EFC7C205A}"/>
          </ac:graphicFrameMkLst>
        </pc:graphicFrameChg>
      </pc:sldChg>
      <pc:sldChg chg="modSp mod">
        <pc:chgData name="Kayatas, Sinem" userId="5031fa3d-1ae0-41de-83a0-488c250e9385" providerId="ADAL" clId="{2BFDC527-A6AC-4986-B9B4-9C645F867525}" dt="2025-01-10T14:31:37.861" v="32" actId="14734"/>
        <pc:sldMkLst>
          <pc:docMk/>
          <pc:sldMk cId="2517486238" sldId="312"/>
        </pc:sldMkLst>
        <pc:graphicFrameChg chg="mod modGraphic">
          <ac:chgData name="Kayatas, Sinem" userId="5031fa3d-1ae0-41de-83a0-488c250e9385" providerId="ADAL" clId="{2BFDC527-A6AC-4986-B9B4-9C645F867525}" dt="2025-01-10T14:31:37.861" v="32" actId="14734"/>
          <ac:graphicFrameMkLst>
            <pc:docMk/>
            <pc:sldMk cId="2517486238" sldId="312"/>
            <ac:graphicFrameMk id="4" creationId="{C22A1241-E0C8-7E64-60B1-5E58F79558E6}"/>
          </ac:graphicFrameMkLst>
        </pc:graphicFrameChg>
      </pc:sldChg>
      <pc:sldChg chg="new">
        <pc:chgData name="Kayatas, Sinem" userId="5031fa3d-1ae0-41de-83a0-488c250e9385" providerId="ADAL" clId="{2BFDC527-A6AC-4986-B9B4-9C645F867525}" dt="2025-01-10T14:41:02.302" v="36" actId="680"/>
        <pc:sldMkLst>
          <pc:docMk/>
          <pc:sldMk cId="2720047416" sldId="339"/>
        </pc:sldMkLst>
      </pc:sldChg>
    </pc:docChg>
  </pc:docChgLst>
  <pc:docChgLst>
    <pc:chgData name="Fahrner, Michelle" userId="S::michelle.fahrner@student.reutlingen-university.de::7672c29c-0219-4e1e-943d-44b255e75464" providerId="AD" clId="Web-{3476293F-D6E7-91DD-4908-13724D6D6E0E}"/>
    <pc:docChg chg="delSld modSld modSection">
      <pc:chgData name="Fahrner, Michelle" userId="S::michelle.fahrner@student.reutlingen-university.de::7672c29c-0219-4e1e-943d-44b255e75464" providerId="AD" clId="Web-{3476293F-D6E7-91DD-4908-13724D6D6E0E}" dt="2025-01-06T08:25:11.972" v="24"/>
      <pc:docMkLst>
        <pc:docMk/>
      </pc:docMkLst>
      <pc:sldChg chg="modSp">
        <pc:chgData name="Fahrner, Michelle" userId="S::michelle.fahrner@student.reutlingen-university.de::7672c29c-0219-4e1e-943d-44b255e75464" providerId="AD" clId="Web-{3476293F-D6E7-91DD-4908-13724D6D6E0E}" dt="2025-01-06T08:10:54.910" v="0"/>
        <pc:sldMkLst>
          <pc:docMk/>
          <pc:sldMk cId="2431215773" sldId="310"/>
        </pc:sldMkLst>
        <pc:graphicFrameChg chg="modGraphic">
          <ac:chgData name="Fahrner, Michelle" userId="S::michelle.fahrner@student.reutlingen-university.de::7672c29c-0219-4e1e-943d-44b255e75464" providerId="AD" clId="Web-{3476293F-D6E7-91DD-4908-13724D6D6E0E}" dt="2025-01-06T08:10:54.910" v="0"/>
          <ac:graphicFrameMkLst>
            <pc:docMk/>
            <pc:sldMk cId="2431215773" sldId="310"/>
            <ac:graphicFrameMk id="4" creationId="{DA01CDC7-59BA-2282-532A-E25EFC7C205A}"/>
          </ac:graphicFrameMkLst>
        </pc:graphicFrameChg>
      </pc:sldChg>
      <pc:sldChg chg="modSp">
        <pc:chgData name="Fahrner, Michelle" userId="S::michelle.fahrner@student.reutlingen-university.de::7672c29c-0219-4e1e-943d-44b255e75464" providerId="AD" clId="Web-{3476293F-D6E7-91DD-4908-13724D6D6E0E}" dt="2025-01-06T08:25:11.972" v="24"/>
        <pc:sldMkLst>
          <pc:docMk/>
          <pc:sldMk cId="2517486238" sldId="312"/>
        </pc:sldMkLst>
        <pc:graphicFrameChg chg="modGraphic">
          <ac:chgData name="Fahrner, Michelle" userId="S::michelle.fahrner@student.reutlingen-university.de::7672c29c-0219-4e1e-943d-44b255e75464" providerId="AD" clId="Web-{3476293F-D6E7-91DD-4908-13724D6D6E0E}" dt="2025-01-06T08:25:11.972" v="24"/>
          <ac:graphicFrameMkLst>
            <pc:docMk/>
            <pc:sldMk cId="2517486238" sldId="312"/>
            <ac:graphicFrameMk id="4" creationId="{C22A1241-E0C8-7E64-60B1-5E58F79558E6}"/>
          </ac:graphicFrameMkLst>
        </pc:graphicFrameChg>
      </pc:sldChg>
      <pc:sldChg chg="modSp">
        <pc:chgData name="Fahrner, Michelle" userId="S::michelle.fahrner@student.reutlingen-university.de::7672c29c-0219-4e1e-943d-44b255e75464" providerId="AD" clId="Web-{3476293F-D6E7-91DD-4908-13724D6D6E0E}" dt="2025-01-06T08:19:15.725" v="23" actId="20577"/>
        <pc:sldMkLst>
          <pc:docMk/>
          <pc:sldMk cId="2108382887" sldId="314"/>
        </pc:sldMkLst>
        <pc:spChg chg="mod">
          <ac:chgData name="Fahrner, Michelle" userId="S::michelle.fahrner@student.reutlingen-university.de::7672c29c-0219-4e1e-943d-44b255e75464" providerId="AD" clId="Web-{3476293F-D6E7-91DD-4908-13724D6D6E0E}" dt="2025-01-06T08:19:15.725" v="23" actId="20577"/>
          <ac:spMkLst>
            <pc:docMk/>
            <pc:sldMk cId="2108382887" sldId="314"/>
            <ac:spMk id="6" creationId="{F9AD64D6-665F-B7A4-EDB0-DB11F76D7FC9}"/>
          </ac:spMkLst>
        </pc:spChg>
      </pc:sldChg>
      <pc:sldChg chg="modSp">
        <pc:chgData name="Fahrner, Michelle" userId="S::michelle.fahrner@student.reutlingen-university.de::7672c29c-0219-4e1e-943d-44b255e75464" providerId="AD" clId="Web-{3476293F-D6E7-91DD-4908-13724D6D6E0E}" dt="2025-01-06T08:16:36.204" v="19" actId="1076"/>
        <pc:sldMkLst>
          <pc:docMk/>
          <pc:sldMk cId="1789471806" sldId="320"/>
        </pc:sldMkLst>
      </pc:sldChg>
      <pc:sldChg chg="del">
        <pc:chgData name="Fahrner, Michelle" userId="S::michelle.fahrner@student.reutlingen-university.de::7672c29c-0219-4e1e-943d-44b255e75464" providerId="AD" clId="Web-{3476293F-D6E7-91DD-4908-13724D6D6E0E}" dt="2025-01-06T08:16:42.063" v="21"/>
        <pc:sldMkLst>
          <pc:docMk/>
          <pc:sldMk cId="1719451404" sldId="321"/>
        </pc:sldMkLst>
      </pc:sldChg>
      <pc:sldChg chg="del">
        <pc:chgData name="Fahrner, Michelle" userId="S::michelle.fahrner@student.reutlingen-university.de::7672c29c-0219-4e1e-943d-44b255e75464" providerId="AD" clId="Web-{3476293F-D6E7-91DD-4908-13724D6D6E0E}" dt="2025-01-06T08:16:42.048" v="20"/>
        <pc:sldMkLst>
          <pc:docMk/>
          <pc:sldMk cId="1525934557" sldId="322"/>
        </pc:sldMkLst>
      </pc:sldChg>
    </pc:docChg>
  </pc:docChgLst>
  <pc:docChgLst>
    <pc:chgData name="Fahrner, Michelle" userId="S::michelle.fahrner@student.reutlingen-university.de::7672c29c-0219-4e1e-943d-44b255e75464" providerId="AD" clId="Web-{2B667497-9C9E-10D4-8B19-3D840D3EA730}"/>
    <pc:docChg chg="modSld">
      <pc:chgData name="Fahrner, Michelle" userId="S::michelle.fahrner@student.reutlingen-university.de::7672c29c-0219-4e1e-943d-44b255e75464" providerId="AD" clId="Web-{2B667497-9C9E-10D4-8B19-3D840D3EA730}" dt="2025-01-05T21:32:40.516" v="1"/>
      <pc:docMkLst>
        <pc:docMk/>
      </pc:docMkLst>
      <pc:sldChg chg="addSp modSp">
        <pc:chgData name="Fahrner, Michelle" userId="S::michelle.fahrner@student.reutlingen-university.de::7672c29c-0219-4e1e-943d-44b255e75464" providerId="AD" clId="Web-{2B667497-9C9E-10D4-8B19-3D840D3EA730}" dt="2025-01-05T21:32:40.516" v="1"/>
        <pc:sldMkLst>
          <pc:docMk/>
          <pc:sldMk cId="1072091939" sldId="31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	Wir Form!!!!</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508B4A95-937F-E52C-EB94-4F2BAC2BFFAD}"/>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D599EE26-A0EA-B7A0-5EEA-F4D9B10D811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9D69A32D-DBEC-B88F-8DF8-077F0FB9350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anvil.works</a:t>
            </a:r>
            <a:endParaRPr lang="de-DE"/>
          </a:p>
          <a:p>
            <a:pPr marL="0" lvl="0" indent="0" algn="l" rtl="0">
              <a:spcBef>
                <a:spcPts val="0"/>
              </a:spcBef>
              <a:spcAft>
                <a:spcPts val="0"/>
              </a:spcAft>
              <a:buNone/>
            </a:pPr>
            <a:r>
              <a:rPr lang="de-DE"/>
              <a:t>https://</a:t>
            </a:r>
            <a:r>
              <a:rPr lang="de-DE" err="1"/>
              <a:t>www.youtube.com</a:t>
            </a:r>
            <a:r>
              <a:rPr lang="de-DE"/>
              <a:t>/</a:t>
            </a:r>
            <a:r>
              <a:rPr lang="de-DE" err="1"/>
              <a:t>watch?v</a:t>
            </a:r>
            <a:r>
              <a:rPr lang="de-DE"/>
              <a:t>=KW5HqG-xiOU</a:t>
            </a:r>
            <a:endParaRPr/>
          </a:p>
        </p:txBody>
      </p:sp>
    </p:spTree>
    <p:extLst>
      <p:ext uri="{BB962C8B-B14F-4D97-AF65-F5344CB8AC3E}">
        <p14:creationId xmlns:p14="http://schemas.microsoft.com/office/powerpoint/2010/main" val="4025360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AABAD-DAD2-1F9C-18AD-90AD97112D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A3D7A65-EBD3-A292-D57D-14CF3C691520}"/>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A5DFC1B0-8CA7-08FF-1F4E-1F92BF36F959}"/>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3318156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F8F5D028-CF76-AEF3-5B94-829E8F9F2F98}"/>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CB851141-1199-73FE-DB37-E13A80728F9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BADC7D43-9761-6F23-33A2-E91F55B8406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www.gradio.app</a:t>
            </a:r>
            <a:endParaRPr lang="de-DE"/>
          </a:p>
          <a:p>
            <a:pPr marL="0" lvl="0" indent="0" algn="l" rtl="0">
              <a:spcBef>
                <a:spcPts val="0"/>
              </a:spcBef>
              <a:spcAft>
                <a:spcPts val="0"/>
              </a:spcAft>
              <a:buNone/>
            </a:pPr>
            <a:r>
              <a:rPr lang="de-DE"/>
              <a:t>https://</a:t>
            </a:r>
            <a:r>
              <a:rPr lang="de-DE" err="1"/>
              <a:t>www.gradio.app</a:t>
            </a:r>
            <a:r>
              <a:rPr lang="de-DE"/>
              <a:t>/</a:t>
            </a:r>
            <a:r>
              <a:rPr lang="de-DE" err="1"/>
              <a:t>guides</a:t>
            </a:r>
            <a:r>
              <a:rPr lang="de-DE"/>
              <a:t>/chatinterface-</a:t>
            </a:r>
            <a:r>
              <a:rPr lang="de-DE" err="1"/>
              <a:t>examples</a:t>
            </a:r>
            <a:endParaRPr lang="de-DE"/>
          </a:p>
          <a:p>
            <a:pPr marL="0" lvl="0" indent="0" algn="l" rtl="0">
              <a:spcBef>
                <a:spcPts val="0"/>
              </a:spcBef>
              <a:spcAft>
                <a:spcPts val="0"/>
              </a:spcAft>
              <a:buNone/>
            </a:pPr>
            <a:r>
              <a:rPr lang="de-DE"/>
              <a:t>https://</a:t>
            </a:r>
            <a:r>
              <a:rPr lang="de-DE" err="1"/>
              <a:t>github.com</a:t>
            </a:r>
            <a:r>
              <a:rPr lang="de-DE"/>
              <a:t>/</a:t>
            </a:r>
            <a:r>
              <a:rPr lang="de-DE" err="1"/>
              <a:t>gradio</a:t>
            </a:r>
            <a:r>
              <a:rPr lang="de-DE"/>
              <a:t>-app/</a:t>
            </a:r>
            <a:r>
              <a:rPr lang="de-DE" err="1"/>
              <a:t>gradio</a:t>
            </a:r>
            <a:r>
              <a:rPr lang="de-DE"/>
              <a:t>/</a:t>
            </a:r>
            <a:r>
              <a:rPr lang="de-DE" err="1"/>
              <a:t>issues</a:t>
            </a:r>
            <a:r>
              <a:rPr lang="de-DE"/>
              <a:t>/681</a:t>
            </a:r>
            <a:endParaRPr/>
          </a:p>
        </p:txBody>
      </p:sp>
    </p:spTree>
    <p:extLst>
      <p:ext uri="{BB962C8B-B14F-4D97-AF65-F5344CB8AC3E}">
        <p14:creationId xmlns:p14="http://schemas.microsoft.com/office/powerpoint/2010/main" val="447871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3EB9A-1219-AFFC-429D-A46739E267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1F173CB-3D6B-7712-0908-34DF619D87C2}"/>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BDCD8652-F315-2F2A-91D3-2180B8F3BE11}"/>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834704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CFA4C6EC-7AA1-3E28-671C-B024493498B8}"/>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4E3CDA3C-2F14-186F-5DAE-31901C9FA84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D69D2D38-7AB2-AAAB-4D8E-E0815C2C60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flowiseai.com</a:t>
            </a:r>
            <a:endParaRPr/>
          </a:p>
        </p:txBody>
      </p:sp>
    </p:spTree>
    <p:extLst>
      <p:ext uri="{BB962C8B-B14F-4D97-AF65-F5344CB8AC3E}">
        <p14:creationId xmlns:p14="http://schemas.microsoft.com/office/powerpoint/2010/main" val="12539536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03DB9-75EB-40DF-4D07-68673031A94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96F09D8-7A90-8074-5D83-179DD91771BD}"/>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3322DB95-3462-331C-5A8E-6B48CE0C1209}"/>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1824841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76345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83039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a:t>Anmerkung: Diagramm -&gt; Multimodal?</a:t>
            </a:r>
          </a:p>
        </p:txBody>
      </p:sp>
    </p:spTree>
    <p:extLst>
      <p:ext uri="{BB962C8B-B14F-4D97-AF65-F5344CB8AC3E}">
        <p14:creationId xmlns:p14="http://schemas.microsoft.com/office/powerpoint/2010/main" val="29982794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93513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ga9fa940987_2_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datascientest.com</a:t>
            </a:r>
            <a:r>
              <a:rPr lang="de-DE"/>
              <a:t>/de/streamlit-das-tool-um-deine-machine-learning-projekte-zu-praesentieren</a:t>
            </a:r>
          </a:p>
          <a:p>
            <a:pPr marL="0" lvl="0" indent="0" algn="l" rtl="0">
              <a:spcBef>
                <a:spcPts val="0"/>
              </a:spcBef>
              <a:spcAft>
                <a:spcPts val="0"/>
              </a:spcAft>
              <a:buNone/>
            </a:pPr>
            <a:r>
              <a:rPr lang="de-DE"/>
              <a:t>https://</a:t>
            </a:r>
            <a:r>
              <a:rPr lang="de-DE" err="1"/>
              <a:t>www.bigdata-insider.de</a:t>
            </a:r>
            <a:r>
              <a:rPr lang="de-DE"/>
              <a:t>/was-ist-streamlit-a-974962/</a:t>
            </a:r>
          </a:p>
          <a:p>
            <a:pPr marL="0" lvl="0" indent="0" algn="l" rtl="0">
              <a:spcBef>
                <a:spcPts val="0"/>
              </a:spcBef>
              <a:spcAft>
                <a:spcPts val="0"/>
              </a:spcAft>
              <a:buNone/>
            </a:pPr>
            <a:r>
              <a:rPr lang="de-DE"/>
              <a:t>https://</a:t>
            </a:r>
            <a:r>
              <a:rPr lang="de-DE" err="1"/>
              <a:t>docs.streamlit.io</a:t>
            </a:r>
            <a:r>
              <a:rPr lang="de-DE"/>
              <a:t>/</a:t>
            </a:r>
            <a:r>
              <a:rPr lang="de-DE" err="1"/>
              <a:t>develop</a:t>
            </a:r>
            <a:r>
              <a:rPr lang="de-DE"/>
              <a:t>/</a:t>
            </a:r>
            <a:r>
              <a:rPr lang="de-DE" err="1"/>
              <a:t>tutorials</a:t>
            </a:r>
            <a:r>
              <a:rPr lang="de-DE"/>
              <a:t>/</a:t>
            </a:r>
            <a:r>
              <a:rPr lang="de-DE" err="1"/>
              <a:t>llms</a:t>
            </a:r>
            <a:r>
              <a:rPr lang="de-DE"/>
              <a:t>/</a:t>
            </a:r>
            <a:r>
              <a:rPr lang="de-DE" err="1"/>
              <a:t>build</a:t>
            </a:r>
            <a:r>
              <a:rPr lang="de-DE"/>
              <a:t>-</a:t>
            </a:r>
            <a:r>
              <a:rPr lang="de-DE" err="1"/>
              <a:t>conversational</a:t>
            </a:r>
            <a:r>
              <a:rPr lang="de-DE"/>
              <a:t>-apps</a:t>
            </a:r>
          </a:p>
          <a:p>
            <a:pPr marL="0" lvl="0" indent="0" algn="l" rtl="0">
              <a:spcBef>
                <a:spcPts val="0"/>
              </a:spcBef>
              <a:spcAft>
                <a:spcPts val="0"/>
              </a:spcAft>
              <a:buNone/>
            </a:pPr>
            <a:r>
              <a:rPr lang="de-DE"/>
              <a:t>https://</a:t>
            </a:r>
            <a:r>
              <a:rPr lang="de-DE" err="1"/>
              <a:t>blog.streamlit.io</a:t>
            </a:r>
            <a:r>
              <a:rPr lang="de-DE"/>
              <a:t>/</a:t>
            </a:r>
            <a:r>
              <a:rPr lang="de-DE" err="1"/>
              <a:t>how</a:t>
            </a:r>
            <a:r>
              <a:rPr lang="de-DE"/>
              <a:t>-in-app-feedback-</a:t>
            </a:r>
            <a:r>
              <a:rPr lang="de-DE" err="1"/>
              <a:t>can</a:t>
            </a:r>
            <a:r>
              <a:rPr lang="de-DE"/>
              <a:t>-</a:t>
            </a:r>
            <a:r>
              <a:rPr lang="de-DE" err="1"/>
              <a:t>increase</a:t>
            </a:r>
            <a:r>
              <a:rPr lang="de-DE"/>
              <a:t>-</a:t>
            </a:r>
            <a:r>
              <a:rPr lang="de-DE" err="1"/>
              <a:t>your</a:t>
            </a:r>
            <a:r>
              <a:rPr lang="de-DE"/>
              <a:t>-</a:t>
            </a:r>
            <a:r>
              <a:rPr lang="de-DE" err="1"/>
              <a:t>chatbots</a:t>
            </a:r>
            <a:r>
              <a:rPr lang="de-DE"/>
              <a:t>-performance/</a:t>
            </a:r>
          </a:p>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0553729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err="1">
                <a:latin typeface="Calibri"/>
                <a:ea typeface="Calibri"/>
                <a:cs typeface="Calibri"/>
              </a:rPr>
              <a:t>Diese</a:t>
            </a:r>
            <a:r>
              <a:rPr lang="en-US">
                <a:latin typeface="Calibri"/>
                <a:ea typeface="Calibri"/>
                <a:cs typeface="Calibri"/>
              </a:rPr>
              <a:t> Slide </a:t>
            </a:r>
            <a:r>
              <a:rPr lang="en-US" err="1">
                <a:latin typeface="Calibri"/>
                <a:ea typeface="Calibri"/>
                <a:cs typeface="Calibri"/>
              </a:rPr>
              <a:t>ist</a:t>
            </a:r>
            <a:r>
              <a:rPr lang="en-US">
                <a:latin typeface="Calibri"/>
                <a:ea typeface="Calibri"/>
                <a:cs typeface="Calibri"/>
              </a:rPr>
              <a:t> </a:t>
            </a:r>
            <a:r>
              <a:rPr lang="en-US" err="1">
                <a:latin typeface="Calibri"/>
                <a:ea typeface="Calibri"/>
                <a:cs typeface="Calibri"/>
              </a:rPr>
              <a:t>drinnen</a:t>
            </a:r>
            <a:r>
              <a:rPr lang="en-US">
                <a:latin typeface="Calibri"/>
                <a:ea typeface="Calibri"/>
                <a:cs typeface="Calibri"/>
              </a:rPr>
              <a:t>, </a:t>
            </a:r>
            <a:r>
              <a:rPr lang="en-US" err="1">
                <a:latin typeface="Calibri"/>
                <a:ea typeface="Calibri"/>
                <a:cs typeface="Calibri"/>
              </a:rPr>
              <a:t>damit</a:t>
            </a:r>
            <a:r>
              <a:rPr lang="en-US">
                <a:latin typeface="Calibri"/>
                <a:ea typeface="Calibri"/>
                <a:cs typeface="Calibri"/>
              </a:rPr>
              <a:t> </a:t>
            </a:r>
            <a:r>
              <a:rPr lang="en-US" err="1">
                <a:latin typeface="Calibri"/>
                <a:ea typeface="Calibri"/>
                <a:cs typeface="Calibri"/>
              </a:rPr>
              <a:t>zur</a:t>
            </a:r>
            <a:r>
              <a:rPr lang="en-US">
                <a:latin typeface="Calibri"/>
                <a:ea typeface="Calibri"/>
                <a:cs typeface="Calibri"/>
              </a:rPr>
              <a:t> Not </a:t>
            </a:r>
            <a:r>
              <a:rPr lang="en-US" err="1">
                <a:latin typeface="Calibri"/>
                <a:ea typeface="Calibri"/>
                <a:cs typeface="Calibri"/>
              </a:rPr>
              <a:t>hier</a:t>
            </a:r>
            <a:r>
              <a:rPr lang="en-US">
                <a:latin typeface="Calibri"/>
                <a:ea typeface="Calibri"/>
                <a:cs typeface="Calibri"/>
              </a:rPr>
              <a:t> der </a:t>
            </a:r>
            <a:r>
              <a:rPr lang="en-US" err="1">
                <a:latin typeface="Calibri"/>
                <a:ea typeface="Calibri"/>
                <a:cs typeface="Calibri"/>
              </a:rPr>
              <a:t>Ausführungscode</a:t>
            </a:r>
            <a:r>
              <a:rPr lang="en-US">
                <a:latin typeface="Calibri"/>
                <a:ea typeface="Calibri"/>
                <a:cs typeface="Calibri"/>
              </a:rPr>
              <a:t> </a:t>
            </a:r>
            <a:r>
              <a:rPr lang="en-US" err="1">
                <a:latin typeface="Calibri"/>
                <a:ea typeface="Calibri"/>
                <a:cs typeface="Calibri"/>
              </a:rPr>
              <a:t>gezeigt</a:t>
            </a:r>
            <a:r>
              <a:rPr lang="en-US">
                <a:latin typeface="Calibri"/>
                <a:ea typeface="Calibri"/>
                <a:cs typeface="Calibri"/>
              </a:rPr>
              <a:t> </a:t>
            </a:r>
            <a:r>
              <a:rPr lang="en-US" err="1">
                <a:latin typeface="Calibri"/>
                <a:ea typeface="Calibri"/>
                <a:cs typeface="Calibri"/>
              </a:rPr>
              <a:t>werden</a:t>
            </a:r>
            <a:r>
              <a:rPr lang="en-US">
                <a:latin typeface="Calibri"/>
                <a:ea typeface="Calibri"/>
                <a:cs typeface="Calibri"/>
              </a:rPr>
              <a:t> </a:t>
            </a:r>
            <a:r>
              <a:rPr lang="en-US" err="1">
                <a:latin typeface="Calibri"/>
                <a:ea typeface="Calibri"/>
                <a:cs typeface="Calibri"/>
              </a:rPr>
              <a:t>kann</a:t>
            </a:r>
            <a:r>
              <a:rPr lang="en-US">
                <a:latin typeface="Calibri"/>
                <a:ea typeface="Calibri"/>
                <a:cs typeface="Calibri"/>
              </a:rPr>
              <a:t>. </a:t>
            </a:r>
            <a:r>
              <a:rPr lang="en-US" err="1">
                <a:latin typeface="Calibri"/>
                <a:ea typeface="Calibri"/>
                <a:cs typeface="Calibri"/>
              </a:rPr>
              <a:t>Ist</a:t>
            </a:r>
            <a:r>
              <a:rPr lang="en-US">
                <a:latin typeface="Calibri"/>
                <a:ea typeface="Calibri"/>
                <a:cs typeface="Calibri"/>
              </a:rPr>
              <a:t> </a:t>
            </a:r>
            <a:r>
              <a:rPr lang="en-US" err="1">
                <a:latin typeface="Calibri"/>
                <a:ea typeface="Calibri"/>
                <a:cs typeface="Calibri"/>
              </a:rPr>
              <a:t>daher</a:t>
            </a:r>
            <a:r>
              <a:rPr lang="en-US">
                <a:latin typeface="Calibri"/>
                <a:ea typeface="Calibri"/>
                <a:cs typeface="Calibri"/>
              </a:rPr>
              <a:t> </a:t>
            </a:r>
            <a:r>
              <a:rPr lang="en-US" err="1">
                <a:latin typeface="Calibri"/>
                <a:ea typeface="Calibri"/>
                <a:cs typeface="Calibri"/>
              </a:rPr>
              <a:t>auch</a:t>
            </a:r>
            <a:r>
              <a:rPr lang="en-US">
                <a:latin typeface="Calibri"/>
                <a:ea typeface="Calibri"/>
                <a:cs typeface="Calibri"/>
              </a:rPr>
              <a:t> </a:t>
            </a:r>
            <a:r>
              <a:rPr lang="en-US" err="1">
                <a:latin typeface="Calibri"/>
                <a:ea typeface="Calibri"/>
                <a:cs typeface="Calibri"/>
              </a:rPr>
              <a:t>ausgeblendet</a:t>
            </a:r>
            <a:r>
              <a:rPr lang="en-US">
                <a:latin typeface="Calibri"/>
                <a:ea typeface="Calibri"/>
                <a:cs typeface="Calibri"/>
              </a:rPr>
              <a:t>, da der Code </a:t>
            </a:r>
            <a:r>
              <a:rPr lang="en-US" err="1">
                <a:latin typeface="Calibri"/>
                <a:ea typeface="Calibri"/>
                <a:cs typeface="Calibri"/>
              </a:rPr>
              <a:t>nicht</a:t>
            </a:r>
            <a:r>
              <a:rPr lang="en-US">
                <a:latin typeface="Calibri"/>
                <a:ea typeface="Calibri"/>
                <a:cs typeface="Calibri"/>
              </a:rPr>
              <a:t> </a:t>
            </a:r>
            <a:r>
              <a:rPr lang="en-US" err="1">
                <a:latin typeface="Calibri"/>
                <a:ea typeface="Calibri"/>
                <a:cs typeface="Calibri"/>
              </a:rPr>
              <a:t>interessant</a:t>
            </a:r>
            <a:r>
              <a:rPr lang="en-US">
                <a:latin typeface="Calibri"/>
                <a:ea typeface="Calibri"/>
                <a:cs typeface="Calibri"/>
              </a:rPr>
              <a:t> sein </a:t>
            </a:r>
            <a:r>
              <a:rPr lang="en-US" err="1">
                <a:latin typeface="Calibri"/>
                <a:ea typeface="Calibri"/>
                <a:cs typeface="Calibri"/>
              </a:rPr>
              <a:t>wird</a:t>
            </a:r>
            <a:r>
              <a:rPr lang="en-US">
                <a:latin typeface="Calibri"/>
                <a:ea typeface="Calibri"/>
                <a:cs typeface="Calibri"/>
              </a:rPr>
              <a:t> </a:t>
            </a:r>
            <a:r>
              <a:rPr lang="en-US" err="1">
                <a:latin typeface="Calibri"/>
                <a:ea typeface="Calibri"/>
                <a:cs typeface="Calibri"/>
              </a:rPr>
              <a:t>im</a:t>
            </a:r>
            <a:r>
              <a:rPr lang="en-US">
                <a:latin typeface="Calibri"/>
                <a:ea typeface="Calibri"/>
                <a:cs typeface="Calibri"/>
              </a:rPr>
              <a:t> </a:t>
            </a:r>
            <a:r>
              <a:rPr lang="en-US" err="1">
                <a:latin typeface="Calibri"/>
                <a:ea typeface="Calibri"/>
                <a:cs typeface="Calibri"/>
              </a:rPr>
              <a:t>Normalfall</a:t>
            </a:r>
            <a:r>
              <a:rPr lang="en-US">
                <a:latin typeface="Calibri"/>
                <a:ea typeface="Calibri"/>
                <a:cs typeface="Calibri"/>
              </a:rPr>
              <a:t> (</a:t>
            </a:r>
            <a:r>
              <a:rPr lang="en-US" err="1">
                <a:latin typeface="Calibri"/>
                <a:ea typeface="Calibri"/>
                <a:cs typeface="Calibri"/>
              </a:rPr>
              <a:t>weder</a:t>
            </a:r>
            <a:r>
              <a:rPr lang="en-US">
                <a:latin typeface="Calibri"/>
                <a:ea typeface="Calibri"/>
                <a:cs typeface="Calibri"/>
              </a:rPr>
              <a:t> für Decker </a:t>
            </a:r>
            <a:r>
              <a:rPr lang="en-US" err="1">
                <a:latin typeface="Calibri"/>
                <a:ea typeface="Calibri"/>
                <a:cs typeface="Calibri"/>
              </a:rPr>
              <a:t>als</a:t>
            </a:r>
            <a:r>
              <a:rPr lang="en-US">
                <a:latin typeface="Calibri"/>
                <a:ea typeface="Calibri"/>
                <a:cs typeface="Calibri"/>
              </a:rPr>
              <a:t> </a:t>
            </a:r>
            <a:r>
              <a:rPr lang="en-US" err="1">
                <a:latin typeface="Calibri"/>
                <a:ea typeface="Calibri"/>
                <a:cs typeface="Calibri"/>
              </a:rPr>
              <a:t>auch</a:t>
            </a:r>
            <a:r>
              <a:rPr lang="en-US">
                <a:latin typeface="Calibri"/>
                <a:ea typeface="Calibri"/>
                <a:cs typeface="Calibri"/>
              </a:rPr>
              <a:t> für Kipu)</a:t>
            </a:r>
          </a:p>
        </p:txBody>
      </p:sp>
    </p:spTree>
    <p:extLst>
      <p:ext uri="{BB962C8B-B14F-4D97-AF65-F5344CB8AC3E}">
        <p14:creationId xmlns:p14="http://schemas.microsoft.com/office/powerpoint/2010/main" val="20169295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a:t>Anmerkung: Diagramm -&gt; Multimodal?</a:t>
            </a:r>
          </a:p>
        </p:txBody>
      </p:sp>
    </p:spTree>
    <p:extLst>
      <p:ext uri="{BB962C8B-B14F-4D97-AF65-F5344CB8AC3E}">
        <p14:creationId xmlns:p14="http://schemas.microsoft.com/office/powerpoint/2010/main" val="156259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a9469d1f40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a9469d1f40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a9469d1f40_0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a9469d1f40_0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a9469d1f40_0_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a9469d1f40_0_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ga9fa940987_1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7" name="Google Shape;227;ga9fa940987_1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ga9469d1f40_0_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3" name="Google Shape;233;ga9469d1f40_0_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ga9fa940987_0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9" name="Google Shape;249;ga9fa940987_0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a9fa940987_1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a9fa940987_1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46B715FB-196F-AB43-5940-753D8BA4EA99}"/>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91FA2050-7A5D-3851-84F1-3F118A189FE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30DB123E-C3B4-CCD7-72EC-FB56E1C129E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datascientest.com</a:t>
            </a:r>
            <a:r>
              <a:rPr lang="de-DE"/>
              <a:t>/de/streamlit-das-tool-um-deine-machine-learning-projekte-zu-praesentieren</a:t>
            </a:r>
          </a:p>
          <a:p>
            <a:pPr marL="0" lvl="0" indent="0" algn="l" rtl="0">
              <a:spcBef>
                <a:spcPts val="0"/>
              </a:spcBef>
              <a:spcAft>
                <a:spcPts val="0"/>
              </a:spcAft>
              <a:buNone/>
            </a:pPr>
            <a:r>
              <a:rPr lang="de-DE"/>
              <a:t>https://</a:t>
            </a:r>
            <a:r>
              <a:rPr lang="de-DE" err="1"/>
              <a:t>www.bigdata-insider.de</a:t>
            </a:r>
            <a:r>
              <a:rPr lang="de-DE"/>
              <a:t>/was-ist-streamlit-a-974962/</a:t>
            </a:r>
          </a:p>
          <a:p>
            <a:pPr marL="0" lvl="0" indent="0" algn="l" rtl="0">
              <a:spcBef>
                <a:spcPts val="0"/>
              </a:spcBef>
              <a:spcAft>
                <a:spcPts val="0"/>
              </a:spcAft>
              <a:buNone/>
            </a:pPr>
            <a:r>
              <a:rPr lang="de-DE"/>
              <a:t>https://</a:t>
            </a:r>
            <a:r>
              <a:rPr lang="de-DE" err="1"/>
              <a:t>docs.streamlit.io</a:t>
            </a:r>
            <a:r>
              <a:rPr lang="de-DE"/>
              <a:t>/</a:t>
            </a:r>
            <a:r>
              <a:rPr lang="de-DE" err="1"/>
              <a:t>develop</a:t>
            </a:r>
            <a:r>
              <a:rPr lang="de-DE"/>
              <a:t>/</a:t>
            </a:r>
            <a:r>
              <a:rPr lang="de-DE" err="1"/>
              <a:t>tutorials</a:t>
            </a:r>
            <a:r>
              <a:rPr lang="de-DE"/>
              <a:t>/</a:t>
            </a:r>
            <a:r>
              <a:rPr lang="de-DE" err="1"/>
              <a:t>llms</a:t>
            </a:r>
            <a:r>
              <a:rPr lang="de-DE"/>
              <a:t>/</a:t>
            </a:r>
            <a:r>
              <a:rPr lang="de-DE" err="1"/>
              <a:t>build</a:t>
            </a:r>
            <a:r>
              <a:rPr lang="de-DE"/>
              <a:t>-</a:t>
            </a:r>
            <a:r>
              <a:rPr lang="de-DE" err="1"/>
              <a:t>conversational</a:t>
            </a:r>
            <a:r>
              <a:rPr lang="de-DE"/>
              <a:t>-apps</a:t>
            </a:r>
          </a:p>
          <a:p>
            <a:pPr marL="0" lvl="0" indent="0" algn="l" rtl="0">
              <a:spcBef>
                <a:spcPts val="0"/>
              </a:spcBef>
              <a:spcAft>
                <a:spcPts val="0"/>
              </a:spcAft>
              <a:buNone/>
            </a:pPr>
            <a:r>
              <a:rPr lang="de-DE"/>
              <a:t>https://</a:t>
            </a:r>
            <a:r>
              <a:rPr lang="de-DE" err="1"/>
              <a:t>blog.streamlit.io</a:t>
            </a:r>
            <a:r>
              <a:rPr lang="de-DE"/>
              <a:t>/</a:t>
            </a:r>
            <a:r>
              <a:rPr lang="de-DE" err="1"/>
              <a:t>how</a:t>
            </a:r>
            <a:r>
              <a:rPr lang="de-DE"/>
              <a:t>-in-app-feedback-</a:t>
            </a:r>
            <a:r>
              <a:rPr lang="de-DE" err="1"/>
              <a:t>can</a:t>
            </a:r>
            <a:r>
              <a:rPr lang="de-DE"/>
              <a:t>-</a:t>
            </a:r>
            <a:r>
              <a:rPr lang="de-DE" err="1"/>
              <a:t>increase</a:t>
            </a:r>
            <a:r>
              <a:rPr lang="de-DE"/>
              <a:t>-</a:t>
            </a:r>
            <a:r>
              <a:rPr lang="de-DE" err="1"/>
              <a:t>your</a:t>
            </a:r>
            <a:r>
              <a:rPr lang="de-DE"/>
              <a:t>-</a:t>
            </a:r>
            <a:r>
              <a:rPr lang="de-DE" err="1"/>
              <a:t>chatbots</a:t>
            </a:r>
            <a:r>
              <a:rPr lang="de-DE"/>
              <a:t>-performance/</a:t>
            </a:r>
          </a:p>
          <a:p>
            <a:pPr marL="0" lvl="0" indent="0" algn="l" rtl="0">
              <a:spcBef>
                <a:spcPts val="0"/>
              </a:spcBef>
              <a:spcAft>
                <a:spcPts val="0"/>
              </a:spcAft>
              <a:buNone/>
            </a:pPr>
            <a:endParaRPr lang="de-DE"/>
          </a:p>
          <a:p>
            <a:pPr marL="0" lvl="0" indent="0" algn="l" rtl="0">
              <a:spcBef>
                <a:spcPts val="0"/>
              </a:spcBef>
              <a:spcAft>
                <a:spcPts val="0"/>
              </a:spcAft>
              <a:buNone/>
            </a:pPr>
            <a:endParaRPr/>
          </a:p>
        </p:txBody>
      </p:sp>
    </p:spTree>
    <p:extLst>
      <p:ext uri="{BB962C8B-B14F-4D97-AF65-F5344CB8AC3E}">
        <p14:creationId xmlns:p14="http://schemas.microsoft.com/office/powerpoint/2010/main" val="2436347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ga9fa940987_1_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3" name="Google Shape;283;ga9fa940987_1_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a9fa940987_1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a9fa940987_1_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ga9fa940987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6" name="Google Shape;326;ga9fa940987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ga9fa940987_1_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0" name="Google Shape;340;ga9fa940987_1_1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5"/>
        <p:cNvGrpSpPr/>
        <p:nvPr/>
      </p:nvGrpSpPr>
      <p:grpSpPr>
        <a:xfrm>
          <a:off x="0" y="0"/>
          <a:ext cx="0" cy="0"/>
          <a:chOff x="0" y="0"/>
          <a:chExt cx="0" cy="0"/>
        </a:xfrm>
      </p:grpSpPr>
      <p:sp>
        <p:nvSpPr>
          <p:cNvPr id="356" name="Google Shape;356;ga9fa940987_1_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7" name="Google Shape;357;ga9fa940987_1_1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a9fa940987_1_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7" name="Google Shape;377;ga9fa940987_1_1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ga9fa940987_2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8" name="Google Shape;408;ga9fa940987_2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4"/>
        <p:cNvGrpSpPr/>
        <p:nvPr/>
      </p:nvGrpSpPr>
      <p:grpSpPr>
        <a:xfrm>
          <a:off x="0" y="0"/>
          <a:ext cx="0" cy="0"/>
          <a:chOff x="0" y="0"/>
          <a:chExt cx="0" cy="0"/>
        </a:xfrm>
      </p:grpSpPr>
      <p:sp>
        <p:nvSpPr>
          <p:cNvPr id="425" name="Google Shape;425;ga9fa940987_2_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6" name="Google Shape;426;ga9fa940987_2_1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1"/>
        <p:cNvGrpSpPr/>
        <p:nvPr/>
      </p:nvGrpSpPr>
      <p:grpSpPr>
        <a:xfrm>
          <a:off x="0" y="0"/>
          <a:ext cx="0" cy="0"/>
          <a:chOff x="0" y="0"/>
          <a:chExt cx="0" cy="0"/>
        </a:xfrm>
      </p:grpSpPr>
      <p:sp>
        <p:nvSpPr>
          <p:cNvPr id="452" name="Google Shape;452;ga9fa940987_1_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3" name="Google Shape;453;ga9fa940987_1_1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ga9fa940987_2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8" name="Google Shape;458;ga9fa940987_2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indent="0">
              <a:buNone/>
            </a:pPr>
            <a:r>
              <a:rPr lang="de-DE"/>
              <a:t>https://</a:t>
            </a:r>
            <a:r>
              <a:rPr lang="de-DE" err="1"/>
              <a:t>streamlit.io</a:t>
            </a:r>
            <a:r>
              <a:rPr lang="de-DE"/>
              <a:t>/</a:t>
            </a:r>
            <a:r>
              <a:rPr lang="de-DE" err="1"/>
              <a:t>gallery?category</a:t>
            </a:r>
            <a:r>
              <a:rPr lang="de-DE"/>
              <a:t>=</a:t>
            </a:r>
            <a:r>
              <a:rPr lang="de-DE" err="1"/>
              <a:t>llms</a:t>
            </a:r>
            <a:endParaRPr lang="de-DE"/>
          </a:p>
          <a:p>
            <a:pPr marL="158750" indent="0">
              <a:buNone/>
            </a:pPr>
            <a:endParaRPr lang="de-DE"/>
          </a:p>
        </p:txBody>
      </p:sp>
    </p:spTree>
    <p:extLst>
      <p:ext uri="{BB962C8B-B14F-4D97-AF65-F5344CB8AC3E}">
        <p14:creationId xmlns:p14="http://schemas.microsoft.com/office/powerpoint/2010/main" val="3351344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a9fa940987_1_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a9fa940987_1_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a9fa940987_1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5" name="Google Shape;475;ga9fa940987_1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0"/>
        <p:cNvGrpSpPr/>
        <p:nvPr/>
      </p:nvGrpSpPr>
      <p:grpSpPr>
        <a:xfrm>
          <a:off x="0" y="0"/>
          <a:ext cx="0" cy="0"/>
          <a:chOff x="0" y="0"/>
          <a:chExt cx="0" cy="0"/>
        </a:xfrm>
      </p:grpSpPr>
      <p:sp>
        <p:nvSpPr>
          <p:cNvPr id="481" name="Google Shape;481;ga9fa940987_1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2" name="Google Shape;482;ga9fa940987_1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Google Shape;487;ga9fa940987_2_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8" name="Google Shape;488;ga9fa940987_2_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3"/>
        <p:cNvGrpSpPr/>
        <p:nvPr/>
      </p:nvGrpSpPr>
      <p:grpSpPr>
        <a:xfrm>
          <a:off x="0" y="0"/>
          <a:ext cx="0" cy="0"/>
          <a:chOff x="0" y="0"/>
          <a:chExt cx="0" cy="0"/>
        </a:xfrm>
      </p:grpSpPr>
      <p:sp>
        <p:nvSpPr>
          <p:cNvPr id="494" name="Google Shape;494;ga9fa940987_3_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5" name="Google Shape;495;ga9fa940987_3_1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
        <p:cNvGrpSpPr/>
        <p:nvPr/>
      </p:nvGrpSpPr>
      <p:grpSpPr>
        <a:xfrm>
          <a:off x="0" y="0"/>
          <a:ext cx="0" cy="0"/>
          <a:chOff x="0" y="0"/>
          <a:chExt cx="0" cy="0"/>
        </a:xfrm>
      </p:grpSpPr>
      <p:sp>
        <p:nvSpPr>
          <p:cNvPr id="501" name="Google Shape;501;ga9fa940987_3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2" name="Google Shape;502;ga9fa940987_3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9"/>
        <p:cNvGrpSpPr/>
        <p:nvPr/>
      </p:nvGrpSpPr>
      <p:grpSpPr>
        <a:xfrm>
          <a:off x="0" y="0"/>
          <a:ext cx="0" cy="0"/>
          <a:chOff x="0" y="0"/>
          <a:chExt cx="0" cy="0"/>
        </a:xfrm>
      </p:grpSpPr>
      <p:sp>
        <p:nvSpPr>
          <p:cNvPr id="540" name="Google Shape;540;ga9fa940987_2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1" name="Google Shape;541;ga9fa940987_2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6"/>
        <p:cNvGrpSpPr/>
        <p:nvPr/>
      </p:nvGrpSpPr>
      <p:grpSpPr>
        <a:xfrm>
          <a:off x="0" y="0"/>
          <a:ext cx="0" cy="0"/>
          <a:chOff x="0" y="0"/>
          <a:chExt cx="0" cy="0"/>
        </a:xfrm>
      </p:grpSpPr>
      <p:sp>
        <p:nvSpPr>
          <p:cNvPr id="557" name="Google Shape;557;ga9fa940987_3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8" name="Google Shape;558;ga9fa940987_3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ga9fa940987_3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0" name="Google Shape;570;ga9fa940987_3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a9fa940987_3_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a9fa940987_3_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268AA283-6666-0A9F-614E-5DDDE9062ED1}"/>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4F3A97D4-A213-2FB7-A53D-4FD77BF7CD2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CAF80DAB-73C6-6ECF-AB88-74184F3AED6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stackoverflow.com</a:t>
            </a:r>
            <a:r>
              <a:rPr lang="de-DE"/>
              <a:t>/</a:t>
            </a:r>
            <a:r>
              <a:rPr lang="de-DE" err="1"/>
              <a:t>questions</a:t>
            </a:r>
            <a:r>
              <a:rPr lang="de-DE"/>
              <a:t>/73224379/is-there-any-platform-other-than-huggingface-heroku-or-streamlit-share-to-deplo</a:t>
            </a:r>
            <a:br>
              <a:rPr lang="de-DE"/>
            </a:br>
            <a:r>
              <a:rPr lang="de-DE"/>
              <a:t>https://</a:t>
            </a:r>
            <a:r>
              <a:rPr lang="de-DE" err="1"/>
              <a:t>ploomber.io</a:t>
            </a:r>
            <a:r>
              <a:rPr lang="de-DE"/>
              <a:t>/</a:t>
            </a:r>
            <a:r>
              <a:rPr lang="de-DE" err="1"/>
              <a:t>blog</a:t>
            </a:r>
            <a:r>
              <a:rPr lang="de-DE"/>
              <a:t>/multiple-</a:t>
            </a:r>
            <a:r>
              <a:rPr lang="de-DE" err="1"/>
              <a:t>streamlit</a:t>
            </a:r>
            <a:r>
              <a:rPr lang="de-DE"/>
              <a:t>/</a:t>
            </a:r>
            <a:br>
              <a:rPr lang="de-DE"/>
            </a:br>
            <a:r>
              <a:rPr lang="de-DE"/>
              <a:t>https://</a:t>
            </a:r>
            <a:r>
              <a:rPr lang="de-DE" err="1"/>
              <a:t>ploomber.io</a:t>
            </a:r>
            <a:r>
              <a:rPr lang="de-DE"/>
              <a:t>/</a:t>
            </a:r>
            <a:r>
              <a:rPr lang="de-DE" err="1"/>
              <a:t>blog</a:t>
            </a:r>
            <a:r>
              <a:rPr lang="de-DE"/>
              <a:t>/</a:t>
            </a:r>
            <a:r>
              <a:rPr lang="de-DE" err="1"/>
              <a:t>streamlit</a:t>
            </a:r>
            <a:r>
              <a:rPr lang="de-DE"/>
              <a:t>-</a:t>
            </a:r>
            <a:r>
              <a:rPr lang="de-DE" err="1"/>
              <a:t>custom</a:t>
            </a:r>
            <a:r>
              <a:rPr lang="de-DE"/>
              <a:t>-domain/</a:t>
            </a:r>
            <a:endParaRPr/>
          </a:p>
        </p:txBody>
      </p:sp>
    </p:spTree>
    <p:extLst>
      <p:ext uri="{BB962C8B-B14F-4D97-AF65-F5344CB8AC3E}">
        <p14:creationId xmlns:p14="http://schemas.microsoft.com/office/powerpoint/2010/main" val="31162661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a9fa940987_3_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a9fa940987_3_1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ga9fa940987_3_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9" name="Google Shape;609;ga9fa940987_3_1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4"/>
        <p:cNvGrpSpPr/>
        <p:nvPr/>
      </p:nvGrpSpPr>
      <p:grpSpPr>
        <a:xfrm>
          <a:off x="0" y="0"/>
          <a:ext cx="0" cy="0"/>
          <a:chOff x="0" y="0"/>
          <a:chExt cx="0" cy="0"/>
        </a:xfrm>
      </p:grpSpPr>
      <p:sp>
        <p:nvSpPr>
          <p:cNvPr id="645" name="Google Shape;645;ga9fa940987_0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6" name="Google Shape;646;ga9fa940987_0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ga9fa940987_0_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4" name="Google Shape;664;ga9fa940987_0_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8"/>
        <p:cNvGrpSpPr/>
        <p:nvPr/>
      </p:nvGrpSpPr>
      <p:grpSpPr>
        <a:xfrm>
          <a:off x="0" y="0"/>
          <a:ext cx="0" cy="0"/>
          <a:chOff x="0" y="0"/>
          <a:chExt cx="0" cy="0"/>
        </a:xfrm>
      </p:grpSpPr>
      <p:sp>
        <p:nvSpPr>
          <p:cNvPr id="669" name="Google Shape;669;ga9fa940987_0_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0" name="Google Shape;670;ga9fa940987_0_8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SLIDES_API1930531254_1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6" name="Google Shape;676;SLIDES_API193053125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1"/>
        <p:cNvGrpSpPr/>
        <p:nvPr/>
      </p:nvGrpSpPr>
      <p:grpSpPr>
        <a:xfrm>
          <a:off x="0" y="0"/>
          <a:ext cx="0" cy="0"/>
          <a:chOff x="0" y="0"/>
          <a:chExt cx="0" cy="0"/>
        </a:xfrm>
      </p:grpSpPr>
      <p:sp>
        <p:nvSpPr>
          <p:cNvPr id="682" name="Google Shape;682;SLIDES_API1930531254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3" name="Google Shape;683;SLIDES_API193053125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ga9469d1f40_2_1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0" name="Google Shape;690;ga9469d1f40_2_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7"/>
        <p:cNvGrpSpPr/>
        <p:nvPr/>
      </p:nvGrpSpPr>
      <p:grpSpPr>
        <a:xfrm>
          <a:off x="0" y="0"/>
          <a:ext cx="0" cy="0"/>
          <a:chOff x="0" y="0"/>
          <a:chExt cx="0" cy="0"/>
        </a:xfrm>
      </p:grpSpPr>
      <p:sp>
        <p:nvSpPr>
          <p:cNvPr id="708" name="Google Shape;708;ga9469d1f40_2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9" name="Google Shape;709;ga9469d1f40_2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3"/>
        <p:cNvGrpSpPr/>
        <p:nvPr/>
      </p:nvGrpSpPr>
      <p:grpSpPr>
        <a:xfrm>
          <a:off x="0" y="0"/>
          <a:ext cx="0" cy="0"/>
          <a:chOff x="0" y="0"/>
          <a:chExt cx="0" cy="0"/>
        </a:xfrm>
      </p:grpSpPr>
      <p:sp>
        <p:nvSpPr>
          <p:cNvPr id="724" name="Google Shape;724;ga9469d1f40_2_4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5" name="Google Shape;725;ga9469d1f40_2_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92D2C238-C957-8862-134D-B17DE89D4444}"/>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A72F4B38-510A-DA4E-C696-9B30DDED1F1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02DDA77D-42C3-5989-F351-79389964E86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medium.com</a:t>
            </a:r>
            <a:r>
              <a:rPr lang="de-DE"/>
              <a:t>/@</a:t>
            </a:r>
            <a:r>
              <a:rPr lang="de-DE" err="1"/>
              <a:t>codeawake</a:t>
            </a:r>
            <a:r>
              <a:rPr lang="de-DE"/>
              <a:t>/ai-chatbot-frontend-1823b9c78521</a:t>
            </a:r>
          </a:p>
          <a:p>
            <a:pPr marL="0" lvl="0" indent="0" algn="l" rtl="0">
              <a:spcBef>
                <a:spcPts val="0"/>
              </a:spcBef>
              <a:spcAft>
                <a:spcPts val="0"/>
              </a:spcAft>
              <a:buNone/>
            </a:pPr>
            <a:r>
              <a:rPr lang="de-DE"/>
              <a:t>https://</a:t>
            </a:r>
            <a:r>
              <a:rPr lang="de-DE" err="1"/>
              <a:t>github.com</a:t>
            </a:r>
            <a:r>
              <a:rPr lang="de-DE"/>
              <a:t>/</a:t>
            </a:r>
            <a:r>
              <a:rPr lang="de-DE" err="1"/>
              <a:t>ruizguille</a:t>
            </a:r>
            <a:r>
              <a:rPr lang="de-DE"/>
              <a:t>/</a:t>
            </a:r>
            <a:r>
              <a:rPr lang="de-DE" err="1"/>
              <a:t>tech</a:t>
            </a:r>
            <a:r>
              <a:rPr lang="de-DE"/>
              <a:t>-trends-</a:t>
            </a:r>
            <a:r>
              <a:rPr lang="de-DE" err="1"/>
              <a:t>chatbot</a:t>
            </a:r>
            <a:endParaRPr lang="de-DE"/>
          </a:p>
          <a:p>
            <a:pPr marL="0" lvl="0" indent="0" algn="l" rtl="0">
              <a:spcBef>
                <a:spcPts val="0"/>
              </a:spcBef>
              <a:spcAft>
                <a:spcPts val="0"/>
              </a:spcAft>
              <a:buNone/>
            </a:pPr>
            <a:endParaRPr/>
          </a:p>
        </p:txBody>
      </p:sp>
    </p:spTree>
    <p:extLst>
      <p:ext uri="{BB962C8B-B14F-4D97-AF65-F5344CB8AC3E}">
        <p14:creationId xmlns:p14="http://schemas.microsoft.com/office/powerpoint/2010/main" val="28491692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0"/>
        <p:cNvGrpSpPr/>
        <p:nvPr/>
      </p:nvGrpSpPr>
      <p:grpSpPr>
        <a:xfrm>
          <a:off x="0" y="0"/>
          <a:ext cx="0" cy="0"/>
          <a:chOff x="0" y="0"/>
          <a:chExt cx="0" cy="0"/>
        </a:xfrm>
      </p:grpSpPr>
      <p:sp>
        <p:nvSpPr>
          <p:cNvPr id="1061" name="Google Shape;1061;ga9469d1f40_2_37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 name="Google Shape;1062;ga9469d1f40_2_3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60"/>
        <p:cNvGrpSpPr/>
        <p:nvPr/>
      </p:nvGrpSpPr>
      <p:grpSpPr>
        <a:xfrm>
          <a:off x="0" y="0"/>
          <a:ext cx="0" cy="0"/>
          <a:chOff x="0" y="0"/>
          <a:chExt cx="0" cy="0"/>
        </a:xfrm>
      </p:grpSpPr>
      <p:sp>
        <p:nvSpPr>
          <p:cNvPr id="7561" name="Google Shape;7561;ga9469d1f40_2_687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62" name="Google Shape;7562;ga9469d1f40_2_68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7"/>
        <p:cNvGrpSpPr/>
        <p:nvPr/>
      </p:nvGrpSpPr>
      <p:grpSpPr>
        <a:xfrm>
          <a:off x="0" y="0"/>
          <a:ext cx="0" cy="0"/>
          <a:chOff x="0" y="0"/>
          <a:chExt cx="0" cy="0"/>
        </a:xfrm>
      </p:grpSpPr>
      <p:sp>
        <p:nvSpPr>
          <p:cNvPr id="7988" name="Google Shape;7988;ga9469d1f40_2_73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89" name="Google Shape;7989;ga9469d1f40_2_73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50"/>
        <p:cNvGrpSpPr/>
        <p:nvPr/>
      </p:nvGrpSpPr>
      <p:grpSpPr>
        <a:xfrm>
          <a:off x="0" y="0"/>
          <a:ext cx="0" cy="0"/>
          <a:chOff x="0" y="0"/>
          <a:chExt cx="0" cy="0"/>
        </a:xfrm>
      </p:grpSpPr>
      <p:sp>
        <p:nvSpPr>
          <p:cNvPr id="8151" name="Google Shape;8151;ga9469d1f40_2_746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52" name="Google Shape;8152;ga9469d1f40_2_74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52"/>
        <p:cNvGrpSpPr/>
        <p:nvPr/>
      </p:nvGrpSpPr>
      <p:grpSpPr>
        <a:xfrm>
          <a:off x="0" y="0"/>
          <a:ext cx="0" cy="0"/>
          <a:chOff x="0" y="0"/>
          <a:chExt cx="0" cy="0"/>
        </a:xfrm>
      </p:grpSpPr>
      <p:sp>
        <p:nvSpPr>
          <p:cNvPr id="8553" name="Google Shape;8553;ga9469d1f40_2_78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54" name="Google Shape;8554;ga9469d1f40_2_78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23"/>
        <p:cNvGrpSpPr/>
        <p:nvPr/>
      </p:nvGrpSpPr>
      <p:grpSpPr>
        <a:xfrm>
          <a:off x="0" y="0"/>
          <a:ext cx="0" cy="0"/>
          <a:chOff x="0" y="0"/>
          <a:chExt cx="0" cy="0"/>
        </a:xfrm>
      </p:grpSpPr>
      <p:sp>
        <p:nvSpPr>
          <p:cNvPr id="8924" name="Google Shape;8924;ga9469d1f40_2_823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25" name="Google Shape;8925;ga9469d1f40_2_8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5"/>
        <p:cNvGrpSpPr/>
        <p:nvPr/>
      </p:nvGrpSpPr>
      <p:grpSpPr>
        <a:xfrm>
          <a:off x="0" y="0"/>
          <a:ext cx="0" cy="0"/>
          <a:chOff x="0" y="0"/>
          <a:chExt cx="0" cy="0"/>
        </a:xfrm>
      </p:grpSpPr>
      <p:sp>
        <p:nvSpPr>
          <p:cNvPr id="9226" name="Google Shape;9226;ga9469d1f40_2_853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27" name="Google Shape;9227;ga9469d1f40_2_85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17"/>
        <p:cNvGrpSpPr/>
        <p:nvPr/>
      </p:nvGrpSpPr>
      <p:grpSpPr>
        <a:xfrm>
          <a:off x="0" y="0"/>
          <a:ext cx="0" cy="0"/>
          <a:chOff x="0" y="0"/>
          <a:chExt cx="0" cy="0"/>
        </a:xfrm>
      </p:grpSpPr>
      <p:sp>
        <p:nvSpPr>
          <p:cNvPr id="9518" name="Google Shape;9518;ga9469d1f40_2_882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19" name="Google Shape;9519;ga9469d1f40_2_88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76"/>
        <p:cNvGrpSpPr/>
        <p:nvPr/>
      </p:nvGrpSpPr>
      <p:grpSpPr>
        <a:xfrm>
          <a:off x="0" y="0"/>
          <a:ext cx="0" cy="0"/>
          <a:chOff x="0" y="0"/>
          <a:chExt cx="0" cy="0"/>
        </a:xfrm>
      </p:grpSpPr>
      <p:sp>
        <p:nvSpPr>
          <p:cNvPr id="9877" name="Google Shape;9877;ga9469d1f40_2_9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78" name="Google Shape;9878;ga9469d1f40_2_91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3"/>
        <p:cNvGrpSpPr/>
        <p:nvPr/>
      </p:nvGrpSpPr>
      <p:grpSpPr>
        <a:xfrm>
          <a:off x="0" y="0"/>
          <a:ext cx="0" cy="0"/>
          <a:chOff x="0" y="0"/>
          <a:chExt cx="0" cy="0"/>
        </a:xfrm>
      </p:grpSpPr>
      <p:sp>
        <p:nvSpPr>
          <p:cNvPr id="10294" name="Google Shape;10294;ga9469d1f40_2_96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295" name="Google Shape;10295;ga9469d1f40_2_96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264AC-F3AC-E239-70AE-DD20876704C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AF0F36-4A06-0E8B-FDAB-C9CDD3E11CBB}"/>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AE3973FC-4955-81FE-0BA1-9A73AC10A2B1}"/>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256332863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32"/>
        <p:cNvGrpSpPr/>
        <p:nvPr/>
      </p:nvGrpSpPr>
      <p:grpSpPr>
        <a:xfrm>
          <a:off x="0" y="0"/>
          <a:ext cx="0" cy="0"/>
          <a:chOff x="0" y="0"/>
          <a:chExt cx="0" cy="0"/>
        </a:xfrm>
      </p:grpSpPr>
      <p:sp>
        <p:nvSpPr>
          <p:cNvPr id="10633" name="Google Shape;10633;ga9469d1f40_2_99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34" name="Google Shape;10634;ga9469d1f40_2_99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20"/>
        <p:cNvGrpSpPr/>
        <p:nvPr/>
      </p:nvGrpSpPr>
      <p:grpSpPr>
        <a:xfrm>
          <a:off x="0" y="0"/>
          <a:ext cx="0" cy="0"/>
          <a:chOff x="0" y="0"/>
          <a:chExt cx="0" cy="0"/>
        </a:xfrm>
      </p:grpSpPr>
      <p:sp>
        <p:nvSpPr>
          <p:cNvPr id="10821" name="Google Shape;10821;ga9469d1f40_2_1012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2" name="Google Shape;10822;ga9469d1f40_2_10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3"/>
        <p:cNvGrpSpPr/>
        <p:nvPr/>
      </p:nvGrpSpPr>
      <p:grpSpPr>
        <a:xfrm>
          <a:off x="0" y="0"/>
          <a:ext cx="0" cy="0"/>
          <a:chOff x="0" y="0"/>
          <a:chExt cx="0" cy="0"/>
        </a:xfrm>
      </p:grpSpPr>
      <p:sp>
        <p:nvSpPr>
          <p:cNvPr id="11064" name="Google Shape;11064;ga9469d1f40_2_103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065" name="Google Shape;11065;ga9469d1f40_2_103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7F6D41FA-A3BB-2AEF-2640-57DBCD9BCA59}"/>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FA28E79C-C7E1-7F77-6C96-A9C56B5A494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126E7210-66A4-BEF5-6AAE-4876F9DFCEE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https://</a:t>
            </a:r>
            <a:r>
              <a:rPr lang="de-DE" err="1"/>
              <a:t>pywebio.readthedocs.io</a:t>
            </a:r>
            <a:r>
              <a:rPr lang="de-DE"/>
              <a:t>/en/</a:t>
            </a:r>
            <a:r>
              <a:rPr lang="de-DE" err="1"/>
              <a:t>latest</a:t>
            </a:r>
            <a:r>
              <a:rPr lang="de-DE"/>
              <a:t>/</a:t>
            </a:r>
          </a:p>
          <a:p>
            <a:pPr marL="0" lvl="0" indent="0" algn="l" rtl="0">
              <a:spcBef>
                <a:spcPts val="0"/>
              </a:spcBef>
              <a:spcAft>
                <a:spcPts val="0"/>
              </a:spcAft>
              <a:buNone/>
            </a:pPr>
            <a:r>
              <a:rPr lang="de-DE"/>
              <a:t>https://</a:t>
            </a:r>
            <a:r>
              <a:rPr lang="de-DE" err="1"/>
              <a:t>www.google.com</a:t>
            </a:r>
            <a:r>
              <a:rPr lang="de-DE"/>
              <a:t>/</a:t>
            </a:r>
            <a:r>
              <a:rPr lang="de-DE" err="1"/>
              <a:t>url?sa</a:t>
            </a:r>
            <a:r>
              <a:rPr lang="de-DE"/>
              <a:t>=</a:t>
            </a:r>
            <a:r>
              <a:rPr lang="de-DE" err="1"/>
              <a:t>t&amp;source</a:t>
            </a:r>
            <a:r>
              <a:rPr lang="de-DE"/>
              <a:t>=</a:t>
            </a:r>
            <a:r>
              <a:rPr lang="de-DE" err="1"/>
              <a:t>web&amp;rct</a:t>
            </a:r>
            <a:r>
              <a:rPr lang="de-DE"/>
              <a:t>=</a:t>
            </a:r>
            <a:r>
              <a:rPr lang="de-DE" err="1"/>
              <a:t>j&amp;opi</a:t>
            </a:r>
            <a:r>
              <a:rPr lang="de-DE"/>
              <a:t>=89978449&amp;url=https://</a:t>
            </a:r>
            <a:r>
              <a:rPr lang="de-DE" err="1"/>
              <a:t>www.youtube.com</a:t>
            </a:r>
            <a:r>
              <a:rPr lang="de-DE"/>
              <a:t>/watch%3Fv%3DlAr8o9IrZlA&amp;ved=2ahUKEwjus8WlzeSKAxW9m_0HHWuTMToQwqsBegQIDBAF&amp;usg=AOvVaw2zX8zfn4JahnEk5P1VA-ig</a:t>
            </a:r>
          </a:p>
          <a:p>
            <a:pPr marL="0" lvl="0" indent="0" algn="l" rtl="0">
              <a:spcBef>
                <a:spcPts val="0"/>
              </a:spcBef>
              <a:spcAft>
                <a:spcPts val="0"/>
              </a:spcAft>
              <a:buNone/>
            </a:pPr>
            <a:r>
              <a:rPr lang="de-DE"/>
              <a:t>https://</a:t>
            </a:r>
            <a:r>
              <a:rPr lang="de-DE" err="1"/>
              <a:t>github.com</a:t>
            </a:r>
            <a:r>
              <a:rPr lang="de-DE"/>
              <a:t>/</a:t>
            </a:r>
            <a:r>
              <a:rPr lang="de-DE" err="1"/>
              <a:t>pywebio</a:t>
            </a:r>
            <a:r>
              <a:rPr lang="de-DE"/>
              <a:t>/</a:t>
            </a:r>
            <a:r>
              <a:rPr lang="de-DE" err="1"/>
              <a:t>PyWebIO</a:t>
            </a:r>
            <a:r>
              <a:rPr lang="de-DE"/>
              <a:t>/</a:t>
            </a:r>
            <a:r>
              <a:rPr lang="de-DE" err="1"/>
              <a:t>blob</a:t>
            </a:r>
            <a:r>
              <a:rPr lang="de-DE"/>
              <a:t>/</a:t>
            </a:r>
            <a:r>
              <a:rPr lang="de-DE" err="1"/>
              <a:t>dev</a:t>
            </a:r>
            <a:r>
              <a:rPr lang="de-DE"/>
              <a:t>/</a:t>
            </a:r>
            <a:r>
              <a:rPr lang="de-DE" err="1"/>
              <a:t>demos</a:t>
            </a:r>
            <a:r>
              <a:rPr lang="de-DE"/>
              <a:t>/</a:t>
            </a:r>
            <a:r>
              <a:rPr lang="de-DE" err="1"/>
              <a:t>chatgpt.py</a:t>
            </a:r>
            <a:endParaRPr/>
          </a:p>
        </p:txBody>
      </p:sp>
    </p:spTree>
    <p:extLst>
      <p:ext uri="{BB962C8B-B14F-4D97-AF65-F5344CB8AC3E}">
        <p14:creationId xmlns:p14="http://schemas.microsoft.com/office/powerpoint/2010/main" val="3359040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0B5E3-F96B-AF27-4780-2053396C6D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0CB481-F0FE-1BCD-89C9-BF7C1657C6A0}"/>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41E307C7-B127-BC98-B3B2-CF7C3EBF348A}"/>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3149900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643858" y="1172225"/>
            <a:ext cx="6770700" cy="2052600"/>
          </a:xfrm>
          <a:prstGeom prst="rect">
            <a:avLst/>
          </a:prstGeom>
        </p:spPr>
        <p:txBody>
          <a:bodyPr spcFirstLastPara="1" wrap="square" lIns="91425" tIns="91425" rIns="91425" bIns="91425" anchor="b" anchorCtr="0">
            <a:noAutofit/>
          </a:bodyPr>
          <a:lstStyle>
            <a:lvl1pPr lvl="0" algn="r">
              <a:spcBef>
                <a:spcPts val="0"/>
              </a:spcBef>
              <a:spcAft>
                <a:spcPts val="0"/>
              </a:spcAft>
              <a:buSzPts val="5200"/>
              <a:buNone/>
              <a:defRPr sz="53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1643852" y="3261775"/>
            <a:ext cx="6770700" cy="557100"/>
          </a:xfrm>
          <a:prstGeom prst="rect">
            <a:avLst/>
          </a:prstGeom>
        </p:spPr>
        <p:txBody>
          <a:bodyPr spcFirstLastPara="1" wrap="square" lIns="91425" tIns="91425" rIns="91425" bIns="91425" anchor="t" anchorCtr="0">
            <a:noAutofit/>
          </a:bodyPr>
          <a:lstStyle>
            <a:lvl1pPr lvl="0" algn="r">
              <a:lnSpc>
                <a:spcPct val="100000"/>
              </a:lnSpc>
              <a:spcBef>
                <a:spcPts val="0"/>
              </a:spcBef>
              <a:spcAft>
                <a:spcPts val="0"/>
              </a:spcAft>
              <a:buSzPts val="2800"/>
              <a:buNone/>
              <a:defRPr sz="1600">
                <a:solidFill>
                  <a:schemeClr val="accent2"/>
                </a:solidFill>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0"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5"/>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Quote">
  <p:cSld name="CUSTOM_8">
    <p:spTree>
      <p:nvGrpSpPr>
        <p:cNvPr id="1" name="Shape 56"/>
        <p:cNvGrpSpPr/>
        <p:nvPr/>
      </p:nvGrpSpPr>
      <p:grpSpPr>
        <a:xfrm>
          <a:off x="0" y="0"/>
          <a:ext cx="0" cy="0"/>
          <a:chOff x="0" y="0"/>
          <a:chExt cx="0" cy="0"/>
        </a:xfrm>
      </p:grpSpPr>
      <p:sp>
        <p:nvSpPr>
          <p:cNvPr id="57" name="Google Shape;57;p13"/>
          <p:cNvSpPr txBox="1">
            <a:spLocks noGrp="1"/>
          </p:cNvSpPr>
          <p:nvPr>
            <p:ph type="title"/>
          </p:nvPr>
        </p:nvSpPr>
        <p:spPr>
          <a:xfrm>
            <a:off x="2683950" y="3273525"/>
            <a:ext cx="5757300" cy="572700"/>
          </a:xfrm>
          <a:prstGeom prst="rect">
            <a:avLst/>
          </a:prstGeom>
        </p:spPr>
        <p:txBody>
          <a:bodyPr spcFirstLastPara="1" wrap="square" lIns="91425" tIns="91425" rIns="91425" bIns="91425" anchor="t" anchorCtr="0">
            <a:noAutofit/>
          </a:bodyPr>
          <a:lstStyle>
            <a:lvl1pPr lvl="0" algn="r" rtl="0">
              <a:spcBef>
                <a:spcPts val="0"/>
              </a:spcBef>
              <a:spcAft>
                <a:spcPts val="0"/>
              </a:spcAft>
              <a:buSzPts val="2800"/>
              <a:buNone/>
              <a:defRPr sz="1800" b="1">
                <a:solidFill>
                  <a:schemeClr val="accent1"/>
                </a:solidFill>
                <a:latin typeface="Montserrat"/>
                <a:ea typeface="Montserrat"/>
                <a:cs typeface="Montserrat"/>
                <a:sym typeface="Montserrat"/>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8" name="Google Shape;58;p13"/>
          <p:cNvSpPr txBox="1">
            <a:spLocks noGrp="1"/>
          </p:cNvSpPr>
          <p:nvPr>
            <p:ph type="subTitle" idx="1"/>
          </p:nvPr>
        </p:nvSpPr>
        <p:spPr>
          <a:xfrm flipH="1">
            <a:off x="2684000" y="1247225"/>
            <a:ext cx="5757300" cy="18552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1800"/>
              <a:buFont typeface="Didact Gothic"/>
              <a:buNone/>
              <a:defRPr sz="2800">
                <a:latin typeface="Montserrat SemiBold"/>
                <a:ea typeface="Montserrat SemiBold"/>
                <a:cs typeface="Montserrat SemiBold"/>
                <a:sym typeface="Montserrat SemiBold"/>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9" name="Google Shape;59;p13"/>
          <p:cNvSpPr/>
          <p:nvPr/>
        </p:nvSpPr>
        <p:spPr>
          <a:xfrm rot="10800000" flipH="1">
            <a:off x="1216200" y="2571750"/>
            <a:ext cx="1216200" cy="2571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3"/>
          <p:cNvSpPr/>
          <p:nvPr/>
        </p:nvSpPr>
        <p:spPr>
          <a:xfrm rot="10800000" flipH="1">
            <a:off x="0" y="1061825"/>
            <a:ext cx="1216200" cy="15099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_1">
    <p:spTree>
      <p:nvGrpSpPr>
        <p:cNvPr id="1" name="Shape 61"/>
        <p:cNvGrpSpPr/>
        <p:nvPr/>
      </p:nvGrpSpPr>
      <p:grpSpPr>
        <a:xfrm>
          <a:off x="0" y="0"/>
          <a:ext cx="0" cy="0"/>
          <a:chOff x="0" y="0"/>
          <a:chExt cx="0" cy="0"/>
        </a:xfrm>
      </p:grpSpPr>
      <p:sp>
        <p:nvSpPr>
          <p:cNvPr id="62" name="Google Shape;62;p14"/>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algn="ctr">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a:spcBef>
                <a:spcPts val="0"/>
              </a:spcBef>
              <a:spcAft>
                <a:spcPts val="0"/>
              </a:spcAft>
              <a:buSzPts val="2800"/>
              <a:buFont typeface="Montserrat"/>
              <a:buNone/>
              <a:defRPr>
                <a:latin typeface="Montserrat"/>
                <a:ea typeface="Montserrat"/>
                <a:cs typeface="Montserrat"/>
                <a:sym typeface="Montserrat"/>
              </a:defRPr>
            </a:lvl2pPr>
            <a:lvl3pPr lvl="2">
              <a:spcBef>
                <a:spcPts val="0"/>
              </a:spcBef>
              <a:spcAft>
                <a:spcPts val="0"/>
              </a:spcAft>
              <a:buSzPts val="2800"/>
              <a:buFont typeface="Montserrat"/>
              <a:buNone/>
              <a:defRPr>
                <a:latin typeface="Montserrat"/>
                <a:ea typeface="Montserrat"/>
                <a:cs typeface="Montserrat"/>
                <a:sym typeface="Montserrat"/>
              </a:defRPr>
            </a:lvl3pPr>
            <a:lvl4pPr lvl="3">
              <a:spcBef>
                <a:spcPts val="0"/>
              </a:spcBef>
              <a:spcAft>
                <a:spcPts val="0"/>
              </a:spcAft>
              <a:buSzPts val="2800"/>
              <a:buFont typeface="Montserrat"/>
              <a:buNone/>
              <a:defRPr>
                <a:latin typeface="Montserrat"/>
                <a:ea typeface="Montserrat"/>
                <a:cs typeface="Montserrat"/>
                <a:sym typeface="Montserrat"/>
              </a:defRPr>
            </a:lvl4pPr>
            <a:lvl5pPr lvl="4">
              <a:spcBef>
                <a:spcPts val="0"/>
              </a:spcBef>
              <a:spcAft>
                <a:spcPts val="0"/>
              </a:spcAft>
              <a:buSzPts val="2800"/>
              <a:buFont typeface="Montserrat"/>
              <a:buNone/>
              <a:defRPr>
                <a:latin typeface="Montserrat"/>
                <a:ea typeface="Montserrat"/>
                <a:cs typeface="Montserrat"/>
                <a:sym typeface="Montserrat"/>
              </a:defRPr>
            </a:lvl5pPr>
            <a:lvl6pPr lvl="5">
              <a:spcBef>
                <a:spcPts val="0"/>
              </a:spcBef>
              <a:spcAft>
                <a:spcPts val="0"/>
              </a:spcAft>
              <a:buSzPts val="2800"/>
              <a:buFont typeface="Montserrat"/>
              <a:buNone/>
              <a:defRPr>
                <a:latin typeface="Montserrat"/>
                <a:ea typeface="Montserrat"/>
                <a:cs typeface="Montserrat"/>
                <a:sym typeface="Montserrat"/>
              </a:defRPr>
            </a:lvl6pPr>
            <a:lvl7pPr lvl="6">
              <a:spcBef>
                <a:spcPts val="0"/>
              </a:spcBef>
              <a:spcAft>
                <a:spcPts val="0"/>
              </a:spcAft>
              <a:buSzPts val="2800"/>
              <a:buFont typeface="Montserrat"/>
              <a:buNone/>
              <a:defRPr>
                <a:latin typeface="Montserrat"/>
                <a:ea typeface="Montserrat"/>
                <a:cs typeface="Montserrat"/>
                <a:sym typeface="Montserrat"/>
              </a:defRPr>
            </a:lvl7pPr>
            <a:lvl8pPr lvl="7">
              <a:spcBef>
                <a:spcPts val="0"/>
              </a:spcBef>
              <a:spcAft>
                <a:spcPts val="0"/>
              </a:spcAft>
              <a:buSzPts val="2800"/>
              <a:buFont typeface="Montserrat"/>
              <a:buNone/>
              <a:defRPr>
                <a:latin typeface="Montserrat"/>
                <a:ea typeface="Montserrat"/>
                <a:cs typeface="Montserrat"/>
                <a:sym typeface="Montserrat"/>
              </a:defRPr>
            </a:lvl8pPr>
            <a:lvl9pPr lvl="8">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63" name="Google Shape;63;p14"/>
          <p:cNvSpPr txBox="1">
            <a:spLocks noGrp="1"/>
          </p:cNvSpPr>
          <p:nvPr>
            <p:ph type="ctrTitle" idx="2"/>
          </p:nvPr>
        </p:nvSpPr>
        <p:spPr>
          <a:xfrm>
            <a:off x="2310350" y="1446813"/>
            <a:ext cx="2150400" cy="3840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sz="1800">
                <a:solidFill>
                  <a:schemeClr val="accent1"/>
                </a:solidFill>
                <a:latin typeface="Montserrat"/>
                <a:ea typeface="Montserrat"/>
                <a:cs typeface="Montserrat"/>
                <a:sym typeface="Montserrat"/>
              </a:defRPr>
            </a:lvl1pPr>
            <a:lvl2pPr lvl="1" rtl="0">
              <a:spcBef>
                <a:spcPts val="0"/>
              </a:spcBef>
              <a:spcAft>
                <a:spcPts val="0"/>
              </a:spcAft>
              <a:buSzPts val="2000"/>
              <a:buFont typeface="Montserrat"/>
              <a:buNone/>
              <a:defRPr sz="2000">
                <a:latin typeface="Montserrat"/>
                <a:ea typeface="Montserrat"/>
                <a:cs typeface="Montserrat"/>
                <a:sym typeface="Montserrat"/>
              </a:defRPr>
            </a:lvl2pPr>
            <a:lvl3pPr lvl="2" rtl="0">
              <a:spcBef>
                <a:spcPts val="0"/>
              </a:spcBef>
              <a:spcAft>
                <a:spcPts val="0"/>
              </a:spcAft>
              <a:buSzPts val="2000"/>
              <a:buFont typeface="Montserrat"/>
              <a:buNone/>
              <a:defRPr sz="2000">
                <a:latin typeface="Montserrat"/>
                <a:ea typeface="Montserrat"/>
                <a:cs typeface="Montserrat"/>
                <a:sym typeface="Montserrat"/>
              </a:defRPr>
            </a:lvl3pPr>
            <a:lvl4pPr lvl="3" rtl="0">
              <a:spcBef>
                <a:spcPts val="0"/>
              </a:spcBef>
              <a:spcAft>
                <a:spcPts val="0"/>
              </a:spcAft>
              <a:buSzPts val="2000"/>
              <a:buFont typeface="Montserrat"/>
              <a:buNone/>
              <a:defRPr sz="2000">
                <a:latin typeface="Montserrat"/>
                <a:ea typeface="Montserrat"/>
                <a:cs typeface="Montserrat"/>
                <a:sym typeface="Montserrat"/>
              </a:defRPr>
            </a:lvl4pPr>
            <a:lvl5pPr lvl="4" rtl="0">
              <a:spcBef>
                <a:spcPts val="0"/>
              </a:spcBef>
              <a:spcAft>
                <a:spcPts val="0"/>
              </a:spcAft>
              <a:buSzPts val="2000"/>
              <a:buFont typeface="Montserrat"/>
              <a:buNone/>
              <a:defRPr sz="2000">
                <a:latin typeface="Montserrat"/>
                <a:ea typeface="Montserrat"/>
                <a:cs typeface="Montserrat"/>
                <a:sym typeface="Montserrat"/>
              </a:defRPr>
            </a:lvl5pPr>
            <a:lvl6pPr lvl="5" rtl="0">
              <a:spcBef>
                <a:spcPts val="0"/>
              </a:spcBef>
              <a:spcAft>
                <a:spcPts val="0"/>
              </a:spcAft>
              <a:buSzPts val="2000"/>
              <a:buFont typeface="Montserrat"/>
              <a:buNone/>
              <a:defRPr sz="2000">
                <a:latin typeface="Montserrat"/>
                <a:ea typeface="Montserrat"/>
                <a:cs typeface="Montserrat"/>
                <a:sym typeface="Montserrat"/>
              </a:defRPr>
            </a:lvl6pPr>
            <a:lvl7pPr lvl="6" rtl="0">
              <a:spcBef>
                <a:spcPts val="0"/>
              </a:spcBef>
              <a:spcAft>
                <a:spcPts val="0"/>
              </a:spcAft>
              <a:buSzPts val="2000"/>
              <a:buFont typeface="Montserrat"/>
              <a:buNone/>
              <a:defRPr sz="2000">
                <a:latin typeface="Montserrat"/>
                <a:ea typeface="Montserrat"/>
                <a:cs typeface="Montserrat"/>
                <a:sym typeface="Montserrat"/>
              </a:defRPr>
            </a:lvl7pPr>
            <a:lvl8pPr lvl="7" rtl="0">
              <a:spcBef>
                <a:spcPts val="0"/>
              </a:spcBef>
              <a:spcAft>
                <a:spcPts val="0"/>
              </a:spcAft>
              <a:buSzPts val="2000"/>
              <a:buFont typeface="Montserrat"/>
              <a:buNone/>
              <a:defRPr sz="2000">
                <a:latin typeface="Montserrat"/>
                <a:ea typeface="Montserrat"/>
                <a:cs typeface="Montserrat"/>
                <a:sym typeface="Montserrat"/>
              </a:defRPr>
            </a:lvl8pPr>
            <a:lvl9pPr lvl="8" rtl="0">
              <a:spcBef>
                <a:spcPts val="0"/>
              </a:spcBef>
              <a:spcAft>
                <a:spcPts val="0"/>
              </a:spcAft>
              <a:buSzPts val="2000"/>
              <a:buFont typeface="Montserrat"/>
              <a:buNone/>
              <a:defRPr sz="2000">
                <a:latin typeface="Montserrat"/>
                <a:ea typeface="Montserrat"/>
                <a:cs typeface="Montserrat"/>
                <a:sym typeface="Montserrat"/>
              </a:defRPr>
            </a:lvl9pPr>
          </a:lstStyle>
          <a:p>
            <a:endParaRPr/>
          </a:p>
        </p:txBody>
      </p:sp>
      <p:sp>
        <p:nvSpPr>
          <p:cNvPr id="64" name="Google Shape;64;p14"/>
          <p:cNvSpPr txBox="1">
            <a:spLocks noGrp="1"/>
          </p:cNvSpPr>
          <p:nvPr>
            <p:ph type="title" idx="3" hasCustomPrompt="1"/>
          </p:nvPr>
        </p:nvSpPr>
        <p:spPr>
          <a:xfrm>
            <a:off x="717800" y="1521025"/>
            <a:ext cx="1493400" cy="941700"/>
          </a:xfrm>
          <a:prstGeom prst="rect">
            <a:avLst/>
          </a:prstGeom>
          <a:noFill/>
        </p:spPr>
        <p:txBody>
          <a:bodyPr spcFirstLastPara="1" wrap="square" lIns="91425" tIns="91425" rIns="91425" bIns="91425" anchor="ctr" anchorCtr="0">
            <a:noAutofit/>
          </a:bodyPr>
          <a:lstStyle>
            <a:lvl1pPr lvl="0" algn="r" rtl="0">
              <a:spcBef>
                <a:spcPts val="0"/>
              </a:spcBef>
              <a:spcAft>
                <a:spcPts val="0"/>
              </a:spcAft>
              <a:buClr>
                <a:schemeClr val="dk2"/>
              </a:buClr>
              <a:buSzPts val="8000"/>
              <a:buNone/>
              <a:defRPr sz="7000">
                <a:solidFill>
                  <a:schemeClr val="dk2"/>
                </a:solidFill>
              </a:defRPr>
            </a:lvl1pPr>
            <a:lvl2pPr lvl="1"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9pPr>
          </a:lstStyle>
          <a:p>
            <a:r>
              <a:t>xx%</a:t>
            </a:r>
          </a:p>
        </p:txBody>
      </p:sp>
      <p:sp>
        <p:nvSpPr>
          <p:cNvPr id="65" name="Google Shape;65;p14"/>
          <p:cNvSpPr txBox="1">
            <a:spLocks noGrp="1"/>
          </p:cNvSpPr>
          <p:nvPr>
            <p:ph type="subTitle" idx="1"/>
          </p:nvPr>
        </p:nvSpPr>
        <p:spPr>
          <a:xfrm>
            <a:off x="2310350" y="1858875"/>
            <a:ext cx="2150400" cy="7677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Font typeface="Montserrat"/>
              <a:buNone/>
              <a:defRPr sz="1400">
                <a:solidFill>
                  <a:schemeClr val="accent2"/>
                </a:solidFill>
                <a:latin typeface="Montserrat"/>
                <a:ea typeface="Montserrat"/>
                <a:cs typeface="Montserrat"/>
                <a:sym typeface="Montserrat"/>
              </a:defRPr>
            </a:lvl1pPr>
            <a:lvl2pPr lvl="1" rtl="0">
              <a:spcBef>
                <a:spcPts val="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66" name="Google Shape;66;p14"/>
          <p:cNvSpPr txBox="1">
            <a:spLocks noGrp="1"/>
          </p:cNvSpPr>
          <p:nvPr>
            <p:ph type="ctrTitle" idx="4"/>
          </p:nvPr>
        </p:nvSpPr>
        <p:spPr>
          <a:xfrm>
            <a:off x="6233050" y="1446813"/>
            <a:ext cx="2150400" cy="3840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sz="1800">
                <a:solidFill>
                  <a:schemeClr val="accent1"/>
                </a:solidFill>
                <a:latin typeface="Montserrat"/>
                <a:ea typeface="Montserrat"/>
                <a:cs typeface="Montserrat"/>
                <a:sym typeface="Montserrat"/>
              </a:defRPr>
            </a:lvl1pPr>
            <a:lvl2pPr lvl="1" rtl="0">
              <a:spcBef>
                <a:spcPts val="0"/>
              </a:spcBef>
              <a:spcAft>
                <a:spcPts val="0"/>
              </a:spcAft>
              <a:buSzPts val="2000"/>
              <a:buFont typeface="Montserrat"/>
              <a:buNone/>
              <a:defRPr sz="2000">
                <a:latin typeface="Montserrat"/>
                <a:ea typeface="Montserrat"/>
                <a:cs typeface="Montserrat"/>
                <a:sym typeface="Montserrat"/>
              </a:defRPr>
            </a:lvl2pPr>
            <a:lvl3pPr lvl="2" rtl="0">
              <a:spcBef>
                <a:spcPts val="0"/>
              </a:spcBef>
              <a:spcAft>
                <a:spcPts val="0"/>
              </a:spcAft>
              <a:buSzPts val="2000"/>
              <a:buFont typeface="Montserrat"/>
              <a:buNone/>
              <a:defRPr sz="2000">
                <a:latin typeface="Montserrat"/>
                <a:ea typeface="Montserrat"/>
                <a:cs typeface="Montserrat"/>
                <a:sym typeface="Montserrat"/>
              </a:defRPr>
            </a:lvl3pPr>
            <a:lvl4pPr lvl="3" rtl="0">
              <a:spcBef>
                <a:spcPts val="0"/>
              </a:spcBef>
              <a:spcAft>
                <a:spcPts val="0"/>
              </a:spcAft>
              <a:buSzPts val="2000"/>
              <a:buFont typeface="Montserrat"/>
              <a:buNone/>
              <a:defRPr sz="2000">
                <a:latin typeface="Montserrat"/>
                <a:ea typeface="Montserrat"/>
                <a:cs typeface="Montserrat"/>
                <a:sym typeface="Montserrat"/>
              </a:defRPr>
            </a:lvl4pPr>
            <a:lvl5pPr lvl="4" rtl="0">
              <a:spcBef>
                <a:spcPts val="0"/>
              </a:spcBef>
              <a:spcAft>
                <a:spcPts val="0"/>
              </a:spcAft>
              <a:buSzPts val="2000"/>
              <a:buFont typeface="Montserrat"/>
              <a:buNone/>
              <a:defRPr sz="2000">
                <a:latin typeface="Montserrat"/>
                <a:ea typeface="Montserrat"/>
                <a:cs typeface="Montserrat"/>
                <a:sym typeface="Montserrat"/>
              </a:defRPr>
            </a:lvl5pPr>
            <a:lvl6pPr lvl="5" rtl="0">
              <a:spcBef>
                <a:spcPts val="0"/>
              </a:spcBef>
              <a:spcAft>
                <a:spcPts val="0"/>
              </a:spcAft>
              <a:buSzPts val="2000"/>
              <a:buFont typeface="Montserrat"/>
              <a:buNone/>
              <a:defRPr sz="2000">
                <a:latin typeface="Montserrat"/>
                <a:ea typeface="Montserrat"/>
                <a:cs typeface="Montserrat"/>
                <a:sym typeface="Montserrat"/>
              </a:defRPr>
            </a:lvl6pPr>
            <a:lvl7pPr lvl="6" rtl="0">
              <a:spcBef>
                <a:spcPts val="0"/>
              </a:spcBef>
              <a:spcAft>
                <a:spcPts val="0"/>
              </a:spcAft>
              <a:buSzPts val="2000"/>
              <a:buFont typeface="Montserrat"/>
              <a:buNone/>
              <a:defRPr sz="2000">
                <a:latin typeface="Montserrat"/>
                <a:ea typeface="Montserrat"/>
                <a:cs typeface="Montserrat"/>
                <a:sym typeface="Montserrat"/>
              </a:defRPr>
            </a:lvl7pPr>
            <a:lvl8pPr lvl="7" rtl="0">
              <a:spcBef>
                <a:spcPts val="0"/>
              </a:spcBef>
              <a:spcAft>
                <a:spcPts val="0"/>
              </a:spcAft>
              <a:buSzPts val="2000"/>
              <a:buFont typeface="Montserrat"/>
              <a:buNone/>
              <a:defRPr sz="2000">
                <a:latin typeface="Montserrat"/>
                <a:ea typeface="Montserrat"/>
                <a:cs typeface="Montserrat"/>
                <a:sym typeface="Montserrat"/>
              </a:defRPr>
            </a:lvl8pPr>
            <a:lvl9pPr lvl="8" rtl="0">
              <a:spcBef>
                <a:spcPts val="0"/>
              </a:spcBef>
              <a:spcAft>
                <a:spcPts val="0"/>
              </a:spcAft>
              <a:buSzPts val="2000"/>
              <a:buFont typeface="Montserrat"/>
              <a:buNone/>
              <a:defRPr sz="2000">
                <a:latin typeface="Montserrat"/>
                <a:ea typeface="Montserrat"/>
                <a:cs typeface="Montserrat"/>
                <a:sym typeface="Montserrat"/>
              </a:defRPr>
            </a:lvl9pPr>
          </a:lstStyle>
          <a:p>
            <a:endParaRPr/>
          </a:p>
        </p:txBody>
      </p:sp>
      <p:sp>
        <p:nvSpPr>
          <p:cNvPr id="67" name="Google Shape;67;p14"/>
          <p:cNvSpPr txBox="1">
            <a:spLocks noGrp="1"/>
          </p:cNvSpPr>
          <p:nvPr>
            <p:ph type="title" idx="5" hasCustomPrompt="1"/>
          </p:nvPr>
        </p:nvSpPr>
        <p:spPr>
          <a:xfrm>
            <a:off x="4686400" y="1521025"/>
            <a:ext cx="1493400" cy="941700"/>
          </a:xfrm>
          <a:prstGeom prst="rect">
            <a:avLst/>
          </a:prstGeom>
          <a:noFill/>
        </p:spPr>
        <p:txBody>
          <a:bodyPr spcFirstLastPara="1" wrap="square" lIns="91425" tIns="91425" rIns="91425" bIns="91425" anchor="ctr" anchorCtr="0">
            <a:noAutofit/>
          </a:bodyPr>
          <a:lstStyle>
            <a:lvl1pPr lvl="0" algn="r" rtl="0">
              <a:spcBef>
                <a:spcPts val="0"/>
              </a:spcBef>
              <a:spcAft>
                <a:spcPts val="0"/>
              </a:spcAft>
              <a:buClr>
                <a:schemeClr val="dk2"/>
              </a:buClr>
              <a:buSzPts val="8000"/>
              <a:buNone/>
              <a:defRPr sz="7000">
                <a:solidFill>
                  <a:schemeClr val="dk2"/>
                </a:solidFill>
              </a:defRPr>
            </a:lvl1pPr>
            <a:lvl2pPr lvl="1"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9pPr>
          </a:lstStyle>
          <a:p>
            <a:r>
              <a:t>xx%</a:t>
            </a:r>
          </a:p>
        </p:txBody>
      </p:sp>
      <p:sp>
        <p:nvSpPr>
          <p:cNvPr id="68" name="Google Shape;68;p14"/>
          <p:cNvSpPr txBox="1">
            <a:spLocks noGrp="1"/>
          </p:cNvSpPr>
          <p:nvPr>
            <p:ph type="subTitle" idx="6"/>
          </p:nvPr>
        </p:nvSpPr>
        <p:spPr>
          <a:xfrm>
            <a:off x="6275800" y="1858878"/>
            <a:ext cx="2150400" cy="7677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Font typeface="Montserrat"/>
              <a:buNone/>
              <a:defRPr sz="1400">
                <a:solidFill>
                  <a:schemeClr val="accent2"/>
                </a:solidFill>
                <a:latin typeface="Montserrat"/>
                <a:ea typeface="Montserrat"/>
                <a:cs typeface="Montserrat"/>
                <a:sym typeface="Montserrat"/>
              </a:defRPr>
            </a:lvl1pPr>
            <a:lvl2pPr lvl="1" rtl="0">
              <a:spcBef>
                <a:spcPts val="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69" name="Google Shape;69;p14"/>
          <p:cNvSpPr txBox="1">
            <a:spLocks noGrp="1"/>
          </p:cNvSpPr>
          <p:nvPr>
            <p:ph type="ctrTitle" idx="7"/>
          </p:nvPr>
        </p:nvSpPr>
        <p:spPr>
          <a:xfrm>
            <a:off x="2310350" y="2868777"/>
            <a:ext cx="2150400" cy="3840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sz="1800">
                <a:solidFill>
                  <a:schemeClr val="accent1"/>
                </a:solidFill>
                <a:latin typeface="Montserrat"/>
                <a:ea typeface="Montserrat"/>
                <a:cs typeface="Montserrat"/>
                <a:sym typeface="Montserrat"/>
              </a:defRPr>
            </a:lvl1pPr>
            <a:lvl2pPr lvl="1" rtl="0">
              <a:spcBef>
                <a:spcPts val="0"/>
              </a:spcBef>
              <a:spcAft>
                <a:spcPts val="0"/>
              </a:spcAft>
              <a:buSzPts val="2000"/>
              <a:buFont typeface="Montserrat"/>
              <a:buNone/>
              <a:defRPr sz="2000">
                <a:latin typeface="Montserrat"/>
                <a:ea typeface="Montserrat"/>
                <a:cs typeface="Montserrat"/>
                <a:sym typeface="Montserrat"/>
              </a:defRPr>
            </a:lvl2pPr>
            <a:lvl3pPr lvl="2" rtl="0">
              <a:spcBef>
                <a:spcPts val="0"/>
              </a:spcBef>
              <a:spcAft>
                <a:spcPts val="0"/>
              </a:spcAft>
              <a:buSzPts val="2000"/>
              <a:buFont typeface="Montserrat"/>
              <a:buNone/>
              <a:defRPr sz="2000">
                <a:latin typeface="Montserrat"/>
                <a:ea typeface="Montserrat"/>
                <a:cs typeface="Montserrat"/>
                <a:sym typeface="Montserrat"/>
              </a:defRPr>
            </a:lvl3pPr>
            <a:lvl4pPr lvl="3" rtl="0">
              <a:spcBef>
                <a:spcPts val="0"/>
              </a:spcBef>
              <a:spcAft>
                <a:spcPts val="0"/>
              </a:spcAft>
              <a:buSzPts val="2000"/>
              <a:buFont typeface="Montserrat"/>
              <a:buNone/>
              <a:defRPr sz="2000">
                <a:latin typeface="Montserrat"/>
                <a:ea typeface="Montserrat"/>
                <a:cs typeface="Montserrat"/>
                <a:sym typeface="Montserrat"/>
              </a:defRPr>
            </a:lvl4pPr>
            <a:lvl5pPr lvl="4" rtl="0">
              <a:spcBef>
                <a:spcPts val="0"/>
              </a:spcBef>
              <a:spcAft>
                <a:spcPts val="0"/>
              </a:spcAft>
              <a:buSzPts val="2000"/>
              <a:buFont typeface="Montserrat"/>
              <a:buNone/>
              <a:defRPr sz="2000">
                <a:latin typeface="Montserrat"/>
                <a:ea typeface="Montserrat"/>
                <a:cs typeface="Montserrat"/>
                <a:sym typeface="Montserrat"/>
              </a:defRPr>
            </a:lvl5pPr>
            <a:lvl6pPr lvl="5" rtl="0">
              <a:spcBef>
                <a:spcPts val="0"/>
              </a:spcBef>
              <a:spcAft>
                <a:spcPts val="0"/>
              </a:spcAft>
              <a:buSzPts val="2000"/>
              <a:buFont typeface="Montserrat"/>
              <a:buNone/>
              <a:defRPr sz="2000">
                <a:latin typeface="Montserrat"/>
                <a:ea typeface="Montserrat"/>
                <a:cs typeface="Montserrat"/>
                <a:sym typeface="Montserrat"/>
              </a:defRPr>
            </a:lvl6pPr>
            <a:lvl7pPr lvl="6" rtl="0">
              <a:spcBef>
                <a:spcPts val="0"/>
              </a:spcBef>
              <a:spcAft>
                <a:spcPts val="0"/>
              </a:spcAft>
              <a:buSzPts val="2000"/>
              <a:buFont typeface="Montserrat"/>
              <a:buNone/>
              <a:defRPr sz="2000">
                <a:latin typeface="Montserrat"/>
                <a:ea typeface="Montserrat"/>
                <a:cs typeface="Montserrat"/>
                <a:sym typeface="Montserrat"/>
              </a:defRPr>
            </a:lvl7pPr>
            <a:lvl8pPr lvl="7" rtl="0">
              <a:spcBef>
                <a:spcPts val="0"/>
              </a:spcBef>
              <a:spcAft>
                <a:spcPts val="0"/>
              </a:spcAft>
              <a:buSzPts val="2000"/>
              <a:buFont typeface="Montserrat"/>
              <a:buNone/>
              <a:defRPr sz="2000">
                <a:latin typeface="Montserrat"/>
                <a:ea typeface="Montserrat"/>
                <a:cs typeface="Montserrat"/>
                <a:sym typeface="Montserrat"/>
              </a:defRPr>
            </a:lvl8pPr>
            <a:lvl9pPr lvl="8" rtl="0">
              <a:spcBef>
                <a:spcPts val="0"/>
              </a:spcBef>
              <a:spcAft>
                <a:spcPts val="0"/>
              </a:spcAft>
              <a:buSzPts val="2000"/>
              <a:buFont typeface="Montserrat"/>
              <a:buNone/>
              <a:defRPr sz="2000">
                <a:latin typeface="Montserrat"/>
                <a:ea typeface="Montserrat"/>
                <a:cs typeface="Montserrat"/>
                <a:sym typeface="Montserrat"/>
              </a:defRPr>
            </a:lvl9pPr>
          </a:lstStyle>
          <a:p>
            <a:endParaRPr/>
          </a:p>
        </p:txBody>
      </p:sp>
      <p:sp>
        <p:nvSpPr>
          <p:cNvPr id="70" name="Google Shape;70;p14"/>
          <p:cNvSpPr txBox="1">
            <a:spLocks noGrp="1"/>
          </p:cNvSpPr>
          <p:nvPr>
            <p:ph type="title" idx="8" hasCustomPrompt="1"/>
          </p:nvPr>
        </p:nvSpPr>
        <p:spPr>
          <a:xfrm>
            <a:off x="717800" y="2960450"/>
            <a:ext cx="1493400" cy="941700"/>
          </a:xfrm>
          <a:prstGeom prst="rect">
            <a:avLst/>
          </a:prstGeom>
          <a:noFill/>
        </p:spPr>
        <p:txBody>
          <a:bodyPr spcFirstLastPara="1" wrap="square" lIns="91425" tIns="91425" rIns="91425" bIns="91425" anchor="ctr" anchorCtr="0">
            <a:noAutofit/>
          </a:bodyPr>
          <a:lstStyle>
            <a:lvl1pPr lvl="0" algn="r" rtl="0">
              <a:spcBef>
                <a:spcPts val="0"/>
              </a:spcBef>
              <a:spcAft>
                <a:spcPts val="0"/>
              </a:spcAft>
              <a:buClr>
                <a:schemeClr val="dk2"/>
              </a:buClr>
              <a:buSzPts val="8000"/>
              <a:buNone/>
              <a:defRPr sz="7000">
                <a:solidFill>
                  <a:schemeClr val="dk2"/>
                </a:solidFill>
              </a:defRPr>
            </a:lvl1pPr>
            <a:lvl2pPr lvl="1"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9pPr>
          </a:lstStyle>
          <a:p>
            <a:r>
              <a:t>xx%</a:t>
            </a:r>
          </a:p>
        </p:txBody>
      </p:sp>
      <p:sp>
        <p:nvSpPr>
          <p:cNvPr id="71" name="Google Shape;71;p14"/>
          <p:cNvSpPr txBox="1">
            <a:spLocks noGrp="1"/>
          </p:cNvSpPr>
          <p:nvPr>
            <p:ph type="subTitle" idx="9"/>
          </p:nvPr>
        </p:nvSpPr>
        <p:spPr>
          <a:xfrm>
            <a:off x="2310350" y="3298325"/>
            <a:ext cx="2150400" cy="7677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Font typeface="Montserrat"/>
              <a:buNone/>
              <a:defRPr sz="1400">
                <a:solidFill>
                  <a:schemeClr val="accent2"/>
                </a:solidFill>
                <a:latin typeface="Montserrat"/>
                <a:ea typeface="Montserrat"/>
                <a:cs typeface="Montserrat"/>
                <a:sym typeface="Montserrat"/>
              </a:defRPr>
            </a:lvl1pPr>
            <a:lvl2pPr lvl="1" rtl="0">
              <a:spcBef>
                <a:spcPts val="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72" name="Google Shape;72;p14"/>
          <p:cNvSpPr txBox="1">
            <a:spLocks noGrp="1"/>
          </p:cNvSpPr>
          <p:nvPr>
            <p:ph type="ctrTitle" idx="13"/>
          </p:nvPr>
        </p:nvSpPr>
        <p:spPr>
          <a:xfrm>
            <a:off x="6275650" y="2868775"/>
            <a:ext cx="2150400" cy="3840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sz="1800">
                <a:solidFill>
                  <a:schemeClr val="accent1"/>
                </a:solidFill>
                <a:latin typeface="Montserrat"/>
                <a:ea typeface="Montserrat"/>
                <a:cs typeface="Montserrat"/>
                <a:sym typeface="Montserrat"/>
              </a:defRPr>
            </a:lvl1pPr>
            <a:lvl2pPr lvl="1" rtl="0">
              <a:spcBef>
                <a:spcPts val="0"/>
              </a:spcBef>
              <a:spcAft>
                <a:spcPts val="0"/>
              </a:spcAft>
              <a:buSzPts val="2000"/>
              <a:buFont typeface="Montserrat"/>
              <a:buNone/>
              <a:defRPr sz="2000">
                <a:latin typeface="Montserrat"/>
                <a:ea typeface="Montserrat"/>
                <a:cs typeface="Montserrat"/>
                <a:sym typeface="Montserrat"/>
              </a:defRPr>
            </a:lvl2pPr>
            <a:lvl3pPr lvl="2" rtl="0">
              <a:spcBef>
                <a:spcPts val="0"/>
              </a:spcBef>
              <a:spcAft>
                <a:spcPts val="0"/>
              </a:spcAft>
              <a:buSzPts val="2000"/>
              <a:buFont typeface="Montserrat"/>
              <a:buNone/>
              <a:defRPr sz="2000">
                <a:latin typeface="Montserrat"/>
                <a:ea typeface="Montserrat"/>
                <a:cs typeface="Montserrat"/>
                <a:sym typeface="Montserrat"/>
              </a:defRPr>
            </a:lvl3pPr>
            <a:lvl4pPr lvl="3" rtl="0">
              <a:spcBef>
                <a:spcPts val="0"/>
              </a:spcBef>
              <a:spcAft>
                <a:spcPts val="0"/>
              </a:spcAft>
              <a:buSzPts val="2000"/>
              <a:buFont typeface="Montserrat"/>
              <a:buNone/>
              <a:defRPr sz="2000">
                <a:latin typeface="Montserrat"/>
                <a:ea typeface="Montserrat"/>
                <a:cs typeface="Montserrat"/>
                <a:sym typeface="Montserrat"/>
              </a:defRPr>
            </a:lvl4pPr>
            <a:lvl5pPr lvl="4" rtl="0">
              <a:spcBef>
                <a:spcPts val="0"/>
              </a:spcBef>
              <a:spcAft>
                <a:spcPts val="0"/>
              </a:spcAft>
              <a:buSzPts val="2000"/>
              <a:buFont typeface="Montserrat"/>
              <a:buNone/>
              <a:defRPr sz="2000">
                <a:latin typeface="Montserrat"/>
                <a:ea typeface="Montserrat"/>
                <a:cs typeface="Montserrat"/>
                <a:sym typeface="Montserrat"/>
              </a:defRPr>
            </a:lvl5pPr>
            <a:lvl6pPr lvl="5" rtl="0">
              <a:spcBef>
                <a:spcPts val="0"/>
              </a:spcBef>
              <a:spcAft>
                <a:spcPts val="0"/>
              </a:spcAft>
              <a:buSzPts val="2000"/>
              <a:buFont typeface="Montserrat"/>
              <a:buNone/>
              <a:defRPr sz="2000">
                <a:latin typeface="Montserrat"/>
                <a:ea typeface="Montserrat"/>
                <a:cs typeface="Montserrat"/>
                <a:sym typeface="Montserrat"/>
              </a:defRPr>
            </a:lvl6pPr>
            <a:lvl7pPr lvl="6" rtl="0">
              <a:spcBef>
                <a:spcPts val="0"/>
              </a:spcBef>
              <a:spcAft>
                <a:spcPts val="0"/>
              </a:spcAft>
              <a:buSzPts val="2000"/>
              <a:buFont typeface="Montserrat"/>
              <a:buNone/>
              <a:defRPr sz="2000">
                <a:latin typeface="Montserrat"/>
                <a:ea typeface="Montserrat"/>
                <a:cs typeface="Montserrat"/>
                <a:sym typeface="Montserrat"/>
              </a:defRPr>
            </a:lvl7pPr>
            <a:lvl8pPr lvl="7" rtl="0">
              <a:spcBef>
                <a:spcPts val="0"/>
              </a:spcBef>
              <a:spcAft>
                <a:spcPts val="0"/>
              </a:spcAft>
              <a:buSzPts val="2000"/>
              <a:buFont typeface="Montserrat"/>
              <a:buNone/>
              <a:defRPr sz="2000">
                <a:latin typeface="Montserrat"/>
                <a:ea typeface="Montserrat"/>
                <a:cs typeface="Montserrat"/>
                <a:sym typeface="Montserrat"/>
              </a:defRPr>
            </a:lvl8pPr>
            <a:lvl9pPr lvl="8" rtl="0">
              <a:spcBef>
                <a:spcPts val="0"/>
              </a:spcBef>
              <a:spcAft>
                <a:spcPts val="0"/>
              </a:spcAft>
              <a:buSzPts val="2000"/>
              <a:buFont typeface="Montserrat"/>
              <a:buNone/>
              <a:defRPr sz="2000">
                <a:latin typeface="Montserrat"/>
                <a:ea typeface="Montserrat"/>
                <a:cs typeface="Montserrat"/>
                <a:sym typeface="Montserrat"/>
              </a:defRPr>
            </a:lvl9pPr>
          </a:lstStyle>
          <a:p>
            <a:endParaRPr/>
          </a:p>
        </p:txBody>
      </p:sp>
      <p:sp>
        <p:nvSpPr>
          <p:cNvPr id="73" name="Google Shape;73;p14"/>
          <p:cNvSpPr txBox="1">
            <a:spLocks noGrp="1"/>
          </p:cNvSpPr>
          <p:nvPr>
            <p:ph type="title" idx="14" hasCustomPrompt="1"/>
          </p:nvPr>
        </p:nvSpPr>
        <p:spPr>
          <a:xfrm>
            <a:off x="4686400" y="2960450"/>
            <a:ext cx="1493400" cy="941700"/>
          </a:xfrm>
          <a:prstGeom prst="rect">
            <a:avLst/>
          </a:prstGeom>
          <a:noFill/>
        </p:spPr>
        <p:txBody>
          <a:bodyPr spcFirstLastPara="1" wrap="square" lIns="91425" tIns="91425" rIns="91425" bIns="91425" anchor="ctr" anchorCtr="0">
            <a:noAutofit/>
          </a:bodyPr>
          <a:lstStyle>
            <a:lvl1pPr lvl="0" algn="r" rtl="0">
              <a:spcBef>
                <a:spcPts val="0"/>
              </a:spcBef>
              <a:spcAft>
                <a:spcPts val="0"/>
              </a:spcAft>
              <a:buClr>
                <a:schemeClr val="dk2"/>
              </a:buClr>
              <a:buSzPts val="8000"/>
              <a:buNone/>
              <a:defRPr sz="7000">
                <a:solidFill>
                  <a:schemeClr val="dk2"/>
                </a:solidFill>
              </a:defRPr>
            </a:lvl1pPr>
            <a:lvl2pPr lvl="1"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8000"/>
              <a:buFont typeface="Fira Sans Extra Condensed Medium"/>
              <a:buNone/>
              <a:defRPr sz="8000">
                <a:latin typeface="Fira Sans Extra Condensed Medium"/>
                <a:ea typeface="Fira Sans Extra Condensed Medium"/>
                <a:cs typeface="Fira Sans Extra Condensed Medium"/>
                <a:sym typeface="Fira Sans Extra Condensed Medium"/>
              </a:defRPr>
            </a:lvl9pPr>
          </a:lstStyle>
          <a:p>
            <a:r>
              <a:t>xx%</a:t>
            </a:r>
          </a:p>
        </p:txBody>
      </p:sp>
      <p:sp>
        <p:nvSpPr>
          <p:cNvPr id="74" name="Google Shape;74;p14"/>
          <p:cNvSpPr txBox="1">
            <a:spLocks noGrp="1"/>
          </p:cNvSpPr>
          <p:nvPr>
            <p:ph type="subTitle" idx="15"/>
          </p:nvPr>
        </p:nvSpPr>
        <p:spPr>
          <a:xfrm>
            <a:off x="6275800" y="3298325"/>
            <a:ext cx="2150400" cy="7677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Font typeface="Montserrat"/>
              <a:buNone/>
              <a:defRPr sz="1400">
                <a:solidFill>
                  <a:schemeClr val="accent2"/>
                </a:solidFill>
                <a:latin typeface="Montserrat"/>
                <a:ea typeface="Montserrat"/>
                <a:cs typeface="Montserrat"/>
                <a:sym typeface="Montserrat"/>
              </a:defRPr>
            </a:lvl1pPr>
            <a:lvl2pPr lvl="1" rtl="0">
              <a:spcBef>
                <a:spcPts val="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75" name="Google Shape;75;p14"/>
          <p:cNvSpPr/>
          <p:nvPr/>
        </p:nvSpPr>
        <p:spPr>
          <a:xfrm>
            <a:off x="50" y="4834275"/>
            <a:ext cx="4572000" cy="309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14"/>
          <p:cNvSpPr/>
          <p:nvPr/>
        </p:nvSpPr>
        <p:spPr>
          <a:xfrm>
            <a:off x="4572000" y="483427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1">
  <p:cSld name="CUSTOM_13">
    <p:spTree>
      <p:nvGrpSpPr>
        <p:cNvPr id="1" name="Shape 77"/>
        <p:cNvGrpSpPr/>
        <p:nvPr/>
      </p:nvGrpSpPr>
      <p:grpSpPr>
        <a:xfrm>
          <a:off x="0" y="0"/>
          <a:ext cx="0" cy="0"/>
          <a:chOff x="0" y="0"/>
          <a:chExt cx="0" cy="0"/>
        </a:xfrm>
      </p:grpSpPr>
      <p:sp>
        <p:nvSpPr>
          <p:cNvPr id="78" name="Google Shape;78;p15"/>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79" name="Google Shape;79;p15"/>
          <p:cNvSpPr txBox="1">
            <a:spLocks noGrp="1"/>
          </p:cNvSpPr>
          <p:nvPr>
            <p:ph type="subTitle" idx="1"/>
          </p:nvPr>
        </p:nvSpPr>
        <p:spPr>
          <a:xfrm>
            <a:off x="1454225" y="3391300"/>
            <a:ext cx="2261700" cy="408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b="1">
                <a:solidFill>
                  <a:schemeClr val="accent1"/>
                </a:solidFill>
              </a:defRPr>
            </a:lvl1pPr>
            <a:lvl2pPr lvl="1" algn="ctr" rtl="0">
              <a:spcBef>
                <a:spcPts val="1600"/>
              </a:spcBef>
              <a:spcAft>
                <a:spcPts val="0"/>
              </a:spcAft>
              <a:buNone/>
              <a:defRPr b="1">
                <a:solidFill>
                  <a:schemeClr val="accent1"/>
                </a:solidFill>
              </a:defRPr>
            </a:lvl2pPr>
            <a:lvl3pPr lvl="2" algn="ctr" rtl="0">
              <a:spcBef>
                <a:spcPts val="1600"/>
              </a:spcBef>
              <a:spcAft>
                <a:spcPts val="0"/>
              </a:spcAft>
              <a:buNone/>
              <a:defRPr b="1">
                <a:solidFill>
                  <a:schemeClr val="accent1"/>
                </a:solidFill>
              </a:defRPr>
            </a:lvl3pPr>
            <a:lvl4pPr lvl="3" algn="ctr" rtl="0">
              <a:spcBef>
                <a:spcPts val="1600"/>
              </a:spcBef>
              <a:spcAft>
                <a:spcPts val="0"/>
              </a:spcAft>
              <a:buNone/>
              <a:defRPr b="1">
                <a:solidFill>
                  <a:schemeClr val="accent1"/>
                </a:solidFill>
              </a:defRPr>
            </a:lvl4pPr>
            <a:lvl5pPr lvl="4" algn="ctr" rtl="0">
              <a:spcBef>
                <a:spcPts val="1600"/>
              </a:spcBef>
              <a:spcAft>
                <a:spcPts val="0"/>
              </a:spcAft>
              <a:buNone/>
              <a:defRPr b="1">
                <a:solidFill>
                  <a:schemeClr val="accent1"/>
                </a:solidFill>
              </a:defRPr>
            </a:lvl5pPr>
            <a:lvl6pPr lvl="5" algn="ctr" rtl="0">
              <a:spcBef>
                <a:spcPts val="1600"/>
              </a:spcBef>
              <a:spcAft>
                <a:spcPts val="0"/>
              </a:spcAft>
              <a:buNone/>
              <a:defRPr b="1">
                <a:solidFill>
                  <a:schemeClr val="accent1"/>
                </a:solidFill>
              </a:defRPr>
            </a:lvl6pPr>
            <a:lvl7pPr lvl="6" algn="ctr" rtl="0">
              <a:spcBef>
                <a:spcPts val="1600"/>
              </a:spcBef>
              <a:spcAft>
                <a:spcPts val="0"/>
              </a:spcAft>
              <a:buNone/>
              <a:defRPr b="1">
                <a:solidFill>
                  <a:schemeClr val="accent1"/>
                </a:solidFill>
              </a:defRPr>
            </a:lvl7pPr>
            <a:lvl8pPr lvl="7" algn="ctr" rtl="0">
              <a:spcBef>
                <a:spcPts val="1600"/>
              </a:spcBef>
              <a:spcAft>
                <a:spcPts val="0"/>
              </a:spcAft>
              <a:buNone/>
              <a:defRPr b="1">
                <a:solidFill>
                  <a:schemeClr val="accent1"/>
                </a:solidFill>
              </a:defRPr>
            </a:lvl8pPr>
            <a:lvl9pPr lvl="8" algn="ctr" rtl="0">
              <a:spcBef>
                <a:spcPts val="1600"/>
              </a:spcBef>
              <a:spcAft>
                <a:spcPts val="1600"/>
              </a:spcAft>
              <a:buNone/>
              <a:defRPr b="1">
                <a:solidFill>
                  <a:schemeClr val="accent1"/>
                </a:solidFill>
              </a:defRPr>
            </a:lvl9pPr>
          </a:lstStyle>
          <a:p>
            <a:endParaRPr/>
          </a:p>
        </p:txBody>
      </p:sp>
      <p:sp>
        <p:nvSpPr>
          <p:cNvPr id="80" name="Google Shape;80;p15"/>
          <p:cNvSpPr txBox="1">
            <a:spLocks noGrp="1"/>
          </p:cNvSpPr>
          <p:nvPr>
            <p:ph type="subTitle" idx="2"/>
          </p:nvPr>
        </p:nvSpPr>
        <p:spPr>
          <a:xfrm>
            <a:off x="1454225" y="3766750"/>
            <a:ext cx="2261700" cy="723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1400">
                <a:solidFill>
                  <a:schemeClr val="dk1"/>
                </a:solidFill>
              </a:defRPr>
            </a:lvl1pPr>
            <a:lvl2pPr lvl="1" algn="ctr" rtl="0">
              <a:lnSpc>
                <a:spcPct val="100000"/>
              </a:lnSpc>
              <a:spcBef>
                <a:spcPts val="0"/>
              </a:spcBef>
              <a:spcAft>
                <a:spcPts val="0"/>
              </a:spcAft>
              <a:buNone/>
              <a:defRPr sz="1400">
                <a:solidFill>
                  <a:schemeClr val="dk1"/>
                </a:solidFill>
              </a:defRPr>
            </a:lvl2pPr>
            <a:lvl3pPr lvl="2" algn="ctr" rtl="0">
              <a:lnSpc>
                <a:spcPct val="100000"/>
              </a:lnSpc>
              <a:spcBef>
                <a:spcPts val="0"/>
              </a:spcBef>
              <a:spcAft>
                <a:spcPts val="0"/>
              </a:spcAft>
              <a:buNone/>
              <a:defRPr sz="1400">
                <a:solidFill>
                  <a:schemeClr val="dk1"/>
                </a:solidFill>
              </a:defRPr>
            </a:lvl3pPr>
            <a:lvl4pPr lvl="3" algn="ctr" rtl="0">
              <a:lnSpc>
                <a:spcPct val="100000"/>
              </a:lnSpc>
              <a:spcBef>
                <a:spcPts val="0"/>
              </a:spcBef>
              <a:spcAft>
                <a:spcPts val="0"/>
              </a:spcAft>
              <a:buNone/>
              <a:defRPr sz="1400">
                <a:solidFill>
                  <a:schemeClr val="dk1"/>
                </a:solidFill>
              </a:defRPr>
            </a:lvl4pPr>
            <a:lvl5pPr lvl="4" algn="ctr" rtl="0">
              <a:lnSpc>
                <a:spcPct val="100000"/>
              </a:lnSpc>
              <a:spcBef>
                <a:spcPts val="0"/>
              </a:spcBef>
              <a:spcAft>
                <a:spcPts val="0"/>
              </a:spcAft>
              <a:buNone/>
              <a:defRPr sz="1400">
                <a:solidFill>
                  <a:schemeClr val="dk1"/>
                </a:solidFill>
              </a:defRPr>
            </a:lvl5pPr>
            <a:lvl6pPr lvl="5" algn="ctr" rtl="0">
              <a:lnSpc>
                <a:spcPct val="100000"/>
              </a:lnSpc>
              <a:spcBef>
                <a:spcPts val="0"/>
              </a:spcBef>
              <a:spcAft>
                <a:spcPts val="0"/>
              </a:spcAft>
              <a:buNone/>
              <a:defRPr sz="1400">
                <a:solidFill>
                  <a:schemeClr val="dk1"/>
                </a:solidFill>
              </a:defRPr>
            </a:lvl6pPr>
            <a:lvl7pPr lvl="6" algn="ctr" rtl="0">
              <a:lnSpc>
                <a:spcPct val="100000"/>
              </a:lnSpc>
              <a:spcBef>
                <a:spcPts val="0"/>
              </a:spcBef>
              <a:spcAft>
                <a:spcPts val="0"/>
              </a:spcAft>
              <a:buNone/>
              <a:defRPr sz="1400">
                <a:solidFill>
                  <a:schemeClr val="dk1"/>
                </a:solidFill>
              </a:defRPr>
            </a:lvl7pPr>
            <a:lvl8pPr lvl="7" algn="ctr" rtl="0">
              <a:lnSpc>
                <a:spcPct val="100000"/>
              </a:lnSpc>
              <a:spcBef>
                <a:spcPts val="0"/>
              </a:spcBef>
              <a:spcAft>
                <a:spcPts val="0"/>
              </a:spcAft>
              <a:buNone/>
              <a:defRPr sz="1400">
                <a:solidFill>
                  <a:schemeClr val="dk1"/>
                </a:solidFill>
              </a:defRPr>
            </a:lvl8pPr>
            <a:lvl9pPr lvl="8" algn="ctr" rtl="0">
              <a:lnSpc>
                <a:spcPct val="100000"/>
              </a:lnSpc>
              <a:spcBef>
                <a:spcPts val="0"/>
              </a:spcBef>
              <a:spcAft>
                <a:spcPts val="0"/>
              </a:spcAft>
              <a:buNone/>
              <a:defRPr sz="1400">
                <a:solidFill>
                  <a:schemeClr val="dk1"/>
                </a:solidFill>
              </a:defRPr>
            </a:lvl9pPr>
          </a:lstStyle>
          <a:p>
            <a:endParaRPr/>
          </a:p>
        </p:txBody>
      </p:sp>
      <p:sp>
        <p:nvSpPr>
          <p:cNvPr id="81" name="Google Shape;81;p15"/>
          <p:cNvSpPr txBox="1">
            <a:spLocks noGrp="1"/>
          </p:cNvSpPr>
          <p:nvPr>
            <p:ph type="subTitle" idx="3"/>
          </p:nvPr>
        </p:nvSpPr>
        <p:spPr>
          <a:xfrm>
            <a:off x="5427875" y="3391300"/>
            <a:ext cx="2261700" cy="408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b="1">
                <a:solidFill>
                  <a:schemeClr val="accent1"/>
                </a:solidFill>
              </a:defRPr>
            </a:lvl1pPr>
            <a:lvl2pPr lvl="1" algn="ctr" rtl="0">
              <a:spcBef>
                <a:spcPts val="1600"/>
              </a:spcBef>
              <a:spcAft>
                <a:spcPts val="0"/>
              </a:spcAft>
              <a:buNone/>
              <a:defRPr b="1">
                <a:solidFill>
                  <a:schemeClr val="accent1"/>
                </a:solidFill>
              </a:defRPr>
            </a:lvl2pPr>
            <a:lvl3pPr lvl="2" algn="ctr" rtl="0">
              <a:spcBef>
                <a:spcPts val="1600"/>
              </a:spcBef>
              <a:spcAft>
                <a:spcPts val="0"/>
              </a:spcAft>
              <a:buNone/>
              <a:defRPr b="1">
                <a:solidFill>
                  <a:schemeClr val="accent1"/>
                </a:solidFill>
              </a:defRPr>
            </a:lvl3pPr>
            <a:lvl4pPr lvl="3" algn="ctr" rtl="0">
              <a:spcBef>
                <a:spcPts val="1600"/>
              </a:spcBef>
              <a:spcAft>
                <a:spcPts val="0"/>
              </a:spcAft>
              <a:buNone/>
              <a:defRPr b="1">
                <a:solidFill>
                  <a:schemeClr val="accent1"/>
                </a:solidFill>
              </a:defRPr>
            </a:lvl4pPr>
            <a:lvl5pPr lvl="4" algn="ctr" rtl="0">
              <a:spcBef>
                <a:spcPts val="1600"/>
              </a:spcBef>
              <a:spcAft>
                <a:spcPts val="0"/>
              </a:spcAft>
              <a:buNone/>
              <a:defRPr b="1">
                <a:solidFill>
                  <a:schemeClr val="accent1"/>
                </a:solidFill>
              </a:defRPr>
            </a:lvl5pPr>
            <a:lvl6pPr lvl="5" algn="ctr" rtl="0">
              <a:spcBef>
                <a:spcPts val="1600"/>
              </a:spcBef>
              <a:spcAft>
                <a:spcPts val="0"/>
              </a:spcAft>
              <a:buNone/>
              <a:defRPr b="1">
                <a:solidFill>
                  <a:schemeClr val="accent1"/>
                </a:solidFill>
              </a:defRPr>
            </a:lvl6pPr>
            <a:lvl7pPr lvl="6" algn="ctr" rtl="0">
              <a:spcBef>
                <a:spcPts val="1600"/>
              </a:spcBef>
              <a:spcAft>
                <a:spcPts val="0"/>
              </a:spcAft>
              <a:buNone/>
              <a:defRPr b="1">
                <a:solidFill>
                  <a:schemeClr val="accent1"/>
                </a:solidFill>
              </a:defRPr>
            </a:lvl7pPr>
            <a:lvl8pPr lvl="7" algn="ctr" rtl="0">
              <a:spcBef>
                <a:spcPts val="1600"/>
              </a:spcBef>
              <a:spcAft>
                <a:spcPts val="0"/>
              </a:spcAft>
              <a:buNone/>
              <a:defRPr b="1">
                <a:solidFill>
                  <a:schemeClr val="accent1"/>
                </a:solidFill>
              </a:defRPr>
            </a:lvl8pPr>
            <a:lvl9pPr lvl="8" algn="ctr" rtl="0">
              <a:spcBef>
                <a:spcPts val="1600"/>
              </a:spcBef>
              <a:spcAft>
                <a:spcPts val="1600"/>
              </a:spcAft>
              <a:buNone/>
              <a:defRPr b="1">
                <a:solidFill>
                  <a:schemeClr val="accent1"/>
                </a:solidFill>
              </a:defRPr>
            </a:lvl9pPr>
          </a:lstStyle>
          <a:p>
            <a:endParaRPr/>
          </a:p>
        </p:txBody>
      </p:sp>
      <p:sp>
        <p:nvSpPr>
          <p:cNvPr id="82" name="Google Shape;82;p15"/>
          <p:cNvSpPr txBox="1">
            <a:spLocks noGrp="1"/>
          </p:cNvSpPr>
          <p:nvPr>
            <p:ph type="subTitle" idx="4"/>
          </p:nvPr>
        </p:nvSpPr>
        <p:spPr>
          <a:xfrm>
            <a:off x="5427875" y="3766750"/>
            <a:ext cx="2261700" cy="723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1400">
                <a:solidFill>
                  <a:schemeClr val="dk1"/>
                </a:solidFill>
              </a:defRPr>
            </a:lvl1pPr>
            <a:lvl2pPr lvl="1" algn="ctr" rtl="0">
              <a:lnSpc>
                <a:spcPct val="100000"/>
              </a:lnSpc>
              <a:spcBef>
                <a:spcPts val="0"/>
              </a:spcBef>
              <a:spcAft>
                <a:spcPts val="0"/>
              </a:spcAft>
              <a:buNone/>
              <a:defRPr sz="1400">
                <a:solidFill>
                  <a:schemeClr val="dk1"/>
                </a:solidFill>
              </a:defRPr>
            </a:lvl2pPr>
            <a:lvl3pPr lvl="2" algn="ctr" rtl="0">
              <a:lnSpc>
                <a:spcPct val="100000"/>
              </a:lnSpc>
              <a:spcBef>
                <a:spcPts val="0"/>
              </a:spcBef>
              <a:spcAft>
                <a:spcPts val="0"/>
              </a:spcAft>
              <a:buNone/>
              <a:defRPr sz="1400">
                <a:solidFill>
                  <a:schemeClr val="dk1"/>
                </a:solidFill>
              </a:defRPr>
            </a:lvl3pPr>
            <a:lvl4pPr lvl="3" algn="ctr" rtl="0">
              <a:lnSpc>
                <a:spcPct val="100000"/>
              </a:lnSpc>
              <a:spcBef>
                <a:spcPts val="0"/>
              </a:spcBef>
              <a:spcAft>
                <a:spcPts val="0"/>
              </a:spcAft>
              <a:buNone/>
              <a:defRPr sz="1400">
                <a:solidFill>
                  <a:schemeClr val="dk1"/>
                </a:solidFill>
              </a:defRPr>
            </a:lvl4pPr>
            <a:lvl5pPr lvl="4" algn="ctr" rtl="0">
              <a:lnSpc>
                <a:spcPct val="100000"/>
              </a:lnSpc>
              <a:spcBef>
                <a:spcPts val="0"/>
              </a:spcBef>
              <a:spcAft>
                <a:spcPts val="0"/>
              </a:spcAft>
              <a:buNone/>
              <a:defRPr sz="1400">
                <a:solidFill>
                  <a:schemeClr val="dk1"/>
                </a:solidFill>
              </a:defRPr>
            </a:lvl5pPr>
            <a:lvl6pPr lvl="5" algn="ctr" rtl="0">
              <a:lnSpc>
                <a:spcPct val="100000"/>
              </a:lnSpc>
              <a:spcBef>
                <a:spcPts val="0"/>
              </a:spcBef>
              <a:spcAft>
                <a:spcPts val="0"/>
              </a:spcAft>
              <a:buNone/>
              <a:defRPr sz="1400">
                <a:solidFill>
                  <a:schemeClr val="dk1"/>
                </a:solidFill>
              </a:defRPr>
            </a:lvl6pPr>
            <a:lvl7pPr lvl="6" algn="ctr" rtl="0">
              <a:lnSpc>
                <a:spcPct val="100000"/>
              </a:lnSpc>
              <a:spcBef>
                <a:spcPts val="0"/>
              </a:spcBef>
              <a:spcAft>
                <a:spcPts val="0"/>
              </a:spcAft>
              <a:buNone/>
              <a:defRPr sz="1400">
                <a:solidFill>
                  <a:schemeClr val="dk1"/>
                </a:solidFill>
              </a:defRPr>
            </a:lvl7pPr>
            <a:lvl8pPr lvl="7" algn="ctr" rtl="0">
              <a:lnSpc>
                <a:spcPct val="100000"/>
              </a:lnSpc>
              <a:spcBef>
                <a:spcPts val="0"/>
              </a:spcBef>
              <a:spcAft>
                <a:spcPts val="0"/>
              </a:spcAft>
              <a:buNone/>
              <a:defRPr sz="1400">
                <a:solidFill>
                  <a:schemeClr val="dk1"/>
                </a:solidFill>
              </a:defRPr>
            </a:lvl8pPr>
            <a:lvl9pPr lvl="8" algn="ctr" rtl="0">
              <a:lnSpc>
                <a:spcPct val="100000"/>
              </a:lnSpc>
              <a:spcBef>
                <a:spcPts val="0"/>
              </a:spcBef>
              <a:spcAft>
                <a:spcPts val="0"/>
              </a:spcAft>
              <a:buNone/>
              <a:defRPr sz="1400">
                <a:solidFill>
                  <a:schemeClr val="dk1"/>
                </a:solidFill>
              </a:defRPr>
            </a:lvl9pPr>
          </a:lstStyle>
          <a:p>
            <a:endParaRPr/>
          </a:p>
        </p:txBody>
      </p:sp>
      <p:sp>
        <p:nvSpPr>
          <p:cNvPr id="83" name="Google Shape;83;p15"/>
          <p:cNvSpPr/>
          <p:nvPr/>
        </p:nvSpPr>
        <p:spPr>
          <a:xfrm rot="5400000">
            <a:off x="-2131350" y="2050000"/>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wo columns 2">
  <p:cSld name="CUSTOM_15">
    <p:spTree>
      <p:nvGrpSpPr>
        <p:cNvPr id="1" name="Shape 84"/>
        <p:cNvGrpSpPr/>
        <p:nvPr/>
      </p:nvGrpSpPr>
      <p:grpSpPr>
        <a:xfrm>
          <a:off x="0" y="0"/>
          <a:ext cx="0" cy="0"/>
          <a:chOff x="0" y="0"/>
          <a:chExt cx="0" cy="0"/>
        </a:xfrm>
      </p:grpSpPr>
      <p:sp>
        <p:nvSpPr>
          <p:cNvPr id="85" name="Google Shape;85;p16"/>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86" name="Google Shape;86;p16"/>
          <p:cNvSpPr txBox="1">
            <a:spLocks noGrp="1"/>
          </p:cNvSpPr>
          <p:nvPr>
            <p:ph type="subTitle" idx="1"/>
          </p:nvPr>
        </p:nvSpPr>
        <p:spPr>
          <a:xfrm>
            <a:off x="1098800" y="3775200"/>
            <a:ext cx="28131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87" name="Google Shape;87;p16"/>
          <p:cNvSpPr txBox="1">
            <a:spLocks noGrp="1"/>
          </p:cNvSpPr>
          <p:nvPr>
            <p:ph type="subTitle" idx="2"/>
          </p:nvPr>
        </p:nvSpPr>
        <p:spPr>
          <a:xfrm>
            <a:off x="1098800" y="3051300"/>
            <a:ext cx="28131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88" name="Google Shape;88;p16"/>
          <p:cNvSpPr txBox="1">
            <a:spLocks noGrp="1"/>
          </p:cNvSpPr>
          <p:nvPr>
            <p:ph type="subTitle" idx="3"/>
          </p:nvPr>
        </p:nvSpPr>
        <p:spPr>
          <a:xfrm>
            <a:off x="1098800" y="2315550"/>
            <a:ext cx="28131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89" name="Google Shape;89;p16"/>
          <p:cNvSpPr txBox="1">
            <a:spLocks noGrp="1"/>
          </p:cNvSpPr>
          <p:nvPr>
            <p:ph type="subTitle" idx="4"/>
          </p:nvPr>
        </p:nvSpPr>
        <p:spPr>
          <a:xfrm>
            <a:off x="1098800" y="1591650"/>
            <a:ext cx="28131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90" name="Google Shape;90;p16"/>
          <p:cNvSpPr/>
          <p:nvPr/>
        </p:nvSpPr>
        <p:spPr>
          <a:xfrm rot="10800000" flipH="1">
            <a:off x="5416200" y="1010100"/>
            <a:ext cx="1216200" cy="15615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16"/>
          <p:cNvSpPr/>
          <p:nvPr/>
        </p:nvSpPr>
        <p:spPr>
          <a:xfrm rot="10800000" flipH="1">
            <a:off x="6632400" y="2571600"/>
            <a:ext cx="1216200" cy="2571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hree columns">
  <p:cSld name="CUSTOM_2">
    <p:spTree>
      <p:nvGrpSpPr>
        <p:cNvPr id="1" name="Shape 92"/>
        <p:cNvGrpSpPr/>
        <p:nvPr/>
      </p:nvGrpSpPr>
      <p:grpSpPr>
        <a:xfrm>
          <a:off x="0" y="0"/>
          <a:ext cx="0" cy="0"/>
          <a:chOff x="0" y="0"/>
          <a:chExt cx="0" cy="0"/>
        </a:xfrm>
      </p:grpSpPr>
      <p:sp>
        <p:nvSpPr>
          <p:cNvPr id="93" name="Google Shape;93;p17"/>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94" name="Google Shape;94;p17"/>
          <p:cNvSpPr txBox="1">
            <a:spLocks noGrp="1"/>
          </p:cNvSpPr>
          <p:nvPr>
            <p:ph type="subTitle" idx="1"/>
          </p:nvPr>
        </p:nvSpPr>
        <p:spPr>
          <a:xfrm>
            <a:off x="788100" y="2390400"/>
            <a:ext cx="2261700" cy="408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b="1">
                <a:solidFill>
                  <a:schemeClr val="accent1"/>
                </a:solidFill>
              </a:defRPr>
            </a:lvl1pPr>
            <a:lvl2pPr lvl="1" algn="ctr" rtl="0">
              <a:spcBef>
                <a:spcPts val="1600"/>
              </a:spcBef>
              <a:spcAft>
                <a:spcPts val="0"/>
              </a:spcAft>
              <a:buNone/>
              <a:defRPr b="1">
                <a:solidFill>
                  <a:schemeClr val="accent1"/>
                </a:solidFill>
              </a:defRPr>
            </a:lvl2pPr>
            <a:lvl3pPr lvl="2" algn="ctr" rtl="0">
              <a:spcBef>
                <a:spcPts val="1600"/>
              </a:spcBef>
              <a:spcAft>
                <a:spcPts val="0"/>
              </a:spcAft>
              <a:buNone/>
              <a:defRPr b="1">
                <a:solidFill>
                  <a:schemeClr val="accent1"/>
                </a:solidFill>
              </a:defRPr>
            </a:lvl3pPr>
            <a:lvl4pPr lvl="3" algn="ctr" rtl="0">
              <a:spcBef>
                <a:spcPts val="1600"/>
              </a:spcBef>
              <a:spcAft>
                <a:spcPts val="0"/>
              </a:spcAft>
              <a:buNone/>
              <a:defRPr b="1">
                <a:solidFill>
                  <a:schemeClr val="accent1"/>
                </a:solidFill>
              </a:defRPr>
            </a:lvl4pPr>
            <a:lvl5pPr lvl="4" algn="ctr" rtl="0">
              <a:spcBef>
                <a:spcPts val="1600"/>
              </a:spcBef>
              <a:spcAft>
                <a:spcPts val="0"/>
              </a:spcAft>
              <a:buNone/>
              <a:defRPr b="1">
                <a:solidFill>
                  <a:schemeClr val="accent1"/>
                </a:solidFill>
              </a:defRPr>
            </a:lvl5pPr>
            <a:lvl6pPr lvl="5" algn="ctr" rtl="0">
              <a:spcBef>
                <a:spcPts val="1600"/>
              </a:spcBef>
              <a:spcAft>
                <a:spcPts val="0"/>
              </a:spcAft>
              <a:buNone/>
              <a:defRPr b="1">
                <a:solidFill>
                  <a:schemeClr val="accent1"/>
                </a:solidFill>
              </a:defRPr>
            </a:lvl6pPr>
            <a:lvl7pPr lvl="6" algn="ctr" rtl="0">
              <a:spcBef>
                <a:spcPts val="1600"/>
              </a:spcBef>
              <a:spcAft>
                <a:spcPts val="0"/>
              </a:spcAft>
              <a:buNone/>
              <a:defRPr b="1">
                <a:solidFill>
                  <a:schemeClr val="accent1"/>
                </a:solidFill>
              </a:defRPr>
            </a:lvl7pPr>
            <a:lvl8pPr lvl="7" algn="ctr" rtl="0">
              <a:spcBef>
                <a:spcPts val="1600"/>
              </a:spcBef>
              <a:spcAft>
                <a:spcPts val="0"/>
              </a:spcAft>
              <a:buNone/>
              <a:defRPr b="1">
                <a:solidFill>
                  <a:schemeClr val="accent1"/>
                </a:solidFill>
              </a:defRPr>
            </a:lvl8pPr>
            <a:lvl9pPr lvl="8" algn="ctr" rtl="0">
              <a:spcBef>
                <a:spcPts val="1600"/>
              </a:spcBef>
              <a:spcAft>
                <a:spcPts val="1600"/>
              </a:spcAft>
              <a:buNone/>
              <a:defRPr b="1">
                <a:solidFill>
                  <a:schemeClr val="accent1"/>
                </a:solidFill>
              </a:defRPr>
            </a:lvl9pPr>
          </a:lstStyle>
          <a:p>
            <a:endParaRPr/>
          </a:p>
        </p:txBody>
      </p:sp>
      <p:sp>
        <p:nvSpPr>
          <p:cNvPr id="95" name="Google Shape;95;p17"/>
          <p:cNvSpPr txBox="1">
            <a:spLocks noGrp="1"/>
          </p:cNvSpPr>
          <p:nvPr>
            <p:ph type="subTitle" idx="2"/>
          </p:nvPr>
        </p:nvSpPr>
        <p:spPr>
          <a:xfrm>
            <a:off x="788100" y="2765850"/>
            <a:ext cx="2261700" cy="723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1400">
                <a:solidFill>
                  <a:schemeClr val="dk1"/>
                </a:solidFill>
              </a:defRPr>
            </a:lvl1pPr>
            <a:lvl2pPr lvl="1" algn="ctr" rtl="0">
              <a:lnSpc>
                <a:spcPct val="100000"/>
              </a:lnSpc>
              <a:spcBef>
                <a:spcPts val="1600"/>
              </a:spcBef>
              <a:spcAft>
                <a:spcPts val="0"/>
              </a:spcAft>
              <a:buNone/>
              <a:defRPr sz="1400">
                <a:solidFill>
                  <a:schemeClr val="dk1"/>
                </a:solidFill>
              </a:defRPr>
            </a:lvl2pPr>
            <a:lvl3pPr lvl="2" algn="ctr" rtl="0">
              <a:lnSpc>
                <a:spcPct val="100000"/>
              </a:lnSpc>
              <a:spcBef>
                <a:spcPts val="1600"/>
              </a:spcBef>
              <a:spcAft>
                <a:spcPts val="0"/>
              </a:spcAft>
              <a:buNone/>
              <a:defRPr sz="1400">
                <a:solidFill>
                  <a:schemeClr val="dk1"/>
                </a:solidFill>
              </a:defRPr>
            </a:lvl3pPr>
            <a:lvl4pPr lvl="3" algn="ctr" rtl="0">
              <a:lnSpc>
                <a:spcPct val="100000"/>
              </a:lnSpc>
              <a:spcBef>
                <a:spcPts val="1600"/>
              </a:spcBef>
              <a:spcAft>
                <a:spcPts val="0"/>
              </a:spcAft>
              <a:buNone/>
              <a:defRPr sz="1400">
                <a:solidFill>
                  <a:schemeClr val="dk1"/>
                </a:solidFill>
              </a:defRPr>
            </a:lvl4pPr>
            <a:lvl5pPr lvl="4" algn="ctr" rtl="0">
              <a:lnSpc>
                <a:spcPct val="100000"/>
              </a:lnSpc>
              <a:spcBef>
                <a:spcPts val="1600"/>
              </a:spcBef>
              <a:spcAft>
                <a:spcPts val="0"/>
              </a:spcAft>
              <a:buNone/>
              <a:defRPr sz="1400">
                <a:solidFill>
                  <a:schemeClr val="dk1"/>
                </a:solidFill>
              </a:defRPr>
            </a:lvl5pPr>
            <a:lvl6pPr lvl="5" algn="ctr" rtl="0">
              <a:lnSpc>
                <a:spcPct val="100000"/>
              </a:lnSpc>
              <a:spcBef>
                <a:spcPts val="1600"/>
              </a:spcBef>
              <a:spcAft>
                <a:spcPts val="0"/>
              </a:spcAft>
              <a:buNone/>
              <a:defRPr sz="1400">
                <a:solidFill>
                  <a:schemeClr val="dk1"/>
                </a:solidFill>
              </a:defRPr>
            </a:lvl6pPr>
            <a:lvl7pPr lvl="6" algn="ctr" rtl="0">
              <a:lnSpc>
                <a:spcPct val="100000"/>
              </a:lnSpc>
              <a:spcBef>
                <a:spcPts val="1600"/>
              </a:spcBef>
              <a:spcAft>
                <a:spcPts val="0"/>
              </a:spcAft>
              <a:buNone/>
              <a:defRPr sz="1400">
                <a:solidFill>
                  <a:schemeClr val="dk1"/>
                </a:solidFill>
              </a:defRPr>
            </a:lvl7pPr>
            <a:lvl8pPr lvl="7" algn="ctr" rtl="0">
              <a:lnSpc>
                <a:spcPct val="100000"/>
              </a:lnSpc>
              <a:spcBef>
                <a:spcPts val="1600"/>
              </a:spcBef>
              <a:spcAft>
                <a:spcPts val="0"/>
              </a:spcAft>
              <a:buNone/>
              <a:defRPr sz="1400">
                <a:solidFill>
                  <a:schemeClr val="dk1"/>
                </a:solidFill>
              </a:defRPr>
            </a:lvl8pPr>
            <a:lvl9pPr lvl="8" algn="ctr" rtl="0">
              <a:lnSpc>
                <a:spcPct val="100000"/>
              </a:lnSpc>
              <a:spcBef>
                <a:spcPts val="1600"/>
              </a:spcBef>
              <a:spcAft>
                <a:spcPts val="1600"/>
              </a:spcAft>
              <a:buNone/>
              <a:defRPr sz="1400">
                <a:solidFill>
                  <a:schemeClr val="dk1"/>
                </a:solidFill>
              </a:defRPr>
            </a:lvl9pPr>
          </a:lstStyle>
          <a:p>
            <a:endParaRPr/>
          </a:p>
        </p:txBody>
      </p:sp>
      <p:sp>
        <p:nvSpPr>
          <p:cNvPr id="96" name="Google Shape;96;p17"/>
          <p:cNvSpPr txBox="1">
            <a:spLocks noGrp="1"/>
          </p:cNvSpPr>
          <p:nvPr>
            <p:ph type="subTitle" idx="3"/>
          </p:nvPr>
        </p:nvSpPr>
        <p:spPr>
          <a:xfrm>
            <a:off x="3441150" y="2390400"/>
            <a:ext cx="2261700" cy="408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b="1">
                <a:solidFill>
                  <a:schemeClr val="accent1"/>
                </a:solidFill>
              </a:defRPr>
            </a:lvl1pPr>
            <a:lvl2pPr lvl="1" algn="ctr" rtl="0">
              <a:spcBef>
                <a:spcPts val="1600"/>
              </a:spcBef>
              <a:spcAft>
                <a:spcPts val="0"/>
              </a:spcAft>
              <a:buNone/>
              <a:defRPr b="1">
                <a:solidFill>
                  <a:schemeClr val="accent1"/>
                </a:solidFill>
              </a:defRPr>
            </a:lvl2pPr>
            <a:lvl3pPr lvl="2" algn="ctr" rtl="0">
              <a:spcBef>
                <a:spcPts val="1600"/>
              </a:spcBef>
              <a:spcAft>
                <a:spcPts val="0"/>
              </a:spcAft>
              <a:buNone/>
              <a:defRPr b="1">
                <a:solidFill>
                  <a:schemeClr val="accent1"/>
                </a:solidFill>
              </a:defRPr>
            </a:lvl3pPr>
            <a:lvl4pPr lvl="3" algn="ctr" rtl="0">
              <a:spcBef>
                <a:spcPts val="1600"/>
              </a:spcBef>
              <a:spcAft>
                <a:spcPts val="0"/>
              </a:spcAft>
              <a:buNone/>
              <a:defRPr b="1">
                <a:solidFill>
                  <a:schemeClr val="accent1"/>
                </a:solidFill>
              </a:defRPr>
            </a:lvl4pPr>
            <a:lvl5pPr lvl="4" algn="ctr" rtl="0">
              <a:spcBef>
                <a:spcPts val="1600"/>
              </a:spcBef>
              <a:spcAft>
                <a:spcPts val="0"/>
              </a:spcAft>
              <a:buNone/>
              <a:defRPr b="1">
                <a:solidFill>
                  <a:schemeClr val="accent1"/>
                </a:solidFill>
              </a:defRPr>
            </a:lvl5pPr>
            <a:lvl6pPr lvl="5" algn="ctr" rtl="0">
              <a:spcBef>
                <a:spcPts val="1600"/>
              </a:spcBef>
              <a:spcAft>
                <a:spcPts val="0"/>
              </a:spcAft>
              <a:buNone/>
              <a:defRPr b="1">
                <a:solidFill>
                  <a:schemeClr val="accent1"/>
                </a:solidFill>
              </a:defRPr>
            </a:lvl6pPr>
            <a:lvl7pPr lvl="6" algn="ctr" rtl="0">
              <a:spcBef>
                <a:spcPts val="1600"/>
              </a:spcBef>
              <a:spcAft>
                <a:spcPts val="0"/>
              </a:spcAft>
              <a:buNone/>
              <a:defRPr b="1">
                <a:solidFill>
                  <a:schemeClr val="accent1"/>
                </a:solidFill>
              </a:defRPr>
            </a:lvl7pPr>
            <a:lvl8pPr lvl="7" algn="ctr" rtl="0">
              <a:spcBef>
                <a:spcPts val="1600"/>
              </a:spcBef>
              <a:spcAft>
                <a:spcPts val="0"/>
              </a:spcAft>
              <a:buNone/>
              <a:defRPr b="1">
                <a:solidFill>
                  <a:schemeClr val="accent1"/>
                </a:solidFill>
              </a:defRPr>
            </a:lvl8pPr>
            <a:lvl9pPr lvl="8" algn="ctr" rtl="0">
              <a:spcBef>
                <a:spcPts val="1600"/>
              </a:spcBef>
              <a:spcAft>
                <a:spcPts val="1600"/>
              </a:spcAft>
              <a:buNone/>
              <a:defRPr b="1">
                <a:solidFill>
                  <a:schemeClr val="accent1"/>
                </a:solidFill>
              </a:defRPr>
            </a:lvl9pPr>
          </a:lstStyle>
          <a:p>
            <a:endParaRPr/>
          </a:p>
        </p:txBody>
      </p:sp>
      <p:sp>
        <p:nvSpPr>
          <p:cNvPr id="97" name="Google Shape;97;p17"/>
          <p:cNvSpPr txBox="1">
            <a:spLocks noGrp="1"/>
          </p:cNvSpPr>
          <p:nvPr>
            <p:ph type="subTitle" idx="4"/>
          </p:nvPr>
        </p:nvSpPr>
        <p:spPr>
          <a:xfrm>
            <a:off x="3441150" y="2765850"/>
            <a:ext cx="2261700" cy="723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1400">
                <a:solidFill>
                  <a:schemeClr val="dk1"/>
                </a:solidFill>
              </a:defRPr>
            </a:lvl1pPr>
            <a:lvl2pPr lvl="1" algn="ctr" rtl="0">
              <a:lnSpc>
                <a:spcPct val="100000"/>
              </a:lnSpc>
              <a:spcBef>
                <a:spcPts val="1600"/>
              </a:spcBef>
              <a:spcAft>
                <a:spcPts val="0"/>
              </a:spcAft>
              <a:buNone/>
              <a:defRPr sz="1400">
                <a:solidFill>
                  <a:schemeClr val="dk1"/>
                </a:solidFill>
              </a:defRPr>
            </a:lvl2pPr>
            <a:lvl3pPr lvl="2" algn="ctr" rtl="0">
              <a:lnSpc>
                <a:spcPct val="100000"/>
              </a:lnSpc>
              <a:spcBef>
                <a:spcPts val="1600"/>
              </a:spcBef>
              <a:spcAft>
                <a:spcPts val="0"/>
              </a:spcAft>
              <a:buNone/>
              <a:defRPr sz="1400">
                <a:solidFill>
                  <a:schemeClr val="dk1"/>
                </a:solidFill>
              </a:defRPr>
            </a:lvl3pPr>
            <a:lvl4pPr lvl="3" algn="ctr" rtl="0">
              <a:lnSpc>
                <a:spcPct val="100000"/>
              </a:lnSpc>
              <a:spcBef>
                <a:spcPts val="1600"/>
              </a:spcBef>
              <a:spcAft>
                <a:spcPts val="0"/>
              </a:spcAft>
              <a:buNone/>
              <a:defRPr sz="1400">
                <a:solidFill>
                  <a:schemeClr val="dk1"/>
                </a:solidFill>
              </a:defRPr>
            </a:lvl4pPr>
            <a:lvl5pPr lvl="4" algn="ctr" rtl="0">
              <a:lnSpc>
                <a:spcPct val="100000"/>
              </a:lnSpc>
              <a:spcBef>
                <a:spcPts val="1600"/>
              </a:spcBef>
              <a:spcAft>
                <a:spcPts val="0"/>
              </a:spcAft>
              <a:buNone/>
              <a:defRPr sz="1400">
                <a:solidFill>
                  <a:schemeClr val="dk1"/>
                </a:solidFill>
              </a:defRPr>
            </a:lvl5pPr>
            <a:lvl6pPr lvl="5" algn="ctr" rtl="0">
              <a:lnSpc>
                <a:spcPct val="100000"/>
              </a:lnSpc>
              <a:spcBef>
                <a:spcPts val="1600"/>
              </a:spcBef>
              <a:spcAft>
                <a:spcPts val="0"/>
              </a:spcAft>
              <a:buNone/>
              <a:defRPr sz="1400">
                <a:solidFill>
                  <a:schemeClr val="dk1"/>
                </a:solidFill>
              </a:defRPr>
            </a:lvl6pPr>
            <a:lvl7pPr lvl="6" algn="ctr" rtl="0">
              <a:lnSpc>
                <a:spcPct val="100000"/>
              </a:lnSpc>
              <a:spcBef>
                <a:spcPts val="1600"/>
              </a:spcBef>
              <a:spcAft>
                <a:spcPts val="0"/>
              </a:spcAft>
              <a:buNone/>
              <a:defRPr sz="1400">
                <a:solidFill>
                  <a:schemeClr val="dk1"/>
                </a:solidFill>
              </a:defRPr>
            </a:lvl7pPr>
            <a:lvl8pPr lvl="7" algn="ctr" rtl="0">
              <a:lnSpc>
                <a:spcPct val="100000"/>
              </a:lnSpc>
              <a:spcBef>
                <a:spcPts val="1600"/>
              </a:spcBef>
              <a:spcAft>
                <a:spcPts val="0"/>
              </a:spcAft>
              <a:buNone/>
              <a:defRPr sz="1400">
                <a:solidFill>
                  <a:schemeClr val="dk1"/>
                </a:solidFill>
              </a:defRPr>
            </a:lvl8pPr>
            <a:lvl9pPr lvl="8" algn="ctr" rtl="0">
              <a:lnSpc>
                <a:spcPct val="100000"/>
              </a:lnSpc>
              <a:spcBef>
                <a:spcPts val="1600"/>
              </a:spcBef>
              <a:spcAft>
                <a:spcPts val="1600"/>
              </a:spcAft>
              <a:buNone/>
              <a:defRPr sz="1400">
                <a:solidFill>
                  <a:schemeClr val="dk1"/>
                </a:solidFill>
              </a:defRPr>
            </a:lvl9pPr>
          </a:lstStyle>
          <a:p>
            <a:endParaRPr/>
          </a:p>
        </p:txBody>
      </p:sp>
      <p:sp>
        <p:nvSpPr>
          <p:cNvPr id="98" name="Google Shape;98;p17"/>
          <p:cNvSpPr txBox="1">
            <a:spLocks noGrp="1"/>
          </p:cNvSpPr>
          <p:nvPr>
            <p:ph type="subTitle" idx="5"/>
          </p:nvPr>
        </p:nvSpPr>
        <p:spPr>
          <a:xfrm>
            <a:off x="6094200" y="2390400"/>
            <a:ext cx="2261700" cy="408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b="1">
                <a:solidFill>
                  <a:schemeClr val="accent1"/>
                </a:solidFill>
              </a:defRPr>
            </a:lvl1pPr>
            <a:lvl2pPr lvl="1" algn="ctr" rtl="0">
              <a:spcBef>
                <a:spcPts val="1600"/>
              </a:spcBef>
              <a:spcAft>
                <a:spcPts val="0"/>
              </a:spcAft>
              <a:buNone/>
              <a:defRPr b="1">
                <a:solidFill>
                  <a:schemeClr val="accent1"/>
                </a:solidFill>
              </a:defRPr>
            </a:lvl2pPr>
            <a:lvl3pPr lvl="2" algn="ctr" rtl="0">
              <a:spcBef>
                <a:spcPts val="1600"/>
              </a:spcBef>
              <a:spcAft>
                <a:spcPts val="0"/>
              </a:spcAft>
              <a:buNone/>
              <a:defRPr b="1">
                <a:solidFill>
                  <a:schemeClr val="accent1"/>
                </a:solidFill>
              </a:defRPr>
            </a:lvl3pPr>
            <a:lvl4pPr lvl="3" algn="ctr" rtl="0">
              <a:spcBef>
                <a:spcPts val="1600"/>
              </a:spcBef>
              <a:spcAft>
                <a:spcPts val="0"/>
              </a:spcAft>
              <a:buNone/>
              <a:defRPr b="1">
                <a:solidFill>
                  <a:schemeClr val="accent1"/>
                </a:solidFill>
              </a:defRPr>
            </a:lvl4pPr>
            <a:lvl5pPr lvl="4" algn="ctr" rtl="0">
              <a:spcBef>
                <a:spcPts val="1600"/>
              </a:spcBef>
              <a:spcAft>
                <a:spcPts val="0"/>
              </a:spcAft>
              <a:buNone/>
              <a:defRPr b="1">
                <a:solidFill>
                  <a:schemeClr val="accent1"/>
                </a:solidFill>
              </a:defRPr>
            </a:lvl5pPr>
            <a:lvl6pPr lvl="5" algn="ctr" rtl="0">
              <a:spcBef>
                <a:spcPts val="1600"/>
              </a:spcBef>
              <a:spcAft>
                <a:spcPts val="0"/>
              </a:spcAft>
              <a:buNone/>
              <a:defRPr b="1">
                <a:solidFill>
                  <a:schemeClr val="accent1"/>
                </a:solidFill>
              </a:defRPr>
            </a:lvl6pPr>
            <a:lvl7pPr lvl="6" algn="ctr" rtl="0">
              <a:spcBef>
                <a:spcPts val="1600"/>
              </a:spcBef>
              <a:spcAft>
                <a:spcPts val="0"/>
              </a:spcAft>
              <a:buNone/>
              <a:defRPr b="1">
                <a:solidFill>
                  <a:schemeClr val="accent1"/>
                </a:solidFill>
              </a:defRPr>
            </a:lvl7pPr>
            <a:lvl8pPr lvl="7" algn="ctr" rtl="0">
              <a:spcBef>
                <a:spcPts val="1600"/>
              </a:spcBef>
              <a:spcAft>
                <a:spcPts val="0"/>
              </a:spcAft>
              <a:buNone/>
              <a:defRPr b="1">
                <a:solidFill>
                  <a:schemeClr val="accent1"/>
                </a:solidFill>
              </a:defRPr>
            </a:lvl8pPr>
            <a:lvl9pPr lvl="8" algn="ctr" rtl="0">
              <a:spcBef>
                <a:spcPts val="1600"/>
              </a:spcBef>
              <a:spcAft>
                <a:spcPts val="1600"/>
              </a:spcAft>
              <a:buNone/>
              <a:defRPr b="1">
                <a:solidFill>
                  <a:schemeClr val="accent1"/>
                </a:solidFill>
              </a:defRPr>
            </a:lvl9pPr>
          </a:lstStyle>
          <a:p>
            <a:endParaRPr/>
          </a:p>
        </p:txBody>
      </p:sp>
      <p:sp>
        <p:nvSpPr>
          <p:cNvPr id="99" name="Google Shape;99;p17"/>
          <p:cNvSpPr txBox="1">
            <a:spLocks noGrp="1"/>
          </p:cNvSpPr>
          <p:nvPr>
            <p:ph type="subTitle" idx="6"/>
          </p:nvPr>
        </p:nvSpPr>
        <p:spPr>
          <a:xfrm>
            <a:off x="6094200" y="2765850"/>
            <a:ext cx="2261700" cy="723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1400">
                <a:solidFill>
                  <a:schemeClr val="dk1"/>
                </a:solidFill>
              </a:defRPr>
            </a:lvl1pPr>
            <a:lvl2pPr lvl="1" algn="ctr" rtl="0">
              <a:lnSpc>
                <a:spcPct val="100000"/>
              </a:lnSpc>
              <a:spcBef>
                <a:spcPts val="1600"/>
              </a:spcBef>
              <a:spcAft>
                <a:spcPts val="0"/>
              </a:spcAft>
              <a:buNone/>
              <a:defRPr sz="1400">
                <a:solidFill>
                  <a:schemeClr val="dk1"/>
                </a:solidFill>
              </a:defRPr>
            </a:lvl2pPr>
            <a:lvl3pPr lvl="2" algn="ctr" rtl="0">
              <a:lnSpc>
                <a:spcPct val="100000"/>
              </a:lnSpc>
              <a:spcBef>
                <a:spcPts val="1600"/>
              </a:spcBef>
              <a:spcAft>
                <a:spcPts val="0"/>
              </a:spcAft>
              <a:buNone/>
              <a:defRPr sz="1400">
                <a:solidFill>
                  <a:schemeClr val="dk1"/>
                </a:solidFill>
              </a:defRPr>
            </a:lvl3pPr>
            <a:lvl4pPr lvl="3" algn="ctr" rtl="0">
              <a:lnSpc>
                <a:spcPct val="100000"/>
              </a:lnSpc>
              <a:spcBef>
                <a:spcPts val="1600"/>
              </a:spcBef>
              <a:spcAft>
                <a:spcPts val="0"/>
              </a:spcAft>
              <a:buNone/>
              <a:defRPr sz="1400">
                <a:solidFill>
                  <a:schemeClr val="dk1"/>
                </a:solidFill>
              </a:defRPr>
            </a:lvl4pPr>
            <a:lvl5pPr lvl="4" algn="ctr" rtl="0">
              <a:lnSpc>
                <a:spcPct val="100000"/>
              </a:lnSpc>
              <a:spcBef>
                <a:spcPts val="1600"/>
              </a:spcBef>
              <a:spcAft>
                <a:spcPts val="0"/>
              </a:spcAft>
              <a:buNone/>
              <a:defRPr sz="1400">
                <a:solidFill>
                  <a:schemeClr val="dk1"/>
                </a:solidFill>
              </a:defRPr>
            </a:lvl5pPr>
            <a:lvl6pPr lvl="5" algn="ctr" rtl="0">
              <a:lnSpc>
                <a:spcPct val="100000"/>
              </a:lnSpc>
              <a:spcBef>
                <a:spcPts val="1600"/>
              </a:spcBef>
              <a:spcAft>
                <a:spcPts val="0"/>
              </a:spcAft>
              <a:buNone/>
              <a:defRPr sz="1400">
                <a:solidFill>
                  <a:schemeClr val="dk1"/>
                </a:solidFill>
              </a:defRPr>
            </a:lvl6pPr>
            <a:lvl7pPr lvl="6" algn="ctr" rtl="0">
              <a:lnSpc>
                <a:spcPct val="100000"/>
              </a:lnSpc>
              <a:spcBef>
                <a:spcPts val="1600"/>
              </a:spcBef>
              <a:spcAft>
                <a:spcPts val="0"/>
              </a:spcAft>
              <a:buNone/>
              <a:defRPr sz="1400">
                <a:solidFill>
                  <a:schemeClr val="dk1"/>
                </a:solidFill>
              </a:defRPr>
            </a:lvl7pPr>
            <a:lvl8pPr lvl="7" algn="ctr" rtl="0">
              <a:lnSpc>
                <a:spcPct val="100000"/>
              </a:lnSpc>
              <a:spcBef>
                <a:spcPts val="1600"/>
              </a:spcBef>
              <a:spcAft>
                <a:spcPts val="0"/>
              </a:spcAft>
              <a:buNone/>
              <a:defRPr sz="1400">
                <a:solidFill>
                  <a:schemeClr val="dk1"/>
                </a:solidFill>
              </a:defRPr>
            </a:lvl8pPr>
            <a:lvl9pPr lvl="8" algn="ctr" rtl="0">
              <a:lnSpc>
                <a:spcPct val="100000"/>
              </a:lnSpc>
              <a:spcBef>
                <a:spcPts val="1600"/>
              </a:spcBef>
              <a:spcAft>
                <a:spcPts val="1600"/>
              </a:spcAft>
              <a:buNone/>
              <a:defRPr sz="1400">
                <a:solidFill>
                  <a:schemeClr val="dk1"/>
                </a:solidFill>
              </a:defRPr>
            </a:lvl9pPr>
          </a:lstStyle>
          <a:p>
            <a:endParaRPr/>
          </a:p>
        </p:txBody>
      </p:sp>
      <p:sp>
        <p:nvSpPr>
          <p:cNvPr id="100" name="Google Shape;100;p17"/>
          <p:cNvSpPr/>
          <p:nvPr/>
        </p:nvSpPr>
        <p:spPr>
          <a:xfrm flipH="1">
            <a:off x="4572000" y="4834275"/>
            <a:ext cx="4572000" cy="309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17"/>
          <p:cNvSpPr/>
          <p:nvPr/>
        </p:nvSpPr>
        <p:spPr>
          <a:xfrm flipH="1">
            <a:off x="50" y="483427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
  <p:cSld name="CUSTOM_3">
    <p:spTree>
      <p:nvGrpSpPr>
        <p:cNvPr id="1" name="Shape 102"/>
        <p:cNvGrpSpPr/>
        <p:nvPr/>
      </p:nvGrpSpPr>
      <p:grpSpPr>
        <a:xfrm>
          <a:off x="0" y="0"/>
          <a:ext cx="0" cy="0"/>
          <a:chOff x="0" y="0"/>
          <a:chExt cx="0" cy="0"/>
        </a:xfrm>
      </p:grpSpPr>
      <p:sp>
        <p:nvSpPr>
          <p:cNvPr id="103" name="Google Shape;103;p18"/>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04" name="Google Shape;104;p18"/>
          <p:cNvSpPr txBox="1">
            <a:spLocks noGrp="1"/>
          </p:cNvSpPr>
          <p:nvPr>
            <p:ph type="subTitle" idx="1"/>
          </p:nvPr>
        </p:nvSpPr>
        <p:spPr>
          <a:xfrm>
            <a:off x="1878275" y="1251675"/>
            <a:ext cx="2787600" cy="4239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lt1"/>
                </a:solidFill>
              </a:defRPr>
            </a:lvl1pPr>
            <a:lvl2pPr lvl="1" rtl="0">
              <a:spcBef>
                <a:spcPts val="1600"/>
              </a:spcBef>
              <a:spcAft>
                <a:spcPts val="0"/>
              </a:spcAft>
              <a:buNone/>
              <a:defRPr b="1">
                <a:solidFill>
                  <a:schemeClr val="lt1"/>
                </a:solidFill>
              </a:defRPr>
            </a:lvl2pPr>
            <a:lvl3pPr lvl="2" rtl="0">
              <a:spcBef>
                <a:spcPts val="1600"/>
              </a:spcBef>
              <a:spcAft>
                <a:spcPts val="0"/>
              </a:spcAft>
              <a:buNone/>
              <a:defRPr b="1">
                <a:solidFill>
                  <a:schemeClr val="lt1"/>
                </a:solidFill>
              </a:defRPr>
            </a:lvl3pPr>
            <a:lvl4pPr lvl="3" rtl="0">
              <a:spcBef>
                <a:spcPts val="1600"/>
              </a:spcBef>
              <a:spcAft>
                <a:spcPts val="0"/>
              </a:spcAft>
              <a:buNone/>
              <a:defRPr b="1">
                <a:solidFill>
                  <a:schemeClr val="lt1"/>
                </a:solidFill>
              </a:defRPr>
            </a:lvl4pPr>
            <a:lvl5pPr lvl="4" rtl="0">
              <a:spcBef>
                <a:spcPts val="1600"/>
              </a:spcBef>
              <a:spcAft>
                <a:spcPts val="0"/>
              </a:spcAft>
              <a:buNone/>
              <a:defRPr b="1">
                <a:solidFill>
                  <a:schemeClr val="lt1"/>
                </a:solidFill>
              </a:defRPr>
            </a:lvl5pPr>
            <a:lvl6pPr lvl="5" rtl="0">
              <a:spcBef>
                <a:spcPts val="1600"/>
              </a:spcBef>
              <a:spcAft>
                <a:spcPts val="0"/>
              </a:spcAft>
              <a:buNone/>
              <a:defRPr b="1">
                <a:solidFill>
                  <a:schemeClr val="lt1"/>
                </a:solidFill>
              </a:defRPr>
            </a:lvl6pPr>
            <a:lvl7pPr lvl="6" rtl="0">
              <a:spcBef>
                <a:spcPts val="1600"/>
              </a:spcBef>
              <a:spcAft>
                <a:spcPts val="0"/>
              </a:spcAft>
              <a:buNone/>
              <a:defRPr b="1">
                <a:solidFill>
                  <a:schemeClr val="lt1"/>
                </a:solidFill>
              </a:defRPr>
            </a:lvl7pPr>
            <a:lvl8pPr lvl="7" rtl="0">
              <a:spcBef>
                <a:spcPts val="1600"/>
              </a:spcBef>
              <a:spcAft>
                <a:spcPts val="0"/>
              </a:spcAft>
              <a:buNone/>
              <a:defRPr b="1">
                <a:solidFill>
                  <a:schemeClr val="lt1"/>
                </a:solidFill>
              </a:defRPr>
            </a:lvl8pPr>
            <a:lvl9pPr lvl="8" rtl="0">
              <a:spcBef>
                <a:spcPts val="1600"/>
              </a:spcBef>
              <a:spcAft>
                <a:spcPts val="1600"/>
              </a:spcAft>
              <a:buNone/>
              <a:defRPr b="1">
                <a:solidFill>
                  <a:schemeClr val="lt1"/>
                </a:solidFill>
              </a:defRPr>
            </a:lvl9pPr>
          </a:lstStyle>
          <a:p>
            <a:endParaRPr/>
          </a:p>
        </p:txBody>
      </p:sp>
      <p:sp>
        <p:nvSpPr>
          <p:cNvPr id="105" name="Google Shape;105;p18"/>
          <p:cNvSpPr txBox="1">
            <a:spLocks noGrp="1"/>
          </p:cNvSpPr>
          <p:nvPr>
            <p:ph type="subTitle" idx="2"/>
          </p:nvPr>
        </p:nvSpPr>
        <p:spPr>
          <a:xfrm>
            <a:off x="1878275" y="1744345"/>
            <a:ext cx="2787600" cy="872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06" name="Google Shape;106;p18"/>
          <p:cNvSpPr txBox="1">
            <a:spLocks noGrp="1"/>
          </p:cNvSpPr>
          <p:nvPr>
            <p:ph type="subTitle" idx="3"/>
          </p:nvPr>
        </p:nvSpPr>
        <p:spPr>
          <a:xfrm>
            <a:off x="5351497" y="1251675"/>
            <a:ext cx="2787600" cy="4239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lt1"/>
                </a:solidFill>
              </a:defRPr>
            </a:lvl1pPr>
            <a:lvl2pPr lvl="1" rtl="0">
              <a:spcBef>
                <a:spcPts val="1600"/>
              </a:spcBef>
              <a:spcAft>
                <a:spcPts val="0"/>
              </a:spcAft>
              <a:buNone/>
              <a:defRPr b="1">
                <a:solidFill>
                  <a:schemeClr val="lt1"/>
                </a:solidFill>
              </a:defRPr>
            </a:lvl2pPr>
            <a:lvl3pPr lvl="2" rtl="0">
              <a:spcBef>
                <a:spcPts val="1600"/>
              </a:spcBef>
              <a:spcAft>
                <a:spcPts val="0"/>
              </a:spcAft>
              <a:buNone/>
              <a:defRPr b="1">
                <a:solidFill>
                  <a:schemeClr val="lt1"/>
                </a:solidFill>
              </a:defRPr>
            </a:lvl3pPr>
            <a:lvl4pPr lvl="3" rtl="0">
              <a:spcBef>
                <a:spcPts val="1600"/>
              </a:spcBef>
              <a:spcAft>
                <a:spcPts val="0"/>
              </a:spcAft>
              <a:buNone/>
              <a:defRPr b="1">
                <a:solidFill>
                  <a:schemeClr val="lt1"/>
                </a:solidFill>
              </a:defRPr>
            </a:lvl4pPr>
            <a:lvl5pPr lvl="4" rtl="0">
              <a:spcBef>
                <a:spcPts val="1600"/>
              </a:spcBef>
              <a:spcAft>
                <a:spcPts val="0"/>
              </a:spcAft>
              <a:buNone/>
              <a:defRPr b="1">
                <a:solidFill>
                  <a:schemeClr val="lt1"/>
                </a:solidFill>
              </a:defRPr>
            </a:lvl5pPr>
            <a:lvl6pPr lvl="5" rtl="0">
              <a:spcBef>
                <a:spcPts val="1600"/>
              </a:spcBef>
              <a:spcAft>
                <a:spcPts val="0"/>
              </a:spcAft>
              <a:buNone/>
              <a:defRPr b="1">
                <a:solidFill>
                  <a:schemeClr val="lt1"/>
                </a:solidFill>
              </a:defRPr>
            </a:lvl6pPr>
            <a:lvl7pPr lvl="6" rtl="0">
              <a:spcBef>
                <a:spcPts val="1600"/>
              </a:spcBef>
              <a:spcAft>
                <a:spcPts val="0"/>
              </a:spcAft>
              <a:buNone/>
              <a:defRPr b="1">
                <a:solidFill>
                  <a:schemeClr val="lt1"/>
                </a:solidFill>
              </a:defRPr>
            </a:lvl7pPr>
            <a:lvl8pPr lvl="7" rtl="0">
              <a:spcBef>
                <a:spcPts val="1600"/>
              </a:spcBef>
              <a:spcAft>
                <a:spcPts val="0"/>
              </a:spcAft>
              <a:buNone/>
              <a:defRPr b="1">
                <a:solidFill>
                  <a:schemeClr val="lt1"/>
                </a:solidFill>
              </a:defRPr>
            </a:lvl8pPr>
            <a:lvl9pPr lvl="8" rtl="0">
              <a:spcBef>
                <a:spcPts val="1600"/>
              </a:spcBef>
              <a:spcAft>
                <a:spcPts val="1600"/>
              </a:spcAft>
              <a:buNone/>
              <a:defRPr b="1">
                <a:solidFill>
                  <a:schemeClr val="lt1"/>
                </a:solidFill>
              </a:defRPr>
            </a:lvl9pPr>
          </a:lstStyle>
          <a:p>
            <a:endParaRPr/>
          </a:p>
        </p:txBody>
      </p:sp>
      <p:sp>
        <p:nvSpPr>
          <p:cNvPr id="107" name="Google Shape;107;p18"/>
          <p:cNvSpPr txBox="1">
            <a:spLocks noGrp="1"/>
          </p:cNvSpPr>
          <p:nvPr>
            <p:ph type="subTitle" idx="4"/>
          </p:nvPr>
        </p:nvSpPr>
        <p:spPr>
          <a:xfrm>
            <a:off x="5351493" y="1744282"/>
            <a:ext cx="2787600" cy="872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08" name="Google Shape;108;p18"/>
          <p:cNvSpPr txBox="1">
            <a:spLocks noGrp="1"/>
          </p:cNvSpPr>
          <p:nvPr>
            <p:ph type="subTitle" idx="5"/>
          </p:nvPr>
        </p:nvSpPr>
        <p:spPr>
          <a:xfrm>
            <a:off x="1878275" y="2898148"/>
            <a:ext cx="2787600" cy="3402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lt1"/>
                </a:solidFill>
              </a:defRPr>
            </a:lvl1pPr>
            <a:lvl2pPr lvl="1" rtl="0">
              <a:spcBef>
                <a:spcPts val="1600"/>
              </a:spcBef>
              <a:spcAft>
                <a:spcPts val="0"/>
              </a:spcAft>
              <a:buNone/>
              <a:defRPr b="1">
                <a:solidFill>
                  <a:schemeClr val="lt1"/>
                </a:solidFill>
              </a:defRPr>
            </a:lvl2pPr>
            <a:lvl3pPr lvl="2" rtl="0">
              <a:spcBef>
                <a:spcPts val="1600"/>
              </a:spcBef>
              <a:spcAft>
                <a:spcPts val="0"/>
              </a:spcAft>
              <a:buNone/>
              <a:defRPr b="1">
                <a:solidFill>
                  <a:schemeClr val="lt1"/>
                </a:solidFill>
              </a:defRPr>
            </a:lvl3pPr>
            <a:lvl4pPr lvl="3" rtl="0">
              <a:spcBef>
                <a:spcPts val="1600"/>
              </a:spcBef>
              <a:spcAft>
                <a:spcPts val="0"/>
              </a:spcAft>
              <a:buNone/>
              <a:defRPr b="1">
                <a:solidFill>
                  <a:schemeClr val="lt1"/>
                </a:solidFill>
              </a:defRPr>
            </a:lvl4pPr>
            <a:lvl5pPr lvl="4" rtl="0">
              <a:spcBef>
                <a:spcPts val="1600"/>
              </a:spcBef>
              <a:spcAft>
                <a:spcPts val="0"/>
              </a:spcAft>
              <a:buNone/>
              <a:defRPr b="1">
                <a:solidFill>
                  <a:schemeClr val="lt1"/>
                </a:solidFill>
              </a:defRPr>
            </a:lvl5pPr>
            <a:lvl6pPr lvl="5" rtl="0">
              <a:spcBef>
                <a:spcPts val="1600"/>
              </a:spcBef>
              <a:spcAft>
                <a:spcPts val="0"/>
              </a:spcAft>
              <a:buNone/>
              <a:defRPr b="1">
                <a:solidFill>
                  <a:schemeClr val="lt1"/>
                </a:solidFill>
              </a:defRPr>
            </a:lvl6pPr>
            <a:lvl7pPr lvl="6" rtl="0">
              <a:spcBef>
                <a:spcPts val="1600"/>
              </a:spcBef>
              <a:spcAft>
                <a:spcPts val="0"/>
              </a:spcAft>
              <a:buNone/>
              <a:defRPr b="1">
                <a:solidFill>
                  <a:schemeClr val="lt1"/>
                </a:solidFill>
              </a:defRPr>
            </a:lvl7pPr>
            <a:lvl8pPr lvl="7" rtl="0">
              <a:spcBef>
                <a:spcPts val="1600"/>
              </a:spcBef>
              <a:spcAft>
                <a:spcPts val="0"/>
              </a:spcAft>
              <a:buNone/>
              <a:defRPr b="1">
                <a:solidFill>
                  <a:schemeClr val="lt1"/>
                </a:solidFill>
              </a:defRPr>
            </a:lvl8pPr>
            <a:lvl9pPr lvl="8" rtl="0">
              <a:spcBef>
                <a:spcPts val="1600"/>
              </a:spcBef>
              <a:spcAft>
                <a:spcPts val="1600"/>
              </a:spcAft>
              <a:buNone/>
              <a:defRPr b="1">
                <a:solidFill>
                  <a:schemeClr val="lt1"/>
                </a:solidFill>
              </a:defRPr>
            </a:lvl9pPr>
          </a:lstStyle>
          <a:p>
            <a:endParaRPr/>
          </a:p>
        </p:txBody>
      </p:sp>
      <p:sp>
        <p:nvSpPr>
          <p:cNvPr id="109" name="Google Shape;109;p18"/>
          <p:cNvSpPr txBox="1">
            <a:spLocks noGrp="1"/>
          </p:cNvSpPr>
          <p:nvPr>
            <p:ph type="subTitle" idx="6"/>
          </p:nvPr>
        </p:nvSpPr>
        <p:spPr>
          <a:xfrm>
            <a:off x="1878275" y="3390754"/>
            <a:ext cx="2787600" cy="872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10" name="Google Shape;110;p18"/>
          <p:cNvSpPr txBox="1">
            <a:spLocks noGrp="1"/>
          </p:cNvSpPr>
          <p:nvPr>
            <p:ph type="subTitle" idx="7"/>
          </p:nvPr>
        </p:nvSpPr>
        <p:spPr>
          <a:xfrm>
            <a:off x="5351425" y="2898156"/>
            <a:ext cx="2787600" cy="3402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lt1"/>
                </a:solidFill>
              </a:defRPr>
            </a:lvl1pPr>
            <a:lvl2pPr lvl="1" rtl="0">
              <a:spcBef>
                <a:spcPts val="1600"/>
              </a:spcBef>
              <a:spcAft>
                <a:spcPts val="0"/>
              </a:spcAft>
              <a:buNone/>
              <a:defRPr b="1">
                <a:solidFill>
                  <a:schemeClr val="lt1"/>
                </a:solidFill>
              </a:defRPr>
            </a:lvl2pPr>
            <a:lvl3pPr lvl="2" rtl="0">
              <a:spcBef>
                <a:spcPts val="1600"/>
              </a:spcBef>
              <a:spcAft>
                <a:spcPts val="0"/>
              </a:spcAft>
              <a:buNone/>
              <a:defRPr b="1">
                <a:solidFill>
                  <a:schemeClr val="lt1"/>
                </a:solidFill>
              </a:defRPr>
            </a:lvl3pPr>
            <a:lvl4pPr lvl="3" rtl="0">
              <a:spcBef>
                <a:spcPts val="1600"/>
              </a:spcBef>
              <a:spcAft>
                <a:spcPts val="0"/>
              </a:spcAft>
              <a:buNone/>
              <a:defRPr b="1">
                <a:solidFill>
                  <a:schemeClr val="lt1"/>
                </a:solidFill>
              </a:defRPr>
            </a:lvl4pPr>
            <a:lvl5pPr lvl="4" rtl="0">
              <a:spcBef>
                <a:spcPts val="1600"/>
              </a:spcBef>
              <a:spcAft>
                <a:spcPts val="0"/>
              </a:spcAft>
              <a:buNone/>
              <a:defRPr b="1">
                <a:solidFill>
                  <a:schemeClr val="lt1"/>
                </a:solidFill>
              </a:defRPr>
            </a:lvl5pPr>
            <a:lvl6pPr lvl="5" rtl="0">
              <a:spcBef>
                <a:spcPts val="1600"/>
              </a:spcBef>
              <a:spcAft>
                <a:spcPts val="0"/>
              </a:spcAft>
              <a:buNone/>
              <a:defRPr b="1">
                <a:solidFill>
                  <a:schemeClr val="lt1"/>
                </a:solidFill>
              </a:defRPr>
            </a:lvl6pPr>
            <a:lvl7pPr lvl="6" rtl="0">
              <a:spcBef>
                <a:spcPts val="1600"/>
              </a:spcBef>
              <a:spcAft>
                <a:spcPts val="0"/>
              </a:spcAft>
              <a:buNone/>
              <a:defRPr b="1">
                <a:solidFill>
                  <a:schemeClr val="lt1"/>
                </a:solidFill>
              </a:defRPr>
            </a:lvl7pPr>
            <a:lvl8pPr lvl="7" rtl="0">
              <a:spcBef>
                <a:spcPts val="1600"/>
              </a:spcBef>
              <a:spcAft>
                <a:spcPts val="0"/>
              </a:spcAft>
              <a:buNone/>
              <a:defRPr b="1">
                <a:solidFill>
                  <a:schemeClr val="lt1"/>
                </a:solidFill>
              </a:defRPr>
            </a:lvl8pPr>
            <a:lvl9pPr lvl="8" rtl="0">
              <a:spcBef>
                <a:spcPts val="1600"/>
              </a:spcBef>
              <a:spcAft>
                <a:spcPts val="1600"/>
              </a:spcAft>
              <a:buNone/>
              <a:defRPr b="1">
                <a:solidFill>
                  <a:schemeClr val="lt1"/>
                </a:solidFill>
              </a:defRPr>
            </a:lvl9pPr>
          </a:lstStyle>
          <a:p>
            <a:endParaRPr/>
          </a:p>
        </p:txBody>
      </p:sp>
      <p:sp>
        <p:nvSpPr>
          <p:cNvPr id="111" name="Google Shape;111;p18"/>
          <p:cNvSpPr txBox="1">
            <a:spLocks noGrp="1"/>
          </p:cNvSpPr>
          <p:nvPr>
            <p:ph type="subTitle" idx="8"/>
          </p:nvPr>
        </p:nvSpPr>
        <p:spPr>
          <a:xfrm>
            <a:off x="5351425" y="3390754"/>
            <a:ext cx="2787600" cy="872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12" name="Google Shape;112;p18"/>
          <p:cNvSpPr txBox="1">
            <a:spLocks noGrp="1"/>
          </p:cNvSpPr>
          <p:nvPr>
            <p:ph type="subTitle" idx="9"/>
          </p:nvPr>
        </p:nvSpPr>
        <p:spPr>
          <a:xfrm rot="-5400803">
            <a:off x="609009" y="1779468"/>
            <a:ext cx="1284300" cy="492600"/>
          </a:xfrm>
          <a:prstGeom prst="rect">
            <a:avLst/>
          </a:prstGeom>
        </p:spPr>
        <p:txBody>
          <a:bodyPr spcFirstLastPara="1" wrap="square" lIns="91425" tIns="91425" rIns="91425" bIns="91425" anchor="t" anchorCtr="0">
            <a:noAutofit/>
          </a:bodyPr>
          <a:lstStyle>
            <a:lvl1pPr lvl="0" algn="ctr">
              <a:spcBef>
                <a:spcPts val="0"/>
              </a:spcBef>
              <a:spcAft>
                <a:spcPts val="0"/>
              </a:spcAft>
              <a:buSzPts val="1800"/>
              <a:buNone/>
              <a:defRPr b="1">
                <a:solidFill>
                  <a:schemeClr val="lt1"/>
                </a:solidFill>
              </a:defRPr>
            </a:lvl1pPr>
            <a:lvl2pPr lvl="1">
              <a:spcBef>
                <a:spcPts val="1600"/>
              </a:spcBef>
              <a:spcAft>
                <a:spcPts val="0"/>
              </a:spcAft>
              <a:buSzPts val="1400"/>
              <a:buNone/>
              <a:defRPr b="1"/>
            </a:lvl2pPr>
            <a:lvl3pPr lvl="2">
              <a:spcBef>
                <a:spcPts val="1600"/>
              </a:spcBef>
              <a:spcAft>
                <a:spcPts val="0"/>
              </a:spcAft>
              <a:buSzPts val="1400"/>
              <a:buNone/>
              <a:defRPr b="1"/>
            </a:lvl3pPr>
            <a:lvl4pPr lvl="3">
              <a:spcBef>
                <a:spcPts val="1600"/>
              </a:spcBef>
              <a:spcAft>
                <a:spcPts val="0"/>
              </a:spcAft>
              <a:buSzPts val="1400"/>
              <a:buNone/>
              <a:defRPr b="1"/>
            </a:lvl4pPr>
            <a:lvl5pPr lvl="4">
              <a:spcBef>
                <a:spcPts val="1600"/>
              </a:spcBef>
              <a:spcAft>
                <a:spcPts val="0"/>
              </a:spcAft>
              <a:buSzPts val="1400"/>
              <a:buNone/>
              <a:defRPr b="1"/>
            </a:lvl5pPr>
            <a:lvl6pPr lvl="5">
              <a:spcBef>
                <a:spcPts val="1600"/>
              </a:spcBef>
              <a:spcAft>
                <a:spcPts val="0"/>
              </a:spcAft>
              <a:buSzPts val="1400"/>
              <a:buNone/>
              <a:defRPr b="1"/>
            </a:lvl6pPr>
            <a:lvl7pPr lvl="6">
              <a:spcBef>
                <a:spcPts val="1600"/>
              </a:spcBef>
              <a:spcAft>
                <a:spcPts val="0"/>
              </a:spcAft>
              <a:buSzPts val="1400"/>
              <a:buNone/>
              <a:defRPr b="1"/>
            </a:lvl7pPr>
            <a:lvl8pPr lvl="7">
              <a:spcBef>
                <a:spcPts val="1600"/>
              </a:spcBef>
              <a:spcAft>
                <a:spcPts val="0"/>
              </a:spcAft>
              <a:buSzPts val="1400"/>
              <a:buNone/>
              <a:defRPr b="1"/>
            </a:lvl8pPr>
            <a:lvl9pPr lvl="8">
              <a:spcBef>
                <a:spcPts val="1600"/>
              </a:spcBef>
              <a:spcAft>
                <a:spcPts val="1600"/>
              </a:spcAft>
              <a:buSzPts val="1400"/>
              <a:buNone/>
              <a:defRPr b="1"/>
            </a:lvl9pPr>
          </a:lstStyle>
          <a:p>
            <a:endParaRPr/>
          </a:p>
        </p:txBody>
      </p:sp>
      <p:sp>
        <p:nvSpPr>
          <p:cNvPr id="113" name="Google Shape;113;p18"/>
          <p:cNvSpPr txBox="1">
            <a:spLocks noGrp="1"/>
          </p:cNvSpPr>
          <p:nvPr>
            <p:ph type="subTitle" idx="13"/>
          </p:nvPr>
        </p:nvSpPr>
        <p:spPr>
          <a:xfrm rot="-5400000">
            <a:off x="609075" y="3422400"/>
            <a:ext cx="1284300" cy="492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1800"/>
              <a:buNone/>
              <a:defRPr b="1">
                <a:solidFill>
                  <a:schemeClr val="lt1"/>
                </a:solidFill>
              </a:defRPr>
            </a:lvl1pPr>
            <a:lvl2pPr lvl="1" rtl="0">
              <a:spcBef>
                <a:spcPts val="1600"/>
              </a:spcBef>
              <a:spcAft>
                <a:spcPts val="0"/>
              </a:spcAft>
              <a:buSzPts val="1400"/>
              <a:buNone/>
              <a:defRPr b="1"/>
            </a:lvl2pPr>
            <a:lvl3pPr lvl="2" rtl="0">
              <a:spcBef>
                <a:spcPts val="1600"/>
              </a:spcBef>
              <a:spcAft>
                <a:spcPts val="0"/>
              </a:spcAft>
              <a:buSzPts val="1400"/>
              <a:buNone/>
              <a:defRPr b="1"/>
            </a:lvl3pPr>
            <a:lvl4pPr lvl="3" rtl="0">
              <a:spcBef>
                <a:spcPts val="1600"/>
              </a:spcBef>
              <a:spcAft>
                <a:spcPts val="0"/>
              </a:spcAft>
              <a:buSzPts val="1400"/>
              <a:buNone/>
              <a:defRPr b="1"/>
            </a:lvl4pPr>
            <a:lvl5pPr lvl="4" rtl="0">
              <a:spcBef>
                <a:spcPts val="1600"/>
              </a:spcBef>
              <a:spcAft>
                <a:spcPts val="0"/>
              </a:spcAft>
              <a:buSzPts val="1400"/>
              <a:buNone/>
              <a:defRPr b="1"/>
            </a:lvl5pPr>
            <a:lvl6pPr lvl="5" rtl="0">
              <a:spcBef>
                <a:spcPts val="1600"/>
              </a:spcBef>
              <a:spcAft>
                <a:spcPts val="0"/>
              </a:spcAft>
              <a:buSzPts val="1400"/>
              <a:buNone/>
              <a:defRPr b="1"/>
            </a:lvl6pPr>
            <a:lvl7pPr lvl="6" rtl="0">
              <a:spcBef>
                <a:spcPts val="1600"/>
              </a:spcBef>
              <a:spcAft>
                <a:spcPts val="0"/>
              </a:spcAft>
              <a:buSzPts val="1400"/>
              <a:buNone/>
              <a:defRPr b="1"/>
            </a:lvl7pPr>
            <a:lvl8pPr lvl="7" rtl="0">
              <a:spcBef>
                <a:spcPts val="1600"/>
              </a:spcBef>
              <a:spcAft>
                <a:spcPts val="0"/>
              </a:spcAft>
              <a:buSzPts val="1400"/>
              <a:buNone/>
              <a:defRPr b="1"/>
            </a:lvl8pPr>
            <a:lvl9pPr lvl="8" rtl="0">
              <a:spcBef>
                <a:spcPts val="1600"/>
              </a:spcBef>
              <a:spcAft>
                <a:spcPts val="1600"/>
              </a:spcAft>
              <a:buSzPts val="1400"/>
              <a:buNone/>
              <a:defRPr b="1"/>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1">
  <p:cSld name="CUSTOM_14">
    <p:spTree>
      <p:nvGrpSpPr>
        <p:cNvPr id="1" name="Shape 114"/>
        <p:cNvGrpSpPr/>
        <p:nvPr/>
      </p:nvGrpSpPr>
      <p:grpSpPr>
        <a:xfrm>
          <a:off x="0" y="0"/>
          <a:ext cx="0" cy="0"/>
          <a:chOff x="0" y="0"/>
          <a:chExt cx="0" cy="0"/>
        </a:xfrm>
      </p:grpSpPr>
      <p:sp>
        <p:nvSpPr>
          <p:cNvPr id="115" name="Google Shape;115;p19"/>
          <p:cNvSpPr txBox="1">
            <a:spLocks noGrp="1"/>
          </p:cNvSpPr>
          <p:nvPr>
            <p:ph type="subTitle" idx="1"/>
          </p:nvPr>
        </p:nvSpPr>
        <p:spPr>
          <a:xfrm>
            <a:off x="5951340" y="1570850"/>
            <a:ext cx="2479500" cy="423900"/>
          </a:xfrm>
          <a:prstGeom prst="rect">
            <a:avLst/>
          </a:prstGeom>
        </p:spPr>
        <p:txBody>
          <a:bodyPr spcFirstLastPara="1" wrap="square" lIns="91425" tIns="91425" rIns="91425" bIns="91425" anchor="t" anchorCtr="0">
            <a:noAutofit/>
          </a:bodyPr>
          <a:lstStyle>
            <a:lvl1pPr lvl="0" algn="r" rtl="0">
              <a:spcBef>
                <a:spcPts val="0"/>
              </a:spcBef>
              <a:spcAft>
                <a:spcPts val="0"/>
              </a:spcAft>
              <a:buNone/>
              <a:defRPr b="1">
                <a:solidFill>
                  <a:schemeClr val="accent1"/>
                </a:solidFill>
              </a:defRPr>
            </a:lvl1pPr>
            <a:lvl2pPr lvl="1" algn="r" rtl="0">
              <a:spcBef>
                <a:spcPts val="1600"/>
              </a:spcBef>
              <a:spcAft>
                <a:spcPts val="0"/>
              </a:spcAft>
              <a:buNone/>
              <a:defRPr b="1">
                <a:solidFill>
                  <a:schemeClr val="accent1"/>
                </a:solidFill>
              </a:defRPr>
            </a:lvl2pPr>
            <a:lvl3pPr lvl="2" algn="r" rtl="0">
              <a:spcBef>
                <a:spcPts val="1600"/>
              </a:spcBef>
              <a:spcAft>
                <a:spcPts val="0"/>
              </a:spcAft>
              <a:buNone/>
              <a:defRPr b="1">
                <a:solidFill>
                  <a:schemeClr val="accent1"/>
                </a:solidFill>
              </a:defRPr>
            </a:lvl3pPr>
            <a:lvl4pPr lvl="3" algn="r" rtl="0">
              <a:spcBef>
                <a:spcPts val="1600"/>
              </a:spcBef>
              <a:spcAft>
                <a:spcPts val="0"/>
              </a:spcAft>
              <a:buNone/>
              <a:defRPr b="1">
                <a:solidFill>
                  <a:schemeClr val="accent1"/>
                </a:solidFill>
              </a:defRPr>
            </a:lvl4pPr>
            <a:lvl5pPr lvl="4" algn="r" rtl="0">
              <a:spcBef>
                <a:spcPts val="1600"/>
              </a:spcBef>
              <a:spcAft>
                <a:spcPts val="0"/>
              </a:spcAft>
              <a:buNone/>
              <a:defRPr b="1">
                <a:solidFill>
                  <a:schemeClr val="accent1"/>
                </a:solidFill>
              </a:defRPr>
            </a:lvl5pPr>
            <a:lvl6pPr lvl="5" algn="r" rtl="0">
              <a:spcBef>
                <a:spcPts val="1600"/>
              </a:spcBef>
              <a:spcAft>
                <a:spcPts val="0"/>
              </a:spcAft>
              <a:buNone/>
              <a:defRPr b="1">
                <a:solidFill>
                  <a:schemeClr val="accent1"/>
                </a:solidFill>
              </a:defRPr>
            </a:lvl6pPr>
            <a:lvl7pPr lvl="6" algn="r" rtl="0">
              <a:spcBef>
                <a:spcPts val="1600"/>
              </a:spcBef>
              <a:spcAft>
                <a:spcPts val="0"/>
              </a:spcAft>
              <a:buNone/>
              <a:defRPr b="1">
                <a:solidFill>
                  <a:schemeClr val="accent1"/>
                </a:solidFill>
              </a:defRPr>
            </a:lvl7pPr>
            <a:lvl8pPr lvl="7" algn="r" rtl="0">
              <a:spcBef>
                <a:spcPts val="1600"/>
              </a:spcBef>
              <a:spcAft>
                <a:spcPts val="0"/>
              </a:spcAft>
              <a:buNone/>
              <a:defRPr b="1">
                <a:solidFill>
                  <a:schemeClr val="accent1"/>
                </a:solidFill>
              </a:defRPr>
            </a:lvl8pPr>
            <a:lvl9pPr lvl="8" algn="r" rtl="0">
              <a:spcBef>
                <a:spcPts val="1600"/>
              </a:spcBef>
              <a:spcAft>
                <a:spcPts val="1600"/>
              </a:spcAft>
              <a:buNone/>
              <a:defRPr b="1">
                <a:solidFill>
                  <a:schemeClr val="accent1"/>
                </a:solidFill>
              </a:defRPr>
            </a:lvl9pPr>
          </a:lstStyle>
          <a:p>
            <a:endParaRPr/>
          </a:p>
        </p:txBody>
      </p:sp>
      <p:sp>
        <p:nvSpPr>
          <p:cNvPr id="116" name="Google Shape;116;p19"/>
          <p:cNvSpPr txBox="1">
            <a:spLocks noGrp="1"/>
          </p:cNvSpPr>
          <p:nvPr>
            <p:ph type="subTitle" idx="2"/>
          </p:nvPr>
        </p:nvSpPr>
        <p:spPr>
          <a:xfrm>
            <a:off x="5951336" y="1941975"/>
            <a:ext cx="2479500" cy="872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None/>
              <a:defRPr sz="1400">
                <a:solidFill>
                  <a:schemeClr val="dk1"/>
                </a:solidFill>
              </a:defRPr>
            </a:lvl1pPr>
            <a:lvl2pPr lvl="1" algn="r" rtl="0">
              <a:lnSpc>
                <a:spcPct val="100000"/>
              </a:lnSpc>
              <a:spcBef>
                <a:spcPts val="1600"/>
              </a:spcBef>
              <a:spcAft>
                <a:spcPts val="0"/>
              </a:spcAft>
              <a:buNone/>
              <a:defRPr sz="1400">
                <a:solidFill>
                  <a:schemeClr val="dk1"/>
                </a:solidFill>
              </a:defRPr>
            </a:lvl2pPr>
            <a:lvl3pPr lvl="2" algn="r" rtl="0">
              <a:lnSpc>
                <a:spcPct val="100000"/>
              </a:lnSpc>
              <a:spcBef>
                <a:spcPts val="1600"/>
              </a:spcBef>
              <a:spcAft>
                <a:spcPts val="0"/>
              </a:spcAft>
              <a:buNone/>
              <a:defRPr sz="1400">
                <a:solidFill>
                  <a:schemeClr val="dk1"/>
                </a:solidFill>
              </a:defRPr>
            </a:lvl3pPr>
            <a:lvl4pPr lvl="3" algn="r" rtl="0">
              <a:lnSpc>
                <a:spcPct val="100000"/>
              </a:lnSpc>
              <a:spcBef>
                <a:spcPts val="1600"/>
              </a:spcBef>
              <a:spcAft>
                <a:spcPts val="0"/>
              </a:spcAft>
              <a:buNone/>
              <a:defRPr sz="1400">
                <a:solidFill>
                  <a:schemeClr val="dk1"/>
                </a:solidFill>
              </a:defRPr>
            </a:lvl4pPr>
            <a:lvl5pPr lvl="4" algn="r" rtl="0">
              <a:lnSpc>
                <a:spcPct val="100000"/>
              </a:lnSpc>
              <a:spcBef>
                <a:spcPts val="1600"/>
              </a:spcBef>
              <a:spcAft>
                <a:spcPts val="0"/>
              </a:spcAft>
              <a:buNone/>
              <a:defRPr sz="1400">
                <a:solidFill>
                  <a:schemeClr val="dk1"/>
                </a:solidFill>
              </a:defRPr>
            </a:lvl5pPr>
            <a:lvl6pPr lvl="5" algn="r" rtl="0">
              <a:lnSpc>
                <a:spcPct val="100000"/>
              </a:lnSpc>
              <a:spcBef>
                <a:spcPts val="1600"/>
              </a:spcBef>
              <a:spcAft>
                <a:spcPts val="0"/>
              </a:spcAft>
              <a:buNone/>
              <a:defRPr sz="1400">
                <a:solidFill>
                  <a:schemeClr val="dk1"/>
                </a:solidFill>
              </a:defRPr>
            </a:lvl6pPr>
            <a:lvl7pPr lvl="6" algn="r" rtl="0">
              <a:lnSpc>
                <a:spcPct val="100000"/>
              </a:lnSpc>
              <a:spcBef>
                <a:spcPts val="1600"/>
              </a:spcBef>
              <a:spcAft>
                <a:spcPts val="0"/>
              </a:spcAft>
              <a:buNone/>
              <a:defRPr sz="1400">
                <a:solidFill>
                  <a:schemeClr val="dk1"/>
                </a:solidFill>
              </a:defRPr>
            </a:lvl7pPr>
            <a:lvl8pPr lvl="7" algn="r" rtl="0">
              <a:lnSpc>
                <a:spcPct val="100000"/>
              </a:lnSpc>
              <a:spcBef>
                <a:spcPts val="1600"/>
              </a:spcBef>
              <a:spcAft>
                <a:spcPts val="0"/>
              </a:spcAft>
              <a:buNone/>
              <a:defRPr sz="1400">
                <a:solidFill>
                  <a:schemeClr val="dk1"/>
                </a:solidFill>
              </a:defRPr>
            </a:lvl8pPr>
            <a:lvl9pPr lvl="8" algn="r" rtl="0">
              <a:lnSpc>
                <a:spcPct val="100000"/>
              </a:lnSpc>
              <a:spcBef>
                <a:spcPts val="1600"/>
              </a:spcBef>
              <a:spcAft>
                <a:spcPts val="1600"/>
              </a:spcAft>
              <a:buNone/>
              <a:defRPr sz="1400">
                <a:solidFill>
                  <a:schemeClr val="dk1"/>
                </a:solidFill>
              </a:defRPr>
            </a:lvl9pPr>
          </a:lstStyle>
          <a:p>
            <a:endParaRPr/>
          </a:p>
        </p:txBody>
      </p:sp>
      <p:sp>
        <p:nvSpPr>
          <p:cNvPr id="117" name="Google Shape;117;p19"/>
          <p:cNvSpPr txBox="1">
            <a:spLocks noGrp="1"/>
          </p:cNvSpPr>
          <p:nvPr>
            <p:ph type="subTitle" idx="3"/>
          </p:nvPr>
        </p:nvSpPr>
        <p:spPr>
          <a:xfrm>
            <a:off x="5951276" y="3064926"/>
            <a:ext cx="2479500" cy="340200"/>
          </a:xfrm>
          <a:prstGeom prst="rect">
            <a:avLst/>
          </a:prstGeom>
        </p:spPr>
        <p:txBody>
          <a:bodyPr spcFirstLastPara="1" wrap="square" lIns="91425" tIns="91425" rIns="91425" bIns="91425" anchor="t" anchorCtr="0">
            <a:noAutofit/>
          </a:bodyPr>
          <a:lstStyle>
            <a:lvl1pPr lvl="0" algn="r" rtl="0">
              <a:spcBef>
                <a:spcPts val="0"/>
              </a:spcBef>
              <a:spcAft>
                <a:spcPts val="0"/>
              </a:spcAft>
              <a:buNone/>
              <a:defRPr b="1">
                <a:solidFill>
                  <a:schemeClr val="accent1"/>
                </a:solidFill>
              </a:defRPr>
            </a:lvl1pPr>
            <a:lvl2pPr lvl="1" algn="r" rtl="0">
              <a:spcBef>
                <a:spcPts val="1600"/>
              </a:spcBef>
              <a:spcAft>
                <a:spcPts val="0"/>
              </a:spcAft>
              <a:buNone/>
              <a:defRPr b="1">
                <a:solidFill>
                  <a:schemeClr val="accent1"/>
                </a:solidFill>
              </a:defRPr>
            </a:lvl2pPr>
            <a:lvl3pPr lvl="2" algn="r" rtl="0">
              <a:spcBef>
                <a:spcPts val="1600"/>
              </a:spcBef>
              <a:spcAft>
                <a:spcPts val="0"/>
              </a:spcAft>
              <a:buNone/>
              <a:defRPr b="1">
                <a:solidFill>
                  <a:schemeClr val="accent1"/>
                </a:solidFill>
              </a:defRPr>
            </a:lvl3pPr>
            <a:lvl4pPr lvl="3" algn="r" rtl="0">
              <a:spcBef>
                <a:spcPts val="1600"/>
              </a:spcBef>
              <a:spcAft>
                <a:spcPts val="0"/>
              </a:spcAft>
              <a:buNone/>
              <a:defRPr b="1">
                <a:solidFill>
                  <a:schemeClr val="accent1"/>
                </a:solidFill>
              </a:defRPr>
            </a:lvl4pPr>
            <a:lvl5pPr lvl="4" algn="r" rtl="0">
              <a:spcBef>
                <a:spcPts val="1600"/>
              </a:spcBef>
              <a:spcAft>
                <a:spcPts val="0"/>
              </a:spcAft>
              <a:buNone/>
              <a:defRPr b="1">
                <a:solidFill>
                  <a:schemeClr val="accent1"/>
                </a:solidFill>
              </a:defRPr>
            </a:lvl5pPr>
            <a:lvl6pPr lvl="5" algn="r" rtl="0">
              <a:spcBef>
                <a:spcPts val="1600"/>
              </a:spcBef>
              <a:spcAft>
                <a:spcPts val="0"/>
              </a:spcAft>
              <a:buNone/>
              <a:defRPr b="1">
                <a:solidFill>
                  <a:schemeClr val="accent1"/>
                </a:solidFill>
              </a:defRPr>
            </a:lvl6pPr>
            <a:lvl7pPr lvl="6" algn="r" rtl="0">
              <a:spcBef>
                <a:spcPts val="1600"/>
              </a:spcBef>
              <a:spcAft>
                <a:spcPts val="0"/>
              </a:spcAft>
              <a:buNone/>
              <a:defRPr b="1">
                <a:solidFill>
                  <a:schemeClr val="accent1"/>
                </a:solidFill>
              </a:defRPr>
            </a:lvl7pPr>
            <a:lvl8pPr lvl="7" algn="r" rtl="0">
              <a:spcBef>
                <a:spcPts val="1600"/>
              </a:spcBef>
              <a:spcAft>
                <a:spcPts val="0"/>
              </a:spcAft>
              <a:buNone/>
              <a:defRPr b="1">
                <a:solidFill>
                  <a:schemeClr val="accent1"/>
                </a:solidFill>
              </a:defRPr>
            </a:lvl8pPr>
            <a:lvl9pPr lvl="8" algn="r" rtl="0">
              <a:spcBef>
                <a:spcPts val="1600"/>
              </a:spcBef>
              <a:spcAft>
                <a:spcPts val="1600"/>
              </a:spcAft>
              <a:buNone/>
              <a:defRPr b="1">
                <a:solidFill>
                  <a:schemeClr val="accent1"/>
                </a:solidFill>
              </a:defRPr>
            </a:lvl9pPr>
          </a:lstStyle>
          <a:p>
            <a:endParaRPr/>
          </a:p>
        </p:txBody>
      </p:sp>
      <p:sp>
        <p:nvSpPr>
          <p:cNvPr id="118" name="Google Shape;118;p19"/>
          <p:cNvSpPr txBox="1">
            <a:spLocks noGrp="1"/>
          </p:cNvSpPr>
          <p:nvPr>
            <p:ph type="subTitle" idx="4"/>
          </p:nvPr>
        </p:nvSpPr>
        <p:spPr>
          <a:xfrm>
            <a:off x="5951276" y="3436049"/>
            <a:ext cx="2479500" cy="872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None/>
              <a:defRPr sz="1400">
                <a:solidFill>
                  <a:schemeClr val="dk1"/>
                </a:solidFill>
              </a:defRPr>
            </a:lvl1pPr>
            <a:lvl2pPr lvl="1" algn="r" rtl="0">
              <a:lnSpc>
                <a:spcPct val="100000"/>
              </a:lnSpc>
              <a:spcBef>
                <a:spcPts val="0"/>
              </a:spcBef>
              <a:spcAft>
                <a:spcPts val="0"/>
              </a:spcAft>
              <a:buNone/>
              <a:defRPr sz="1400">
                <a:solidFill>
                  <a:schemeClr val="dk1"/>
                </a:solidFill>
              </a:defRPr>
            </a:lvl2pPr>
            <a:lvl3pPr lvl="2" algn="r" rtl="0">
              <a:lnSpc>
                <a:spcPct val="100000"/>
              </a:lnSpc>
              <a:spcBef>
                <a:spcPts val="0"/>
              </a:spcBef>
              <a:spcAft>
                <a:spcPts val="0"/>
              </a:spcAft>
              <a:buNone/>
              <a:defRPr sz="1400">
                <a:solidFill>
                  <a:schemeClr val="dk1"/>
                </a:solidFill>
              </a:defRPr>
            </a:lvl3pPr>
            <a:lvl4pPr lvl="3" algn="r" rtl="0">
              <a:lnSpc>
                <a:spcPct val="100000"/>
              </a:lnSpc>
              <a:spcBef>
                <a:spcPts val="0"/>
              </a:spcBef>
              <a:spcAft>
                <a:spcPts val="0"/>
              </a:spcAft>
              <a:buNone/>
              <a:defRPr sz="1400">
                <a:solidFill>
                  <a:schemeClr val="dk1"/>
                </a:solidFill>
              </a:defRPr>
            </a:lvl4pPr>
            <a:lvl5pPr lvl="4" algn="r" rtl="0">
              <a:lnSpc>
                <a:spcPct val="100000"/>
              </a:lnSpc>
              <a:spcBef>
                <a:spcPts val="0"/>
              </a:spcBef>
              <a:spcAft>
                <a:spcPts val="0"/>
              </a:spcAft>
              <a:buNone/>
              <a:defRPr sz="1400">
                <a:solidFill>
                  <a:schemeClr val="dk1"/>
                </a:solidFill>
              </a:defRPr>
            </a:lvl5pPr>
            <a:lvl6pPr lvl="5" algn="r" rtl="0">
              <a:lnSpc>
                <a:spcPct val="100000"/>
              </a:lnSpc>
              <a:spcBef>
                <a:spcPts val="0"/>
              </a:spcBef>
              <a:spcAft>
                <a:spcPts val="0"/>
              </a:spcAft>
              <a:buNone/>
              <a:defRPr sz="1400">
                <a:solidFill>
                  <a:schemeClr val="dk1"/>
                </a:solidFill>
              </a:defRPr>
            </a:lvl6pPr>
            <a:lvl7pPr lvl="6" algn="r" rtl="0">
              <a:lnSpc>
                <a:spcPct val="100000"/>
              </a:lnSpc>
              <a:spcBef>
                <a:spcPts val="0"/>
              </a:spcBef>
              <a:spcAft>
                <a:spcPts val="0"/>
              </a:spcAft>
              <a:buNone/>
              <a:defRPr sz="1400">
                <a:solidFill>
                  <a:schemeClr val="dk1"/>
                </a:solidFill>
              </a:defRPr>
            </a:lvl7pPr>
            <a:lvl8pPr lvl="7" algn="r" rtl="0">
              <a:lnSpc>
                <a:spcPct val="100000"/>
              </a:lnSpc>
              <a:spcBef>
                <a:spcPts val="0"/>
              </a:spcBef>
              <a:spcAft>
                <a:spcPts val="0"/>
              </a:spcAft>
              <a:buNone/>
              <a:defRPr sz="1400">
                <a:solidFill>
                  <a:schemeClr val="dk1"/>
                </a:solidFill>
              </a:defRPr>
            </a:lvl8pPr>
            <a:lvl9pPr lvl="8" algn="r" rtl="0">
              <a:lnSpc>
                <a:spcPct val="100000"/>
              </a:lnSpc>
              <a:spcBef>
                <a:spcPts val="0"/>
              </a:spcBef>
              <a:spcAft>
                <a:spcPts val="0"/>
              </a:spcAft>
              <a:buNone/>
              <a:defRPr sz="1400">
                <a:solidFill>
                  <a:schemeClr val="dk1"/>
                </a:solidFill>
              </a:defRPr>
            </a:lvl9pPr>
          </a:lstStyle>
          <a:p>
            <a:endParaRPr/>
          </a:p>
        </p:txBody>
      </p:sp>
      <p:sp>
        <p:nvSpPr>
          <p:cNvPr id="119" name="Google Shape;119;p19"/>
          <p:cNvSpPr txBox="1">
            <a:spLocks noGrp="1"/>
          </p:cNvSpPr>
          <p:nvPr>
            <p:ph type="subTitle" idx="5"/>
          </p:nvPr>
        </p:nvSpPr>
        <p:spPr>
          <a:xfrm>
            <a:off x="3156090" y="1570850"/>
            <a:ext cx="2479500" cy="423900"/>
          </a:xfrm>
          <a:prstGeom prst="rect">
            <a:avLst/>
          </a:prstGeom>
        </p:spPr>
        <p:txBody>
          <a:bodyPr spcFirstLastPara="1" wrap="square" lIns="91425" tIns="91425" rIns="91425" bIns="91425" anchor="t" anchorCtr="0">
            <a:noAutofit/>
          </a:bodyPr>
          <a:lstStyle>
            <a:lvl1pPr lvl="0" algn="r" rtl="0">
              <a:spcBef>
                <a:spcPts val="0"/>
              </a:spcBef>
              <a:spcAft>
                <a:spcPts val="0"/>
              </a:spcAft>
              <a:buNone/>
              <a:defRPr b="1">
                <a:solidFill>
                  <a:schemeClr val="accent1"/>
                </a:solidFill>
              </a:defRPr>
            </a:lvl1pPr>
            <a:lvl2pPr lvl="1" algn="r" rtl="0">
              <a:spcBef>
                <a:spcPts val="1600"/>
              </a:spcBef>
              <a:spcAft>
                <a:spcPts val="0"/>
              </a:spcAft>
              <a:buNone/>
              <a:defRPr b="1">
                <a:solidFill>
                  <a:schemeClr val="accent1"/>
                </a:solidFill>
              </a:defRPr>
            </a:lvl2pPr>
            <a:lvl3pPr lvl="2" algn="r" rtl="0">
              <a:spcBef>
                <a:spcPts val="1600"/>
              </a:spcBef>
              <a:spcAft>
                <a:spcPts val="0"/>
              </a:spcAft>
              <a:buNone/>
              <a:defRPr b="1">
                <a:solidFill>
                  <a:schemeClr val="accent1"/>
                </a:solidFill>
              </a:defRPr>
            </a:lvl3pPr>
            <a:lvl4pPr lvl="3" algn="r" rtl="0">
              <a:spcBef>
                <a:spcPts val="1600"/>
              </a:spcBef>
              <a:spcAft>
                <a:spcPts val="0"/>
              </a:spcAft>
              <a:buNone/>
              <a:defRPr b="1">
                <a:solidFill>
                  <a:schemeClr val="accent1"/>
                </a:solidFill>
              </a:defRPr>
            </a:lvl4pPr>
            <a:lvl5pPr lvl="4" algn="r" rtl="0">
              <a:spcBef>
                <a:spcPts val="1600"/>
              </a:spcBef>
              <a:spcAft>
                <a:spcPts val="0"/>
              </a:spcAft>
              <a:buNone/>
              <a:defRPr b="1">
                <a:solidFill>
                  <a:schemeClr val="accent1"/>
                </a:solidFill>
              </a:defRPr>
            </a:lvl5pPr>
            <a:lvl6pPr lvl="5" algn="r" rtl="0">
              <a:spcBef>
                <a:spcPts val="1600"/>
              </a:spcBef>
              <a:spcAft>
                <a:spcPts val="0"/>
              </a:spcAft>
              <a:buNone/>
              <a:defRPr b="1">
                <a:solidFill>
                  <a:schemeClr val="accent1"/>
                </a:solidFill>
              </a:defRPr>
            </a:lvl6pPr>
            <a:lvl7pPr lvl="6" algn="r" rtl="0">
              <a:spcBef>
                <a:spcPts val="1600"/>
              </a:spcBef>
              <a:spcAft>
                <a:spcPts val="0"/>
              </a:spcAft>
              <a:buNone/>
              <a:defRPr b="1">
                <a:solidFill>
                  <a:schemeClr val="accent1"/>
                </a:solidFill>
              </a:defRPr>
            </a:lvl7pPr>
            <a:lvl8pPr lvl="7" algn="r" rtl="0">
              <a:spcBef>
                <a:spcPts val="1600"/>
              </a:spcBef>
              <a:spcAft>
                <a:spcPts val="0"/>
              </a:spcAft>
              <a:buNone/>
              <a:defRPr b="1">
                <a:solidFill>
                  <a:schemeClr val="accent1"/>
                </a:solidFill>
              </a:defRPr>
            </a:lvl8pPr>
            <a:lvl9pPr lvl="8" algn="r" rtl="0">
              <a:spcBef>
                <a:spcPts val="1600"/>
              </a:spcBef>
              <a:spcAft>
                <a:spcPts val="1600"/>
              </a:spcAft>
              <a:buNone/>
              <a:defRPr b="1">
                <a:solidFill>
                  <a:schemeClr val="accent1"/>
                </a:solidFill>
              </a:defRPr>
            </a:lvl9pPr>
          </a:lstStyle>
          <a:p>
            <a:endParaRPr/>
          </a:p>
        </p:txBody>
      </p:sp>
      <p:sp>
        <p:nvSpPr>
          <p:cNvPr id="120" name="Google Shape;120;p19"/>
          <p:cNvSpPr txBox="1">
            <a:spLocks noGrp="1"/>
          </p:cNvSpPr>
          <p:nvPr>
            <p:ph type="subTitle" idx="6"/>
          </p:nvPr>
        </p:nvSpPr>
        <p:spPr>
          <a:xfrm>
            <a:off x="3156036" y="1941975"/>
            <a:ext cx="2479500" cy="872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None/>
              <a:defRPr sz="1400">
                <a:solidFill>
                  <a:schemeClr val="dk1"/>
                </a:solidFill>
              </a:defRPr>
            </a:lvl1pPr>
            <a:lvl2pPr lvl="1" algn="r" rtl="0">
              <a:lnSpc>
                <a:spcPct val="100000"/>
              </a:lnSpc>
              <a:spcBef>
                <a:spcPts val="0"/>
              </a:spcBef>
              <a:spcAft>
                <a:spcPts val="0"/>
              </a:spcAft>
              <a:buNone/>
              <a:defRPr sz="1400">
                <a:solidFill>
                  <a:schemeClr val="dk1"/>
                </a:solidFill>
              </a:defRPr>
            </a:lvl2pPr>
            <a:lvl3pPr lvl="2" algn="r" rtl="0">
              <a:lnSpc>
                <a:spcPct val="100000"/>
              </a:lnSpc>
              <a:spcBef>
                <a:spcPts val="0"/>
              </a:spcBef>
              <a:spcAft>
                <a:spcPts val="0"/>
              </a:spcAft>
              <a:buNone/>
              <a:defRPr sz="1400">
                <a:solidFill>
                  <a:schemeClr val="dk1"/>
                </a:solidFill>
              </a:defRPr>
            </a:lvl3pPr>
            <a:lvl4pPr lvl="3" algn="r" rtl="0">
              <a:lnSpc>
                <a:spcPct val="100000"/>
              </a:lnSpc>
              <a:spcBef>
                <a:spcPts val="0"/>
              </a:spcBef>
              <a:spcAft>
                <a:spcPts val="0"/>
              </a:spcAft>
              <a:buNone/>
              <a:defRPr sz="1400">
                <a:solidFill>
                  <a:schemeClr val="dk1"/>
                </a:solidFill>
              </a:defRPr>
            </a:lvl4pPr>
            <a:lvl5pPr lvl="4" algn="r" rtl="0">
              <a:lnSpc>
                <a:spcPct val="100000"/>
              </a:lnSpc>
              <a:spcBef>
                <a:spcPts val="0"/>
              </a:spcBef>
              <a:spcAft>
                <a:spcPts val="0"/>
              </a:spcAft>
              <a:buNone/>
              <a:defRPr sz="1400">
                <a:solidFill>
                  <a:schemeClr val="dk1"/>
                </a:solidFill>
              </a:defRPr>
            </a:lvl5pPr>
            <a:lvl6pPr lvl="5" algn="r" rtl="0">
              <a:lnSpc>
                <a:spcPct val="100000"/>
              </a:lnSpc>
              <a:spcBef>
                <a:spcPts val="0"/>
              </a:spcBef>
              <a:spcAft>
                <a:spcPts val="0"/>
              </a:spcAft>
              <a:buNone/>
              <a:defRPr sz="1400">
                <a:solidFill>
                  <a:schemeClr val="dk1"/>
                </a:solidFill>
              </a:defRPr>
            </a:lvl6pPr>
            <a:lvl7pPr lvl="6" algn="r" rtl="0">
              <a:lnSpc>
                <a:spcPct val="100000"/>
              </a:lnSpc>
              <a:spcBef>
                <a:spcPts val="0"/>
              </a:spcBef>
              <a:spcAft>
                <a:spcPts val="0"/>
              </a:spcAft>
              <a:buNone/>
              <a:defRPr sz="1400">
                <a:solidFill>
                  <a:schemeClr val="dk1"/>
                </a:solidFill>
              </a:defRPr>
            </a:lvl7pPr>
            <a:lvl8pPr lvl="7" algn="r" rtl="0">
              <a:lnSpc>
                <a:spcPct val="100000"/>
              </a:lnSpc>
              <a:spcBef>
                <a:spcPts val="0"/>
              </a:spcBef>
              <a:spcAft>
                <a:spcPts val="0"/>
              </a:spcAft>
              <a:buNone/>
              <a:defRPr sz="1400">
                <a:solidFill>
                  <a:schemeClr val="dk1"/>
                </a:solidFill>
              </a:defRPr>
            </a:lvl8pPr>
            <a:lvl9pPr lvl="8" algn="r" rtl="0">
              <a:lnSpc>
                <a:spcPct val="100000"/>
              </a:lnSpc>
              <a:spcBef>
                <a:spcPts val="0"/>
              </a:spcBef>
              <a:spcAft>
                <a:spcPts val="0"/>
              </a:spcAft>
              <a:buNone/>
              <a:defRPr sz="1400">
                <a:solidFill>
                  <a:schemeClr val="dk1"/>
                </a:solidFill>
              </a:defRPr>
            </a:lvl9pPr>
          </a:lstStyle>
          <a:p>
            <a:endParaRPr/>
          </a:p>
        </p:txBody>
      </p:sp>
      <p:sp>
        <p:nvSpPr>
          <p:cNvPr id="121" name="Google Shape;121;p19"/>
          <p:cNvSpPr txBox="1">
            <a:spLocks noGrp="1"/>
          </p:cNvSpPr>
          <p:nvPr>
            <p:ph type="subTitle" idx="7"/>
          </p:nvPr>
        </p:nvSpPr>
        <p:spPr>
          <a:xfrm>
            <a:off x="3156026" y="3064926"/>
            <a:ext cx="2479500" cy="340200"/>
          </a:xfrm>
          <a:prstGeom prst="rect">
            <a:avLst/>
          </a:prstGeom>
        </p:spPr>
        <p:txBody>
          <a:bodyPr spcFirstLastPara="1" wrap="square" lIns="91425" tIns="91425" rIns="91425" bIns="91425" anchor="t" anchorCtr="0">
            <a:noAutofit/>
          </a:bodyPr>
          <a:lstStyle>
            <a:lvl1pPr lvl="0" algn="r" rtl="0">
              <a:spcBef>
                <a:spcPts val="0"/>
              </a:spcBef>
              <a:spcAft>
                <a:spcPts val="0"/>
              </a:spcAft>
              <a:buNone/>
              <a:defRPr b="1">
                <a:solidFill>
                  <a:schemeClr val="accent1"/>
                </a:solidFill>
              </a:defRPr>
            </a:lvl1pPr>
            <a:lvl2pPr lvl="1" algn="r" rtl="0">
              <a:spcBef>
                <a:spcPts val="1600"/>
              </a:spcBef>
              <a:spcAft>
                <a:spcPts val="0"/>
              </a:spcAft>
              <a:buNone/>
              <a:defRPr b="1">
                <a:solidFill>
                  <a:schemeClr val="accent1"/>
                </a:solidFill>
              </a:defRPr>
            </a:lvl2pPr>
            <a:lvl3pPr lvl="2" algn="r" rtl="0">
              <a:spcBef>
                <a:spcPts val="1600"/>
              </a:spcBef>
              <a:spcAft>
                <a:spcPts val="0"/>
              </a:spcAft>
              <a:buNone/>
              <a:defRPr b="1">
                <a:solidFill>
                  <a:schemeClr val="accent1"/>
                </a:solidFill>
              </a:defRPr>
            </a:lvl3pPr>
            <a:lvl4pPr lvl="3" algn="r" rtl="0">
              <a:spcBef>
                <a:spcPts val="1600"/>
              </a:spcBef>
              <a:spcAft>
                <a:spcPts val="0"/>
              </a:spcAft>
              <a:buNone/>
              <a:defRPr b="1">
                <a:solidFill>
                  <a:schemeClr val="accent1"/>
                </a:solidFill>
              </a:defRPr>
            </a:lvl4pPr>
            <a:lvl5pPr lvl="4" algn="r" rtl="0">
              <a:spcBef>
                <a:spcPts val="1600"/>
              </a:spcBef>
              <a:spcAft>
                <a:spcPts val="0"/>
              </a:spcAft>
              <a:buNone/>
              <a:defRPr b="1">
                <a:solidFill>
                  <a:schemeClr val="accent1"/>
                </a:solidFill>
              </a:defRPr>
            </a:lvl5pPr>
            <a:lvl6pPr lvl="5" algn="r" rtl="0">
              <a:spcBef>
                <a:spcPts val="1600"/>
              </a:spcBef>
              <a:spcAft>
                <a:spcPts val="0"/>
              </a:spcAft>
              <a:buNone/>
              <a:defRPr b="1">
                <a:solidFill>
                  <a:schemeClr val="accent1"/>
                </a:solidFill>
              </a:defRPr>
            </a:lvl6pPr>
            <a:lvl7pPr lvl="6" algn="r" rtl="0">
              <a:spcBef>
                <a:spcPts val="1600"/>
              </a:spcBef>
              <a:spcAft>
                <a:spcPts val="0"/>
              </a:spcAft>
              <a:buNone/>
              <a:defRPr b="1">
                <a:solidFill>
                  <a:schemeClr val="accent1"/>
                </a:solidFill>
              </a:defRPr>
            </a:lvl7pPr>
            <a:lvl8pPr lvl="7" algn="r" rtl="0">
              <a:spcBef>
                <a:spcPts val="1600"/>
              </a:spcBef>
              <a:spcAft>
                <a:spcPts val="0"/>
              </a:spcAft>
              <a:buNone/>
              <a:defRPr b="1">
                <a:solidFill>
                  <a:schemeClr val="accent1"/>
                </a:solidFill>
              </a:defRPr>
            </a:lvl8pPr>
            <a:lvl9pPr lvl="8" algn="r" rtl="0">
              <a:spcBef>
                <a:spcPts val="1600"/>
              </a:spcBef>
              <a:spcAft>
                <a:spcPts val="1600"/>
              </a:spcAft>
              <a:buNone/>
              <a:defRPr b="1">
                <a:solidFill>
                  <a:schemeClr val="accent1"/>
                </a:solidFill>
              </a:defRPr>
            </a:lvl9pPr>
          </a:lstStyle>
          <a:p>
            <a:endParaRPr/>
          </a:p>
        </p:txBody>
      </p:sp>
      <p:sp>
        <p:nvSpPr>
          <p:cNvPr id="122" name="Google Shape;122;p19"/>
          <p:cNvSpPr txBox="1">
            <a:spLocks noGrp="1"/>
          </p:cNvSpPr>
          <p:nvPr>
            <p:ph type="subTitle" idx="8"/>
          </p:nvPr>
        </p:nvSpPr>
        <p:spPr>
          <a:xfrm>
            <a:off x="3155976" y="3436049"/>
            <a:ext cx="2479500" cy="872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None/>
              <a:defRPr sz="1400">
                <a:solidFill>
                  <a:schemeClr val="dk1"/>
                </a:solidFill>
              </a:defRPr>
            </a:lvl1pPr>
            <a:lvl2pPr lvl="1" algn="r" rtl="0">
              <a:lnSpc>
                <a:spcPct val="100000"/>
              </a:lnSpc>
              <a:spcBef>
                <a:spcPts val="1600"/>
              </a:spcBef>
              <a:spcAft>
                <a:spcPts val="0"/>
              </a:spcAft>
              <a:buNone/>
              <a:defRPr sz="1400">
                <a:solidFill>
                  <a:schemeClr val="dk1"/>
                </a:solidFill>
              </a:defRPr>
            </a:lvl2pPr>
            <a:lvl3pPr lvl="2" algn="r" rtl="0">
              <a:lnSpc>
                <a:spcPct val="100000"/>
              </a:lnSpc>
              <a:spcBef>
                <a:spcPts val="1600"/>
              </a:spcBef>
              <a:spcAft>
                <a:spcPts val="0"/>
              </a:spcAft>
              <a:buNone/>
              <a:defRPr sz="1400">
                <a:solidFill>
                  <a:schemeClr val="dk1"/>
                </a:solidFill>
              </a:defRPr>
            </a:lvl3pPr>
            <a:lvl4pPr lvl="3" algn="r" rtl="0">
              <a:lnSpc>
                <a:spcPct val="100000"/>
              </a:lnSpc>
              <a:spcBef>
                <a:spcPts val="1600"/>
              </a:spcBef>
              <a:spcAft>
                <a:spcPts val="0"/>
              </a:spcAft>
              <a:buNone/>
              <a:defRPr sz="1400">
                <a:solidFill>
                  <a:schemeClr val="dk1"/>
                </a:solidFill>
              </a:defRPr>
            </a:lvl4pPr>
            <a:lvl5pPr lvl="4" algn="r" rtl="0">
              <a:lnSpc>
                <a:spcPct val="100000"/>
              </a:lnSpc>
              <a:spcBef>
                <a:spcPts val="1600"/>
              </a:spcBef>
              <a:spcAft>
                <a:spcPts val="0"/>
              </a:spcAft>
              <a:buNone/>
              <a:defRPr sz="1400">
                <a:solidFill>
                  <a:schemeClr val="dk1"/>
                </a:solidFill>
              </a:defRPr>
            </a:lvl5pPr>
            <a:lvl6pPr lvl="5" algn="r" rtl="0">
              <a:lnSpc>
                <a:spcPct val="100000"/>
              </a:lnSpc>
              <a:spcBef>
                <a:spcPts val="1600"/>
              </a:spcBef>
              <a:spcAft>
                <a:spcPts val="0"/>
              </a:spcAft>
              <a:buNone/>
              <a:defRPr sz="1400">
                <a:solidFill>
                  <a:schemeClr val="dk1"/>
                </a:solidFill>
              </a:defRPr>
            </a:lvl6pPr>
            <a:lvl7pPr lvl="6" algn="r" rtl="0">
              <a:lnSpc>
                <a:spcPct val="100000"/>
              </a:lnSpc>
              <a:spcBef>
                <a:spcPts val="1600"/>
              </a:spcBef>
              <a:spcAft>
                <a:spcPts val="0"/>
              </a:spcAft>
              <a:buNone/>
              <a:defRPr sz="1400">
                <a:solidFill>
                  <a:schemeClr val="dk1"/>
                </a:solidFill>
              </a:defRPr>
            </a:lvl7pPr>
            <a:lvl8pPr lvl="7" algn="r" rtl="0">
              <a:lnSpc>
                <a:spcPct val="100000"/>
              </a:lnSpc>
              <a:spcBef>
                <a:spcPts val="1600"/>
              </a:spcBef>
              <a:spcAft>
                <a:spcPts val="0"/>
              </a:spcAft>
              <a:buNone/>
              <a:defRPr sz="1400">
                <a:solidFill>
                  <a:schemeClr val="dk1"/>
                </a:solidFill>
              </a:defRPr>
            </a:lvl8pPr>
            <a:lvl9pPr lvl="8" algn="r" rtl="0">
              <a:lnSpc>
                <a:spcPct val="100000"/>
              </a:lnSpc>
              <a:spcBef>
                <a:spcPts val="1600"/>
              </a:spcBef>
              <a:spcAft>
                <a:spcPts val="1600"/>
              </a:spcAft>
              <a:buNone/>
              <a:defRPr sz="1400">
                <a:solidFill>
                  <a:schemeClr val="dk1"/>
                </a:solidFill>
              </a:defRPr>
            </a:lvl9pPr>
          </a:lstStyle>
          <a:p>
            <a:endParaRPr/>
          </a:p>
        </p:txBody>
      </p:sp>
      <p:sp>
        <p:nvSpPr>
          <p:cNvPr id="123" name="Google Shape;123;p19"/>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lvl1pPr lvl="0" algn="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24" name="Google Shape;124;p19"/>
          <p:cNvSpPr/>
          <p:nvPr/>
        </p:nvSpPr>
        <p:spPr>
          <a:xfrm rot="10800000">
            <a:off x="0" y="257175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19"/>
          <p:cNvSpPr/>
          <p:nvPr/>
        </p:nvSpPr>
        <p:spPr>
          <a:xfrm rot="10800000">
            <a:off x="1216200" y="1061825"/>
            <a:ext cx="1216200" cy="15099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1">
  <p:cSld name="CUSTOM_6">
    <p:spTree>
      <p:nvGrpSpPr>
        <p:cNvPr id="1" name="Shape 126"/>
        <p:cNvGrpSpPr/>
        <p:nvPr/>
      </p:nvGrpSpPr>
      <p:grpSpPr>
        <a:xfrm>
          <a:off x="0" y="0"/>
          <a:ext cx="0" cy="0"/>
          <a:chOff x="0" y="0"/>
          <a:chExt cx="0" cy="0"/>
        </a:xfrm>
      </p:grpSpPr>
      <p:sp>
        <p:nvSpPr>
          <p:cNvPr id="127" name="Google Shape;127;p20"/>
          <p:cNvSpPr txBox="1">
            <a:spLocks noGrp="1"/>
          </p:cNvSpPr>
          <p:nvPr>
            <p:ph type="title"/>
          </p:nvPr>
        </p:nvSpPr>
        <p:spPr>
          <a:xfrm>
            <a:off x="3984975" y="1495800"/>
            <a:ext cx="4055400" cy="723000"/>
          </a:xfrm>
          <a:prstGeom prst="rect">
            <a:avLst/>
          </a:prstGeom>
        </p:spPr>
        <p:txBody>
          <a:bodyPr spcFirstLastPara="1" wrap="square" lIns="91425" tIns="91425" rIns="91425" bIns="91425" anchor="t" anchorCtr="0">
            <a:noAutofit/>
          </a:bodyPr>
          <a:lstStyle>
            <a:lvl1pPr lvl="0" algn="r">
              <a:spcBef>
                <a:spcPts val="0"/>
              </a:spcBef>
              <a:spcAft>
                <a:spcPts val="0"/>
              </a:spcAft>
              <a:buClr>
                <a:schemeClr val="accent1"/>
              </a:buClr>
              <a:buSzPts val="2800"/>
              <a:buNone/>
              <a:defRPr>
                <a:solidFill>
                  <a:schemeClr val="accen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28" name="Google Shape;128;p20"/>
          <p:cNvSpPr txBox="1">
            <a:spLocks noGrp="1"/>
          </p:cNvSpPr>
          <p:nvPr>
            <p:ph type="subTitle" idx="1"/>
          </p:nvPr>
        </p:nvSpPr>
        <p:spPr>
          <a:xfrm>
            <a:off x="3994375" y="2142600"/>
            <a:ext cx="4055400" cy="1505100"/>
          </a:xfrm>
          <a:prstGeom prst="rect">
            <a:avLst/>
          </a:prstGeom>
        </p:spPr>
        <p:txBody>
          <a:bodyPr spcFirstLastPara="1" wrap="square" lIns="91425" tIns="91425" rIns="91425" bIns="91425" anchor="t" anchorCtr="0">
            <a:noAutofit/>
          </a:bodyPr>
          <a:lstStyle>
            <a:lvl1pPr lvl="0" algn="r">
              <a:spcBef>
                <a:spcPts val="0"/>
              </a:spcBef>
              <a:spcAft>
                <a:spcPts val="0"/>
              </a:spcAft>
              <a:buClr>
                <a:schemeClr val="dk1"/>
              </a:buClr>
              <a:buSzPts val="1400"/>
              <a:buNone/>
              <a:defRPr sz="1400">
                <a:solidFill>
                  <a:schemeClr val="dk1"/>
                </a:solidFill>
              </a:defRPr>
            </a:lvl1pPr>
            <a:lvl2pPr lvl="1">
              <a:spcBef>
                <a:spcPts val="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129" name="Google Shape;129;p20"/>
          <p:cNvSpPr/>
          <p:nvPr/>
        </p:nvSpPr>
        <p:spPr>
          <a:xfrm rot="10800000" flipH="1">
            <a:off x="0" y="2571825"/>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20"/>
          <p:cNvSpPr/>
          <p:nvPr/>
        </p:nvSpPr>
        <p:spPr>
          <a:xfrm rot="10800000" flipH="1">
            <a:off x="1219200" y="1247175"/>
            <a:ext cx="1216200" cy="13245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One column text 2">
  <p:cSld name="CUSTOM_10">
    <p:spTree>
      <p:nvGrpSpPr>
        <p:cNvPr id="1" name="Shape 131"/>
        <p:cNvGrpSpPr/>
        <p:nvPr/>
      </p:nvGrpSpPr>
      <p:grpSpPr>
        <a:xfrm>
          <a:off x="0" y="0"/>
          <a:ext cx="0" cy="0"/>
          <a:chOff x="0" y="0"/>
          <a:chExt cx="0" cy="0"/>
        </a:xfrm>
      </p:grpSpPr>
      <p:sp>
        <p:nvSpPr>
          <p:cNvPr id="132" name="Google Shape;132;p21"/>
          <p:cNvSpPr txBox="1">
            <a:spLocks noGrp="1"/>
          </p:cNvSpPr>
          <p:nvPr>
            <p:ph type="title"/>
          </p:nvPr>
        </p:nvSpPr>
        <p:spPr>
          <a:xfrm>
            <a:off x="3730075" y="1631700"/>
            <a:ext cx="4700700" cy="1090200"/>
          </a:xfrm>
          <a:prstGeom prst="rect">
            <a:avLst/>
          </a:prstGeom>
        </p:spPr>
        <p:txBody>
          <a:bodyPr spcFirstLastPara="1" wrap="square" lIns="91425" tIns="91425" rIns="91425" bIns="91425" anchor="t" anchorCtr="0">
            <a:noAutofit/>
          </a:bodyPr>
          <a:lstStyle>
            <a:lvl1pPr lvl="0" algn="r" rtl="0">
              <a:spcBef>
                <a:spcPts val="0"/>
              </a:spcBef>
              <a:spcAft>
                <a:spcPts val="0"/>
              </a:spcAft>
              <a:buClr>
                <a:schemeClr val="accent1"/>
              </a:buClr>
              <a:buSzPts val="2800"/>
              <a:buNone/>
              <a:defRPr sz="3000">
                <a:solidFill>
                  <a:schemeClr val="accen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33" name="Google Shape;133;p21"/>
          <p:cNvSpPr txBox="1">
            <a:spLocks noGrp="1"/>
          </p:cNvSpPr>
          <p:nvPr>
            <p:ph type="subTitle" idx="1"/>
          </p:nvPr>
        </p:nvSpPr>
        <p:spPr>
          <a:xfrm>
            <a:off x="3730075" y="2726700"/>
            <a:ext cx="4700700" cy="861300"/>
          </a:xfrm>
          <a:prstGeom prst="rect">
            <a:avLst/>
          </a:prstGeom>
        </p:spPr>
        <p:txBody>
          <a:bodyPr spcFirstLastPara="1" wrap="square" lIns="91425" tIns="91425" rIns="91425" bIns="91425" anchor="t" anchorCtr="0">
            <a:noAutofit/>
          </a:bodyPr>
          <a:lstStyle>
            <a:lvl1pPr lvl="0" algn="r" rtl="0">
              <a:spcBef>
                <a:spcPts val="0"/>
              </a:spcBef>
              <a:spcAft>
                <a:spcPts val="0"/>
              </a:spcAft>
              <a:buClr>
                <a:schemeClr val="dk1"/>
              </a:buClr>
              <a:buSzPts val="1400"/>
              <a:buNone/>
              <a:defRPr sz="1400">
                <a:solidFill>
                  <a:schemeClr val="dk1"/>
                </a:solidFill>
              </a:defRPr>
            </a:lvl1pPr>
            <a:lvl2pPr lvl="1" rtl="0">
              <a:spcBef>
                <a:spcPts val="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134" name="Google Shape;134;p21"/>
          <p:cNvSpPr/>
          <p:nvPr/>
        </p:nvSpPr>
        <p:spPr>
          <a:xfrm rot="10800000" flipH="1">
            <a:off x="2110925" y="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21"/>
          <p:cNvSpPr/>
          <p:nvPr/>
        </p:nvSpPr>
        <p:spPr>
          <a:xfrm rot="10800000" flipH="1">
            <a:off x="0" y="257175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2"/>
        <p:cNvGrpSpPr/>
        <p:nvPr/>
      </p:nvGrpSpPr>
      <p:grpSpPr>
        <a:xfrm>
          <a:off x="0" y="0"/>
          <a:ext cx="0" cy="0"/>
          <a:chOff x="0" y="0"/>
          <a:chExt cx="0" cy="0"/>
        </a:xfrm>
      </p:grpSpPr>
      <p:sp>
        <p:nvSpPr>
          <p:cNvPr id="13" name="Google Shape;13;p3"/>
          <p:cNvSpPr txBox="1">
            <a:spLocks noGrp="1"/>
          </p:cNvSpPr>
          <p:nvPr>
            <p:ph type="title"/>
          </p:nvPr>
        </p:nvSpPr>
        <p:spPr>
          <a:xfrm>
            <a:off x="3968425" y="2227050"/>
            <a:ext cx="4462500" cy="841800"/>
          </a:xfrm>
          <a:prstGeom prst="rect">
            <a:avLst/>
          </a:prstGeom>
        </p:spPr>
        <p:txBody>
          <a:bodyPr spcFirstLastPara="1" wrap="square" lIns="91425" tIns="91425" rIns="91425" bIns="91425" anchor="ctr" anchorCtr="0">
            <a:noAutofit/>
          </a:bodyPr>
          <a:lstStyle>
            <a:lvl1pPr lvl="0" algn="r">
              <a:spcBef>
                <a:spcPts val="0"/>
              </a:spcBef>
              <a:spcAft>
                <a:spcPts val="0"/>
              </a:spcAft>
              <a:buSzPts val="3600"/>
              <a:buNone/>
              <a:defRPr sz="4700">
                <a:solidFill>
                  <a:schemeClr val="accent1"/>
                </a:solidFill>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4" name="Google Shape;14;p3"/>
          <p:cNvSpPr txBox="1">
            <a:spLocks noGrp="1"/>
          </p:cNvSpPr>
          <p:nvPr>
            <p:ph type="subTitle" idx="1"/>
          </p:nvPr>
        </p:nvSpPr>
        <p:spPr>
          <a:xfrm>
            <a:off x="3968275" y="3045375"/>
            <a:ext cx="4462500" cy="678000"/>
          </a:xfrm>
          <a:prstGeom prst="rect">
            <a:avLst/>
          </a:prstGeom>
        </p:spPr>
        <p:txBody>
          <a:bodyPr spcFirstLastPara="1" wrap="square" lIns="91425" tIns="91425" rIns="91425" bIns="91425" anchor="t" anchorCtr="0">
            <a:noAutofit/>
          </a:bodyPr>
          <a:lstStyle>
            <a:lvl1pPr lvl="0" algn="r">
              <a:spcBef>
                <a:spcPts val="0"/>
              </a:spcBef>
              <a:spcAft>
                <a:spcPts val="0"/>
              </a:spcAft>
              <a:buSzPts val="1800"/>
              <a:buNone/>
              <a:defRPr sz="1400"/>
            </a:lvl1pPr>
            <a:lvl2pPr lvl="1">
              <a:spcBef>
                <a:spcPts val="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15" name="Google Shape;15;p3"/>
          <p:cNvSpPr txBox="1">
            <a:spLocks noGrp="1"/>
          </p:cNvSpPr>
          <p:nvPr>
            <p:ph type="title" idx="2" hasCustomPrompt="1"/>
          </p:nvPr>
        </p:nvSpPr>
        <p:spPr>
          <a:xfrm>
            <a:off x="3968350" y="1262325"/>
            <a:ext cx="4462500" cy="1141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7200"/>
              <a:buNone/>
              <a:defRPr sz="7200">
                <a:solidFill>
                  <a:schemeClr val="dk2"/>
                </a:solidFill>
              </a:defRPr>
            </a:lvl1pPr>
            <a:lvl2pPr lvl="1" algn="ctr" rtl="0">
              <a:spcBef>
                <a:spcPts val="0"/>
              </a:spcBef>
              <a:spcAft>
                <a:spcPts val="0"/>
              </a:spcAft>
              <a:buSzPts val="7200"/>
              <a:buNone/>
              <a:defRPr sz="7200"/>
            </a:lvl2pPr>
            <a:lvl3pPr lvl="2" algn="ctr" rtl="0">
              <a:spcBef>
                <a:spcPts val="0"/>
              </a:spcBef>
              <a:spcAft>
                <a:spcPts val="0"/>
              </a:spcAft>
              <a:buSzPts val="7200"/>
              <a:buNone/>
              <a:defRPr sz="7200"/>
            </a:lvl3pPr>
            <a:lvl4pPr lvl="3" algn="ctr" rtl="0">
              <a:spcBef>
                <a:spcPts val="0"/>
              </a:spcBef>
              <a:spcAft>
                <a:spcPts val="0"/>
              </a:spcAft>
              <a:buSzPts val="7200"/>
              <a:buNone/>
              <a:defRPr sz="7200"/>
            </a:lvl4pPr>
            <a:lvl5pPr lvl="4" algn="ctr" rtl="0">
              <a:spcBef>
                <a:spcPts val="0"/>
              </a:spcBef>
              <a:spcAft>
                <a:spcPts val="0"/>
              </a:spcAft>
              <a:buSzPts val="7200"/>
              <a:buNone/>
              <a:defRPr sz="7200"/>
            </a:lvl5pPr>
            <a:lvl6pPr lvl="5" algn="ctr" rtl="0">
              <a:spcBef>
                <a:spcPts val="0"/>
              </a:spcBef>
              <a:spcAft>
                <a:spcPts val="0"/>
              </a:spcAft>
              <a:buSzPts val="7200"/>
              <a:buNone/>
              <a:defRPr sz="7200"/>
            </a:lvl6pPr>
            <a:lvl7pPr lvl="6" algn="ctr" rtl="0">
              <a:spcBef>
                <a:spcPts val="0"/>
              </a:spcBef>
              <a:spcAft>
                <a:spcPts val="0"/>
              </a:spcAft>
              <a:buSzPts val="7200"/>
              <a:buNone/>
              <a:defRPr sz="7200"/>
            </a:lvl7pPr>
            <a:lvl8pPr lvl="7" algn="ctr" rtl="0">
              <a:spcBef>
                <a:spcPts val="0"/>
              </a:spcBef>
              <a:spcAft>
                <a:spcPts val="0"/>
              </a:spcAft>
              <a:buSzPts val="7200"/>
              <a:buNone/>
              <a:defRPr sz="7200"/>
            </a:lvl8pPr>
            <a:lvl9pPr lvl="8" algn="ctr" rtl="0">
              <a:spcBef>
                <a:spcPts val="0"/>
              </a:spcBef>
              <a:spcAft>
                <a:spcPts val="0"/>
              </a:spcAft>
              <a:buSzPts val="7200"/>
              <a:buNone/>
              <a:defRPr sz="7200"/>
            </a:lvl9pPr>
          </a:lstStyle>
          <a:p>
            <a:r>
              <a:t>xx%</a:t>
            </a:r>
          </a:p>
        </p:txBody>
      </p:sp>
      <p:sp>
        <p:nvSpPr>
          <p:cNvPr id="16" name="Google Shape;16;p3"/>
          <p:cNvSpPr/>
          <p:nvPr/>
        </p:nvSpPr>
        <p:spPr>
          <a:xfrm rot="10800000" flipH="1">
            <a:off x="1441925" y="2571600"/>
            <a:ext cx="1216200" cy="1592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p3"/>
          <p:cNvSpPr/>
          <p:nvPr/>
        </p:nvSpPr>
        <p:spPr>
          <a:xfrm rot="10800000" flipH="1">
            <a:off x="2658125" y="0"/>
            <a:ext cx="1216200" cy="25716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1">
  <p:cSld name="CUSTOM_4">
    <p:spTree>
      <p:nvGrpSpPr>
        <p:cNvPr id="1" name="Shape 136"/>
        <p:cNvGrpSpPr/>
        <p:nvPr/>
      </p:nvGrpSpPr>
      <p:grpSpPr>
        <a:xfrm>
          <a:off x="0" y="0"/>
          <a:ext cx="0" cy="0"/>
          <a:chOff x="0" y="0"/>
          <a:chExt cx="0" cy="0"/>
        </a:xfrm>
      </p:grpSpPr>
      <p:sp>
        <p:nvSpPr>
          <p:cNvPr id="137" name="Google Shape;137;p22"/>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only 2">
  <p:cSld name="CUSTOM_7">
    <p:spTree>
      <p:nvGrpSpPr>
        <p:cNvPr id="1" name="Shape 138"/>
        <p:cNvGrpSpPr/>
        <p:nvPr/>
      </p:nvGrpSpPr>
      <p:grpSpPr>
        <a:xfrm>
          <a:off x="0" y="0"/>
          <a:ext cx="0" cy="0"/>
          <a:chOff x="0" y="0"/>
          <a:chExt cx="0" cy="0"/>
        </a:xfrm>
      </p:grpSpPr>
      <p:sp>
        <p:nvSpPr>
          <p:cNvPr id="139" name="Google Shape;139;p23"/>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40" name="Google Shape;140;p23"/>
          <p:cNvSpPr/>
          <p:nvPr/>
        </p:nvSpPr>
        <p:spPr>
          <a:xfrm flipH="1">
            <a:off x="50" y="4834275"/>
            <a:ext cx="4572000" cy="309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23"/>
          <p:cNvSpPr/>
          <p:nvPr/>
        </p:nvSpPr>
        <p:spPr>
          <a:xfrm flipH="1">
            <a:off x="4572000" y="483427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text">
  <p:cSld name="CUSTOM_9">
    <p:spTree>
      <p:nvGrpSpPr>
        <p:cNvPr id="1" name="Shape 142"/>
        <p:cNvGrpSpPr/>
        <p:nvPr/>
      </p:nvGrpSpPr>
      <p:grpSpPr>
        <a:xfrm>
          <a:off x="0" y="0"/>
          <a:ext cx="0" cy="0"/>
          <a:chOff x="0" y="0"/>
          <a:chExt cx="0" cy="0"/>
        </a:xfrm>
      </p:grpSpPr>
      <p:sp>
        <p:nvSpPr>
          <p:cNvPr id="143" name="Google Shape;143;p24"/>
          <p:cNvSpPr txBox="1">
            <a:spLocks noGrp="1"/>
          </p:cNvSpPr>
          <p:nvPr>
            <p:ph type="title"/>
          </p:nvPr>
        </p:nvSpPr>
        <p:spPr>
          <a:xfrm>
            <a:off x="717800" y="383175"/>
            <a:ext cx="7708200" cy="7404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44" name="Google Shape;144;p24"/>
          <p:cNvSpPr txBox="1">
            <a:spLocks noGrp="1"/>
          </p:cNvSpPr>
          <p:nvPr>
            <p:ph type="subTitle" idx="1"/>
          </p:nvPr>
        </p:nvSpPr>
        <p:spPr>
          <a:xfrm>
            <a:off x="717800" y="1255775"/>
            <a:ext cx="4631700" cy="3398100"/>
          </a:xfrm>
          <a:prstGeom prst="rect">
            <a:avLst/>
          </a:prstGeom>
        </p:spPr>
        <p:txBody>
          <a:bodyPr spcFirstLastPara="1" wrap="square" lIns="91425" tIns="91425" rIns="91425" bIns="91425" anchor="t" anchorCtr="0">
            <a:noAutofit/>
          </a:bodyPr>
          <a:lstStyle>
            <a:lvl1pPr lvl="0">
              <a:spcBef>
                <a:spcPts val="0"/>
              </a:spcBef>
              <a:spcAft>
                <a:spcPts val="0"/>
              </a:spcAft>
              <a:buSzPts val="1400"/>
              <a:buChar char="●"/>
              <a:defRPr sz="1400">
                <a:solidFill>
                  <a:schemeClr val="dk1"/>
                </a:solidFill>
              </a:defRPr>
            </a:lvl1pPr>
            <a:lvl2pPr lvl="1">
              <a:spcBef>
                <a:spcPts val="1600"/>
              </a:spcBef>
              <a:spcAft>
                <a:spcPts val="0"/>
              </a:spcAft>
              <a:buSzPts val="1400"/>
              <a:buChar char="○"/>
              <a:defRPr/>
            </a:lvl2pPr>
            <a:lvl3pPr lvl="2">
              <a:spcBef>
                <a:spcPts val="1600"/>
              </a:spcBef>
              <a:spcAft>
                <a:spcPts val="0"/>
              </a:spcAft>
              <a:buSzPts val="1400"/>
              <a:buChar char="■"/>
              <a:defRPr/>
            </a:lvl3pPr>
            <a:lvl4pPr lvl="3">
              <a:spcBef>
                <a:spcPts val="1600"/>
              </a:spcBef>
              <a:spcAft>
                <a:spcPts val="0"/>
              </a:spcAft>
              <a:buSzPts val="1400"/>
              <a:buChar char="●"/>
              <a:defRPr/>
            </a:lvl4pPr>
            <a:lvl5pPr lvl="4">
              <a:spcBef>
                <a:spcPts val="1600"/>
              </a:spcBef>
              <a:spcAft>
                <a:spcPts val="0"/>
              </a:spcAft>
              <a:buSzPts val="1400"/>
              <a:buChar char="○"/>
              <a:defRPr/>
            </a:lvl5pPr>
            <a:lvl6pPr lvl="5">
              <a:spcBef>
                <a:spcPts val="1600"/>
              </a:spcBef>
              <a:spcAft>
                <a:spcPts val="0"/>
              </a:spcAft>
              <a:buSzPts val="1400"/>
              <a:buChar char="■"/>
              <a:defRPr/>
            </a:lvl6pPr>
            <a:lvl7pPr lvl="6">
              <a:spcBef>
                <a:spcPts val="1600"/>
              </a:spcBef>
              <a:spcAft>
                <a:spcPts val="0"/>
              </a:spcAft>
              <a:buSzPts val="1400"/>
              <a:buChar char="●"/>
              <a:defRPr/>
            </a:lvl7pPr>
            <a:lvl8pPr lvl="7">
              <a:spcBef>
                <a:spcPts val="1600"/>
              </a:spcBef>
              <a:spcAft>
                <a:spcPts val="0"/>
              </a:spcAft>
              <a:buSzPts val="1400"/>
              <a:buChar char="○"/>
              <a:defRPr/>
            </a:lvl8pPr>
            <a:lvl9pPr lvl="8">
              <a:spcBef>
                <a:spcPts val="1600"/>
              </a:spcBef>
              <a:spcAft>
                <a:spcPts val="1600"/>
              </a:spcAft>
              <a:buSzPts val="1400"/>
              <a:buChar char="■"/>
              <a:defRPr/>
            </a:lvl9pPr>
          </a:lstStyle>
          <a:p>
            <a:endParaRPr/>
          </a:p>
        </p:txBody>
      </p:sp>
      <p:sp>
        <p:nvSpPr>
          <p:cNvPr id="145" name="Google Shape;145;p24"/>
          <p:cNvSpPr/>
          <p:nvPr/>
        </p:nvSpPr>
        <p:spPr>
          <a:xfrm>
            <a:off x="7927800" y="257160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Numbers and text">
  <p:cSld name="CUSTOM_11">
    <p:spTree>
      <p:nvGrpSpPr>
        <p:cNvPr id="1" name="Shape 146"/>
        <p:cNvGrpSpPr/>
        <p:nvPr/>
      </p:nvGrpSpPr>
      <p:grpSpPr>
        <a:xfrm>
          <a:off x="0" y="0"/>
          <a:ext cx="0" cy="0"/>
          <a:chOff x="0" y="0"/>
          <a:chExt cx="0" cy="0"/>
        </a:xfrm>
      </p:grpSpPr>
      <p:sp>
        <p:nvSpPr>
          <p:cNvPr id="147" name="Google Shape;147;p25"/>
          <p:cNvSpPr txBox="1">
            <a:spLocks noGrp="1"/>
          </p:cNvSpPr>
          <p:nvPr>
            <p:ph type="title" hasCustomPrompt="1"/>
          </p:nvPr>
        </p:nvSpPr>
        <p:spPr>
          <a:xfrm>
            <a:off x="750975" y="2819150"/>
            <a:ext cx="2164200" cy="6471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4800"/>
              <a:buNone/>
              <a:defRPr sz="3000">
                <a:solidFill>
                  <a:schemeClr val="dk2"/>
                </a:solidFill>
              </a:defRPr>
            </a:lvl1pPr>
            <a:lvl2pPr lvl="1" algn="r" rtl="0">
              <a:spcBef>
                <a:spcPts val="0"/>
              </a:spcBef>
              <a:spcAft>
                <a:spcPts val="0"/>
              </a:spcAft>
              <a:buSzPts val="12000"/>
              <a:buNone/>
              <a:defRPr sz="12000"/>
            </a:lvl2pPr>
            <a:lvl3pPr lvl="2" algn="r" rtl="0">
              <a:spcBef>
                <a:spcPts val="0"/>
              </a:spcBef>
              <a:spcAft>
                <a:spcPts val="0"/>
              </a:spcAft>
              <a:buSzPts val="12000"/>
              <a:buNone/>
              <a:defRPr sz="12000"/>
            </a:lvl3pPr>
            <a:lvl4pPr lvl="3" algn="r" rtl="0">
              <a:spcBef>
                <a:spcPts val="0"/>
              </a:spcBef>
              <a:spcAft>
                <a:spcPts val="0"/>
              </a:spcAft>
              <a:buSzPts val="12000"/>
              <a:buNone/>
              <a:defRPr sz="12000"/>
            </a:lvl4pPr>
            <a:lvl5pPr lvl="4" algn="r" rtl="0">
              <a:spcBef>
                <a:spcPts val="0"/>
              </a:spcBef>
              <a:spcAft>
                <a:spcPts val="0"/>
              </a:spcAft>
              <a:buSzPts val="12000"/>
              <a:buNone/>
              <a:defRPr sz="12000"/>
            </a:lvl5pPr>
            <a:lvl6pPr lvl="5" algn="r" rtl="0">
              <a:spcBef>
                <a:spcPts val="0"/>
              </a:spcBef>
              <a:spcAft>
                <a:spcPts val="0"/>
              </a:spcAft>
              <a:buSzPts val="12000"/>
              <a:buNone/>
              <a:defRPr sz="12000"/>
            </a:lvl6pPr>
            <a:lvl7pPr lvl="6" algn="r" rtl="0">
              <a:spcBef>
                <a:spcPts val="0"/>
              </a:spcBef>
              <a:spcAft>
                <a:spcPts val="0"/>
              </a:spcAft>
              <a:buSzPts val="12000"/>
              <a:buNone/>
              <a:defRPr sz="12000"/>
            </a:lvl7pPr>
            <a:lvl8pPr lvl="7" algn="r" rtl="0">
              <a:spcBef>
                <a:spcPts val="0"/>
              </a:spcBef>
              <a:spcAft>
                <a:spcPts val="0"/>
              </a:spcAft>
              <a:buSzPts val="12000"/>
              <a:buNone/>
              <a:defRPr sz="12000"/>
            </a:lvl8pPr>
            <a:lvl9pPr lvl="8" algn="r" rtl="0">
              <a:spcBef>
                <a:spcPts val="0"/>
              </a:spcBef>
              <a:spcAft>
                <a:spcPts val="0"/>
              </a:spcAft>
              <a:buSzPts val="12000"/>
              <a:buNone/>
              <a:defRPr sz="12000"/>
            </a:lvl9pPr>
          </a:lstStyle>
          <a:p>
            <a:r>
              <a:t>xx%</a:t>
            </a:r>
          </a:p>
        </p:txBody>
      </p:sp>
      <p:sp>
        <p:nvSpPr>
          <p:cNvPr id="148" name="Google Shape;148;p25"/>
          <p:cNvSpPr txBox="1">
            <a:spLocks noGrp="1"/>
          </p:cNvSpPr>
          <p:nvPr>
            <p:ph type="subTitle" idx="1"/>
          </p:nvPr>
        </p:nvSpPr>
        <p:spPr>
          <a:xfrm>
            <a:off x="750975" y="3390050"/>
            <a:ext cx="2164200" cy="6471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1800"/>
              <a:buNone/>
              <a:defRPr sz="1400">
                <a:solidFill>
                  <a:schemeClr val="dk1"/>
                </a:solidFill>
              </a:defRPr>
            </a:lvl1pPr>
            <a:lvl2pPr lvl="1" algn="r" rtl="0">
              <a:spcBef>
                <a:spcPts val="1600"/>
              </a:spcBef>
              <a:spcAft>
                <a:spcPts val="0"/>
              </a:spcAft>
              <a:buClr>
                <a:schemeClr val="dk1"/>
              </a:buClr>
              <a:buSzPts val="2000"/>
              <a:buNone/>
              <a:defRPr sz="2000">
                <a:solidFill>
                  <a:schemeClr val="dk1"/>
                </a:solidFill>
              </a:defRPr>
            </a:lvl2pPr>
            <a:lvl3pPr lvl="2" algn="r" rtl="0">
              <a:spcBef>
                <a:spcPts val="1600"/>
              </a:spcBef>
              <a:spcAft>
                <a:spcPts val="0"/>
              </a:spcAft>
              <a:buClr>
                <a:schemeClr val="dk1"/>
              </a:buClr>
              <a:buSzPts val="2000"/>
              <a:buNone/>
              <a:defRPr sz="2000">
                <a:solidFill>
                  <a:schemeClr val="dk1"/>
                </a:solidFill>
              </a:defRPr>
            </a:lvl3pPr>
            <a:lvl4pPr lvl="3" algn="r" rtl="0">
              <a:spcBef>
                <a:spcPts val="1600"/>
              </a:spcBef>
              <a:spcAft>
                <a:spcPts val="0"/>
              </a:spcAft>
              <a:buClr>
                <a:schemeClr val="dk1"/>
              </a:buClr>
              <a:buSzPts val="2000"/>
              <a:buNone/>
              <a:defRPr sz="2000">
                <a:solidFill>
                  <a:schemeClr val="dk1"/>
                </a:solidFill>
              </a:defRPr>
            </a:lvl4pPr>
            <a:lvl5pPr lvl="4" algn="r" rtl="0">
              <a:spcBef>
                <a:spcPts val="1600"/>
              </a:spcBef>
              <a:spcAft>
                <a:spcPts val="0"/>
              </a:spcAft>
              <a:buClr>
                <a:schemeClr val="dk1"/>
              </a:buClr>
              <a:buSzPts val="2000"/>
              <a:buNone/>
              <a:defRPr sz="2000">
                <a:solidFill>
                  <a:schemeClr val="dk1"/>
                </a:solidFill>
              </a:defRPr>
            </a:lvl5pPr>
            <a:lvl6pPr lvl="5" algn="r" rtl="0">
              <a:spcBef>
                <a:spcPts val="1600"/>
              </a:spcBef>
              <a:spcAft>
                <a:spcPts val="0"/>
              </a:spcAft>
              <a:buClr>
                <a:schemeClr val="dk1"/>
              </a:buClr>
              <a:buSzPts val="2000"/>
              <a:buNone/>
              <a:defRPr sz="2000">
                <a:solidFill>
                  <a:schemeClr val="dk1"/>
                </a:solidFill>
              </a:defRPr>
            </a:lvl6pPr>
            <a:lvl7pPr lvl="6" algn="r" rtl="0">
              <a:spcBef>
                <a:spcPts val="1600"/>
              </a:spcBef>
              <a:spcAft>
                <a:spcPts val="0"/>
              </a:spcAft>
              <a:buClr>
                <a:schemeClr val="dk1"/>
              </a:buClr>
              <a:buSzPts val="2000"/>
              <a:buNone/>
              <a:defRPr sz="2000">
                <a:solidFill>
                  <a:schemeClr val="dk1"/>
                </a:solidFill>
              </a:defRPr>
            </a:lvl7pPr>
            <a:lvl8pPr lvl="7" algn="r" rtl="0">
              <a:spcBef>
                <a:spcPts val="1600"/>
              </a:spcBef>
              <a:spcAft>
                <a:spcPts val="0"/>
              </a:spcAft>
              <a:buClr>
                <a:schemeClr val="dk1"/>
              </a:buClr>
              <a:buSzPts val="2000"/>
              <a:buNone/>
              <a:defRPr sz="2000">
                <a:solidFill>
                  <a:schemeClr val="dk1"/>
                </a:solidFill>
              </a:defRPr>
            </a:lvl8pPr>
            <a:lvl9pPr lvl="8" algn="r" rtl="0">
              <a:spcBef>
                <a:spcPts val="1600"/>
              </a:spcBef>
              <a:spcAft>
                <a:spcPts val="1600"/>
              </a:spcAft>
              <a:buClr>
                <a:schemeClr val="dk1"/>
              </a:buClr>
              <a:buSzPts val="2000"/>
              <a:buNone/>
              <a:defRPr sz="2000">
                <a:solidFill>
                  <a:schemeClr val="dk1"/>
                </a:solidFill>
              </a:defRPr>
            </a:lvl9pPr>
          </a:lstStyle>
          <a:p>
            <a:endParaRPr/>
          </a:p>
        </p:txBody>
      </p:sp>
      <p:sp>
        <p:nvSpPr>
          <p:cNvPr id="149" name="Google Shape;149;p25"/>
          <p:cNvSpPr txBox="1">
            <a:spLocks noGrp="1"/>
          </p:cNvSpPr>
          <p:nvPr>
            <p:ph type="title" idx="2" hasCustomPrompt="1"/>
          </p:nvPr>
        </p:nvSpPr>
        <p:spPr>
          <a:xfrm>
            <a:off x="3508587" y="2819150"/>
            <a:ext cx="2164200" cy="6471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4800"/>
              <a:buNone/>
              <a:defRPr sz="3000">
                <a:solidFill>
                  <a:schemeClr val="dk2"/>
                </a:solidFill>
              </a:defRPr>
            </a:lvl1pPr>
            <a:lvl2pPr lvl="1" algn="r" rtl="0">
              <a:spcBef>
                <a:spcPts val="0"/>
              </a:spcBef>
              <a:spcAft>
                <a:spcPts val="0"/>
              </a:spcAft>
              <a:buSzPts val="12000"/>
              <a:buNone/>
              <a:defRPr sz="12000"/>
            </a:lvl2pPr>
            <a:lvl3pPr lvl="2" algn="r" rtl="0">
              <a:spcBef>
                <a:spcPts val="0"/>
              </a:spcBef>
              <a:spcAft>
                <a:spcPts val="0"/>
              </a:spcAft>
              <a:buSzPts val="12000"/>
              <a:buNone/>
              <a:defRPr sz="12000"/>
            </a:lvl3pPr>
            <a:lvl4pPr lvl="3" algn="r" rtl="0">
              <a:spcBef>
                <a:spcPts val="0"/>
              </a:spcBef>
              <a:spcAft>
                <a:spcPts val="0"/>
              </a:spcAft>
              <a:buSzPts val="12000"/>
              <a:buNone/>
              <a:defRPr sz="12000"/>
            </a:lvl4pPr>
            <a:lvl5pPr lvl="4" algn="r" rtl="0">
              <a:spcBef>
                <a:spcPts val="0"/>
              </a:spcBef>
              <a:spcAft>
                <a:spcPts val="0"/>
              </a:spcAft>
              <a:buSzPts val="12000"/>
              <a:buNone/>
              <a:defRPr sz="12000"/>
            </a:lvl5pPr>
            <a:lvl6pPr lvl="5" algn="r" rtl="0">
              <a:spcBef>
                <a:spcPts val="0"/>
              </a:spcBef>
              <a:spcAft>
                <a:spcPts val="0"/>
              </a:spcAft>
              <a:buSzPts val="12000"/>
              <a:buNone/>
              <a:defRPr sz="12000"/>
            </a:lvl6pPr>
            <a:lvl7pPr lvl="6" algn="r" rtl="0">
              <a:spcBef>
                <a:spcPts val="0"/>
              </a:spcBef>
              <a:spcAft>
                <a:spcPts val="0"/>
              </a:spcAft>
              <a:buSzPts val="12000"/>
              <a:buNone/>
              <a:defRPr sz="12000"/>
            </a:lvl7pPr>
            <a:lvl8pPr lvl="7" algn="r" rtl="0">
              <a:spcBef>
                <a:spcPts val="0"/>
              </a:spcBef>
              <a:spcAft>
                <a:spcPts val="0"/>
              </a:spcAft>
              <a:buSzPts val="12000"/>
              <a:buNone/>
              <a:defRPr sz="12000"/>
            </a:lvl8pPr>
            <a:lvl9pPr lvl="8" algn="r" rtl="0">
              <a:spcBef>
                <a:spcPts val="0"/>
              </a:spcBef>
              <a:spcAft>
                <a:spcPts val="0"/>
              </a:spcAft>
              <a:buSzPts val="12000"/>
              <a:buNone/>
              <a:defRPr sz="12000"/>
            </a:lvl9pPr>
          </a:lstStyle>
          <a:p>
            <a:r>
              <a:t>xx%</a:t>
            </a:r>
          </a:p>
        </p:txBody>
      </p:sp>
      <p:sp>
        <p:nvSpPr>
          <p:cNvPr id="150" name="Google Shape;150;p25"/>
          <p:cNvSpPr txBox="1">
            <a:spLocks noGrp="1"/>
          </p:cNvSpPr>
          <p:nvPr>
            <p:ph type="subTitle" idx="3"/>
          </p:nvPr>
        </p:nvSpPr>
        <p:spPr>
          <a:xfrm>
            <a:off x="3508587" y="3390050"/>
            <a:ext cx="2164200" cy="6471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1800"/>
              <a:buNone/>
              <a:defRPr sz="1400">
                <a:solidFill>
                  <a:schemeClr val="dk1"/>
                </a:solidFill>
              </a:defRPr>
            </a:lvl1pPr>
            <a:lvl2pPr lvl="1" algn="r" rtl="0">
              <a:spcBef>
                <a:spcPts val="1600"/>
              </a:spcBef>
              <a:spcAft>
                <a:spcPts val="0"/>
              </a:spcAft>
              <a:buClr>
                <a:schemeClr val="dk1"/>
              </a:buClr>
              <a:buSzPts val="2000"/>
              <a:buNone/>
              <a:defRPr sz="2000">
                <a:solidFill>
                  <a:schemeClr val="dk1"/>
                </a:solidFill>
              </a:defRPr>
            </a:lvl2pPr>
            <a:lvl3pPr lvl="2" algn="r" rtl="0">
              <a:spcBef>
                <a:spcPts val="1600"/>
              </a:spcBef>
              <a:spcAft>
                <a:spcPts val="0"/>
              </a:spcAft>
              <a:buClr>
                <a:schemeClr val="dk1"/>
              </a:buClr>
              <a:buSzPts val="2000"/>
              <a:buNone/>
              <a:defRPr sz="2000">
                <a:solidFill>
                  <a:schemeClr val="dk1"/>
                </a:solidFill>
              </a:defRPr>
            </a:lvl3pPr>
            <a:lvl4pPr lvl="3" algn="r" rtl="0">
              <a:spcBef>
                <a:spcPts val="1600"/>
              </a:spcBef>
              <a:spcAft>
                <a:spcPts val="0"/>
              </a:spcAft>
              <a:buClr>
                <a:schemeClr val="dk1"/>
              </a:buClr>
              <a:buSzPts val="2000"/>
              <a:buNone/>
              <a:defRPr sz="2000">
                <a:solidFill>
                  <a:schemeClr val="dk1"/>
                </a:solidFill>
              </a:defRPr>
            </a:lvl4pPr>
            <a:lvl5pPr lvl="4" algn="r" rtl="0">
              <a:spcBef>
                <a:spcPts val="1600"/>
              </a:spcBef>
              <a:spcAft>
                <a:spcPts val="0"/>
              </a:spcAft>
              <a:buClr>
                <a:schemeClr val="dk1"/>
              </a:buClr>
              <a:buSzPts val="2000"/>
              <a:buNone/>
              <a:defRPr sz="2000">
                <a:solidFill>
                  <a:schemeClr val="dk1"/>
                </a:solidFill>
              </a:defRPr>
            </a:lvl5pPr>
            <a:lvl6pPr lvl="5" algn="r" rtl="0">
              <a:spcBef>
                <a:spcPts val="1600"/>
              </a:spcBef>
              <a:spcAft>
                <a:spcPts val="0"/>
              </a:spcAft>
              <a:buClr>
                <a:schemeClr val="dk1"/>
              </a:buClr>
              <a:buSzPts val="2000"/>
              <a:buNone/>
              <a:defRPr sz="2000">
                <a:solidFill>
                  <a:schemeClr val="dk1"/>
                </a:solidFill>
              </a:defRPr>
            </a:lvl6pPr>
            <a:lvl7pPr lvl="6" algn="r" rtl="0">
              <a:spcBef>
                <a:spcPts val="1600"/>
              </a:spcBef>
              <a:spcAft>
                <a:spcPts val="0"/>
              </a:spcAft>
              <a:buClr>
                <a:schemeClr val="dk1"/>
              </a:buClr>
              <a:buSzPts val="2000"/>
              <a:buNone/>
              <a:defRPr sz="2000">
                <a:solidFill>
                  <a:schemeClr val="dk1"/>
                </a:solidFill>
              </a:defRPr>
            </a:lvl7pPr>
            <a:lvl8pPr lvl="7" algn="r" rtl="0">
              <a:spcBef>
                <a:spcPts val="1600"/>
              </a:spcBef>
              <a:spcAft>
                <a:spcPts val="0"/>
              </a:spcAft>
              <a:buClr>
                <a:schemeClr val="dk1"/>
              </a:buClr>
              <a:buSzPts val="2000"/>
              <a:buNone/>
              <a:defRPr sz="2000">
                <a:solidFill>
                  <a:schemeClr val="dk1"/>
                </a:solidFill>
              </a:defRPr>
            </a:lvl8pPr>
            <a:lvl9pPr lvl="8" algn="r" rtl="0">
              <a:spcBef>
                <a:spcPts val="1600"/>
              </a:spcBef>
              <a:spcAft>
                <a:spcPts val="1600"/>
              </a:spcAft>
              <a:buClr>
                <a:schemeClr val="dk1"/>
              </a:buClr>
              <a:buSzPts val="2000"/>
              <a:buNone/>
              <a:defRPr sz="2000">
                <a:solidFill>
                  <a:schemeClr val="dk1"/>
                </a:solidFill>
              </a:defRPr>
            </a:lvl9pPr>
          </a:lstStyle>
          <a:p>
            <a:endParaRPr/>
          </a:p>
        </p:txBody>
      </p:sp>
      <p:sp>
        <p:nvSpPr>
          <p:cNvPr id="151" name="Google Shape;151;p25"/>
          <p:cNvSpPr txBox="1">
            <a:spLocks noGrp="1"/>
          </p:cNvSpPr>
          <p:nvPr>
            <p:ph type="title" idx="4"/>
          </p:nvPr>
        </p:nvSpPr>
        <p:spPr>
          <a:xfrm>
            <a:off x="717800" y="383175"/>
            <a:ext cx="7708200" cy="6471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52" name="Google Shape;152;p25"/>
          <p:cNvSpPr txBox="1">
            <a:spLocks noGrp="1"/>
          </p:cNvSpPr>
          <p:nvPr>
            <p:ph type="title" idx="5" hasCustomPrompt="1"/>
          </p:nvPr>
        </p:nvSpPr>
        <p:spPr>
          <a:xfrm>
            <a:off x="6216100" y="2819150"/>
            <a:ext cx="2164200" cy="6471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4800"/>
              <a:buNone/>
              <a:defRPr sz="3000">
                <a:solidFill>
                  <a:schemeClr val="dk2"/>
                </a:solidFill>
              </a:defRPr>
            </a:lvl1pPr>
            <a:lvl2pPr lvl="1" algn="r" rtl="0">
              <a:spcBef>
                <a:spcPts val="0"/>
              </a:spcBef>
              <a:spcAft>
                <a:spcPts val="0"/>
              </a:spcAft>
              <a:buSzPts val="12000"/>
              <a:buNone/>
              <a:defRPr sz="12000"/>
            </a:lvl2pPr>
            <a:lvl3pPr lvl="2" algn="r" rtl="0">
              <a:spcBef>
                <a:spcPts val="0"/>
              </a:spcBef>
              <a:spcAft>
                <a:spcPts val="0"/>
              </a:spcAft>
              <a:buSzPts val="12000"/>
              <a:buNone/>
              <a:defRPr sz="12000"/>
            </a:lvl3pPr>
            <a:lvl4pPr lvl="3" algn="r" rtl="0">
              <a:spcBef>
                <a:spcPts val="0"/>
              </a:spcBef>
              <a:spcAft>
                <a:spcPts val="0"/>
              </a:spcAft>
              <a:buSzPts val="12000"/>
              <a:buNone/>
              <a:defRPr sz="12000"/>
            </a:lvl4pPr>
            <a:lvl5pPr lvl="4" algn="r" rtl="0">
              <a:spcBef>
                <a:spcPts val="0"/>
              </a:spcBef>
              <a:spcAft>
                <a:spcPts val="0"/>
              </a:spcAft>
              <a:buSzPts val="12000"/>
              <a:buNone/>
              <a:defRPr sz="12000"/>
            </a:lvl5pPr>
            <a:lvl6pPr lvl="5" algn="r" rtl="0">
              <a:spcBef>
                <a:spcPts val="0"/>
              </a:spcBef>
              <a:spcAft>
                <a:spcPts val="0"/>
              </a:spcAft>
              <a:buSzPts val="12000"/>
              <a:buNone/>
              <a:defRPr sz="12000"/>
            </a:lvl6pPr>
            <a:lvl7pPr lvl="6" algn="r" rtl="0">
              <a:spcBef>
                <a:spcPts val="0"/>
              </a:spcBef>
              <a:spcAft>
                <a:spcPts val="0"/>
              </a:spcAft>
              <a:buSzPts val="12000"/>
              <a:buNone/>
              <a:defRPr sz="12000"/>
            </a:lvl7pPr>
            <a:lvl8pPr lvl="7" algn="r" rtl="0">
              <a:spcBef>
                <a:spcPts val="0"/>
              </a:spcBef>
              <a:spcAft>
                <a:spcPts val="0"/>
              </a:spcAft>
              <a:buSzPts val="12000"/>
              <a:buNone/>
              <a:defRPr sz="12000"/>
            </a:lvl8pPr>
            <a:lvl9pPr lvl="8" algn="r" rtl="0">
              <a:spcBef>
                <a:spcPts val="0"/>
              </a:spcBef>
              <a:spcAft>
                <a:spcPts val="0"/>
              </a:spcAft>
              <a:buSzPts val="12000"/>
              <a:buNone/>
              <a:defRPr sz="12000"/>
            </a:lvl9pPr>
          </a:lstStyle>
          <a:p>
            <a:r>
              <a:t>xx%</a:t>
            </a:r>
          </a:p>
        </p:txBody>
      </p:sp>
      <p:sp>
        <p:nvSpPr>
          <p:cNvPr id="153" name="Google Shape;153;p25"/>
          <p:cNvSpPr txBox="1">
            <a:spLocks noGrp="1"/>
          </p:cNvSpPr>
          <p:nvPr>
            <p:ph type="subTitle" idx="6"/>
          </p:nvPr>
        </p:nvSpPr>
        <p:spPr>
          <a:xfrm>
            <a:off x="6216100" y="3390050"/>
            <a:ext cx="2164200" cy="6471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1800"/>
              <a:buNone/>
              <a:defRPr sz="1400">
                <a:solidFill>
                  <a:schemeClr val="dk1"/>
                </a:solidFill>
              </a:defRPr>
            </a:lvl1pPr>
            <a:lvl2pPr lvl="1" algn="r" rtl="0">
              <a:spcBef>
                <a:spcPts val="1600"/>
              </a:spcBef>
              <a:spcAft>
                <a:spcPts val="0"/>
              </a:spcAft>
              <a:buClr>
                <a:schemeClr val="dk1"/>
              </a:buClr>
              <a:buSzPts val="2000"/>
              <a:buNone/>
              <a:defRPr sz="2000">
                <a:solidFill>
                  <a:schemeClr val="dk1"/>
                </a:solidFill>
              </a:defRPr>
            </a:lvl2pPr>
            <a:lvl3pPr lvl="2" algn="r" rtl="0">
              <a:spcBef>
                <a:spcPts val="1600"/>
              </a:spcBef>
              <a:spcAft>
                <a:spcPts val="0"/>
              </a:spcAft>
              <a:buClr>
                <a:schemeClr val="dk1"/>
              </a:buClr>
              <a:buSzPts val="2000"/>
              <a:buNone/>
              <a:defRPr sz="2000">
                <a:solidFill>
                  <a:schemeClr val="dk1"/>
                </a:solidFill>
              </a:defRPr>
            </a:lvl3pPr>
            <a:lvl4pPr lvl="3" algn="r" rtl="0">
              <a:spcBef>
                <a:spcPts val="1600"/>
              </a:spcBef>
              <a:spcAft>
                <a:spcPts val="0"/>
              </a:spcAft>
              <a:buClr>
                <a:schemeClr val="dk1"/>
              </a:buClr>
              <a:buSzPts val="2000"/>
              <a:buNone/>
              <a:defRPr sz="2000">
                <a:solidFill>
                  <a:schemeClr val="dk1"/>
                </a:solidFill>
              </a:defRPr>
            </a:lvl4pPr>
            <a:lvl5pPr lvl="4" algn="r" rtl="0">
              <a:spcBef>
                <a:spcPts val="1600"/>
              </a:spcBef>
              <a:spcAft>
                <a:spcPts val="0"/>
              </a:spcAft>
              <a:buClr>
                <a:schemeClr val="dk1"/>
              </a:buClr>
              <a:buSzPts val="2000"/>
              <a:buNone/>
              <a:defRPr sz="2000">
                <a:solidFill>
                  <a:schemeClr val="dk1"/>
                </a:solidFill>
              </a:defRPr>
            </a:lvl5pPr>
            <a:lvl6pPr lvl="5" algn="r" rtl="0">
              <a:spcBef>
                <a:spcPts val="1600"/>
              </a:spcBef>
              <a:spcAft>
                <a:spcPts val="0"/>
              </a:spcAft>
              <a:buClr>
                <a:schemeClr val="dk1"/>
              </a:buClr>
              <a:buSzPts val="2000"/>
              <a:buNone/>
              <a:defRPr sz="2000">
                <a:solidFill>
                  <a:schemeClr val="dk1"/>
                </a:solidFill>
              </a:defRPr>
            </a:lvl6pPr>
            <a:lvl7pPr lvl="6" algn="r" rtl="0">
              <a:spcBef>
                <a:spcPts val="1600"/>
              </a:spcBef>
              <a:spcAft>
                <a:spcPts val="0"/>
              </a:spcAft>
              <a:buClr>
                <a:schemeClr val="dk1"/>
              </a:buClr>
              <a:buSzPts val="2000"/>
              <a:buNone/>
              <a:defRPr sz="2000">
                <a:solidFill>
                  <a:schemeClr val="dk1"/>
                </a:solidFill>
              </a:defRPr>
            </a:lvl7pPr>
            <a:lvl8pPr lvl="7" algn="r" rtl="0">
              <a:spcBef>
                <a:spcPts val="1600"/>
              </a:spcBef>
              <a:spcAft>
                <a:spcPts val="0"/>
              </a:spcAft>
              <a:buClr>
                <a:schemeClr val="dk1"/>
              </a:buClr>
              <a:buSzPts val="2000"/>
              <a:buNone/>
              <a:defRPr sz="2000">
                <a:solidFill>
                  <a:schemeClr val="dk1"/>
                </a:solidFill>
              </a:defRPr>
            </a:lvl8pPr>
            <a:lvl9pPr lvl="8" algn="r" rtl="0">
              <a:spcBef>
                <a:spcPts val="1600"/>
              </a:spcBef>
              <a:spcAft>
                <a:spcPts val="1600"/>
              </a:spcAft>
              <a:buClr>
                <a:schemeClr val="dk1"/>
              </a:buClr>
              <a:buSzPts val="2000"/>
              <a:buNone/>
              <a:defRPr sz="2000">
                <a:solidFill>
                  <a:schemeClr val="dk1"/>
                </a:solidFill>
              </a:defRPr>
            </a:lvl9pPr>
          </a:lstStyle>
          <a:p>
            <a:endParaRPr/>
          </a:p>
        </p:txBody>
      </p:sp>
      <p:sp>
        <p:nvSpPr>
          <p:cNvPr id="154" name="Google Shape;154;p25"/>
          <p:cNvSpPr/>
          <p:nvPr/>
        </p:nvSpPr>
        <p:spPr>
          <a:xfrm flipH="1">
            <a:off x="50" y="4834275"/>
            <a:ext cx="4572000" cy="309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25"/>
          <p:cNvSpPr/>
          <p:nvPr/>
        </p:nvSpPr>
        <p:spPr>
          <a:xfrm flipH="1">
            <a:off x="4572000" y="483427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six columns">
  <p:cSld name="CUSTOM_12">
    <p:spTree>
      <p:nvGrpSpPr>
        <p:cNvPr id="1" name="Shape 156"/>
        <p:cNvGrpSpPr/>
        <p:nvPr/>
      </p:nvGrpSpPr>
      <p:grpSpPr>
        <a:xfrm>
          <a:off x="0" y="0"/>
          <a:ext cx="0" cy="0"/>
          <a:chOff x="0" y="0"/>
          <a:chExt cx="0" cy="0"/>
        </a:xfrm>
      </p:grpSpPr>
      <p:sp>
        <p:nvSpPr>
          <p:cNvPr id="157" name="Google Shape;157;p26"/>
          <p:cNvSpPr txBox="1">
            <a:spLocks noGrp="1"/>
          </p:cNvSpPr>
          <p:nvPr>
            <p:ph type="subTitle" idx="1"/>
          </p:nvPr>
        </p:nvSpPr>
        <p:spPr>
          <a:xfrm>
            <a:off x="71190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58" name="Google Shape;158;p26"/>
          <p:cNvSpPr txBox="1">
            <a:spLocks noGrp="1"/>
          </p:cNvSpPr>
          <p:nvPr>
            <p:ph type="subTitle" idx="2"/>
          </p:nvPr>
        </p:nvSpPr>
        <p:spPr>
          <a:xfrm>
            <a:off x="71190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59" name="Google Shape;159;p26"/>
          <p:cNvSpPr txBox="1">
            <a:spLocks noGrp="1"/>
          </p:cNvSpPr>
          <p:nvPr>
            <p:ph type="subTitle" idx="3"/>
          </p:nvPr>
        </p:nvSpPr>
        <p:spPr>
          <a:xfrm>
            <a:off x="298395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0" name="Google Shape;160;p26"/>
          <p:cNvSpPr txBox="1">
            <a:spLocks noGrp="1"/>
          </p:cNvSpPr>
          <p:nvPr>
            <p:ph type="subTitle" idx="4"/>
          </p:nvPr>
        </p:nvSpPr>
        <p:spPr>
          <a:xfrm>
            <a:off x="298395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1" name="Google Shape;161;p26"/>
          <p:cNvSpPr txBox="1">
            <a:spLocks noGrp="1"/>
          </p:cNvSpPr>
          <p:nvPr>
            <p:ph type="subTitle" idx="5"/>
          </p:nvPr>
        </p:nvSpPr>
        <p:spPr>
          <a:xfrm>
            <a:off x="525600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2" name="Google Shape;162;p26"/>
          <p:cNvSpPr txBox="1">
            <a:spLocks noGrp="1"/>
          </p:cNvSpPr>
          <p:nvPr>
            <p:ph type="subTitle" idx="6"/>
          </p:nvPr>
        </p:nvSpPr>
        <p:spPr>
          <a:xfrm>
            <a:off x="525600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63" name="Google Shape;163;p26"/>
          <p:cNvSpPr txBox="1">
            <a:spLocks noGrp="1"/>
          </p:cNvSpPr>
          <p:nvPr>
            <p:ph type="subTitle" idx="7"/>
          </p:nvPr>
        </p:nvSpPr>
        <p:spPr>
          <a:xfrm>
            <a:off x="71190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4" name="Google Shape;164;p26"/>
          <p:cNvSpPr txBox="1">
            <a:spLocks noGrp="1"/>
          </p:cNvSpPr>
          <p:nvPr>
            <p:ph type="subTitle" idx="8"/>
          </p:nvPr>
        </p:nvSpPr>
        <p:spPr>
          <a:xfrm>
            <a:off x="71190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5" name="Google Shape;165;p26"/>
          <p:cNvSpPr txBox="1">
            <a:spLocks noGrp="1"/>
          </p:cNvSpPr>
          <p:nvPr>
            <p:ph type="subTitle" idx="9"/>
          </p:nvPr>
        </p:nvSpPr>
        <p:spPr>
          <a:xfrm>
            <a:off x="298395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6" name="Google Shape;166;p26"/>
          <p:cNvSpPr txBox="1">
            <a:spLocks noGrp="1"/>
          </p:cNvSpPr>
          <p:nvPr>
            <p:ph type="subTitle" idx="13"/>
          </p:nvPr>
        </p:nvSpPr>
        <p:spPr>
          <a:xfrm>
            <a:off x="298395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7" name="Google Shape;167;p26"/>
          <p:cNvSpPr txBox="1">
            <a:spLocks noGrp="1"/>
          </p:cNvSpPr>
          <p:nvPr>
            <p:ph type="subTitle" idx="14"/>
          </p:nvPr>
        </p:nvSpPr>
        <p:spPr>
          <a:xfrm>
            <a:off x="525600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8" name="Google Shape;168;p26"/>
          <p:cNvSpPr txBox="1">
            <a:spLocks noGrp="1"/>
          </p:cNvSpPr>
          <p:nvPr>
            <p:ph type="subTitle" idx="15"/>
          </p:nvPr>
        </p:nvSpPr>
        <p:spPr>
          <a:xfrm>
            <a:off x="525600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9" name="Google Shape;169;p26"/>
          <p:cNvSpPr txBox="1">
            <a:spLocks noGrp="1"/>
          </p:cNvSpPr>
          <p:nvPr>
            <p:ph type="title"/>
          </p:nvPr>
        </p:nvSpPr>
        <p:spPr>
          <a:xfrm>
            <a:off x="717800" y="383175"/>
            <a:ext cx="7708200" cy="6471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70" name="Google Shape;170;p26"/>
          <p:cNvSpPr/>
          <p:nvPr/>
        </p:nvSpPr>
        <p:spPr>
          <a:xfrm>
            <a:off x="7927800" y="257160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26"/>
          <p:cNvSpPr/>
          <p:nvPr/>
        </p:nvSpPr>
        <p:spPr>
          <a:xfrm>
            <a:off x="7927800"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hanks">
  <p:cSld name="CUSTOM_5">
    <p:spTree>
      <p:nvGrpSpPr>
        <p:cNvPr id="1" name="Shape 172"/>
        <p:cNvGrpSpPr/>
        <p:nvPr/>
      </p:nvGrpSpPr>
      <p:grpSpPr>
        <a:xfrm>
          <a:off x="0" y="0"/>
          <a:ext cx="0" cy="0"/>
          <a:chOff x="0" y="0"/>
          <a:chExt cx="0" cy="0"/>
        </a:xfrm>
      </p:grpSpPr>
      <p:sp>
        <p:nvSpPr>
          <p:cNvPr id="173" name="Google Shape;173;p27"/>
          <p:cNvSpPr txBox="1">
            <a:spLocks noGrp="1"/>
          </p:cNvSpPr>
          <p:nvPr>
            <p:ph type="title"/>
          </p:nvPr>
        </p:nvSpPr>
        <p:spPr>
          <a:xfrm>
            <a:off x="713225" y="445025"/>
            <a:ext cx="3858900" cy="1338300"/>
          </a:xfrm>
          <a:prstGeom prst="rect">
            <a:avLst/>
          </a:prstGeom>
        </p:spPr>
        <p:txBody>
          <a:bodyPr spcFirstLastPara="1" wrap="square" lIns="91425" tIns="91425" rIns="91425" bIns="91425" anchor="t" anchorCtr="0">
            <a:noAutofit/>
          </a:bodyPr>
          <a:lstStyle>
            <a:lvl1pPr lvl="0">
              <a:spcBef>
                <a:spcPts val="0"/>
              </a:spcBef>
              <a:spcAft>
                <a:spcPts val="0"/>
              </a:spcAft>
              <a:buClr>
                <a:schemeClr val="accent1"/>
              </a:buClr>
              <a:buSzPts val="2800"/>
              <a:buNone/>
              <a:defRPr sz="7200">
                <a:solidFill>
                  <a:schemeClr val="accent1"/>
                </a:solidFill>
              </a:defRPr>
            </a:lvl1pPr>
            <a:lvl2pPr lvl="1">
              <a:spcBef>
                <a:spcPts val="0"/>
              </a:spcBef>
              <a:spcAft>
                <a:spcPts val="0"/>
              </a:spcAft>
              <a:buClr>
                <a:schemeClr val="accent1"/>
              </a:buClr>
              <a:buSzPts val="2800"/>
              <a:buNone/>
              <a:defRPr>
                <a:solidFill>
                  <a:schemeClr val="accent1"/>
                </a:solidFill>
              </a:defRPr>
            </a:lvl2pPr>
            <a:lvl3pPr lvl="2">
              <a:spcBef>
                <a:spcPts val="0"/>
              </a:spcBef>
              <a:spcAft>
                <a:spcPts val="0"/>
              </a:spcAft>
              <a:buClr>
                <a:schemeClr val="accent1"/>
              </a:buClr>
              <a:buSzPts val="2800"/>
              <a:buNone/>
              <a:defRPr>
                <a:solidFill>
                  <a:schemeClr val="accent1"/>
                </a:solidFill>
              </a:defRPr>
            </a:lvl3pPr>
            <a:lvl4pPr lvl="3">
              <a:spcBef>
                <a:spcPts val="0"/>
              </a:spcBef>
              <a:spcAft>
                <a:spcPts val="0"/>
              </a:spcAft>
              <a:buClr>
                <a:schemeClr val="accent1"/>
              </a:buClr>
              <a:buSzPts val="2800"/>
              <a:buNone/>
              <a:defRPr>
                <a:solidFill>
                  <a:schemeClr val="accent1"/>
                </a:solidFill>
              </a:defRPr>
            </a:lvl4pPr>
            <a:lvl5pPr lvl="4">
              <a:spcBef>
                <a:spcPts val="0"/>
              </a:spcBef>
              <a:spcAft>
                <a:spcPts val="0"/>
              </a:spcAft>
              <a:buClr>
                <a:schemeClr val="accent1"/>
              </a:buClr>
              <a:buSzPts val="2800"/>
              <a:buNone/>
              <a:defRPr>
                <a:solidFill>
                  <a:schemeClr val="accent1"/>
                </a:solidFill>
              </a:defRPr>
            </a:lvl5pPr>
            <a:lvl6pPr lvl="5">
              <a:spcBef>
                <a:spcPts val="0"/>
              </a:spcBef>
              <a:spcAft>
                <a:spcPts val="0"/>
              </a:spcAft>
              <a:buClr>
                <a:schemeClr val="accent1"/>
              </a:buClr>
              <a:buSzPts val="2800"/>
              <a:buNone/>
              <a:defRPr>
                <a:solidFill>
                  <a:schemeClr val="accent1"/>
                </a:solidFill>
              </a:defRPr>
            </a:lvl6pPr>
            <a:lvl7pPr lvl="6">
              <a:spcBef>
                <a:spcPts val="0"/>
              </a:spcBef>
              <a:spcAft>
                <a:spcPts val="0"/>
              </a:spcAft>
              <a:buClr>
                <a:schemeClr val="accent1"/>
              </a:buClr>
              <a:buSzPts val="2800"/>
              <a:buNone/>
              <a:defRPr>
                <a:solidFill>
                  <a:schemeClr val="accent1"/>
                </a:solidFill>
              </a:defRPr>
            </a:lvl7pPr>
            <a:lvl8pPr lvl="7">
              <a:spcBef>
                <a:spcPts val="0"/>
              </a:spcBef>
              <a:spcAft>
                <a:spcPts val="0"/>
              </a:spcAft>
              <a:buClr>
                <a:schemeClr val="accent1"/>
              </a:buClr>
              <a:buSzPts val="2800"/>
              <a:buNone/>
              <a:defRPr>
                <a:solidFill>
                  <a:schemeClr val="accent1"/>
                </a:solidFill>
              </a:defRPr>
            </a:lvl8pPr>
            <a:lvl9pPr lvl="8">
              <a:spcBef>
                <a:spcPts val="0"/>
              </a:spcBef>
              <a:spcAft>
                <a:spcPts val="0"/>
              </a:spcAft>
              <a:buClr>
                <a:schemeClr val="accent1"/>
              </a:buClr>
              <a:buSzPts val="2800"/>
              <a:buNone/>
              <a:defRPr>
                <a:solidFill>
                  <a:schemeClr val="accent1"/>
                </a:solidFill>
              </a:defRPr>
            </a:lvl9pPr>
          </a:lstStyle>
          <a:p>
            <a:endParaRPr/>
          </a:p>
        </p:txBody>
      </p:sp>
      <p:sp>
        <p:nvSpPr>
          <p:cNvPr id="174" name="Google Shape;174;p27"/>
          <p:cNvSpPr txBox="1"/>
          <p:nvPr/>
        </p:nvSpPr>
        <p:spPr>
          <a:xfrm>
            <a:off x="713225" y="3485675"/>
            <a:ext cx="3956100" cy="6126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300"/>
              </a:spcBef>
              <a:spcAft>
                <a:spcPts val="0"/>
              </a:spcAft>
              <a:buNone/>
            </a:pPr>
            <a:r>
              <a:rPr lang="en" sz="1100">
                <a:solidFill>
                  <a:schemeClr val="accent2"/>
                </a:solidFill>
                <a:latin typeface="Montserrat"/>
                <a:ea typeface="Montserrat"/>
                <a:cs typeface="Montserrat"/>
                <a:sym typeface="Montserrat"/>
              </a:rPr>
              <a:t>CREDITS: This presentation template was created by </a:t>
            </a:r>
            <a:r>
              <a:rPr lang="en" sz="1100" b="1">
                <a:solidFill>
                  <a:schemeClr val="accent2"/>
                </a:solidFill>
                <a:uFill>
                  <a:noFill/>
                </a:uFill>
                <a:latin typeface="Montserrat"/>
                <a:ea typeface="Montserrat"/>
                <a:cs typeface="Montserrat"/>
                <a:sym typeface="Montserrat"/>
                <a:hlinkClick r:id="rId2">
                  <a:extLst>
                    <a:ext uri="{A12FA001-AC4F-418D-AE19-62706E023703}">
                      <ahyp:hlinkClr xmlns:ahyp="http://schemas.microsoft.com/office/drawing/2018/hyperlinkcolor" val="tx"/>
                    </a:ext>
                  </a:extLst>
                </a:hlinkClick>
              </a:rPr>
              <a:t>Slidesgo</a:t>
            </a:r>
            <a:r>
              <a:rPr lang="en" sz="1100">
                <a:solidFill>
                  <a:schemeClr val="accent2"/>
                </a:solidFill>
                <a:latin typeface="Montserrat"/>
                <a:ea typeface="Montserrat"/>
                <a:cs typeface="Montserrat"/>
                <a:sym typeface="Montserrat"/>
              </a:rPr>
              <a:t>, including icons by </a:t>
            </a:r>
            <a:r>
              <a:rPr lang="en" sz="1100" b="1">
                <a:solidFill>
                  <a:schemeClr val="accent2"/>
                </a:solidFill>
                <a:uFill>
                  <a:noFill/>
                </a:uFill>
                <a:latin typeface="Montserrat"/>
                <a:ea typeface="Montserrat"/>
                <a:cs typeface="Montserrat"/>
                <a:sym typeface="Montserrat"/>
                <a:hlinkClick r:id="rId3">
                  <a:extLst>
                    <a:ext uri="{A12FA001-AC4F-418D-AE19-62706E023703}">
                      <ahyp:hlinkClr xmlns:ahyp="http://schemas.microsoft.com/office/drawing/2018/hyperlinkcolor" val="tx"/>
                    </a:ext>
                  </a:extLst>
                </a:hlinkClick>
              </a:rPr>
              <a:t>Flaticon</a:t>
            </a:r>
            <a:r>
              <a:rPr lang="en" sz="1100">
                <a:solidFill>
                  <a:schemeClr val="accent2"/>
                </a:solidFill>
                <a:latin typeface="Montserrat"/>
                <a:ea typeface="Montserrat"/>
                <a:cs typeface="Montserrat"/>
                <a:sym typeface="Montserrat"/>
              </a:rPr>
              <a:t>, and infographics &amp; images by </a:t>
            </a:r>
            <a:r>
              <a:rPr lang="en" sz="1100" b="1">
                <a:solidFill>
                  <a:schemeClr val="accent2"/>
                </a:solidFill>
                <a:uFill>
                  <a:noFill/>
                </a:uFill>
                <a:latin typeface="Montserrat"/>
                <a:ea typeface="Montserrat"/>
                <a:cs typeface="Montserrat"/>
                <a:sym typeface="Montserrat"/>
                <a:hlinkClick r:id="rId4">
                  <a:extLst>
                    <a:ext uri="{A12FA001-AC4F-418D-AE19-62706E023703}">
                      <ahyp:hlinkClr xmlns:ahyp="http://schemas.microsoft.com/office/drawing/2018/hyperlinkcolor" val="tx"/>
                    </a:ext>
                  </a:extLst>
                </a:hlinkClick>
              </a:rPr>
              <a:t>Freepik</a:t>
            </a:r>
            <a:endParaRPr sz="1100" b="1">
              <a:solidFill>
                <a:schemeClr val="accent2"/>
              </a:solidFill>
              <a:latin typeface="Montserrat"/>
              <a:ea typeface="Montserrat"/>
              <a:cs typeface="Montserrat"/>
              <a:sym typeface="Montserrat"/>
            </a:endParaRPr>
          </a:p>
        </p:txBody>
      </p:sp>
      <p:sp>
        <p:nvSpPr>
          <p:cNvPr id="175" name="Google Shape;175;p27"/>
          <p:cNvSpPr/>
          <p:nvPr/>
        </p:nvSpPr>
        <p:spPr>
          <a:xfrm>
            <a:off x="6711600" y="257160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27"/>
          <p:cNvSpPr/>
          <p:nvPr/>
        </p:nvSpPr>
        <p:spPr>
          <a:xfrm>
            <a:off x="7927800" y="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78BC0B-641C-F9D9-8BC0-1471712F5AA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C92CBAC-9F14-970D-C73F-C29A7D43407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5B6A521-95B5-9D68-4E35-EF21F6D5843A}"/>
              </a:ext>
            </a:extLst>
          </p:cNvPr>
          <p:cNvSpPr>
            <a:spLocks noGrp="1"/>
          </p:cNvSpPr>
          <p:nvPr>
            <p:ph type="dt" sz="half" idx="10"/>
          </p:nvPr>
        </p:nvSpPr>
        <p:spPr/>
        <p:txBody>
          <a:bodyPr/>
          <a:lstStyle/>
          <a:p>
            <a:fld id="{989F6717-2D83-406A-813A-721A3BEC071D}" type="datetimeFigureOut">
              <a:rPr lang="de-DE" smtClean="0"/>
              <a:t>13.01.2025</a:t>
            </a:fld>
            <a:endParaRPr lang="de-DE"/>
          </a:p>
        </p:txBody>
      </p:sp>
      <p:sp>
        <p:nvSpPr>
          <p:cNvPr id="5" name="Fußzeilenplatzhalter 4">
            <a:extLst>
              <a:ext uri="{FF2B5EF4-FFF2-40B4-BE49-F238E27FC236}">
                <a16:creationId xmlns:a16="http://schemas.microsoft.com/office/drawing/2014/main" id="{138A3A96-7D22-5B17-31CA-2BC61510382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F8B8D7A-0DDD-919C-A30B-0571C16B7372}"/>
              </a:ext>
            </a:extLst>
          </p:cNvPr>
          <p:cNvSpPr>
            <a:spLocks noGrp="1"/>
          </p:cNvSpPr>
          <p:nvPr>
            <p:ph type="sldNum" sz="quarter" idx="12"/>
          </p:nvPr>
        </p:nvSpPr>
        <p:spPr/>
        <p:txBody>
          <a:bodyPr/>
          <a:lstStyle/>
          <a:p>
            <a:fld id="{81375A00-4E21-4F7E-B4F6-367EFE9C2CB0}" type="slidenum">
              <a:rPr lang="de-DE" smtClean="0"/>
              <a:t>‹#›</a:t>
            </a:fld>
            <a:endParaRPr lang="de-DE"/>
          </a:p>
        </p:txBody>
      </p:sp>
    </p:spTree>
    <p:extLst>
      <p:ext uri="{BB962C8B-B14F-4D97-AF65-F5344CB8AC3E}">
        <p14:creationId xmlns:p14="http://schemas.microsoft.com/office/powerpoint/2010/main" val="3379674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el + 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Folie" r:id="rId3" imgW="473" imgH="470" progId="TCLayout.ActiveDocument.1">
                  <p:embed/>
                </p:oleObj>
              </mc:Choice>
              <mc:Fallback>
                <p:oleObj name="think-cell Folie" r:id="rId3" imgW="473" imgH="470" progId="TCLayout.ActiveDocument.1">
                  <p:embed/>
                  <p:pic>
                    <p:nvPicPr>
                      <p:cNvPr id="2" name="Objek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0" name="Flussdiagramm: Manuelle Eingabe 9">
            <a:extLst>
              <a:ext uri="{FF2B5EF4-FFF2-40B4-BE49-F238E27FC236}">
                <a16:creationId xmlns:a16="http://schemas.microsoft.com/office/drawing/2014/main" id="{A5647E83-5417-4CB6-9775-704D277408D5}"/>
              </a:ext>
            </a:extLst>
          </p:cNvPr>
          <p:cNvSpPr>
            <a:spLocks/>
          </p:cNvSpPr>
          <p:nvPr userDrawn="1"/>
        </p:nvSpPr>
        <p:spPr bwMode="gray">
          <a:xfrm rot="10800000">
            <a:off x="0" y="-1"/>
            <a:ext cx="9144000" cy="1226821"/>
          </a:xfrm>
          <a:prstGeom prst="flowChartManualInput">
            <a:avLst/>
          </a:prstGeom>
          <a:gradFill flip="none" rotWithShape="1">
            <a:gsLst>
              <a:gs pos="100000">
                <a:schemeClr val="accent2">
                  <a:alpha val="67000"/>
                </a:schemeClr>
              </a:gs>
              <a:gs pos="0">
                <a:schemeClr val="accent5">
                  <a:alpha val="6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a:spcBef>
                <a:spcPts val="150"/>
              </a:spcBef>
              <a:spcAft>
                <a:spcPts val="300"/>
              </a:spcAft>
            </a:pPr>
            <a:endParaRPr lang="en-US" sz="1050" b="1">
              <a:solidFill>
                <a:schemeClr val="bg1"/>
              </a:solidFill>
            </a:endParaRPr>
          </a:p>
        </p:txBody>
      </p:sp>
      <p:sp>
        <p:nvSpPr>
          <p:cNvPr id="26" name="Titel 4">
            <a:extLst>
              <a:ext uri="{FF2B5EF4-FFF2-40B4-BE49-F238E27FC236}">
                <a16:creationId xmlns:a16="http://schemas.microsoft.com/office/drawing/2014/main" id="{5949748B-82FD-4897-92A7-C323299C79D7}"/>
              </a:ext>
            </a:extLst>
          </p:cNvPr>
          <p:cNvSpPr>
            <a:spLocks noGrp="1"/>
          </p:cNvSpPr>
          <p:nvPr>
            <p:ph type="title" hasCustomPrompt="1"/>
          </p:nvPr>
        </p:nvSpPr>
        <p:spPr>
          <a:xfrm>
            <a:off x="311754" y="310647"/>
            <a:ext cx="7189079" cy="594122"/>
          </a:xfrm>
        </p:spPr>
        <p:txBody>
          <a:bodyPr vert="horz"/>
          <a:lstStyle>
            <a:lvl1pPr rtl="0">
              <a:defRPr sz="1500" b="0" cap="none" baseline="0">
                <a:solidFill>
                  <a:schemeClr val="bg1"/>
                </a:solidFill>
              </a:defRPr>
            </a:lvl1pPr>
          </a:lstStyle>
          <a:p>
            <a:r>
              <a:rPr lang="en-US"/>
              <a:t>FOLIENTITEL EINFÜGEN</a:t>
            </a:r>
          </a:p>
        </p:txBody>
      </p:sp>
      <p:grpSp>
        <p:nvGrpSpPr>
          <p:cNvPr id="11" name="Gruppieren 10">
            <a:extLst>
              <a:ext uri="{FF2B5EF4-FFF2-40B4-BE49-F238E27FC236}">
                <a16:creationId xmlns:a16="http://schemas.microsoft.com/office/drawing/2014/main" id="{C73F0F7B-BF00-4952-B169-4A1EF5EE4FE0}"/>
              </a:ext>
            </a:extLst>
          </p:cNvPr>
          <p:cNvGrpSpPr/>
          <p:nvPr userDrawn="1"/>
        </p:nvGrpSpPr>
        <p:grpSpPr bwMode="gray">
          <a:xfrm>
            <a:off x="7924952" y="367744"/>
            <a:ext cx="910860" cy="363353"/>
            <a:chOff x="-64593788" y="4924426"/>
            <a:chExt cx="63238063" cy="25223786"/>
          </a:xfrm>
          <a:solidFill>
            <a:schemeClr val="bg1"/>
          </a:solidFill>
        </p:grpSpPr>
        <p:sp>
          <p:nvSpPr>
            <p:cNvPr id="12" name="Freeform 7">
              <a:extLst>
                <a:ext uri="{FF2B5EF4-FFF2-40B4-BE49-F238E27FC236}">
                  <a16:creationId xmlns:a16="http://schemas.microsoft.com/office/drawing/2014/main" id="{A3FC5EDF-6907-4B44-BC29-C841353A46BB}"/>
                </a:ext>
              </a:extLst>
            </p:cNvPr>
            <p:cNvSpPr>
              <a:spLocks/>
            </p:cNvSpPr>
            <p:nvPr userDrawn="1"/>
          </p:nvSpPr>
          <p:spPr bwMode="gray">
            <a:xfrm>
              <a:off x="-57942163" y="4926013"/>
              <a:ext cx="3529013" cy="5961062"/>
            </a:xfrm>
            <a:custGeom>
              <a:avLst/>
              <a:gdLst>
                <a:gd name="T0" fmla="*/ 0 w 2223"/>
                <a:gd name="T1" fmla="*/ 3755 h 3755"/>
                <a:gd name="T2" fmla="*/ 1606 w 2223"/>
                <a:gd name="T3" fmla="*/ 3755 h 3755"/>
                <a:gd name="T4" fmla="*/ 2223 w 2223"/>
                <a:gd name="T5" fmla="*/ 0 h 3755"/>
                <a:gd name="T6" fmla="*/ 624 w 2223"/>
                <a:gd name="T7" fmla="*/ 0 h 3755"/>
                <a:gd name="T8" fmla="*/ 0 w 2223"/>
                <a:gd name="T9" fmla="*/ 3755 h 3755"/>
              </a:gdLst>
              <a:ahLst/>
              <a:cxnLst>
                <a:cxn ang="0">
                  <a:pos x="T0" y="T1"/>
                </a:cxn>
                <a:cxn ang="0">
                  <a:pos x="T2" y="T3"/>
                </a:cxn>
                <a:cxn ang="0">
                  <a:pos x="T4" y="T5"/>
                </a:cxn>
                <a:cxn ang="0">
                  <a:pos x="T6" y="T7"/>
                </a:cxn>
                <a:cxn ang="0">
                  <a:pos x="T8" y="T9"/>
                </a:cxn>
              </a:cxnLst>
              <a:rect l="0" t="0" r="r" b="b"/>
              <a:pathLst>
                <a:path w="2223" h="3755">
                  <a:moveTo>
                    <a:pt x="0" y="3755"/>
                  </a:moveTo>
                  <a:lnTo>
                    <a:pt x="1606" y="3755"/>
                  </a:lnTo>
                  <a:lnTo>
                    <a:pt x="2223" y="0"/>
                  </a:lnTo>
                  <a:lnTo>
                    <a:pt x="624" y="0"/>
                  </a:lnTo>
                  <a:lnTo>
                    <a:pt x="0" y="3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3" name="Rectangle 8">
              <a:extLst>
                <a:ext uri="{FF2B5EF4-FFF2-40B4-BE49-F238E27FC236}">
                  <a16:creationId xmlns:a16="http://schemas.microsoft.com/office/drawing/2014/main" id="{9214396C-563A-45F9-B6BB-FDEDC0AE882D}"/>
                </a:ext>
              </a:extLst>
            </p:cNvPr>
            <p:cNvSpPr>
              <a:spLocks noChangeArrowheads="1"/>
            </p:cNvSpPr>
            <p:nvPr userDrawn="1"/>
          </p:nvSpPr>
          <p:spPr bwMode="gray">
            <a:xfrm>
              <a:off x="-64587438" y="4926013"/>
              <a:ext cx="2549525" cy="1531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4" name="Rectangle 9">
              <a:extLst>
                <a:ext uri="{FF2B5EF4-FFF2-40B4-BE49-F238E27FC236}">
                  <a16:creationId xmlns:a16="http://schemas.microsoft.com/office/drawing/2014/main" id="{7DCBEE24-FD84-4D1C-A32D-FC138E67E62C}"/>
                </a:ext>
              </a:extLst>
            </p:cNvPr>
            <p:cNvSpPr>
              <a:spLocks noChangeArrowheads="1"/>
            </p:cNvSpPr>
            <p:nvPr userDrawn="1"/>
          </p:nvSpPr>
          <p:spPr bwMode="gray">
            <a:xfrm>
              <a:off x="-51869975" y="4926013"/>
              <a:ext cx="2547938" cy="1531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5" name="Freeform 10">
              <a:extLst>
                <a:ext uri="{FF2B5EF4-FFF2-40B4-BE49-F238E27FC236}">
                  <a16:creationId xmlns:a16="http://schemas.microsoft.com/office/drawing/2014/main" id="{272752BA-4C6C-4A0A-A2E4-4C95D1D3DBB3}"/>
                </a:ext>
              </a:extLst>
            </p:cNvPr>
            <p:cNvSpPr>
              <a:spLocks/>
            </p:cNvSpPr>
            <p:nvPr userDrawn="1"/>
          </p:nvSpPr>
          <p:spPr bwMode="gray">
            <a:xfrm>
              <a:off x="-59501088" y="13439775"/>
              <a:ext cx="3679825" cy="6805612"/>
            </a:xfrm>
            <a:custGeom>
              <a:avLst/>
              <a:gdLst>
                <a:gd name="T0" fmla="*/ 1606 w 2318"/>
                <a:gd name="T1" fmla="*/ 4287 h 4287"/>
                <a:gd name="T2" fmla="*/ 2318 w 2318"/>
                <a:gd name="T3" fmla="*/ 0 h 4287"/>
                <a:gd name="T4" fmla="*/ 712 w 2318"/>
                <a:gd name="T5" fmla="*/ 0 h 4287"/>
                <a:gd name="T6" fmla="*/ 0 w 2318"/>
                <a:gd name="T7" fmla="*/ 4287 h 4287"/>
                <a:gd name="T8" fmla="*/ 1606 w 2318"/>
                <a:gd name="T9" fmla="*/ 4287 h 4287"/>
              </a:gdLst>
              <a:ahLst/>
              <a:cxnLst>
                <a:cxn ang="0">
                  <a:pos x="T0" y="T1"/>
                </a:cxn>
                <a:cxn ang="0">
                  <a:pos x="T2" y="T3"/>
                </a:cxn>
                <a:cxn ang="0">
                  <a:pos x="T4" y="T5"/>
                </a:cxn>
                <a:cxn ang="0">
                  <a:pos x="T6" y="T7"/>
                </a:cxn>
                <a:cxn ang="0">
                  <a:pos x="T8" y="T9"/>
                </a:cxn>
              </a:cxnLst>
              <a:rect l="0" t="0" r="r" b="b"/>
              <a:pathLst>
                <a:path w="2318" h="4287">
                  <a:moveTo>
                    <a:pt x="1606" y="4287"/>
                  </a:moveTo>
                  <a:lnTo>
                    <a:pt x="2318" y="0"/>
                  </a:lnTo>
                  <a:lnTo>
                    <a:pt x="712" y="0"/>
                  </a:lnTo>
                  <a:lnTo>
                    <a:pt x="0" y="4287"/>
                  </a:lnTo>
                  <a:lnTo>
                    <a:pt x="1606" y="4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6" name="Freeform 11">
              <a:extLst>
                <a:ext uri="{FF2B5EF4-FFF2-40B4-BE49-F238E27FC236}">
                  <a16:creationId xmlns:a16="http://schemas.microsoft.com/office/drawing/2014/main" id="{40B8FD76-5071-4615-9008-ADD2296BDF3A}"/>
                </a:ext>
              </a:extLst>
            </p:cNvPr>
            <p:cNvSpPr>
              <a:spLocks noEditPoints="1"/>
            </p:cNvSpPr>
            <p:nvPr userDrawn="1"/>
          </p:nvSpPr>
          <p:spPr bwMode="gray">
            <a:xfrm>
              <a:off x="-64593788" y="25911175"/>
              <a:ext cx="3689350" cy="4178300"/>
            </a:xfrm>
            <a:custGeom>
              <a:avLst/>
              <a:gdLst>
                <a:gd name="T0" fmla="*/ 2324 w 2324"/>
                <a:gd name="T1" fmla="*/ 2632 h 2632"/>
                <a:gd name="T2" fmla="*/ 1989 w 2324"/>
                <a:gd name="T3" fmla="*/ 2632 h 2632"/>
                <a:gd name="T4" fmla="*/ 1741 w 2324"/>
                <a:gd name="T5" fmla="*/ 1955 h 2632"/>
                <a:gd name="T6" fmla="*/ 556 w 2324"/>
                <a:gd name="T7" fmla="*/ 1955 h 2632"/>
                <a:gd name="T8" fmla="*/ 309 w 2324"/>
                <a:gd name="T9" fmla="*/ 2632 h 2632"/>
                <a:gd name="T10" fmla="*/ 0 w 2324"/>
                <a:gd name="T11" fmla="*/ 2632 h 2632"/>
                <a:gd name="T12" fmla="*/ 974 w 2324"/>
                <a:gd name="T13" fmla="*/ 0 h 2632"/>
                <a:gd name="T14" fmla="*/ 1354 w 2324"/>
                <a:gd name="T15" fmla="*/ 0 h 2632"/>
                <a:gd name="T16" fmla="*/ 2324 w 2324"/>
                <a:gd name="T17" fmla="*/ 2632 h 2632"/>
                <a:gd name="T18" fmla="*/ 639 w 2324"/>
                <a:gd name="T19" fmla="*/ 1684 h 2632"/>
                <a:gd name="T20" fmla="*/ 1654 w 2324"/>
                <a:gd name="T21" fmla="*/ 1684 h 2632"/>
                <a:gd name="T22" fmla="*/ 1147 w 2324"/>
                <a:gd name="T23" fmla="*/ 331 h 2632"/>
                <a:gd name="T24" fmla="*/ 639 w 2324"/>
                <a:gd name="T25" fmla="*/ 1684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4" h="2632">
                  <a:moveTo>
                    <a:pt x="2324" y="2632"/>
                  </a:moveTo>
                  <a:lnTo>
                    <a:pt x="1989" y="2632"/>
                  </a:lnTo>
                  <a:lnTo>
                    <a:pt x="1741" y="1955"/>
                  </a:lnTo>
                  <a:lnTo>
                    <a:pt x="556" y="1955"/>
                  </a:lnTo>
                  <a:lnTo>
                    <a:pt x="309" y="2632"/>
                  </a:lnTo>
                  <a:lnTo>
                    <a:pt x="0" y="2632"/>
                  </a:lnTo>
                  <a:lnTo>
                    <a:pt x="974" y="0"/>
                  </a:lnTo>
                  <a:lnTo>
                    <a:pt x="1354" y="0"/>
                  </a:lnTo>
                  <a:lnTo>
                    <a:pt x="2324" y="2632"/>
                  </a:lnTo>
                  <a:close/>
                  <a:moveTo>
                    <a:pt x="639" y="1684"/>
                  </a:moveTo>
                  <a:lnTo>
                    <a:pt x="1654" y="1684"/>
                  </a:lnTo>
                  <a:lnTo>
                    <a:pt x="1147" y="331"/>
                  </a:lnTo>
                  <a:lnTo>
                    <a:pt x="639" y="168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7" name="Freeform 12">
              <a:extLst>
                <a:ext uri="{FF2B5EF4-FFF2-40B4-BE49-F238E27FC236}">
                  <a16:creationId xmlns:a16="http://schemas.microsoft.com/office/drawing/2014/main" id="{02E0A4E8-ECD0-4875-9653-0660BF0690AD}"/>
                </a:ext>
              </a:extLst>
            </p:cNvPr>
            <p:cNvSpPr>
              <a:spLocks noEditPoints="1"/>
            </p:cNvSpPr>
            <p:nvPr userDrawn="1"/>
          </p:nvSpPr>
          <p:spPr bwMode="gray">
            <a:xfrm>
              <a:off x="-58231088" y="25911175"/>
              <a:ext cx="2908300" cy="4178300"/>
            </a:xfrm>
            <a:custGeom>
              <a:avLst/>
              <a:gdLst>
                <a:gd name="T0" fmla="*/ 0 w 1696"/>
                <a:gd name="T1" fmla="*/ 0 h 2438"/>
                <a:gd name="T2" fmla="*/ 916 w 1696"/>
                <a:gd name="T3" fmla="*/ 0 h 2438"/>
                <a:gd name="T4" fmla="*/ 1696 w 1696"/>
                <a:gd name="T5" fmla="*/ 756 h 2438"/>
                <a:gd name="T6" fmla="*/ 916 w 1696"/>
                <a:gd name="T7" fmla="*/ 1515 h 2438"/>
                <a:gd name="T8" fmla="*/ 289 w 1696"/>
                <a:gd name="T9" fmla="*/ 1515 h 2438"/>
                <a:gd name="T10" fmla="*/ 289 w 1696"/>
                <a:gd name="T11" fmla="*/ 2438 h 2438"/>
                <a:gd name="T12" fmla="*/ 0 w 1696"/>
                <a:gd name="T13" fmla="*/ 2438 h 2438"/>
                <a:gd name="T14" fmla="*/ 0 w 1696"/>
                <a:gd name="T15" fmla="*/ 0 h 2438"/>
                <a:gd name="T16" fmla="*/ 289 w 1696"/>
                <a:gd name="T17" fmla="*/ 1264 h 2438"/>
                <a:gd name="T18" fmla="*/ 909 w 1696"/>
                <a:gd name="T19" fmla="*/ 1264 h 2438"/>
                <a:gd name="T20" fmla="*/ 1400 w 1696"/>
                <a:gd name="T21" fmla="*/ 756 h 2438"/>
                <a:gd name="T22" fmla="*/ 909 w 1696"/>
                <a:gd name="T23" fmla="*/ 251 h 2438"/>
                <a:gd name="T24" fmla="*/ 289 w 1696"/>
                <a:gd name="T25" fmla="*/ 251 h 2438"/>
                <a:gd name="T26" fmla="*/ 289 w 1696"/>
                <a:gd name="T27"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6" h="2438">
                  <a:moveTo>
                    <a:pt x="0" y="0"/>
                  </a:moveTo>
                  <a:cubicBezTo>
                    <a:pt x="916" y="0"/>
                    <a:pt x="916" y="0"/>
                    <a:pt x="916" y="0"/>
                  </a:cubicBezTo>
                  <a:cubicBezTo>
                    <a:pt x="1390" y="0"/>
                    <a:pt x="1696" y="234"/>
                    <a:pt x="1696" y="756"/>
                  </a:cubicBezTo>
                  <a:cubicBezTo>
                    <a:pt x="1696" y="1282"/>
                    <a:pt x="1390" y="1515"/>
                    <a:pt x="916"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09" y="1264"/>
                    <a:pt x="909" y="1264"/>
                    <a:pt x="909" y="1264"/>
                  </a:cubicBezTo>
                  <a:cubicBezTo>
                    <a:pt x="1208" y="1264"/>
                    <a:pt x="1400" y="1114"/>
                    <a:pt x="1400" y="756"/>
                  </a:cubicBezTo>
                  <a:cubicBezTo>
                    <a:pt x="1400" y="401"/>
                    <a:pt x="1205" y="251"/>
                    <a:pt x="909"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8" name="Freeform 13">
              <a:extLst>
                <a:ext uri="{FF2B5EF4-FFF2-40B4-BE49-F238E27FC236}">
                  <a16:creationId xmlns:a16="http://schemas.microsoft.com/office/drawing/2014/main" id="{CA1D665C-CE28-45BC-9C95-863A7AA2C60B}"/>
                </a:ext>
              </a:extLst>
            </p:cNvPr>
            <p:cNvSpPr>
              <a:spLocks noEditPoints="1"/>
            </p:cNvSpPr>
            <p:nvPr userDrawn="1"/>
          </p:nvSpPr>
          <p:spPr bwMode="gray">
            <a:xfrm>
              <a:off x="-54684613" y="25850850"/>
              <a:ext cx="3235325" cy="4297362"/>
            </a:xfrm>
            <a:custGeom>
              <a:avLst/>
              <a:gdLst>
                <a:gd name="T0" fmla="*/ 1888 w 1888"/>
                <a:gd name="T1" fmla="*/ 1634 h 2507"/>
                <a:gd name="T2" fmla="*/ 941 w 1888"/>
                <a:gd name="T3" fmla="*/ 2507 h 2507"/>
                <a:gd name="T4" fmla="*/ 0 w 1888"/>
                <a:gd name="T5" fmla="*/ 1634 h 2507"/>
                <a:gd name="T6" fmla="*/ 0 w 1888"/>
                <a:gd name="T7" fmla="*/ 875 h 2507"/>
                <a:gd name="T8" fmla="*/ 948 w 1888"/>
                <a:gd name="T9" fmla="*/ 0 h 2507"/>
                <a:gd name="T10" fmla="*/ 1888 w 1888"/>
                <a:gd name="T11" fmla="*/ 875 h 2507"/>
                <a:gd name="T12" fmla="*/ 1888 w 1888"/>
                <a:gd name="T13" fmla="*/ 1634 h 2507"/>
                <a:gd name="T14" fmla="*/ 1599 w 1888"/>
                <a:gd name="T15" fmla="*/ 875 h 2507"/>
                <a:gd name="T16" fmla="*/ 948 w 1888"/>
                <a:gd name="T17" fmla="*/ 251 h 2507"/>
                <a:gd name="T18" fmla="*/ 289 w 1888"/>
                <a:gd name="T19" fmla="*/ 875 h 2507"/>
                <a:gd name="T20" fmla="*/ 289 w 1888"/>
                <a:gd name="T21" fmla="*/ 1634 h 2507"/>
                <a:gd name="T22" fmla="*/ 941 w 1888"/>
                <a:gd name="T23" fmla="*/ 2257 h 2507"/>
                <a:gd name="T24" fmla="*/ 1599 w 1888"/>
                <a:gd name="T25" fmla="*/ 1634 h 2507"/>
                <a:gd name="T26" fmla="*/ 1599 w 1888"/>
                <a:gd name="T27" fmla="*/ 875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8" h="2507">
                  <a:moveTo>
                    <a:pt x="1888" y="1634"/>
                  </a:moveTo>
                  <a:cubicBezTo>
                    <a:pt x="1888" y="2194"/>
                    <a:pt x="1529" y="2507"/>
                    <a:pt x="941" y="2507"/>
                  </a:cubicBezTo>
                  <a:cubicBezTo>
                    <a:pt x="359" y="2507"/>
                    <a:pt x="0" y="2194"/>
                    <a:pt x="0" y="1634"/>
                  </a:cubicBezTo>
                  <a:cubicBezTo>
                    <a:pt x="0" y="875"/>
                    <a:pt x="0" y="875"/>
                    <a:pt x="0" y="875"/>
                  </a:cubicBezTo>
                  <a:cubicBezTo>
                    <a:pt x="0" y="310"/>
                    <a:pt x="359" y="0"/>
                    <a:pt x="948" y="0"/>
                  </a:cubicBezTo>
                  <a:cubicBezTo>
                    <a:pt x="1529" y="0"/>
                    <a:pt x="1888" y="310"/>
                    <a:pt x="1888" y="875"/>
                  </a:cubicBezTo>
                  <a:lnTo>
                    <a:pt x="1888" y="1634"/>
                  </a:lnTo>
                  <a:close/>
                  <a:moveTo>
                    <a:pt x="1599" y="875"/>
                  </a:moveTo>
                  <a:cubicBezTo>
                    <a:pt x="1599" y="478"/>
                    <a:pt x="1355" y="251"/>
                    <a:pt x="948" y="251"/>
                  </a:cubicBezTo>
                  <a:cubicBezTo>
                    <a:pt x="533" y="251"/>
                    <a:pt x="289" y="478"/>
                    <a:pt x="289" y="875"/>
                  </a:cubicBezTo>
                  <a:cubicBezTo>
                    <a:pt x="289" y="1634"/>
                    <a:pt x="289" y="1634"/>
                    <a:pt x="289" y="1634"/>
                  </a:cubicBezTo>
                  <a:cubicBezTo>
                    <a:pt x="289" y="2031"/>
                    <a:pt x="533" y="2257"/>
                    <a:pt x="941" y="2257"/>
                  </a:cubicBezTo>
                  <a:cubicBezTo>
                    <a:pt x="1355" y="2257"/>
                    <a:pt x="1599" y="2031"/>
                    <a:pt x="1599" y="1634"/>
                  </a:cubicBezTo>
                  <a:lnTo>
                    <a:pt x="1599" y="875"/>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9" name="Freeform 14">
              <a:extLst>
                <a:ext uri="{FF2B5EF4-FFF2-40B4-BE49-F238E27FC236}">
                  <a16:creationId xmlns:a16="http://schemas.microsoft.com/office/drawing/2014/main" id="{981D7C57-B579-4E4C-A117-5658CA2D6895}"/>
                </a:ext>
              </a:extLst>
            </p:cNvPr>
            <p:cNvSpPr>
              <a:spLocks noEditPoints="1"/>
            </p:cNvSpPr>
            <p:nvPr userDrawn="1"/>
          </p:nvSpPr>
          <p:spPr bwMode="gray">
            <a:xfrm>
              <a:off x="-50457100" y="25911175"/>
              <a:ext cx="3024188" cy="4178300"/>
            </a:xfrm>
            <a:custGeom>
              <a:avLst/>
              <a:gdLst>
                <a:gd name="T0" fmla="*/ 0 w 1765"/>
                <a:gd name="T1" fmla="*/ 0 h 2438"/>
                <a:gd name="T2" fmla="*/ 968 w 1765"/>
                <a:gd name="T3" fmla="*/ 0 h 2438"/>
                <a:gd name="T4" fmla="*/ 1747 w 1765"/>
                <a:gd name="T5" fmla="*/ 756 h 2438"/>
                <a:gd name="T6" fmla="*/ 1291 w 1765"/>
                <a:gd name="T7" fmla="*/ 1470 h 2438"/>
                <a:gd name="T8" fmla="*/ 1765 w 1765"/>
                <a:gd name="T9" fmla="*/ 2438 h 2438"/>
                <a:gd name="T10" fmla="*/ 1431 w 1765"/>
                <a:gd name="T11" fmla="*/ 2438 h 2438"/>
                <a:gd name="T12" fmla="*/ 996 w 1765"/>
                <a:gd name="T13" fmla="*/ 1515 h 2438"/>
                <a:gd name="T14" fmla="*/ 289 w 1765"/>
                <a:gd name="T15" fmla="*/ 1515 h 2438"/>
                <a:gd name="T16" fmla="*/ 289 w 1765"/>
                <a:gd name="T17" fmla="*/ 2438 h 2438"/>
                <a:gd name="T18" fmla="*/ 0 w 1765"/>
                <a:gd name="T19" fmla="*/ 2438 h 2438"/>
                <a:gd name="T20" fmla="*/ 0 w 1765"/>
                <a:gd name="T21" fmla="*/ 0 h 2438"/>
                <a:gd name="T22" fmla="*/ 289 w 1765"/>
                <a:gd name="T23" fmla="*/ 1264 h 2438"/>
                <a:gd name="T24" fmla="*/ 960 w 1765"/>
                <a:gd name="T25" fmla="*/ 1264 h 2438"/>
                <a:gd name="T26" fmla="*/ 1451 w 1765"/>
                <a:gd name="T27" fmla="*/ 756 h 2438"/>
                <a:gd name="T28" fmla="*/ 960 w 1765"/>
                <a:gd name="T29" fmla="*/ 251 h 2438"/>
                <a:gd name="T30" fmla="*/ 289 w 1765"/>
                <a:gd name="T31" fmla="*/ 251 h 2438"/>
                <a:gd name="T32" fmla="*/ 289 w 1765"/>
                <a:gd name="T33"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5" h="2438">
                  <a:moveTo>
                    <a:pt x="0" y="0"/>
                  </a:moveTo>
                  <a:cubicBezTo>
                    <a:pt x="968" y="0"/>
                    <a:pt x="968" y="0"/>
                    <a:pt x="968" y="0"/>
                  </a:cubicBezTo>
                  <a:cubicBezTo>
                    <a:pt x="1441" y="0"/>
                    <a:pt x="1747" y="234"/>
                    <a:pt x="1747" y="756"/>
                  </a:cubicBezTo>
                  <a:cubicBezTo>
                    <a:pt x="1747" y="1149"/>
                    <a:pt x="1577" y="1379"/>
                    <a:pt x="1291" y="1470"/>
                  </a:cubicBezTo>
                  <a:cubicBezTo>
                    <a:pt x="1765" y="2438"/>
                    <a:pt x="1765" y="2438"/>
                    <a:pt x="1765" y="2438"/>
                  </a:cubicBezTo>
                  <a:cubicBezTo>
                    <a:pt x="1431" y="2438"/>
                    <a:pt x="1431" y="2438"/>
                    <a:pt x="1431" y="2438"/>
                  </a:cubicBezTo>
                  <a:cubicBezTo>
                    <a:pt x="996" y="1515"/>
                    <a:pt x="996" y="1515"/>
                    <a:pt x="996"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60" y="1264"/>
                    <a:pt x="960" y="1264"/>
                    <a:pt x="960" y="1264"/>
                  </a:cubicBezTo>
                  <a:cubicBezTo>
                    <a:pt x="1260" y="1264"/>
                    <a:pt x="1451" y="1114"/>
                    <a:pt x="1451" y="756"/>
                  </a:cubicBezTo>
                  <a:cubicBezTo>
                    <a:pt x="1451" y="401"/>
                    <a:pt x="1257" y="251"/>
                    <a:pt x="960"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0" name="Freeform 15">
              <a:extLst>
                <a:ext uri="{FF2B5EF4-FFF2-40B4-BE49-F238E27FC236}">
                  <a16:creationId xmlns:a16="http://schemas.microsoft.com/office/drawing/2014/main" id="{B316DC60-17AF-428A-88EA-ACC1AA1C3C8C}"/>
                </a:ext>
              </a:extLst>
            </p:cNvPr>
            <p:cNvSpPr>
              <a:spLocks/>
            </p:cNvSpPr>
            <p:nvPr userDrawn="1"/>
          </p:nvSpPr>
          <p:spPr bwMode="gray">
            <a:xfrm>
              <a:off x="-46589950" y="25850850"/>
              <a:ext cx="3025775" cy="4297362"/>
            </a:xfrm>
            <a:custGeom>
              <a:avLst/>
              <a:gdLst>
                <a:gd name="T0" fmla="*/ 1090 w 1765"/>
                <a:gd name="T1" fmla="*/ 1421 h 2507"/>
                <a:gd name="T2" fmla="*/ 626 w 1765"/>
                <a:gd name="T3" fmla="*/ 1334 h 2507"/>
                <a:gd name="T4" fmla="*/ 20 w 1765"/>
                <a:gd name="T5" fmla="*/ 687 h 2507"/>
                <a:gd name="T6" fmla="*/ 884 w 1765"/>
                <a:gd name="T7" fmla="*/ 0 h 2507"/>
                <a:gd name="T8" fmla="*/ 1748 w 1765"/>
                <a:gd name="T9" fmla="*/ 735 h 2507"/>
                <a:gd name="T10" fmla="*/ 1748 w 1765"/>
                <a:gd name="T11" fmla="*/ 767 h 2507"/>
                <a:gd name="T12" fmla="*/ 1462 w 1765"/>
                <a:gd name="T13" fmla="*/ 767 h 2507"/>
                <a:gd name="T14" fmla="*/ 1462 w 1765"/>
                <a:gd name="T15" fmla="*/ 735 h 2507"/>
                <a:gd name="T16" fmla="*/ 884 w 1765"/>
                <a:gd name="T17" fmla="*/ 251 h 2507"/>
                <a:gd name="T18" fmla="*/ 317 w 1765"/>
                <a:gd name="T19" fmla="*/ 669 h 2507"/>
                <a:gd name="T20" fmla="*/ 696 w 1765"/>
                <a:gd name="T21" fmla="*/ 1069 h 2507"/>
                <a:gd name="T22" fmla="*/ 1156 w 1765"/>
                <a:gd name="T23" fmla="*/ 1157 h 2507"/>
                <a:gd name="T24" fmla="*/ 1765 w 1765"/>
                <a:gd name="T25" fmla="*/ 1801 h 2507"/>
                <a:gd name="T26" fmla="*/ 881 w 1765"/>
                <a:gd name="T27" fmla="*/ 2507 h 2507"/>
                <a:gd name="T28" fmla="*/ 0 w 1765"/>
                <a:gd name="T29" fmla="*/ 1773 h 2507"/>
                <a:gd name="T30" fmla="*/ 0 w 1765"/>
                <a:gd name="T31" fmla="*/ 1742 h 2507"/>
                <a:gd name="T32" fmla="*/ 289 w 1765"/>
                <a:gd name="T33" fmla="*/ 1742 h 2507"/>
                <a:gd name="T34" fmla="*/ 289 w 1765"/>
                <a:gd name="T35" fmla="*/ 1773 h 2507"/>
                <a:gd name="T36" fmla="*/ 881 w 1765"/>
                <a:gd name="T37" fmla="*/ 2257 h 2507"/>
                <a:gd name="T38" fmla="*/ 1469 w 1765"/>
                <a:gd name="T39" fmla="*/ 1818 h 2507"/>
                <a:gd name="T40" fmla="*/ 1090 w 1765"/>
                <a:gd name="T41" fmla="*/ 1421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5" h="2507">
                  <a:moveTo>
                    <a:pt x="1090" y="1421"/>
                  </a:moveTo>
                  <a:cubicBezTo>
                    <a:pt x="626" y="1334"/>
                    <a:pt x="626" y="1334"/>
                    <a:pt x="626" y="1334"/>
                  </a:cubicBezTo>
                  <a:cubicBezTo>
                    <a:pt x="247" y="1261"/>
                    <a:pt x="20" y="1052"/>
                    <a:pt x="20" y="687"/>
                  </a:cubicBezTo>
                  <a:cubicBezTo>
                    <a:pt x="20" y="237"/>
                    <a:pt x="334" y="0"/>
                    <a:pt x="884" y="0"/>
                  </a:cubicBezTo>
                  <a:cubicBezTo>
                    <a:pt x="1434" y="0"/>
                    <a:pt x="1748" y="244"/>
                    <a:pt x="1748" y="735"/>
                  </a:cubicBezTo>
                  <a:cubicBezTo>
                    <a:pt x="1748" y="767"/>
                    <a:pt x="1748" y="767"/>
                    <a:pt x="1748" y="767"/>
                  </a:cubicBezTo>
                  <a:cubicBezTo>
                    <a:pt x="1462" y="767"/>
                    <a:pt x="1462" y="767"/>
                    <a:pt x="1462" y="767"/>
                  </a:cubicBezTo>
                  <a:cubicBezTo>
                    <a:pt x="1462" y="735"/>
                    <a:pt x="1462" y="735"/>
                    <a:pt x="1462" y="735"/>
                  </a:cubicBezTo>
                  <a:cubicBezTo>
                    <a:pt x="1462" y="415"/>
                    <a:pt x="1260" y="251"/>
                    <a:pt x="884" y="251"/>
                  </a:cubicBezTo>
                  <a:cubicBezTo>
                    <a:pt x="508" y="251"/>
                    <a:pt x="317" y="394"/>
                    <a:pt x="317" y="669"/>
                  </a:cubicBezTo>
                  <a:cubicBezTo>
                    <a:pt x="317" y="895"/>
                    <a:pt x="463" y="1024"/>
                    <a:pt x="696" y="1069"/>
                  </a:cubicBezTo>
                  <a:cubicBezTo>
                    <a:pt x="1156" y="1157"/>
                    <a:pt x="1156" y="1157"/>
                    <a:pt x="1156" y="1157"/>
                  </a:cubicBezTo>
                  <a:cubicBezTo>
                    <a:pt x="1546" y="1230"/>
                    <a:pt x="1765" y="1435"/>
                    <a:pt x="1765" y="1801"/>
                  </a:cubicBezTo>
                  <a:cubicBezTo>
                    <a:pt x="1765" y="2271"/>
                    <a:pt x="1434" y="2507"/>
                    <a:pt x="881" y="2507"/>
                  </a:cubicBezTo>
                  <a:cubicBezTo>
                    <a:pt x="331" y="2507"/>
                    <a:pt x="0" y="2261"/>
                    <a:pt x="0" y="1773"/>
                  </a:cubicBezTo>
                  <a:cubicBezTo>
                    <a:pt x="0" y="1742"/>
                    <a:pt x="0" y="1742"/>
                    <a:pt x="0" y="1742"/>
                  </a:cubicBezTo>
                  <a:cubicBezTo>
                    <a:pt x="289" y="1742"/>
                    <a:pt x="289" y="1742"/>
                    <a:pt x="289" y="1742"/>
                  </a:cubicBezTo>
                  <a:cubicBezTo>
                    <a:pt x="289" y="1773"/>
                    <a:pt x="289" y="1773"/>
                    <a:pt x="289" y="1773"/>
                  </a:cubicBezTo>
                  <a:cubicBezTo>
                    <a:pt x="289" y="2093"/>
                    <a:pt x="505" y="2257"/>
                    <a:pt x="881" y="2257"/>
                  </a:cubicBezTo>
                  <a:cubicBezTo>
                    <a:pt x="1260" y="2257"/>
                    <a:pt x="1469" y="2114"/>
                    <a:pt x="1469" y="1818"/>
                  </a:cubicBezTo>
                  <a:cubicBezTo>
                    <a:pt x="1469" y="1592"/>
                    <a:pt x="1323" y="1466"/>
                    <a:pt x="1090" y="1421"/>
                  </a:cubicBezTo>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1" name="Freeform 16">
              <a:extLst>
                <a:ext uri="{FF2B5EF4-FFF2-40B4-BE49-F238E27FC236}">
                  <a16:creationId xmlns:a16="http://schemas.microsoft.com/office/drawing/2014/main" id="{9789EE16-E9EE-4412-939D-A91FC7A615B3}"/>
                </a:ext>
              </a:extLst>
            </p:cNvPr>
            <p:cNvSpPr>
              <a:spLocks/>
            </p:cNvSpPr>
            <p:nvPr userDrawn="1"/>
          </p:nvSpPr>
          <p:spPr bwMode="gray">
            <a:xfrm>
              <a:off x="-42698988" y="25850850"/>
              <a:ext cx="3175000" cy="4297362"/>
            </a:xfrm>
            <a:custGeom>
              <a:avLst/>
              <a:gdLst>
                <a:gd name="T0" fmla="*/ 1852 w 1852"/>
                <a:gd name="T1" fmla="*/ 1689 h 2507"/>
                <a:gd name="T2" fmla="*/ 1852 w 1852"/>
                <a:gd name="T3" fmla="*/ 1700 h 2507"/>
                <a:gd name="T4" fmla="*/ 937 w 1852"/>
                <a:gd name="T5" fmla="*/ 2507 h 2507"/>
                <a:gd name="T6" fmla="*/ 0 w 1852"/>
                <a:gd name="T7" fmla="*/ 1634 h 2507"/>
                <a:gd name="T8" fmla="*/ 0 w 1852"/>
                <a:gd name="T9" fmla="*/ 875 h 2507"/>
                <a:gd name="T10" fmla="*/ 940 w 1852"/>
                <a:gd name="T11" fmla="*/ 0 h 2507"/>
                <a:gd name="T12" fmla="*/ 1852 w 1852"/>
                <a:gd name="T13" fmla="*/ 805 h 2507"/>
                <a:gd name="T14" fmla="*/ 1852 w 1852"/>
                <a:gd name="T15" fmla="*/ 819 h 2507"/>
                <a:gd name="T16" fmla="*/ 1563 w 1852"/>
                <a:gd name="T17" fmla="*/ 819 h 2507"/>
                <a:gd name="T18" fmla="*/ 1563 w 1852"/>
                <a:gd name="T19" fmla="*/ 805 h 2507"/>
                <a:gd name="T20" fmla="*/ 940 w 1852"/>
                <a:gd name="T21" fmla="*/ 251 h 2507"/>
                <a:gd name="T22" fmla="*/ 289 w 1852"/>
                <a:gd name="T23" fmla="*/ 875 h 2507"/>
                <a:gd name="T24" fmla="*/ 289 w 1852"/>
                <a:gd name="T25" fmla="*/ 1634 h 2507"/>
                <a:gd name="T26" fmla="*/ 937 w 1852"/>
                <a:gd name="T27" fmla="*/ 2257 h 2507"/>
                <a:gd name="T28" fmla="*/ 1563 w 1852"/>
                <a:gd name="T29" fmla="*/ 1700 h 2507"/>
                <a:gd name="T30" fmla="*/ 1563 w 1852"/>
                <a:gd name="T31" fmla="*/ 1689 h 2507"/>
                <a:gd name="T32" fmla="*/ 1852 w 1852"/>
                <a:gd name="T33" fmla="*/ 1689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52" h="2507">
                  <a:moveTo>
                    <a:pt x="1852" y="1689"/>
                  </a:moveTo>
                  <a:cubicBezTo>
                    <a:pt x="1852" y="1700"/>
                    <a:pt x="1852" y="1700"/>
                    <a:pt x="1852" y="1700"/>
                  </a:cubicBezTo>
                  <a:cubicBezTo>
                    <a:pt x="1852" y="2215"/>
                    <a:pt x="1501" y="2507"/>
                    <a:pt x="937" y="2507"/>
                  </a:cubicBezTo>
                  <a:cubicBezTo>
                    <a:pt x="358" y="2507"/>
                    <a:pt x="0" y="2194"/>
                    <a:pt x="0" y="1634"/>
                  </a:cubicBezTo>
                  <a:cubicBezTo>
                    <a:pt x="0" y="875"/>
                    <a:pt x="0" y="875"/>
                    <a:pt x="0" y="875"/>
                  </a:cubicBezTo>
                  <a:cubicBezTo>
                    <a:pt x="0" y="310"/>
                    <a:pt x="358" y="0"/>
                    <a:pt x="940" y="0"/>
                  </a:cubicBezTo>
                  <a:cubicBezTo>
                    <a:pt x="1501" y="0"/>
                    <a:pt x="1852" y="290"/>
                    <a:pt x="1852" y="805"/>
                  </a:cubicBezTo>
                  <a:cubicBezTo>
                    <a:pt x="1852" y="819"/>
                    <a:pt x="1852" y="819"/>
                    <a:pt x="1852" y="819"/>
                  </a:cubicBezTo>
                  <a:cubicBezTo>
                    <a:pt x="1563" y="819"/>
                    <a:pt x="1563" y="819"/>
                    <a:pt x="1563" y="819"/>
                  </a:cubicBezTo>
                  <a:cubicBezTo>
                    <a:pt x="1563" y="805"/>
                    <a:pt x="1563" y="805"/>
                    <a:pt x="1563" y="805"/>
                  </a:cubicBezTo>
                  <a:cubicBezTo>
                    <a:pt x="1563" y="457"/>
                    <a:pt x="1326" y="251"/>
                    <a:pt x="940" y="251"/>
                  </a:cubicBezTo>
                  <a:cubicBezTo>
                    <a:pt x="532" y="251"/>
                    <a:pt x="289" y="478"/>
                    <a:pt x="289" y="875"/>
                  </a:cubicBezTo>
                  <a:cubicBezTo>
                    <a:pt x="289" y="1634"/>
                    <a:pt x="289" y="1634"/>
                    <a:pt x="289" y="1634"/>
                  </a:cubicBezTo>
                  <a:cubicBezTo>
                    <a:pt x="289" y="2031"/>
                    <a:pt x="532" y="2257"/>
                    <a:pt x="937" y="2257"/>
                  </a:cubicBezTo>
                  <a:cubicBezTo>
                    <a:pt x="1326" y="2257"/>
                    <a:pt x="1563" y="2051"/>
                    <a:pt x="1563" y="1700"/>
                  </a:cubicBezTo>
                  <a:cubicBezTo>
                    <a:pt x="1563" y="1689"/>
                    <a:pt x="1563" y="1689"/>
                    <a:pt x="1563" y="1689"/>
                  </a:cubicBezTo>
                  <a:lnTo>
                    <a:pt x="1852" y="1689"/>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2" name="Freeform 17">
              <a:extLst>
                <a:ext uri="{FF2B5EF4-FFF2-40B4-BE49-F238E27FC236}">
                  <a16:creationId xmlns:a16="http://schemas.microsoft.com/office/drawing/2014/main" id="{371BED50-1B5C-41F4-A442-98F3D61BE8DA}"/>
                </a:ext>
              </a:extLst>
            </p:cNvPr>
            <p:cNvSpPr>
              <a:spLocks/>
            </p:cNvSpPr>
            <p:nvPr userDrawn="1"/>
          </p:nvSpPr>
          <p:spPr bwMode="gray">
            <a:xfrm>
              <a:off x="-38561963" y="25911175"/>
              <a:ext cx="3114675" cy="4178300"/>
            </a:xfrm>
            <a:custGeom>
              <a:avLst/>
              <a:gdLst>
                <a:gd name="T0" fmla="*/ 1650 w 1962"/>
                <a:gd name="T1" fmla="*/ 1448 h 2632"/>
                <a:gd name="T2" fmla="*/ 312 w 1962"/>
                <a:gd name="T3" fmla="*/ 1448 h 2632"/>
                <a:gd name="T4" fmla="*/ 312 w 1962"/>
                <a:gd name="T5" fmla="*/ 2632 h 2632"/>
                <a:gd name="T6" fmla="*/ 0 w 1962"/>
                <a:gd name="T7" fmla="*/ 2632 h 2632"/>
                <a:gd name="T8" fmla="*/ 0 w 1962"/>
                <a:gd name="T9" fmla="*/ 0 h 2632"/>
                <a:gd name="T10" fmla="*/ 312 w 1962"/>
                <a:gd name="T11" fmla="*/ 0 h 2632"/>
                <a:gd name="T12" fmla="*/ 312 w 1962"/>
                <a:gd name="T13" fmla="*/ 1177 h 2632"/>
                <a:gd name="T14" fmla="*/ 1650 w 1962"/>
                <a:gd name="T15" fmla="*/ 1177 h 2632"/>
                <a:gd name="T16" fmla="*/ 1650 w 1962"/>
                <a:gd name="T17" fmla="*/ 0 h 2632"/>
                <a:gd name="T18" fmla="*/ 1962 w 1962"/>
                <a:gd name="T19" fmla="*/ 0 h 2632"/>
                <a:gd name="T20" fmla="*/ 1962 w 1962"/>
                <a:gd name="T21" fmla="*/ 2632 h 2632"/>
                <a:gd name="T22" fmla="*/ 1650 w 1962"/>
                <a:gd name="T23" fmla="*/ 2632 h 2632"/>
                <a:gd name="T24" fmla="*/ 1650 w 1962"/>
                <a:gd name="T25" fmla="*/ 1448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2" h="2632">
                  <a:moveTo>
                    <a:pt x="1650" y="1448"/>
                  </a:moveTo>
                  <a:lnTo>
                    <a:pt x="312" y="1448"/>
                  </a:lnTo>
                  <a:lnTo>
                    <a:pt x="312" y="2632"/>
                  </a:lnTo>
                  <a:lnTo>
                    <a:pt x="0" y="2632"/>
                  </a:lnTo>
                  <a:lnTo>
                    <a:pt x="0" y="0"/>
                  </a:lnTo>
                  <a:lnTo>
                    <a:pt x="312" y="0"/>
                  </a:lnTo>
                  <a:lnTo>
                    <a:pt x="312" y="1177"/>
                  </a:lnTo>
                  <a:lnTo>
                    <a:pt x="1650" y="1177"/>
                  </a:lnTo>
                  <a:lnTo>
                    <a:pt x="1650" y="0"/>
                  </a:lnTo>
                  <a:lnTo>
                    <a:pt x="1962" y="0"/>
                  </a:lnTo>
                  <a:lnTo>
                    <a:pt x="1962" y="2632"/>
                  </a:lnTo>
                  <a:lnTo>
                    <a:pt x="1650" y="2632"/>
                  </a:lnTo>
                  <a:lnTo>
                    <a:pt x="1650" y="144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3" name="Freeform 18">
              <a:extLst>
                <a:ext uri="{FF2B5EF4-FFF2-40B4-BE49-F238E27FC236}">
                  <a16:creationId xmlns:a16="http://schemas.microsoft.com/office/drawing/2014/main" id="{C78FF7D2-7C7F-4CA8-913E-470CFABB0F89}"/>
                </a:ext>
              </a:extLst>
            </p:cNvPr>
            <p:cNvSpPr>
              <a:spLocks/>
            </p:cNvSpPr>
            <p:nvPr userDrawn="1"/>
          </p:nvSpPr>
          <p:spPr bwMode="gray">
            <a:xfrm>
              <a:off x="-34396363" y="25911175"/>
              <a:ext cx="2697163" cy="4178300"/>
            </a:xfrm>
            <a:custGeom>
              <a:avLst/>
              <a:gdLst>
                <a:gd name="T0" fmla="*/ 0 w 1699"/>
                <a:gd name="T1" fmla="*/ 0 h 2632"/>
                <a:gd name="T2" fmla="*/ 1699 w 1699"/>
                <a:gd name="T3" fmla="*/ 0 h 2632"/>
                <a:gd name="T4" fmla="*/ 1699 w 1699"/>
                <a:gd name="T5" fmla="*/ 271 h 2632"/>
                <a:gd name="T6" fmla="*/ 312 w 1699"/>
                <a:gd name="T7" fmla="*/ 271 h 2632"/>
                <a:gd name="T8" fmla="*/ 312 w 1699"/>
                <a:gd name="T9" fmla="*/ 1177 h 2632"/>
                <a:gd name="T10" fmla="*/ 1511 w 1699"/>
                <a:gd name="T11" fmla="*/ 1177 h 2632"/>
                <a:gd name="T12" fmla="*/ 1511 w 1699"/>
                <a:gd name="T13" fmla="*/ 1448 h 2632"/>
                <a:gd name="T14" fmla="*/ 312 w 1699"/>
                <a:gd name="T15" fmla="*/ 1448 h 2632"/>
                <a:gd name="T16" fmla="*/ 312 w 1699"/>
                <a:gd name="T17" fmla="*/ 2361 h 2632"/>
                <a:gd name="T18" fmla="*/ 1699 w 1699"/>
                <a:gd name="T19" fmla="*/ 2361 h 2632"/>
                <a:gd name="T20" fmla="*/ 1699 w 1699"/>
                <a:gd name="T21" fmla="*/ 2632 h 2632"/>
                <a:gd name="T22" fmla="*/ 0 w 1699"/>
                <a:gd name="T23" fmla="*/ 2632 h 2632"/>
                <a:gd name="T24" fmla="*/ 0 w 1699"/>
                <a:gd name="T25" fmla="*/ 0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9" h="2632">
                  <a:moveTo>
                    <a:pt x="0" y="0"/>
                  </a:moveTo>
                  <a:lnTo>
                    <a:pt x="1699" y="0"/>
                  </a:lnTo>
                  <a:lnTo>
                    <a:pt x="1699" y="271"/>
                  </a:lnTo>
                  <a:lnTo>
                    <a:pt x="312" y="271"/>
                  </a:lnTo>
                  <a:lnTo>
                    <a:pt x="312" y="1177"/>
                  </a:lnTo>
                  <a:lnTo>
                    <a:pt x="1511" y="1177"/>
                  </a:lnTo>
                  <a:lnTo>
                    <a:pt x="1511" y="1448"/>
                  </a:lnTo>
                  <a:lnTo>
                    <a:pt x="312" y="1448"/>
                  </a:lnTo>
                  <a:lnTo>
                    <a:pt x="312" y="2361"/>
                  </a:lnTo>
                  <a:lnTo>
                    <a:pt x="1699" y="2361"/>
                  </a:lnTo>
                  <a:lnTo>
                    <a:pt x="1699" y="2632"/>
                  </a:lnTo>
                  <a:lnTo>
                    <a:pt x="0" y="2632"/>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4" name="Freeform 19">
              <a:extLst>
                <a:ext uri="{FF2B5EF4-FFF2-40B4-BE49-F238E27FC236}">
                  <a16:creationId xmlns:a16="http://schemas.microsoft.com/office/drawing/2014/main" id="{FEFE9BFB-04C3-4B6C-9F1D-7D3F9B1980B5}"/>
                </a:ext>
              </a:extLst>
            </p:cNvPr>
            <p:cNvSpPr>
              <a:spLocks/>
            </p:cNvSpPr>
            <p:nvPr userDrawn="1"/>
          </p:nvSpPr>
          <p:spPr bwMode="gray">
            <a:xfrm>
              <a:off x="-28759150" y="25850850"/>
              <a:ext cx="3175000" cy="4297362"/>
            </a:xfrm>
            <a:custGeom>
              <a:avLst/>
              <a:gdLst>
                <a:gd name="T0" fmla="*/ 1852 w 1852"/>
                <a:gd name="T1" fmla="*/ 1689 h 2507"/>
                <a:gd name="T2" fmla="*/ 1852 w 1852"/>
                <a:gd name="T3" fmla="*/ 1700 h 2507"/>
                <a:gd name="T4" fmla="*/ 936 w 1852"/>
                <a:gd name="T5" fmla="*/ 2507 h 2507"/>
                <a:gd name="T6" fmla="*/ 0 w 1852"/>
                <a:gd name="T7" fmla="*/ 1634 h 2507"/>
                <a:gd name="T8" fmla="*/ 0 w 1852"/>
                <a:gd name="T9" fmla="*/ 875 h 2507"/>
                <a:gd name="T10" fmla="*/ 940 w 1852"/>
                <a:gd name="T11" fmla="*/ 0 h 2507"/>
                <a:gd name="T12" fmla="*/ 1852 w 1852"/>
                <a:gd name="T13" fmla="*/ 805 h 2507"/>
                <a:gd name="T14" fmla="*/ 1852 w 1852"/>
                <a:gd name="T15" fmla="*/ 819 h 2507"/>
                <a:gd name="T16" fmla="*/ 1563 w 1852"/>
                <a:gd name="T17" fmla="*/ 819 h 2507"/>
                <a:gd name="T18" fmla="*/ 1563 w 1852"/>
                <a:gd name="T19" fmla="*/ 805 h 2507"/>
                <a:gd name="T20" fmla="*/ 940 w 1852"/>
                <a:gd name="T21" fmla="*/ 251 h 2507"/>
                <a:gd name="T22" fmla="*/ 288 w 1852"/>
                <a:gd name="T23" fmla="*/ 875 h 2507"/>
                <a:gd name="T24" fmla="*/ 288 w 1852"/>
                <a:gd name="T25" fmla="*/ 1634 h 2507"/>
                <a:gd name="T26" fmla="*/ 936 w 1852"/>
                <a:gd name="T27" fmla="*/ 2257 h 2507"/>
                <a:gd name="T28" fmla="*/ 1563 w 1852"/>
                <a:gd name="T29" fmla="*/ 1700 h 2507"/>
                <a:gd name="T30" fmla="*/ 1563 w 1852"/>
                <a:gd name="T31" fmla="*/ 1689 h 2507"/>
                <a:gd name="T32" fmla="*/ 1852 w 1852"/>
                <a:gd name="T33" fmla="*/ 1689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52" h="2507">
                  <a:moveTo>
                    <a:pt x="1852" y="1689"/>
                  </a:moveTo>
                  <a:cubicBezTo>
                    <a:pt x="1852" y="1700"/>
                    <a:pt x="1852" y="1700"/>
                    <a:pt x="1852" y="1700"/>
                  </a:cubicBezTo>
                  <a:cubicBezTo>
                    <a:pt x="1852" y="2215"/>
                    <a:pt x="1501" y="2507"/>
                    <a:pt x="936" y="2507"/>
                  </a:cubicBezTo>
                  <a:cubicBezTo>
                    <a:pt x="358" y="2507"/>
                    <a:pt x="0" y="2194"/>
                    <a:pt x="0" y="1634"/>
                  </a:cubicBezTo>
                  <a:cubicBezTo>
                    <a:pt x="0" y="875"/>
                    <a:pt x="0" y="875"/>
                    <a:pt x="0" y="875"/>
                  </a:cubicBezTo>
                  <a:cubicBezTo>
                    <a:pt x="0" y="310"/>
                    <a:pt x="358" y="0"/>
                    <a:pt x="940" y="0"/>
                  </a:cubicBezTo>
                  <a:cubicBezTo>
                    <a:pt x="1501" y="0"/>
                    <a:pt x="1852" y="290"/>
                    <a:pt x="1852" y="805"/>
                  </a:cubicBezTo>
                  <a:cubicBezTo>
                    <a:pt x="1852" y="819"/>
                    <a:pt x="1852" y="819"/>
                    <a:pt x="1852" y="819"/>
                  </a:cubicBezTo>
                  <a:cubicBezTo>
                    <a:pt x="1563" y="819"/>
                    <a:pt x="1563" y="819"/>
                    <a:pt x="1563" y="819"/>
                  </a:cubicBezTo>
                  <a:cubicBezTo>
                    <a:pt x="1563" y="805"/>
                    <a:pt x="1563" y="805"/>
                    <a:pt x="1563" y="805"/>
                  </a:cubicBezTo>
                  <a:cubicBezTo>
                    <a:pt x="1563" y="457"/>
                    <a:pt x="1326" y="251"/>
                    <a:pt x="940" y="251"/>
                  </a:cubicBezTo>
                  <a:cubicBezTo>
                    <a:pt x="532" y="251"/>
                    <a:pt x="288" y="478"/>
                    <a:pt x="288" y="875"/>
                  </a:cubicBezTo>
                  <a:cubicBezTo>
                    <a:pt x="288" y="1634"/>
                    <a:pt x="288" y="1634"/>
                    <a:pt x="288" y="1634"/>
                  </a:cubicBezTo>
                  <a:cubicBezTo>
                    <a:pt x="288" y="2031"/>
                    <a:pt x="532" y="2257"/>
                    <a:pt x="936" y="2257"/>
                  </a:cubicBezTo>
                  <a:cubicBezTo>
                    <a:pt x="1326" y="2257"/>
                    <a:pt x="1563" y="2051"/>
                    <a:pt x="1563" y="1700"/>
                  </a:cubicBezTo>
                  <a:cubicBezTo>
                    <a:pt x="1563" y="1689"/>
                    <a:pt x="1563" y="1689"/>
                    <a:pt x="1563" y="1689"/>
                  </a:cubicBezTo>
                  <a:lnTo>
                    <a:pt x="1852" y="1689"/>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7" name="Freeform 20">
              <a:extLst>
                <a:ext uri="{FF2B5EF4-FFF2-40B4-BE49-F238E27FC236}">
                  <a16:creationId xmlns:a16="http://schemas.microsoft.com/office/drawing/2014/main" id="{B3F4FAA8-E724-424F-BB38-2A73CD8D6817}"/>
                </a:ext>
              </a:extLst>
            </p:cNvPr>
            <p:cNvSpPr>
              <a:spLocks noEditPoints="1"/>
            </p:cNvSpPr>
            <p:nvPr userDrawn="1"/>
          </p:nvSpPr>
          <p:spPr bwMode="gray">
            <a:xfrm>
              <a:off x="-24807863" y="25850850"/>
              <a:ext cx="3235325" cy="4297362"/>
            </a:xfrm>
            <a:custGeom>
              <a:avLst/>
              <a:gdLst>
                <a:gd name="T0" fmla="*/ 1887 w 1887"/>
                <a:gd name="T1" fmla="*/ 1634 h 2507"/>
                <a:gd name="T2" fmla="*/ 940 w 1887"/>
                <a:gd name="T3" fmla="*/ 2507 h 2507"/>
                <a:gd name="T4" fmla="*/ 0 w 1887"/>
                <a:gd name="T5" fmla="*/ 1634 h 2507"/>
                <a:gd name="T6" fmla="*/ 0 w 1887"/>
                <a:gd name="T7" fmla="*/ 875 h 2507"/>
                <a:gd name="T8" fmla="*/ 947 w 1887"/>
                <a:gd name="T9" fmla="*/ 0 h 2507"/>
                <a:gd name="T10" fmla="*/ 1887 w 1887"/>
                <a:gd name="T11" fmla="*/ 875 h 2507"/>
                <a:gd name="T12" fmla="*/ 1887 w 1887"/>
                <a:gd name="T13" fmla="*/ 1634 h 2507"/>
                <a:gd name="T14" fmla="*/ 1598 w 1887"/>
                <a:gd name="T15" fmla="*/ 875 h 2507"/>
                <a:gd name="T16" fmla="*/ 947 w 1887"/>
                <a:gd name="T17" fmla="*/ 251 h 2507"/>
                <a:gd name="T18" fmla="*/ 289 w 1887"/>
                <a:gd name="T19" fmla="*/ 875 h 2507"/>
                <a:gd name="T20" fmla="*/ 289 w 1887"/>
                <a:gd name="T21" fmla="*/ 1634 h 2507"/>
                <a:gd name="T22" fmla="*/ 940 w 1887"/>
                <a:gd name="T23" fmla="*/ 2257 h 2507"/>
                <a:gd name="T24" fmla="*/ 1598 w 1887"/>
                <a:gd name="T25" fmla="*/ 1634 h 2507"/>
                <a:gd name="T26" fmla="*/ 1598 w 1887"/>
                <a:gd name="T27" fmla="*/ 875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7" h="2507">
                  <a:moveTo>
                    <a:pt x="1887" y="1634"/>
                  </a:moveTo>
                  <a:cubicBezTo>
                    <a:pt x="1887" y="2194"/>
                    <a:pt x="1529" y="2507"/>
                    <a:pt x="940" y="2507"/>
                  </a:cubicBezTo>
                  <a:cubicBezTo>
                    <a:pt x="359" y="2507"/>
                    <a:pt x="0" y="2194"/>
                    <a:pt x="0" y="1634"/>
                  </a:cubicBezTo>
                  <a:cubicBezTo>
                    <a:pt x="0" y="875"/>
                    <a:pt x="0" y="875"/>
                    <a:pt x="0" y="875"/>
                  </a:cubicBezTo>
                  <a:cubicBezTo>
                    <a:pt x="0" y="310"/>
                    <a:pt x="359" y="0"/>
                    <a:pt x="947" y="0"/>
                  </a:cubicBezTo>
                  <a:cubicBezTo>
                    <a:pt x="1529" y="0"/>
                    <a:pt x="1887" y="310"/>
                    <a:pt x="1887" y="875"/>
                  </a:cubicBezTo>
                  <a:lnTo>
                    <a:pt x="1887" y="1634"/>
                  </a:lnTo>
                  <a:close/>
                  <a:moveTo>
                    <a:pt x="1598" y="875"/>
                  </a:moveTo>
                  <a:cubicBezTo>
                    <a:pt x="1598" y="478"/>
                    <a:pt x="1355" y="251"/>
                    <a:pt x="947" y="251"/>
                  </a:cubicBezTo>
                  <a:cubicBezTo>
                    <a:pt x="533" y="251"/>
                    <a:pt x="289" y="478"/>
                    <a:pt x="289" y="875"/>
                  </a:cubicBezTo>
                  <a:cubicBezTo>
                    <a:pt x="289" y="1634"/>
                    <a:pt x="289" y="1634"/>
                    <a:pt x="289" y="1634"/>
                  </a:cubicBezTo>
                  <a:cubicBezTo>
                    <a:pt x="289" y="2031"/>
                    <a:pt x="533" y="2257"/>
                    <a:pt x="940" y="2257"/>
                  </a:cubicBezTo>
                  <a:cubicBezTo>
                    <a:pt x="1355" y="2257"/>
                    <a:pt x="1598" y="2031"/>
                    <a:pt x="1598" y="1634"/>
                  </a:cubicBezTo>
                  <a:lnTo>
                    <a:pt x="1598" y="875"/>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8" name="Freeform 21">
              <a:extLst>
                <a:ext uri="{FF2B5EF4-FFF2-40B4-BE49-F238E27FC236}">
                  <a16:creationId xmlns:a16="http://schemas.microsoft.com/office/drawing/2014/main" id="{BF93A262-CC3C-43F3-8A27-9B31D85D81CA}"/>
                </a:ext>
              </a:extLst>
            </p:cNvPr>
            <p:cNvSpPr>
              <a:spLocks/>
            </p:cNvSpPr>
            <p:nvPr userDrawn="1"/>
          </p:nvSpPr>
          <p:spPr bwMode="gray">
            <a:xfrm>
              <a:off x="-20581938" y="25911175"/>
              <a:ext cx="3594100" cy="4178300"/>
            </a:xfrm>
            <a:custGeom>
              <a:avLst/>
              <a:gdLst>
                <a:gd name="T0" fmla="*/ 1956 w 2264"/>
                <a:gd name="T1" fmla="*/ 613 h 2632"/>
                <a:gd name="T2" fmla="*/ 1132 w 2264"/>
                <a:gd name="T3" fmla="*/ 2151 h 2632"/>
                <a:gd name="T4" fmla="*/ 312 w 2264"/>
                <a:gd name="T5" fmla="*/ 613 h 2632"/>
                <a:gd name="T6" fmla="*/ 312 w 2264"/>
                <a:gd name="T7" fmla="*/ 2632 h 2632"/>
                <a:gd name="T8" fmla="*/ 0 w 2264"/>
                <a:gd name="T9" fmla="*/ 2632 h 2632"/>
                <a:gd name="T10" fmla="*/ 0 w 2264"/>
                <a:gd name="T11" fmla="*/ 0 h 2632"/>
                <a:gd name="T12" fmla="*/ 302 w 2264"/>
                <a:gd name="T13" fmla="*/ 0 h 2632"/>
                <a:gd name="T14" fmla="*/ 1132 w 2264"/>
                <a:gd name="T15" fmla="*/ 1557 h 2632"/>
                <a:gd name="T16" fmla="*/ 1963 w 2264"/>
                <a:gd name="T17" fmla="*/ 0 h 2632"/>
                <a:gd name="T18" fmla="*/ 2264 w 2264"/>
                <a:gd name="T19" fmla="*/ 0 h 2632"/>
                <a:gd name="T20" fmla="*/ 2264 w 2264"/>
                <a:gd name="T21" fmla="*/ 2632 h 2632"/>
                <a:gd name="T22" fmla="*/ 1956 w 2264"/>
                <a:gd name="T23" fmla="*/ 2632 h 2632"/>
                <a:gd name="T24" fmla="*/ 1956 w 2264"/>
                <a:gd name="T25" fmla="*/ 613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4" h="2632">
                  <a:moveTo>
                    <a:pt x="1956" y="613"/>
                  </a:moveTo>
                  <a:lnTo>
                    <a:pt x="1132" y="2151"/>
                  </a:lnTo>
                  <a:lnTo>
                    <a:pt x="312" y="613"/>
                  </a:lnTo>
                  <a:lnTo>
                    <a:pt x="312" y="2632"/>
                  </a:lnTo>
                  <a:lnTo>
                    <a:pt x="0" y="2632"/>
                  </a:lnTo>
                  <a:lnTo>
                    <a:pt x="0" y="0"/>
                  </a:lnTo>
                  <a:lnTo>
                    <a:pt x="302" y="0"/>
                  </a:lnTo>
                  <a:lnTo>
                    <a:pt x="1132" y="1557"/>
                  </a:lnTo>
                  <a:lnTo>
                    <a:pt x="1963" y="0"/>
                  </a:lnTo>
                  <a:lnTo>
                    <a:pt x="2264" y="0"/>
                  </a:lnTo>
                  <a:lnTo>
                    <a:pt x="2264" y="2632"/>
                  </a:lnTo>
                  <a:lnTo>
                    <a:pt x="1956" y="2632"/>
                  </a:lnTo>
                  <a:lnTo>
                    <a:pt x="1956" y="613"/>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9" name="Freeform 22">
              <a:extLst>
                <a:ext uri="{FF2B5EF4-FFF2-40B4-BE49-F238E27FC236}">
                  <a16:creationId xmlns:a16="http://schemas.microsoft.com/office/drawing/2014/main" id="{F4DC94C4-43F5-486E-86AD-2C28008FFC65}"/>
                </a:ext>
              </a:extLst>
            </p:cNvPr>
            <p:cNvSpPr>
              <a:spLocks noEditPoints="1"/>
            </p:cNvSpPr>
            <p:nvPr userDrawn="1"/>
          </p:nvSpPr>
          <p:spPr bwMode="gray">
            <a:xfrm>
              <a:off x="-15936913" y="25911175"/>
              <a:ext cx="2906713" cy="4178300"/>
            </a:xfrm>
            <a:custGeom>
              <a:avLst/>
              <a:gdLst>
                <a:gd name="T0" fmla="*/ 0 w 1696"/>
                <a:gd name="T1" fmla="*/ 0 h 2438"/>
                <a:gd name="T2" fmla="*/ 915 w 1696"/>
                <a:gd name="T3" fmla="*/ 0 h 2438"/>
                <a:gd name="T4" fmla="*/ 1696 w 1696"/>
                <a:gd name="T5" fmla="*/ 756 h 2438"/>
                <a:gd name="T6" fmla="*/ 915 w 1696"/>
                <a:gd name="T7" fmla="*/ 1515 h 2438"/>
                <a:gd name="T8" fmla="*/ 289 w 1696"/>
                <a:gd name="T9" fmla="*/ 1515 h 2438"/>
                <a:gd name="T10" fmla="*/ 289 w 1696"/>
                <a:gd name="T11" fmla="*/ 2438 h 2438"/>
                <a:gd name="T12" fmla="*/ 0 w 1696"/>
                <a:gd name="T13" fmla="*/ 2438 h 2438"/>
                <a:gd name="T14" fmla="*/ 0 w 1696"/>
                <a:gd name="T15" fmla="*/ 0 h 2438"/>
                <a:gd name="T16" fmla="*/ 289 w 1696"/>
                <a:gd name="T17" fmla="*/ 1264 h 2438"/>
                <a:gd name="T18" fmla="*/ 908 w 1696"/>
                <a:gd name="T19" fmla="*/ 1264 h 2438"/>
                <a:gd name="T20" fmla="*/ 1400 w 1696"/>
                <a:gd name="T21" fmla="*/ 756 h 2438"/>
                <a:gd name="T22" fmla="*/ 908 w 1696"/>
                <a:gd name="T23" fmla="*/ 251 h 2438"/>
                <a:gd name="T24" fmla="*/ 289 w 1696"/>
                <a:gd name="T25" fmla="*/ 251 h 2438"/>
                <a:gd name="T26" fmla="*/ 289 w 1696"/>
                <a:gd name="T27"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6" h="2438">
                  <a:moveTo>
                    <a:pt x="0" y="0"/>
                  </a:moveTo>
                  <a:cubicBezTo>
                    <a:pt x="915" y="0"/>
                    <a:pt x="915" y="0"/>
                    <a:pt x="915" y="0"/>
                  </a:cubicBezTo>
                  <a:cubicBezTo>
                    <a:pt x="1389" y="0"/>
                    <a:pt x="1696" y="234"/>
                    <a:pt x="1696" y="756"/>
                  </a:cubicBezTo>
                  <a:cubicBezTo>
                    <a:pt x="1696" y="1282"/>
                    <a:pt x="1389" y="1515"/>
                    <a:pt x="915"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08" y="1264"/>
                    <a:pt x="908" y="1264"/>
                    <a:pt x="908" y="1264"/>
                  </a:cubicBezTo>
                  <a:cubicBezTo>
                    <a:pt x="1208" y="1264"/>
                    <a:pt x="1400" y="1114"/>
                    <a:pt x="1400" y="756"/>
                  </a:cubicBezTo>
                  <a:cubicBezTo>
                    <a:pt x="1400" y="401"/>
                    <a:pt x="1205" y="251"/>
                    <a:pt x="908"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0" name="Freeform 23">
              <a:extLst>
                <a:ext uri="{FF2B5EF4-FFF2-40B4-BE49-F238E27FC236}">
                  <a16:creationId xmlns:a16="http://schemas.microsoft.com/office/drawing/2014/main" id="{4BC8E086-1965-4869-A9FE-490E16F1C8AA}"/>
                </a:ext>
              </a:extLst>
            </p:cNvPr>
            <p:cNvSpPr>
              <a:spLocks noEditPoints="1"/>
            </p:cNvSpPr>
            <p:nvPr userDrawn="1"/>
          </p:nvSpPr>
          <p:spPr bwMode="gray">
            <a:xfrm>
              <a:off x="-13077825" y="25911175"/>
              <a:ext cx="3687763" cy="4178300"/>
            </a:xfrm>
            <a:custGeom>
              <a:avLst/>
              <a:gdLst>
                <a:gd name="T0" fmla="*/ 2323 w 2323"/>
                <a:gd name="T1" fmla="*/ 2632 h 2632"/>
                <a:gd name="T2" fmla="*/ 1989 w 2323"/>
                <a:gd name="T3" fmla="*/ 2632 h 2632"/>
                <a:gd name="T4" fmla="*/ 1741 w 2323"/>
                <a:gd name="T5" fmla="*/ 1955 h 2632"/>
                <a:gd name="T6" fmla="*/ 556 w 2323"/>
                <a:gd name="T7" fmla="*/ 1955 h 2632"/>
                <a:gd name="T8" fmla="*/ 308 w 2323"/>
                <a:gd name="T9" fmla="*/ 2632 h 2632"/>
                <a:gd name="T10" fmla="*/ 0 w 2323"/>
                <a:gd name="T11" fmla="*/ 2632 h 2632"/>
                <a:gd name="T12" fmla="*/ 974 w 2323"/>
                <a:gd name="T13" fmla="*/ 0 h 2632"/>
                <a:gd name="T14" fmla="*/ 1353 w 2323"/>
                <a:gd name="T15" fmla="*/ 0 h 2632"/>
                <a:gd name="T16" fmla="*/ 2323 w 2323"/>
                <a:gd name="T17" fmla="*/ 2632 h 2632"/>
                <a:gd name="T18" fmla="*/ 639 w 2323"/>
                <a:gd name="T19" fmla="*/ 1684 h 2632"/>
                <a:gd name="T20" fmla="*/ 1654 w 2323"/>
                <a:gd name="T21" fmla="*/ 1684 h 2632"/>
                <a:gd name="T22" fmla="*/ 1147 w 2323"/>
                <a:gd name="T23" fmla="*/ 331 h 2632"/>
                <a:gd name="T24" fmla="*/ 639 w 2323"/>
                <a:gd name="T25" fmla="*/ 1684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3" h="2632">
                  <a:moveTo>
                    <a:pt x="2323" y="2632"/>
                  </a:moveTo>
                  <a:lnTo>
                    <a:pt x="1989" y="2632"/>
                  </a:lnTo>
                  <a:lnTo>
                    <a:pt x="1741" y="1955"/>
                  </a:lnTo>
                  <a:lnTo>
                    <a:pt x="556" y="1955"/>
                  </a:lnTo>
                  <a:lnTo>
                    <a:pt x="308" y="2632"/>
                  </a:lnTo>
                  <a:lnTo>
                    <a:pt x="0" y="2632"/>
                  </a:lnTo>
                  <a:lnTo>
                    <a:pt x="974" y="0"/>
                  </a:lnTo>
                  <a:lnTo>
                    <a:pt x="1353" y="0"/>
                  </a:lnTo>
                  <a:lnTo>
                    <a:pt x="2323" y="2632"/>
                  </a:lnTo>
                  <a:close/>
                  <a:moveTo>
                    <a:pt x="639" y="1684"/>
                  </a:moveTo>
                  <a:lnTo>
                    <a:pt x="1654" y="1684"/>
                  </a:lnTo>
                  <a:lnTo>
                    <a:pt x="1147" y="331"/>
                  </a:lnTo>
                  <a:lnTo>
                    <a:pt x="639" y="168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1" name="Freeform 24">
              <a:extLst>
                <a:ext uri="{FF2B5EF4-FFF2-40B4-BE49-F238E27FC236}">
                  <a16:creationId xmlns:a16="http://schemas.microsoft.com/office/drawing/2014/main" id="{C46B737A-9F86-4C12-A6D9-CB585C6BE4DB}"/>
                </a:ext>
              </a:extLst>
            </p:cNvPr>
            <p:cNvSpPr>
              <a:spLocks/>
            </p:cNvSpPr>
            <p:nvPr userDrawn="1"/>
          </p:nvSpPr>
          <p:spPr bwMode="gray">
            <a:xfrm>
              <a:off x="-8726488" y="25911175"/>
              <a:ext cx="3114675" cy="4178300"/>
            </a:xfrm>
            <a:custGeom>
              <a:avLst/>
              <a:gdLst>
                <a:gd name="T0" fmla="*/ 312 w 1962"/>
                <a:gd name="T1" fmla="*/ 568 h 2632"/>
                <a:gd name="T2" fmla="*/ 312 w 1962"/>
                <a:gd name="T3" fmla="*/ 2632 h 2632"/>
                <a:gd name="T4" fmla="*/ 0 w 1962"/>
                <a:gd name="T5" fmla="*/ 2632 h 2632"/>
                <a:gd name="T6" fmla="*/ 0 w 1962"/>
                <a:gd name="T7" fmla="*/ 0 h 2632"/>
                <a:gd name="T8" fmla="*/ 292 w 1962"/>
                <a:gd name="T9" fmla="*/ 0 h 2632"/>
                <a:gd name="T10" fmla="*/ 1650 w 1962"/>
                <a:gd name="T11" fmla="*/ 2060 h 2632"/>
                <a:gd name="T12" fmla="*/ 1650 w 1962"/>
                <a:gd name="T13" fmla="*/ 0 h 2632"/>
                <a:gd name="T14" fmla="*/ 1962 w 1962"/>
                <a:gd name="T15" fmla="*/ 0 h 2632"/>
                <a:gd name="T16" fmla="*/ 1962 w 1962"/>
                <a:gd name="T17" fmla="*/ 2632 h 2632"/>
                <a:gd name="T18" fmla="*/ 1669 w 1962"/>
                <a:gd name="T19" fmla="*/ 2632 h 2632"/>
                <a:gd name="T20" fmla="*/ 312 w 1962"/>
                <a:gd name="T21" fmla="*/ 568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2" h="2632">
                  <a:moveTo>
                    <a:pt x="312" y="568"/>
                  </a:moveTo>
                  <a:lnTo>
                    <a:pt x="312" y="2632"/>
                  </a:lnTo>
                  <a:lnTo>
                    <a:pt x="0" y="2632"/>
                  </a:lnTo>
                  <a:lnTo>
                    <a:pt x="0" y="0"/>
                  </a:lnTo>
                  <a:lnTo>
                    <a:pt x="292" y="0"/>
                  </a:lnTo>
                  <a:lnTo>
                    <a:pt x="1650" y="2060"/>
                  </a:lnTo>
                  <a:lnTo>
                    <a:pt x="1650" y="0"/>
                  </a:lnTo>
                  <a:lnTo>
                    <a:pt x="1962" y="0"/>
                  </a:lnTo>
                  <a:lnTo>
                    <a:pt x="1962" y="2632"/>
                  </a:lnTo>
                  <a:lnTo>
                    <a:pt x="1669" y="2632"/>
                  </a:lnTo>
                  <a:lnTo>
                    <a:pt x="312" y="56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2" name="Freeform 25">
              <a:extLst>
                <a:ext uri="{FF2B5EF4-FFF2-40B4-BE49-F238E27FC236}">
                  <a16:creationId xmlns:a16="http://schemas.microsoft.com/office/drawing/2014/main" id="{F4D092B0-6CF0-4788-98BE-64CDD2CEAA16}"/>
                </a:ext>
              </a:extLst>
            </p:cNvPr>
            <p:cNvSpPr>
              <a:spLocks/>
            </p:cNvSpPr>
            <p:nvPr userDrawn="1"/>
          </p:nvSpPr>
          <p:spPr bwMode="gray">
            <a:xfrm>
              <a:off x="-4956175" y="25911175"/>
              <a:ext cx="3600450" cy="4178300"/>
            </a:xfrm>
            <a:custGeom>
              <a:avLst/>
              <a:gdLst>
                <a:gd name="T0" fmla="*/ 1291 w 2268"/>
                <a:gd name="T1" fmla="*/ 2632 h 2632"/>
                <a:gd name="T2" fmla="*/ 982 w 2268"/>
                <a:gd name="T3" fmla="*/ 2632 h 2632"/>
                <a:gd name="T4" fmla="*/ 982 w 2268"/>
                <a:gd name="T5" fmla="*/ 1625 h 2632"/>
                <a:gd name="T6" fmla="*/ 0 w 2268"/>
                <a:gd name="T7" fmla="*/ 0 h 2632"/>
                <a:gd name="T8" fmla="*/ 373 w 2268"/>
                <a:gd name="T9" fmla="*/ 0 h 2632"/>
                <a:gd name="T10" fmla="*/ 1140 w 2268"/>
                <a:gd name="T11" fmla="*/ 1313 h 2632"/>
                <a:gd name="T12" fmla="*/ 1914 w 2268"/>
                <a:gd name="T13" fmla="*/ 0 h 2632"/>
                <a:gd name="T14" fmla="*/ 2268 w 2268"/>
                <a:gd name="T15" fmla="*/ 0 h 2632"/>
                <a:gd name="T16" fmla="*/ 1291 w 2268"/>
                <a:gd name="T17" fmla="*/ 1625 h 2632"/>
                <a:gd name="T18" fmla="*/ 1291 w 2268"/>
                <a:gd name="T19" fmla="*/ 2632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8" h="2632">
                  <a:moveTo>
                    <a:pt x="1291" y="2632"/>
                  </a:moveTo>
                  <a:lnTo>
                    <a:pt x="982" y="2632"/>
                  </a:lnTo>
                  <a:lnTo>
                    <a:pt x="982" y="1625"/>
                  </a:lnTo>
                  <a:lnTo>
                    <a:pt x="0" y="0"/>
                  </a:lnTo>
                  <a:lnTo>
                    <a:pt x="373" y="0"/>
                  </a:lnTo>
                  <a:lnTo>
                    <a:pt x="1140" y="1313"/>
                  </a:lnTo>
                  <a:lnTo>
                    <a:pt x="1914" y="0"/>
                  </a:lnTo>
                  <a:lnTo>
                    <a:pt x="2268" y="0"/>
                  </a:lnTo>
                  <a:lnTo>
                    <a:pt x="1291" y="1625"/>
                  </a:lnTo>
                  <a:lnTo>
                    <a:pt x="1291" y="2632"/>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3" name="Freeform 26">
              <a:extLst>
                <a:ext uri="{FF2B5EF4-FFF2-40B4-BE49-F238E27FC236}">
                  <a16:creationId xmlns:a16="http://schemas.microsoft.com/office/drawing/2014/main" id="{03804EA2-4A6E-4757-88B2-7368C8009A34}"/>
                </a:ext>
              </a:extLst>
            </p:cNvPr>
            <p:cNvSpPr>
              <a:spLocks/>
            </p:cNvSpPr>
            <p:nvPr userDrawn="1"/>
          </p:nvSpPr>
          <p:spPr bwMode="gray">
            <a:xfrm>
              <a:off x="-27190700" y="4924426"/>
              <a:ext cx="11818938" cy="15319375"/>
            </a:xfrm>
            <a:custGeom>
              <a:avLst/>
              <a:gdLst>
                <a:gd name="T0" fmla="*/ 1642 w 7445"/>
                <a:gd name="T1" fmla="*/ 5653 h 9650"/>
                <a:gd name="T2" fmla="*/ 1642 w 7445"/>
                <a:gd name="T3" fmla="*/ 9650 h 9650"/>
                <a:gd name="T4" fmla="*/ 0 w 7445"/>
                <a:gd name="T5" fmla="*/ 9650 h 9650"/>
                <a:gd name="T6" fmla="*/ 0 w 7445"/>
                <a:gd name="T7" fmla="*/ 0 h 9650"/>
                <a:gd name="T8" fmla="*/ 1642 w 7445"/>
                <a:gd name="T9" fmla="*/ 0 h 9650"/>
                <a:gd name="T10" fmla="*/ 1642 w 7445"/>
                <a:gd name="T11" fmla="*/ 4233 h 9650"/>
                <a:gd name="T12" fmla="*/ 5805 w 7445"/>
                <a:gd name="T13" fmla="*/ 4233 h 9650"/>
                <a:gd name="T14" fmla="*/ 5805 w 7445"/>
                <a:gd name="T15" fmla="*/ 0 h 9650"/>
                <a:gd name="T16" fmla="*/ 7445 w 7445"/>
                <a:gd name="T17" fmla="*/ 0 h 9650"/>
                <a:gd name="T18" fmla="*/ 7445 w 7445"/>
                <a:gd name="T19" fmla="*/ 9650 h 9650"/>
                <a:gd name="T20" fmla="*/ 5805 w 7445"/>
                <a:gd name="T21" fmla="*/ 9650 h 9650"/>
                <a:gd name="T22" fmla="*/ 5805 w 7445"/>
                <a:gd name="T23" fmla="*/ 5653 h 9650"/>
                <a:gd name="T24" fmla="*/ 1642 w 7445"/>
                <a:gd name="T25" fmla="*/ 5653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45" h="9650">
                  <a:moveTo>
                    <a:pt x="1642" y="5653"/>
                  </a:moveTo>
                  <a:lnTo>
                    <a:pt x="1642" y="9650"/>
                  </a:lnTo>
                  <a:lnTo>
                    <a:pt x="0" y="9650"/>
                  </a:lnTo>
                  <a:lnTo>
                    <a:pt x="0" y="0"/>
                  </a:lnTo>
                  <a:lnTo>
                    <a:pt x="1642" y="0"/>
                  </a:lnTo>
                  <a:lnTo>
                    <a:pt x="1642" y="4233"/>
                  </a:lnTo>
                  <a:lnTo>
                    <a:pt x="5805" y="4233"/>
                  </a:lnTo>
                  <a:lnTo>
                    <a:pt x="5805" y="0"/>
                  </a:lnTo>
                  <a:lnTo>
                    <a:pt x="7445" y="0"/>
                  </a:lnTo>
                  <a:lnTo>
                    <a:pt x="7445" y="9650"/>
                  </a:lnTo>
                  <a:lnTo>
                    <a:pt x="5805" y="9650"/>
                  </a:lnTo>
                  <a:lnTo>
                    <a:pt x="5805" y="5653"/>
                  </a:lnTo>
                  <a:lnTo>
                    <a:pt x="1642" y="5653"/>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4" name="Freeform 27">
              <a:extLst>
                <a:ext uri="{FF2B5EF4-FFF2-40B4-BE49-F238E27FC236}">
                  <a16:creationId xmlns:a16="http://schemas.microsoft.com/office/drawing/2014/main" id="{8CA53813-6DB3-4BAE-B8ED-0E0F380A1B33}"/>
                </a:ext>
              </a:extLst>
            </p:cNvPr>
            <p:cNvSpPr>
              <a:spLocks/>
            </p:cNvSpPr>
            <p:nvPr userDrawn="1"/>
          </p:nvSpPr>
          <p:spPr bwMode="gray">
            <a:xfrm>
              <a:off x="-27190700" y="4924426"/>
              <a:ext cx="11818938" cy="15319375"/>
            </a:xfrm>
            <a:custGeom>
              <a:avLst/>
              <a:gdLst>
                <a:gd name="T0" fmla="*/ 1642 w 7445"/>
                <a:gd name="T1" fmla="*/ 5653 h 9650"/>
                <a:gd name="T2" fmla="*/ 1642 w 7445"/>
                <a:gd name="T3" fmla="*/ 9650 h 9650"/>
                <a:gd name="T4" fmla="*/ 0 w 7445"/>
                <a:gd name="T5" fmla="*/ 9650 h 9650"/>
                <a:gd name="T6" fmla="*/ 0 w 7445"/>
                <a:gd name="T7" fmla="*/ 0 h 9650"/>
                <a:gd name="T8" fmla="*/ 1642 w 7445"/>
                <a:gd name="T9" fmla="*/ 0 h 9650"/>
                <a:gd name="T10" fmla="*/ 1642 w 7445"/>
                <a:gd name="T11" fmla="*/ 4233 h 9650"/>
                <a:gd name="T12" fmla="*/ 5805 w 7445"/>
                <a:gd name="T13" fmla="*/ 4233 h 9650"/>
                <a:gd name="T14" fmla="*/ 5805 w 7445"/>
                <a:gd name="T15" fmla="*/ 0 h 9650"/>
                <a:gd name="T16" fmla="*/ 7445 w 7445"/>
                <a:gd name="T17" fmla="*/ 0 h 9650"/>
                <a:gd name="T18" fmla="*/ 7445 w 7445"/>
                <a:gd name="T19" fmla="*/ 9650 h 9650"/>
                <a:gd name="T20" fmla="*/ 5805 w 7445"/>
                <a:gd name="T21" fmla="*/ 9650 h 9650"/>
                <a:gd name="T22" fmla="*/ 5805 w 7445"/>
                <a:gd name="T23" fmla="*/ 5653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45" h="9650">
                  <a:moveTo>
                    <a:pt x="1642" y="5653"/>
                  </a:moveTo>
                  <a:lnTo>
                    <a:pt x="1642" y="9650"/>
                  </a:lnTo>
                  <a:lnTo>
                    <a:pt x="0" y="9650"/>
                  </a:lnTo>
                  <a:lnTo>
                    <a:pt x="0" y="0"/>
                  </a:lnTo>
                  <a:lnTo>
                    <a:pt x="1642" y="0"/>
                  </a:lnTo>
                  <a:lnTo>
                    <a:pt x="1642" y="4233"/>
                  </a:lnTo>
                  <a:lnTo>
                    <a:pt x="5805" y="4233"/>
                  </a:lnTo>
                  <a:lnTo>
                    <a:pt x="5805" y="0"/>
                  </a:lnTo>
                  <a:lnTo>
                    <a:pt x="7445" y="0"/>
                  </a:lnTo>
                  <a:lnTo>
                    <a:pt x="7445" y="9650"/>
                  </a:lnTo>
                  <a:lnTo>
                    <a:pt x="5805" y="9650"/>
                  </a:lnTo>
                  <a:lnTo>
                    <a:pt x="5805" y="5653"/>
                  </a:lnTo>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5" name="Freeform 28">
              <a:extLst>
                <a:ext uri="{FF2B5EF4-FFF2-40B4-BE49-F238E27FC236}">
                  <a16:creationId xmlns:a16="http://schemas.microsoft.com/office/drawing/2014/main" id="{5E046592-1CF6-4DC0-AD96-5F087CF0C790}"/>
                </a:ext>
              </a:extLst>
            </p:cNvPr>
            <p:cNvSpPr>
              <a:spLocks noEditPoints="1"/>
            </p:cNvSpPr>
            <p:nvPr userDrawn="1"/>
          </p:nvSpPr>
          <p:spPr bwMode="gray">
            <a:xfrm>
              <a:off x="-12458700" y="4924426"/>
              <a:ext cx="11096625" cy="15319375"/>
            </a:xfrm>
            <a:custGeom>
              <a:avLst/>
              <a:gdLst>
                <a:gd name="T0" fmla="*/ 0 w 6473"/>
                <a:gd name="T1" fmla="*/ 0 h 8936"/>
                <a:gd name="T2" fmla="*/ 3523 w 6473"/>
                <a:gd name="T3" fmla="*/ 0 h 8936"/>
                <a:gd name="T4" fmla="*/ 6473 w 6473"/>
                <a:gd name="T5" fmla="*/ 2633 h 8936"/>
                <a:gd name="T6" fmla="*/ 3523 w 6473"/>
                <a:gd name="T7" fmla="*/ 5239 h 8936"/>
                <a:gd name="T8" fmla="*/ 1519 w 6473"/>
                <a:gd name="T9" fmla="*/ 5239 h 8936"/>
                <a:gd name="T10" fmla="*/ 1519 w 6473"/>
                <a:gd name="T11" fmla="*/ 8936 h 8936"/>
                <a:gd name="T12" fmla="*/ 0 w 6473"/>
                <a:gd name="T13" fmla="*/ 8936 h 8936"/>
                <a:gd name="T14" fmla="*/ 0 w 6473"/>
                <a:gd name="T15" fmla="*/ 0 h 8936"/>
                <a:gd name="T16" fmla="*/ 1519 w 6473"/>
                <a:gd name="T17" fmla="*/ 3924 h 8936"/>
                <a:gd name="T18" fmla="*/ 3472 w 6473"/>
                <a:gd name="T19" fmla="*/ 3924 h 8936"/>
                <a:gd name="T20" fmla="*/ 4915 w 6473"/>
                <a:gd name="T21" fmla="*/ 2633 h 8936"/>
                <a:gd name="T22" fmla="*/ 3472 w 6473"/>
                <a:gd name="T23" fmla="*/ 1341 h 8936"/>
                <a:gd name="T24" fmla="*/ 1519 w 6473"/>
                <a:gd name="T25" fmla="*/ 1338 h 8936"/>
                <a:gd name="T26" fmla="*/ 1519 w 6473"/>
                <a:gd name="T27" fmla="*/ 3924 h 8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73" h="8936">
                  <a:moveTo>
                    <a:pt x="0" y="0"/>
                  </a:moveTo>
                  <a:cubicBezTo>
                    <a:pt x="3523" y="0"/>
                    <a:pt x="3523" y="0"/>
                    <a:pt x="3523" y="0"/>
                  </a:cubicBezTo>
                  <a:cubicBezTo>
                    <a:pt x="5311" y="0"/>
                    <a:pt x="6473" y="702"/>
                    <a:pt x="6473" y="2633"/>
                  </a:cubicBezTo>
                  <a:cubicBezTo>
                    <a:pt x="6473" y="4418"/>
                    <a:pt x="5324" y="5239"/>
                    <a:pt x="3523" y="5239"/>
                  </a:cubicBezTo>
                  <a:cubicBezTo>
                    <a:pt x="1519" y="5239"/>
                    <a:pt x="1519" y="5239"/>
                    <a:pt x="1519" y="5239"/>
                  </a:cubicBezTo>
                  <a:cubicBezTo>
                    <a:pt x="1519" y="8936"/>
                    <a:pt x="1519" y="8936"/>
                    <a:pt x="1519" y="8936"/>
                  </a:cubicBezTo>
                  <a:cubicBezTo>
                    <a:pt x="0" y="8936"/>
                    <a:pt x="0" y="8936"/>
                    <a:pt x="0" y="8936"/>
                  </a:cubicBezTo>
                  <a:lnTo>
                    <a:pt x="0" y="0"/>
                  </a:lnTo>
                  <a:close/>
                  <a:moveTo>
                    <a:pt x="1519" y="3924"/>
                  </a:moveTo>
                  <a:cubicBezTo>
                    <a:pt x="3472" y="3924"/>
                    <a:pt x="3472" y="3924"/>
                    <a:pt x="3472" y="3924"/>
                  </a:cubicBezTo>
                  <a:cubicBezTo>
                    <a:pt x="4513" y="3924"/>
                    <a:pt x="4915" y="3505"/>
                    <a:pt x="4915" y="2633"/>
                  </a:cubicBezTo>
                  <a:cubicBezTo>
                    <a:pt x="4915" y="1688"/>
                    <a:pt x="4495" y="1341"/>
                    <a:pt x="3472" y="1341"/>
                  </a:cubicBezTo>
                  <a:cubicBezTo>
                    <a:pt x="1519" y="1338"/>
                    <a:pt x="1519" y="1338"/>
                    <a:pt x="1519" y="1338"/>
                  </a:cubicBezTo>
                  <a:lnTo>
                    <a:pt x="1519" y="392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6" name="Freeform 29">
              <a:extLst>
                <a:ext uri="{FF2B5EF4-FFF2-40B4-BE49-F238E27FC236}">
                  <a16:creationId xmlns:a16="http://schemas.microsoft.com/office/drawing/2014/main" id="{69098A0A-B88C-4DEB-8185-E8AF7E7D326F}"/>
                </a:ext>
              </a:extLst>
            </p:cNvPr>
            <p:cNvSpPr>
              <a:spLocks/>
            </p:cNvSpPr>
            <p:nvPr userDrawn="1"/>
          </p:nvSpPr>
          <p:spPr bwMode="gray">
            <a:xfrm>
              <a:off x="-43651488" y="4924426"/>
              <a:ext cx="13568363" cy="15319375"/>
            </a:xfrm>
            <a:custGeom>
              <a:avLst/>
              <a:gdLst>
                <a:gd name="T0" fmla="*/ 6906 w 8547"/>
                <a:gd name="T1" fmla="*/ 3038 h 9650"/>
                <a:gd name="T2" fmla="*/ 4274 w 8547"/>
                <a:gd name="T3" fmla="*/ 7232 h 9650"/>
                <a:gd name="T4" fmla="*/ 1640 w 8547"/>
                <a:gd name="T5" fmla="*/ 3038 h 9650"/>
                <a:gd name="T6" fmla="*/ 1640 w 8547"/>
                <a:gd name="T7" fmla="*/ 9650 h 9650"/>
                <a:gd name="T8" fmla="*/ 0 w 8547"/>
                <a:gd name="T9" fmla="*/ 9650 h 9650"/>
                <a:gd name="T10" fmla="*/ 0 w 8547"/>
                <a:gd name="T11" fmla="*/ 0 h 9650"/>
                <a:gd name="T12" fmla="*/ 1510 w 8547"/>
                <a:gd name="T13" fmla="*/ 0 h 9650"/>
                <a:gd name="T14" fmla="*/ 4273 w 8547"/>
                <a:gd name="T15" fmla="*/ 4397 h 9650"/>
                <a:gd name="T16" fmla="*/ 7027 w 8547"/>
                <a:gd name="T17" fmla="*/ 0 h 9650"/>
                <a:gd name="T18" fmla="*/ 8547 w 8547"/>
                <a:gd name="T19" fmla="*/ 0 h 9650"/>
                <a:gd name="T20" fmla="*/ 8547 w 8547"/>
                <a:gd name="T21" fmla="*/ 9650 h 9650"/>
                <a:gd name="T22" fmla="*/ 6906 w 8547"/>
                <a:gd name="T23" fmla="*/ 9650 h 9650"/>
                <a:gd name="T24" fmla="*/ 6906 w 8547"/>
                <a:gd name="T25" fmla="*/ 3038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47" h="9650">
                  <a:moveTo>
                    <a:pt x="6906" y="3038"/>
                  </a:moveTo>
                  <a:lnTo>
                    <a:pt x="4274" y="7232"/>
                  </a:lnTo>
                  <a:lnTo>
                    <a:pt x="1640" y="3038"/>
                  </a:lnTo>
                  <a:lnTo>
                    <a:pt x="1640" y="9650"/>
                  </a:lnTo>
                  <a:lnTo>
                    <a:pt x="0" y="9650"/>
                  </a:lnTo>
                  <a:lnTo>
                    <a:pt x="0" y="0"/>
                  </a:lnTo>
                  <a:lnTo>
                    <a:pt x="1510" y="0"/>
                  </a:lnTo>
                  <a:lnTo>
                    <a:pt x="4273" y="4397"/>
                  </a:lnTo>
                  <a:lnTo>
                    <a:pt x="7027" y="0"/>
                  </a:lnTo>
                  <a:lnTo>
                    <a:pt x="8547" y="0"/>
                  </a:lnTo>
                  <a:lnTo>
                    <a:pt x="8547" y="9650"/>
                  </a:lnTo>
                  <a:lnTo>
                    <a:pt x="6906" y="9650"/>
                  </a:lnTo>
                  <a:lnTo>
                    <a:pt x="6906" y="303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grpSp>
    </p:spTree>
    <p:extLst>
      <p:ext uri="{BB962C8B-B14F-4D97-AF65-F5344CB8AC3E}">
        <p14:creationId xmlns:p14="http://schemas.microsoft.com/office/powerpoint/2010/main" val="1232543616"/>
      </p:ext>
    </p:extLst>
  </p:cSld>
  <p:clrMapOvr>
    <a:masterClrMapping/>
  </p:clrMapOvr>
  <mc:AlternateContent xmlns:mc="http://schemas.openxmlformats.org/markup-compatibility/2006">
    <mc:Choice xmlns:p14="http://schemas.microsoft.com/office/powerpoint/2010/main" Requires="p14">
      <p:transition p14:dur="3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80"/>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
        <p:cNvGrpSpPr/>
        <p:nvPr/>
      </p:nvGrpSpPr>
      <p:grpSpPr>
        <a:xfrm>
          <a:off x="0" y="0"/>
          <a:ext cx="0" cy="0"/>
          <a:chOff x="0" y="0"/>
          <a:chExt cx="0" cy="0"/>
        </a:xfrm>
      </p:grpSpPr>
      <p:sp>
        <p:nvSpPr>
          <p:cNvPr id="22" name="Google Shape;22;p5"/>
          <p:cNvSpPr txBox="1">
            <a:spLocks noGrp="1"/>
          </p:cNvSpPr>
          <p:nvPr>
            <p:ph type="title"/>
          </p:nvPr>
        </p:nvSpPr>
        <p:spPr>
          <a:xfrm>
            <a:off x="713225" y="384048"/>
            <a:ext cx="77175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solidFill>
                  <a:schemeClr val="accen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3" name="Google Shape;23;p5"/>
          <p:cNvSpPr txBox="1">
            <a:spLocks noGrp="1"/>
          </p:cNvSpPr>
          <p:nvPr>
            <p:ph type="body" idx="1"/>
          </p:nvPr>
        </p:nvSpPr>
        <p:spPr>
          <a:xfrm>
            <a:off x="713225" y="2371675"/>
            <a:ext cx="2987100" cy="12792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Clr>
                <a:srgbClr val="000043"/>
              </a:buClr>
              <a:buSzPts val="1400"/>
              <a:buFont typeface="Quicksand Medium"/>
              <a:buChar char=""/>
              <a:defRPr sz="1400">
                <a:solidFill>
                  <a:schemeClr val="dk1"/>
                </a:solidFill>
              </a:defRPr>
            </a:lvl1pPr>
            <a:lvl2pPr marL="914400" lvl="1" indent="-317500">
              <a:spcBef>
                <a:spcPts val="0"/>
              </a:spcBef>
              <a:spcAft>
                <a:spcPts val="0"/>
              </a:spcAft>
              <a:buClr>
                <a:srgbClr val="000043"/>
              </a:buClr>
              <a:buSzPts val="1400"/>
              <a:buFont typeface="Quicksand Medium"/>
              <a:buChar char="●"/>
              <a:defRPr sz="1200"/>
            </a:lvl2pPr>
            <a:lvl3pPr marL="1371600" lvl="2" indent="-317500">
              <a:spcBef>
                <a:spcPts val="1600"/>
              </a:spcBef>
              <a:spcAft>
                <a:spcPts val="0"/>
              </a:spcAft>
              <a:buClr>
                <a:srgbClr val="000043"/>
              </a:buClr>
              <a:buSzPts val="1400"/>
              <a:buFont typeface="Quicksand Medium"/>
              <a:buChar char="■"/>
              <a:defRPr sz="1200"/>
            </a:lvl3pPr>
            <a:lvl4pPr marL="1828800" lvl="3" indent="-317500">
              <a:spcBef>
                <a:spcPts val="1600"/>
              </a:spcBef>
              <a:spcAft>
                <a:spcPts val="0"/>
              </a:spcAft>
              <a:buClr>
                <a:srgbClr val="000043"/>
              </a:buClr>
              <a:buSzPts val="1400"/>
              <a:buFont typeface="Quicksand Medium"/>
              <a:buChar char="●"/>
              <a:defRPr sz="1200"/>
            </a:lvl4pPr>
            <a:lvl5pPr marL="2286000" lvl="4" indent="-317500">
              <a:spcBef>
                <a:spcPts val="1600"/>
              </a:spcBef>
              <a:spcAft>
                <a:spcPts val="0"/>
              </a:spcAft>
              <a:buClr>
                <a:srgbClr val="000043"/>
              </a:buClr>
              <a:buSzPts val="1400"/>
              <a:buFont typeface="Quicksand Medium"/>
              <a:buChar char="○"/>
              <a:defRPr sz="1200"/>
            </a:lvl5pPr>
            <a:lvl6pPr marL="2743200" lvl="5" indent="-317500">
              <a:spcBef>
                <a:spcPts val="1600"/>
              </a:spcBef>
              <a:spcAft>
                <a:spcPts val="0"/>
              </a:spcAft>
              <a:buClr>
                <a:srgbClr val="000043"/>
              </a:buClr>
              <a:buSzPts val="1400"/>
              <a:buFont typeface="Quicksand Medium"/>
              <a:buChar char="■"/>
              <a:defRPr sz="1200"/>
            </a:lvl6pPr>
            <a:lvl7pPr marL="3200400" lvl="6" indent="-317500">
              <a:spcBef>
                <a:spcPts val="1600"/>
              </a:spcBef>
              <a:spcAft>
                <a:spcPts val="0"/>
              </a:spcAft>
              <a:buClr>
                <a:srgbClr val="000043"/>
              </a:buClr>
              <a:buSzPts val="1400"/>
              <a:buFont typeface="Quicksand Medium"/>
              <a:buChar char="●"/>
              <a:defRPr sz="1200"/>
            </a:lvl7pPr>
            <a:lvl8pPr marL="3657600" lvl="7" indent="-317500">
              <a:spcBef>
                <a:spcPts val="1600"/>
              </a:spcBef>
              <a:spcAft>
                <a:spcPts val="0"/>
              </a:spcAft>
              <a:buClr>
                <a:srgbClr val="000043"/>
              </a:buClr>
              <a:buSzPts val="1400"/>
              <a:buFont typeface="Quicksand Medium"/>
              <a:buChar char="○"/>
              <a:defRPr sz="1200"/>
            </a:lvl8pPr>
            <a:lvl9pPr marL="4114800" lvl="8" indent="-317500">
              <a:spcBef>
                <a:spcPts val="1600"/>
              </a:spcBef>
              <a:spcAft>
                <a:spcPts val="1600"/>
              </a:spcAft>
              <a:buClr>
                <a:srgbClr val="000043"/>
              </a:buClr>
              <a:buSzPts val="1400"/>
              <a:buFont typeface="Quicksand Medium"/>
              <a:buChar char="■"/>
              <a:defRPr sz="1200"/>
            </a:lvl9pPr>
          </a:lstStyle>
          <a:p>
            <a:endParaRPr/>
          </a:p>
        </p:txBody>
      </p:sp>
      <p:sp>
        <p:nvSpPr>
          <p:cNvPr id="24" name="Google Shape;24;p5"/>
          <p:cNvSpPr txBox="1">
            <a:spLocks noGrp="1"/>
          </p:cNvSpPr>
          <p:nvPr>
            <p:ph type="body" idx="2"/>
          </p:nvPr>
        </p:nvSpPr>
        <p:spPr>
          <a:xfrm>
            <a:off x="3962400" y="2371675"/>
            <a:ext cx="2987100" cy="12792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Clr>
                <a:srgbClr val="000043"/>
              </a:buClr>
              <a:buSzPts val="1400"/>
              <a:buFont typeface="Quicksand Medium"/>
              <a:buChar char=""/>
              <a:defRPr sz="1400">
                <a:solidFill>
                  <a:schemeClr val="dk1"/>
                </a:solidFill>
              </a:defRPr>
            </a:lvl1pPr>
            <a:lvl2pPr marL="914400" lvl="1" indent="-317500">
              <a:spcBef>
                <a:spcPts val="0"/>
              </a:spcBef>
              <a:spcAft>
                <a:spcPts val="0"/>
              </a:spcAft>
              <a:buClr>
                <a:srgbClr val="000043"/>
              </a:buClr>
              <a:buSzPts val="1400"/>
              <a:buFont typeface="Quicksand Medium"/>
              <a:buChar char="●"/>
              <a:defRPr sz="1200"/>
            </a:lvl2pPr>
            <a:lvl3pPr marL="1371600" lvl="2" indent="-317500">
              <a:spcBef>
                <a:spcPts val="1600"/>
              </a:spcBef>
              <a:spcAft>
                <a:spcPts val="0"/>
              </a:spcAft>
              <a:buClr>
                <a:srgbClr val="000043"/>
              </a:buClr>
              <a:buSzPts val="1400"/>
              <a:buFont typeface="Quicksand Medium"/>
              <a:buChar char="■"/>
              <a:defRPr sz="1200"/>
            </a:lvl3pPr>
            <a:lvl4pPr marL="1828800" lvl="3" indent="-317500">
              <a:spcBef>
                <a:spcPts val="1600"/>
              </a:spcBef>
              <a:spcAft>
                <a:spcPts val="0"/>
              </a:spcAft>
              <a:buClr>
                <a:srgbClr val="000043"/>
              </a:buClr>
              <a:buSzPts val="1400"/>
              <a:buFont typeface="Quicksand Medium"/>
              <a:buChar char="●"/>
              <a:defRPr sz="1200"/>
            </a:lvl4pPr>
            <a:lvl5pPr marL="2286000" lvl="4" indent="-317500">
              <a:spcBef>
                <a:spcPts val="1600"/>
              </a:spcBef>
              <a:spcAft>
                <a:spcPts val="0"/>
              </a:spcAft>
              <a:buClr>
                <a:srgbClr val="000043"/>
              </a:buClr>
              <a:buSzPts val="1400"/>
              <a:buFont typeface="Quicksand Medium"/>
              <a:buChar char="○"/>
              <a:defRPr sz="1200"/>
            </a:lvl5pPr>
            <a:lvl6pPr marL="2743200" lvl="5" indent="-317500">
              <a:spcBef>
                <a:spcPts val="1600"/>
              </a:spcBef>
              <a:spcAft>
                <a:spcPts val="0"/>
              </a:spcAft>
              <a:buClr>
                <a:srgbClr val="000043"/>
              </a:buClr>
              <a:buSzPts val="1400"/>
              <a:buFont typeface="Quicksand Medium"/>
              <a:buChar char="■"/>
              <a:defRPr sz="1200"/>
            </a:lvl6pPr>
            <a:lvl7pPr marL="3200400" lvl="6" indent="-317500">
              <a:spcBef>
                <a:spcPts val="1600"/>
              </a:spcBef>
              <a:spcAft>
                <a:spcPts val="0"/>
              </a:spcAft>
              <a:buClr>
                <a:srgbClr val="000043"/>
              </a:buClr>
              <a:buSzPts val="1400"/>
              <a:buFont typeface="Quicksand Medium"/>
              <a:buChar char="●"/>
              <a:defRPr sz="1200"/>
            </a:lvl7pPr>
            <a:lvl8pPr marL="3657600" lvl="7" indent="-317500">
              <a:spcBef>
                <a:spcPts val="1600"/>
              </a:spcBef>
              <a:spcAft>
                <a:spcPts val="0"/>
              </a:spcAft>
              <a:buClr>
                <a:srgbClr val="000043"/>
              </a:buClr>
              <a:buSzPts val="1400"/>
              <a:buFont typeface="Quicksand Medium"/>
              <a:buChar char="○"/>
              <a:defRPr sz="1200"/>
            </a:lvl8pPr>
            <a:lvl9pPr marL="4114800" lvl="8" indent="-317500">
              <a:spcBef>
                <a:spcPts val="1600"/>
              </a:spcBef>
              <a:spcAft>
                <a:spcPts val="1600"/>
              </a:spcAft>
              <a:buClr>
                <a:srgbClr val="000043"/>
              </a:buClr>
              <a:buSzPts val="1400"/>
              <a:buFont typeface="Quicksand Medium"/>
              <a:buChar char="■"/>
              <a:defRPr sz="1200"/>
            </a:lvl9pPr>
          </a:lstStyle>
          <a:p>
            <a:endParaRPr/>
          </a:p>
        </p:txBody>
      </p:sp>
      <p:sp>
        <p:nvSpPr>
          <p:cNvPr id="25" name="Google Shape;25;p5"/>
          <p:cNvSpPr txBox="1">
            <a:spLocks noGrp="1"/>
          </p:cNvSpPr>
          <p:nvPr>
            <p:ph type="subTitle" idx="3"/>
          </p:nvPr>
        </p:nvSpPr>
        <p:spPr>
          <a:xfrm>
            <a:off x="713225" y="1925800"/>
            <a:ext cx="2987100" cy="470400"/>
          </a:xfrm>
          <a:prstGeom prst="rect">
            <a:avLst/>
          </a:prstGeom>
        </p:spPr>
        <p:txBody>
          <a:bodyPr spcFirstLastPara="1" wrap="square" lIns="91425" tIns="91425" rIns="91425" bIns="91425" anchor="t" anchorCtr="0">
            <a:noAutofit/>
          </a:bodyPr>
          <a:lstStyle>
            <a:lvl1pPr lvl="0">
              <a:spcBef>
                <a:spcPts val="0"/>
              </a:spcBef>
              <a:spcAft>
                <a:spcPts val="0"/>
              </a:spcAft>
              <a:buClr>
                <a:schemeClr val="accent1"/>
              </a:buClr>
              <a:buSzPts val="1800"/>
              <a:buNone/>
              <a:defRPr b="1">
                <a:solidFill>
                  <a:schemeClr val="accent1"/>
                </a:solidFill>
              </a:defRPr>
            </a:lvl1pPr>
            <a:lvl2pPr lvl="1">
              <a:spcBef>
                <a:spcPts val="160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26" name="Google Shape;26;p5"/>
          <p:cNvSpPr txBox="1">
            <a:spLocks noGrp="1"/>
          </p:cNvSpPr>
          <p:nvPr>
            <p:ph type="subTitle" idx="4"/>
          </p:nvPr>
        </p:nvSpPr>
        <p:spPr>
          <a:xfrm>
            <a:off x="3962400" y="1925800"/>
            <a:ext cx="2987100" cy="470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1800"/>
              <a:buNone/>
              <a:defRPr b="1">
                <a:solidFill>
                  <a:schemeClr val="accent1"/>
                </a:solidFill>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27" name="Google Shape;27;p5"/>
          <p:cNvSpPr/>
          <p:nvPr/>
        </p:nvSpPr>
        <p:spPr>
          <a:xfrm>
            <a:off x="7520700" y="205110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5"/>
          <p:cNvSpPr/>
          <p:nvPr/>
        </p:nvSpPr>
        <p:spPr>
          <a:xfrm>
            <a:off x="6304500" y="0"/>
            <a:ext cx="1216200" cy="2051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31" name="Google Shape;31;p6"/>
          <p:cNvSpPr/>
          <p:nvPr/>
        </p:nvSpPr>
        <p:spPr>
          <a:xfrm rot="5400000">
            <a:off x="6703350" y="270292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2"/>
        <p:cNvGrpSpPr/>
        <p:nvPr/>
      </p:nvGrpSpPr>
      <p:grpSpPr>
        <a:xfrm>
          <a:off x="0" y="0"/>
          <a:ext cx="0" cy="0"/>
          <a:chOff x="0" y="0"/>
          <a:chExt cx="0" cy="0"/>
        </a:xfrm>
      </p:grpSpPr>
      <p:sp>
        <p:nvSpPr>
          <p:cNvPr id="33" name="Google Shape;33;p7"/>
          <p:cNvSpPr txBox="1">
            <a:spLocks noGrp="1"/>
          </p:cNvSpPr>
          <p:nvPr>
            <p:ph type="title"/>
          </p:nvPr>
        </p:nvSpPr>
        <p:spPr>
          <a:xfrm>
            <a:off x="1156525" y="1340400"/>
            <a:ext cx="42321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a:solidFill>
                  <a:schemeClr val="accent1"/>
                </a:solidFill>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4" name="Google Shape;34;p7"/>
          <p:cNvSpPr txBox="1">
            <a:spLocks noGrp="1"/>
          </p:cNvSpPr>
          <p:nvPr>
            <p:ph type="body" idx="1"/>
          </p:nvPr>
        </p:nvSpPr>
        <p:spPr>
          <a:xfrm>
            <a:off x="1156525" y="2096100"/>
            <a:ext cx="4232100" cy="20118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400">
                <a:solidFill>
                  <a:schemeClr val="accent2"/>
                </a:solidFill>
              </a:defRPr>
            </a:lvl1pPr>
            <a:lvl2pPr marL="914400" lvl="1" indent="-304800">
              <a:spcBef>
                <a:spcPts val="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5" name="Google Shape;35;p7"/>
          <p:cNvSpPr/>
          <p:nvPr/>
        </p:nvSpPr>
        <p:spPr>
          <a:xfrm>
            <a:off x="6732125"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6;p7"/>
          <p:cNvSpPr/>
          <p:nvPr/>
        </p:nvSpPr>
        <p:spPr>
          <a:xfrm>
            <a:off x="7951325" y="257175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7"/>
        <p:cNvGrpSpPr/>
        <p:nvPr/>
      </p:nvGrpSpPr>
      <p:grpSpPr>
        <a:xfrm>
          <a:off x="0" y="0"/>
          <a:ext cx="0" cy="0"/>
          <a:chOff x="0" y="0"/>
          <a:chExt cx="0" cy="0"/>
        </a:xfrm>
      </p:grpSpPr>
      <p:sp>
        <p:nvSpPr>
          <p:cNvPr id="38" name="Google Shape;38;p8"/>
          <p:cNvSpPr txBox="1">
            <a:spLocks noGrp="1"/>
          </p:cNvSpPr>
          <p:nvPr>
            <p:ph type="title"/>
          </p:nvPr>
        </p:nvSpPr>
        <p:spPr>
          <a:xfrm>
            <a:off x="713225" y="1170000"/>
            <a:ext cx="5533200" cy="28035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7400">
                <a:solidFill>
                  <a:schemeClr val="accent1"/>
                </a:solidFill>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9" name="Google Shape;39;p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n"/>
              <a:t>‹#›</a:t>
            </a:fld>
            <a:endParaRPr>
              <a:solidFill>
                <a:schemeClr val="dk1"/>
              </a:solidFill>
            </a:endParaRPr>
          </a:p>
        </p:txBody>
      </p:sp>
      <p:sp>
        <p:nvSpPr>
          <p:cNvPr id="40" name="Google Shape;40;p8"/>
          <p:cNvSpPr/>
          <p:nvPr/>
        </p:nvSpPr>
        <p:spPr>
          <a:xfrm>
            <a:off x="6732125"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8"/>
          <p:cNvSpPr/>
          <p:nvPr/>
        </p:nvSpPr>
        <p:spPr>
          <a:xfrm>
            <a:off x="7951325" y="2571750"/>
            <a:ext cx="1216200" cy="1345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713375" y="2227050"/>
            <a:ext cx="4462500" cy="8418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None/>
              <a:defRPr sz="4700">
                <a:solidFill>
                  <a:schemeClr val="accent1"/>
                </a:solidFill>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44" name="Google Shape;44;p9"/>
          <p:cNvSpPr txBox="1">
            <a:spLocks noGrp="1"/>
          </p:cNvSpPr>
          <p:nvPr>
            <p:ph type="subTitle" idx="1"/>
          </p:nvPr>
        </p:nvSpPr>
        <p:spPr>
          <a:xfrm>
            <a:off x="713225" y="3045375"/>
            <a:ext cx="4462500" cy="6780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sz="1400"/>
            </a:lvl1pPr>
            <a:lvl2pPr lvl="1" rtl="0">
              <a:spcBef>
                <a:spcPts val="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45" name="Google Shape;45;p9"/>
          <p:cNvSpPr txBox="1">
            <a:spLocks noGrp="1"/>
          </p:cNvSpPr>
          <p:nvPr>
            <p:ph type="title" idx="2" hasCustomPrompt="1"/>
          </p:nvPr>
        </p:nvSpPr>
        <p:spPr>
          <a:xfrm>
            <a:off x="713300" y="1262325"/>
            <a:ext cx="4462500" cy="1141800"/>
          </a:xfrm>
          <a:prstGeom prst="rect">
            <a:avLst/>
          </a:prstGeom>
        </p:spPr>
        <p:txBody>
          <a:bodyPr spcFirstLastPara="1" wrap="square" lIns="91425" tIns="91425" rIns="91425" bIns="91425" anchor="b" anchorCtr="0">
            <a:noAutofit/>
          </a:bodyPr>
          <a:lstStyle>
            <a:lvl1pPr lvl="0" rtl="0">
              <a:spcBef>
                <a:spcPts val="0"/>
              </a:spcBef>
              <a:spcAft>
                <a:spcPts val="0"/>
              </a:spcAft>
              <a:buSzPts val="7200"/>
              <a:buNone/>
              <a:defRPr sz="7200">
                <a:solidFill>
                  <a:schemeClr val="dk2"/>
                </a:solidFill>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r>
              <a:t>xx%</a:t>
            </a:r>
          </a:p>
        </p:txBody>
      </p:sp>
      <p:sp>
        <p:nvSpPr>
          <p:cNvPr id="46" name="Google Shape;46;p9"/>
          <p:cNvSpPr/>
          <p:nvPr/>
        </p:nvSpPr>
        <p:spPr>
          <a:xfrm>
            <a:off x="5270400" y="979500"/>
            <a:ext cx="1216200" cy="1592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9"/>
          <p:cNvSpPr/>
          <p:nvPr/>
        </p:nvSpPr>
        <p:spPr>
          <a:xfrm>
            <a:off x="6486600" y="2571900"/>
            <a:ext cx="1216200" cy="25716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8"/>
        <p:cNvGrpSpPr/>
        <p:nvPr/>
      </p:nvGrpSpPr>
      <p:grpSpPr>
        <a:xfrm>
          <a:off x="0" y="0"/>
          <a:ext cx="0" cy="0"/>
          <a:chOff x="0" y="0"/>
          <a:chExt cx="0" cy="0"/>
        </a:xfrm>
      </p:grpSpPr>
      <p:sp>
        <p:nvSpPr>
          <p:cNvPr id="49" name="Google Shape;49;p10"/>
          <p:cNvSpPr txBox="1">
            <a:spLocks noGrp="1"/>
          </p:cNvSpPr>
          <p:nvPr>
            <p:ph type="body" idx="1"/>
          </p:nvPr>
        </p:nvSpPr>
        <p:spPr>
          <a:xfrm>
            <a:off x="713225" y="544075"/>
            <a:ext cx="4264800" cy="15417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sz="3800" b="1">
                <a:solidFill>
                  <a:schemeClr val="accent1"/>
                </a:solidFill>
                <a:latin typeface="Inter"/>
                <a:ea typeface="Inter"/>
                <a:cs typeface="Inter"/>
                <a:sym typeface="Inter"/>
              </a:defRPr>
            </a:lvl1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0"/>
        <p:cNvGrpSpPr/>
        <p:nvPr/>
      </p:nvGrpSpPr>
      <p:grpSpPr>
        <a:xfrm>
          <a:off x="0" y="0"/>
          <a:ext cx="0" cy="0"/>
          <a:chOff x="0" y="0"/>
          <a:chExt cx="0" cy="0"/>
        </a:xfrm>
      </p:grpSpPr>
      <p:sp>
        <p:nvSpPr>
          <p:cNvPr id="51" name="Google Shape;51;p11"/>
          <p:cNvSpPr txBox="1">
            <a:spLocks noGrp="1"/>
          </p:cNvSpPr>
          <p:nvPr>
            <p:ph type="title" hasCustomPrompt="1"/>
          </p:nvPr>
        </p:nvSpPr>
        <p:spPr>
          <a:xfrm>
            <a:off x="713225" y="1412150"/>
            <a:ext cx="7717500" cy="1657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9200">
                <a:solidFill>
                  <a:schemeClr val="accent3"/>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52" name="Google Shape;52;p11"/>
          <p:cNvSpPr txBox="1">
            <a:spLocks noGrp="1"/>
          </p:cNvSpPr>
          <p:nvPr>
            <p:ph type="body" idx="1"/>
          </p:nvPr>
        </p:nvSpPr>
        <p:spPr>
          <a:xfrm>
            <a:off x="713400" y="3069625"/>
            <a:ext cx="7717500" cy="661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sz="1400">
                <a:solidFill>
                  <a:schemeClr val="dk1"/>
                </a:solidFill>
              </a:defRPr>
            </a:lvl1pPr>
            <a:lvl2pPr marL="914400" lvl="1" indent="-317500" algn="ctr">
              <a:spcBef>
                <a:spcPts val="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53" name="Google Shape;53;p11"/>
          <p:cNvSpPr/>
          <p:nvPr/>
        </p:nvSpPr>
        <p:spPr>
          <a:xfrm rot="10800000" flipH="1">
            <a:off x="0" y="257175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11"/>
          <p:cNvSpPr/>
          <p:nvPr/>
        </p:nvSpPr>
        <p:spPr>
          <a:xfrm rot="10800000" flipH="1">
            <a:off x="7927800" y="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1pPr>
            <a:lvl2pPr lvl="1">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2pPr>
            <a:lvl3pPr lvl="2">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3pPr>
            <a:lvl4pPr lvl="3">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4pPr>
            <a:lvl5pPr lvl="4">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5pPr>
            <a:lvl6pPr lvl="5">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6pPr>
            <a:lvl7pPr lvl="6">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7pPr>
            <a:lvl8pPr lvl="7">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8pPr>
            <a:lvl9pPr lvl="8">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00000"/>
              </a:lnSpc>
              <a:spcBef>
                <a:spcPts val="0"/>
              </a:spcBef>
              <a:spcAft>
                <a:spcPts val="0"/>
              </a:spcAft>
              <a:buClr>
                <a:schemeClr val="dk2"/>
              </a:buClr>
              <a:buSzPts val="1800"/>
              <a:buFont typeface="Montserrat"/>
              <a:buChar char="●"/>
              <a:defRPr sz="1800">
                <a:solidFill>
                  <a:schemeClr val="dk2"/>
                </a:solidFill>
                <a:latin typeface="Montserrat"/>
                <a:ea typeface="Montserrat"/>
                <a:cs typeface="Montserrat"/>
                <a:sym typeface="Montserrat"/>
              </a:defRPr>
            </a:lvl1pPr>
            <a:lvl2pPr marL="914400" lvl="1"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2pPr>
            <a:lvl3pPr marL="1371600" lvl="2"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3pPr>
            <a:lvl4pPr marL="1828800" lvl="3"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4pPr>
            <a:lvl5pPr marL="2286000" lvl="4"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5pPr>
            <a:lvl6pPr marL="2743200" lvl="5"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6pPr>
            <a:lvl7pPr marL="3200400" lvl="6"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7pPr>
            <a:lvl8pPr marL="3657600" lvl="7"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8pPr>
            <a:lvl9pPr marL="4114800" lvl="8" indent="-317500">
              <a:lnSpc>
                <a:spcPct val="100000"/>
              </a:lnSpc>
              <a:spcBef>
                <a:spcPts val="1600"/>
              </a:spcBef>
              <a:spcAft>
                <a:spcPts val="1600"/>
              </a:spcAft>
              <a:buClr>
                <a:schemeClr val="dk2"/>
              </a:buClr>
              <a:buSzPts val="1400"/>
              <a:buFont typeface="Montserrat"/>
              <a:buChar char="■"/>
              <a:defRPr>
                <a:solidFill>
                  <a:schemeClr val="dk2"/>
                </a:solidFill>
                <a:latin typeface="Montserrat"/>
                <a:ea typeface="Montserrat"/>
                <a:cs typeface="Montserrat"/>
                <a:sym typeface="Montserrat"/>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7" r:id="rId26"/>
    <p:sldLayoutId id="2147483678"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177"/>
        <p:cNvGrpSpPr/>
        <p:nvPr/>
      </p:nvGrpSpPr>
      <p:grpSpPr>
        <a:xfrm>
          <a:off x="0" y="0"/>
          <a:ext cx="0" cy="0"/>
          <a:chOff x="0" y="0"/>
          <a:chExt cx="0" cy="0"/>
        </a:xfrm>
      </p:grpSpPr>
      <p:sp>
        <p:nvSpPr>
          <p:cNvPr id="178" name="Google Shape;178;p28"/>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79" name="Google Shape;179;p28"/>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hyperlink" Target="https://docs.google.com/spreadsheets/d/1oQUoRVluGJPsbSCftx2pxaPDOabO5VjdKvUXbxLE4KI/copy#gid=0"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hyperlink" Target="https://docs.google.com/spreadsheets/d/1oQUoRVluGJPsbSCftx2pxaPDOabO5VjdKvUXbxLE4KI/copy#gid=82200580" TargetMode="External"/><Relationship Id="rId4" Type="http://schemas.openxmlformats.org/officeDocument/2006/relationships/image" Target="../media/image2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hyperlink" Target="https://www.freepik.com/free-photo/side-view-business-man-calculating-finance-numbers_11621120.htm/?utm_source=slidesgo_template&amp;utm_medium=referral-link&amp;utm_campaign=sg_resources&amp;utm_content=freepik" TargetMode="External"/><Relationship Id="rId2" Type="http://schemas.openxmlformats.org/officeDocument/2006/relationships/notesSlide" Target="../notesSlides/notesSlide53.xml"/><Relationship Id="rId1" Type="http://schemas.openxmlformats.org/officeDocument/2006/relationships/slideLayout" Target="../slideLayouts/slideLayout22.xml"/><Relationship Id="rId6" Type="http://schemas.openxmlformats.org/officeDocument/2006/relationships/hyperlink" Target="https://www.freepik.com/free-photo/man-with-laptop-posing-coworkers_11043361.htm#page=2&amp;query=business&amp;position=43/?utm_source=slidesgo_template&amp;utm_medium=referral-link&amp;utm_campaign=sg_resources&amp;utm_content=freepik" TargetMode="External"/><Relationship Id="rId5" Type="http://schemas.openxmlformats.org/officeDocument/2006/relationships/hyperlink" Target="https://www.freepik.com/free-photo/close-up-woman-working-laptop_11241062.htm/?utm_source=slidesgo_template&amp;utm_medium=referral-link&amp;utm_campaign=sg_resources&amp;utm_content=freepik" TargetMode="External"/><Relationship Id="rId4" Type="http://schemas.openxmlformats.org/officeDocument/2006/relationships/hyperlink" Target="https://www.freepik.com/free-photo/happy-woman-working-laptop_11043366.htm/?utm_source=slidesgo_template&amp;utm_medium=referral-link&amp;utm_campaign=sg_resources&amp;utm_content=freepik" TargetMode="External"/></Relationships>
</file>

<file path=ppt/slides/_rels/slide76.xml.rels><?xml version="1.0" encoding="UTF-8" standalone="yes"?>
<Relationships xmlns="http://schemas.openxmlformats.org/package/2006/relationships"><Relationship Id="rId3" Type="http://schemas.openxmlformats.org/officeDocument/2006/relationships/hyperlink" Target="https://www.freepik.com/free-photo/businesswoman-looking-out-window-sitting-office_3143319.htm/?utm_source=slidesgo_template&amp;utm_medium=referral-link&amp;utm_campaign=sg_resources&amp;utm_content=freepik" TargetMode="External"/><Relationship Id="rId2" Type="http://schemas.openxmlformats.org/officeDocument/2006/relationships/notesSlide" Target="../notesSlides/notesSlide54.xml"/><Relationship Id="rId1" Type="http://schemas.openxmlformats.org/officeDocument/2006/relationships/slideLayout" Target="../slideLayouts/slideLayout22.xml"/><Relationship Id="rId6" Type="http://schemas.openxmlformats.org/officeDocument/2006/relationships/hyperlink" Target="https://www.freepik.com/free-photo/businessman-enjoying-day-office_10887835.htm/?utm_source=slidesgo_template&amp;utm_medium=referral-link&amp;utm_campaign=sg_resources&amp;utm_content=freepik" TargetMode="External"/><Relationship Id="rId5" Type="http://schemas.openxmlformats.org/officeDocument/2006/relationships/hyperlink" Target="https://www.freepik.com/free-photo/front-view-elegant-businesswoman-using-laptop-with-copy-space_11512733.htm/?utm_source=slidesgo_template&amp;utm_medium=referral-link&amp;utm_campaign=sg_resources&amp;utm_content=freepik" TargetMode="External"/><Relationship Id="rId4" Type="http://schemas.openxmlformats.org/officeDocument/2006/relationships/hyperlink" Target="https://www.freepik.com/free-photo/top-view-office-desk-with-growth-chart-hands-with-keyboard_11383336.htm#page=2&amp;query=business&amp;position=22/?utm_source=slidesgo_template&amp;utm_medium=referral-link&amp;utm_campaign=sg_resources&amp;utm_content=freepik" TargetMode="External"/></Relationships>
</file>

<file path=ppt/slides/_rels/slide77.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55.xml"/><Relationship Id="rId1" Type="http://schemas.openxmlformats.org/officeDocument/2006/relationships/slideLayout" Target="../slideLayouts/slideLayout28.xml"/><Relationship Id="rId5" Type="http://schemas.openxmlformats.org/officeDocument/2006/relationships/hyperlink" Target="http://bit.ly/30B07Gq" TargetMode="External"/><Relationship Id="rId4" Type="http://schemas.openxmlformats.org/officeDocument/2006/relationships/hyperlink" Target="http://bit.ly/33VAFh3"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56.xml"/><Relationship Id="rId1" Type="http://schemas.openxmlformats.org/officeDocument/2006/relationships/slideLayout" Target="../slideLayouts/slideLayout28.xml"/><Relationship Id="rId5" Type="http://schemas.openxmlformats.org/officeDocument/2006/relationships/hyperlink" Target="http://bit.ly/30B07Gq" TargetMode="External"/><Relationship Id="rId4" Type="http://schemas.openxmlformats.org/officeDocument/2006/relationships/hyperlink" Target="http://bit.ly/33VAFh3"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fonts.google.com/specimen/Montserrat" TargetMode="External"/><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80.xml.rels><?xml version="1.0" encoding="UTF-8" standalone="yes"?>
<Relationships xmlns="http://schemas.openxmlformats.org/package/2006/relationships"><Relationship Id="rId8" Type="http://schemas.openxmlformats.org/officeDocument/2006/relationships/hyperlink" Target="https://storyset.com/rafiki?utm_source=slidesgo_template&amp;utm_medium=referral-link&amp;utm_campaign=slidesgo_final_slides&amp;utm_term=rafiki&amp;utm_content=storyset" TargetMode="External"/><Relationship Id="rId13" Type="http://schemas.openxmlformats.org/officeDocument/2006/relationships/hyperlink" Target="https://storyset.com/cuate?utm_source=slidesgo_template&amp;utm_medium=referral-link&amp;utm_campaign=slidesgo_final_slides&amp;utm_term=cuate&amp;utm_content=storyset" TargetMode="External"/><Relationship Id="rId3" Type="http://schemas.openxmlformats.org/officeDocument/2006/relationships/hyperlink" Target="https://storyset.com/how-it-works?utm_source=slidesgo_template&amp;utm_medium=referral-link&amp;utm_campaign=slidesgo_final_slides&amp;utm_term=how%20it%20works&amp;utm_content=storyset" TargetMode="External"/><Relationship Id="rId7" Type="http://schemas.openxmlformats.org/officeDocument/2006/relationships/hyperlink" Target="https://storyset.com/bro?utm_source=slidesgo_template&amp;utm_medium=referral-link&amp;utm_campaign=slidesgo_final_slides&amp;utm_term=bro&amp;utm_content=storyset" TargetMode="External"/><Relationship Id="rId12" Type="http://schemas.openxmlformats.org/officeDocument/2006/relationships/image" Target="../media/image31.gif"/><Relationship Id="rId2" Type="http://schemas.openxmlformats.org/officeDocument/2006/relationships/notesSlide" Target="../notesSlides/notesSlide58.xml"/><Relationship Id="rId1" Type="http://schemas.openxmlformats.org/officeDocument/2006/relationships/slideLayout" Target="../slideLayouts/slideLayout28.xml"/><Relationship Id="rId6" Type="http://schemas.openxmlformats.org/officeDocument/2006/relationships/hyperlink" Target="https://storyset.com/amico?utm_source=slidesgo_template&amp;utm_medium=referral-link&amp;utm_campaign=slidesgo_final_slides&amp;utm_term=amico&amp;utm_content=storyset" TargetMode="External"/><Relationship Id="rId11" Type="http://schemas.openxmlformats.org/officeDocument/2006/relationships/image" Target="../media/image30.gif"/><Relationship Id="rId5" Type="http://schemas.openxmlformats.org/officeDocument/2006/relationships/hyperlink" Target="https://storyset.com/pana?utm_source=slidesgo_template&amp;utm_medium=referral-link&amp;utm_campaign=slidesgo_final_slides&amp;utm_term=pana&amp;utm_content=storyset" TargetMode="External"/><Relationship Id="rId10" Type="http://schemas.openxmlformats.org/officeDocument/2006/relationships/image" Target="../media/image29.gif"/><Relationship Id="rId4" Type="http://schemas.openxmlformats.org/officeDocument/2006/relationships/image" Target="../media/image27.gif"/><Relationship Id="rId9" Type="http://schemas.openxmlformats.org/officeDocument/2006/relationships/image" Target="../media/image28.gif"/></Relationships>
</file>

<file path=ppt/slides/_rels/slide81.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59.xml"/><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65.xml"/><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72.xml"/><Relationship Id="rId1" Type="http://schemas.openxmlformats.org/officeDocument/2006/relationships/slideLayout" Target="../slideLayouts/slideLayout28.xml"/><Relationship Id="rId4" Type="http://schemas.openxmlformats.org/officeDocument/2006/relationships/image" Target="../media/image32.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4"/>
        <p:cNvGrpSpPr/>
        <p:nvPr/>
      </p:nvGrpSpPr>
      <p:grpSpPr>
        <a:xfrm>
          <a:off x="0" y="0"/>
          <a:ext cx="0" cy="0"/>
          <a:chOff x="0" y="0"/>
          <a:chExt cx="0" cy="0"/>
        </a:xfrm>
      </p:grpSpPr>
      <p:sp>
        <p:nvSpPr>
          <p:cNvPr id="185" name="Google Shape;185;p30"/>
          <p:cNvSpPr txBox="1">
            <a:spLocks noGrp="1"/>
          </p:cNvSpPr>
          <p:nvPr>
            <p:ph type="ctrTitle"/>
          </p:nvPr>
        </p:nvSpPr>
        <p:spPr>
          <a:xfrm>
            <a:off x="1643858" y="1172225"/>
            <a:ext cx="6770700" cy="20526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de-DE">
                <a:solidFill>
                  <a:schemeClr val="accent1"/>
                </a:solidFill>
              </a:rPr>
              <a:t>AI </a:t>
            </a:r>
            <a:r>
              <a:rPr lang="de-DE" err="1">
                <a:solidFill>
                  <a:schemeClr val="accent1"/>
                </a:solidFill>
              </a:rPr>
              <a:t>Powered</a:t>
            </a:r>
            <a:r>
              <a:rPr lang="de-DE">
                <a:solidFill>
                  <a:schemeClr val="accent1"/>
                </a:solidFill>
              </a:rPr>
              <a:t> Quantum Chatbot</a:t>
            </a:r>
            <a:endParaRPr>
              <a:solidFill>
                <a:schemeClr val="dk2"/>
              </a:solidFill>
            </a:endParaRPr>
          </a:p>
        </p:txBody>
      </p:sp>
      <p:sp>
        <p:nvSpPr>
          <p:cNvPr id="186" name="Google Shape;186;p30"/>
          <p:cNvSpPr txBox="1">
            <a:spLocks noGrp="1"/>
          </p:cNvSpPr>
          <p:nvPr>
            <p:ph type="subTitle" idx="1"/>
          </p:nvPr>
        </p:nvSpPr>
        <p:spPr>
          <a:xfrm>
            <a:off x="1643852" y="3261775"/>
            <a:ext cx="6770700" cy="5571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de-DE" err="1"/>
              <a:t>Zwischenstandspräsentation</a:t>
            </a:r>
            <a:r>
              <a:rPr lang="de-DE"/>
              <a:t> – 13.01.2025</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B47AFC14-1E73-37BA-ADD0-3445308203CF}"/>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FFE29254-FC49-610C-8DFF-F146A97D22D5}"/>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FA8422B7-4D91-767A-B35D-E061BC036299}"/>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0"/>
            <a:r>
              <a:rPr lang="de-DE" sz="1100" b="1" err="1">
                <a:solidFill>
                  <a:schemeClr val="tx1"/>
                </a:solidFill>
                <a:effectLst/>
                <a:latin typeface=".AppleSystemUIFont"/>
              </a:rPr>
              <a:t>Anvil</a:t>
            </a:r>
            <a:r>
              <a:rPr lang="de-DE" sz="1100">
                <a:solidFill>
                  <a:schemeClr val="tx1"/>
                </a:solidFill>
                <a:effectLst/>
                <a:latin typeface=".AppleSystemUIFont"/>
              </a:rPr>
              <a:t> ist eine Plattform zur Erstellung von </a:t>
            </a:r>
            <a:r>
              <a:rPr lang="de-DE" sz="1100" b="1">
                <a:solidFill>
                  <a:schemeClr val="tx1"/>
                </a:solidFill>
                <a:effectLst/>
                <a:latin typeface=".AppleSystemUIFont"/>
              </a:rPr>
              <a:t>vollständigen Webanwendungen ausschließlich mit Python</a:t>
            </a:r>
            <a:r>
              <a:rPr lang="de-DE" sz="1100">
                <a:solidFill>
                  <a:schemeClr val="tx1"/>
                </a:solidFill>
                <a:effectLst/>
                <a:latin typeface=".AppleSystemUIFont"/>
              </a:rPr>
              <a:t>. Sie ermöglicht es Entwicklern, sowohl die </a:t>
            </a:r>
            <a:r>
              <a:rPr lang="de-DE" sz="1100" b="1">
                <a:solidFill>
                  <a:schemeClr val="tx1"/>
                </a:solidFill>
                <a:effectLst/>
                <a:latin typeface=".AppleSystemUIFont"/>
              </a:rPr>
              <a:t>Frontend-</a:t>
            </a:r>
            <a:r>
              <a:rPr lang="de-DE" sz="1100">
                <a:solidFill>
                  <a:schemeClr val="tx1"/>
                </a:solidFill>
                <a:effectLst/>
                <a:latin typeface=".AppleSystemUIFont"/>
              </a:rPr>
              <a:t> als auch die </a:t>
            </a:r>
            <a:r>
              <a:rPr lang="de-DE" sz="1100" b="1">
                <a:solidFill>
                  <a:schemeClr val="tx1"/>
                </a:solidFill>
                <a:effectLst/>
                <a:latin typeface=".AppleSystemUIFont"/>
              </a:rPr>
              <a:t>Backend-Logik</a:t>
            </a:r>
            <a:r>
              <a:rPr lang="de-DE" sz="1100">
                <a:solidFill>
                  <a:schemeClr val="tx1"/>
                </a:solidFill>
                <a:effectLst/>
                <a:latin typeface=".AppleSystemUIFont"/>
              </a:rPr>
              <a:t> in Python zu schreiben, wodurch die Notwendigkeit entfällt, separate Sprachen wie HTML, CSS oder JavaScript zu verwenden. </a:t>
            </a:r>
          </a:p>
        </p:txBody>
      </p:sp>
      <p:sp>
        <p:nvSpPr>
          <p:cNvPr id="643" name="Google Shape;643;p61">
            <a:extLst>
              <a:ext uri="{FF2B5EF4-FFF2-40B4-BE49-F238E27FC236}">
                <a16:creationId xmlns:a16="http://schemas.microsoft.com/office/drawing/2014/main" id="{921E0B46-B171-D757-9107-95F09E5F7103}"/>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Anvil</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58F53290-D60F-3E87-DBEF-4198C5C9688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32CE4AAA-368C-05D3-7BE3-907266407A75}"/>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Drag-and-Drop-Designer:</a:t>
            </a:r>
            <a:r>
              <a:rPr lang="de-DE" sz="1100">
                <a:solidFill>
                  <a:schemeClr val="tx1"/>
                </a:solidFill>
                <a:effectLst/>
                <a:latin typeface=".AppleSystemUIFont"/>
              </a:rPr>
              <a:t> Ermöglicht das einfache Erstellen von Benutzeroberflächen durch visuelles Platzieren von Komponente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Python für Frontend und Backend:</a:t>
            </a:r>
            <a:r>
              <a:rPr lang="de-DE" sz="1100">
                <a:solidFill>
                  <a:schemeClr val="tx1"/>
                </a:solidFill>
                <a:effectLst/>
                <a:latin typeface=".AppleSystemUIFont"/>
              </a:rPr>
              <a:t> Ermöglicht die Entwicklung der gesamten Anwendung in Python, einschließlich der Benutzeroberfläche und der serverseitigen Logik.</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ingebaute Datenbank:</a:t>
            </a:r>
            <a:r>
              <a:rPr lang="de-DE" sz="1100">
                <a:solidFill>
                  <a:schemeClr val="tx1"/>
                </a:solidFill>
                <a:effectLst/>
                <a:latin typeface=".AppleSystemUIFont"/>
              </a:rPr>
              <a:t> Bietet eine integrierte, auf PostgreSQL basierende Datenbank zur Speicherung von Anwendungsdate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infache Bereitstellung:</a:t>
            </a:r>
            <a:r>
              <a:rPr lang="de-DE" sz="1100">
                <a:solidFill>
                  <a:schemeClr val="tx1"/>
                </a:solidFill>
                <a:effectLst/>
                <a:latin typeface=".AppleSystemUIFont"/>
              </a:rPr>
              <a:t> Ermöglicht die sofortige Veröffentlichung von Anwendungen in der Cloud oder die Bereitstellung auf eigenen Server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gration von Drittanbieter-Bibliotheken:</a:t>
            </a:r>
            <a:r>
              <a:rPr lang="de-DE" sz="1100">
                <a:solidFill>
                  <a:schemeClr val="tx1"/>
                </a:solidFill>
                <a:effectLst/>
                <a:latin typeface=".AppleSystemUIFont"/>
              </a:rPr>
              <a:t> Unterstützt die Installation und Nutzung von Python-Paketen von Drittanbietern, um die Funktionalität der Anwendung zu erweitern.</a:t>
            </a:r>
          </a:p>
        </p:txBody>
      </p:sp>
      <p:sp>
        <p:nvSpPr>
          <p:cNvPr id="30" name="Google Shape;631;p61">
            <a:extLst>
              <a:ext uri="{FF2B5EF4-FFF2-40B4-BE49-F238E27FC236}">
                <a16:creationId xmlns:a16="http://schemas.microsoft.com/office/drawing/2014/main" id="{0709A641-A523-8434-61D6-C49AB130072A}"/>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D2677CFA-9FD8-5AA0-B716-FC8843E4C72D}"/>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9525" indent="0"/>
            <a:r>
              <a:rPr lang="de-DE" sz="1100" err="1">
                <a:solidFill>
                  <a:schemeClr val="tx1"/>
                </a:solidFill>
                <a:effectLst/>
                <a:latin typeface=".AppleSystemUIFont"/>
              </a:rPr>
              <a:t>Anvil</a:t>
            </a:r>
            <a:r>
              <a:rPr lang="de-DE" sz="1100">
                <a:solidFill>
                  <a:schemeClr val="tx1"/>
                </a:solidFill>
                <a:effectLst/>
                <a:latin typeface=".AppleSystemUIFont"/>
              </a:rPr>
              <a:t> eignet sich hervorragend zur Entwicklung von Chatbots, da es die Erstellung interaktiver Benutzeroberflächen und die Integration von KI-Modellen erleichtert. Ein Beispiel für die Implementierung eines Chatbots mit </a:t>
            </a:r>
            <a:r>
              <a:rPr lang="de-DE" sz="1100" err="1">
                <a:solidFill>
                  <a:schemeClr val="tx1"/>
                </a:solidFill>
                <a:effectLst/>
                <a:latin typeface=".AppleSystemUIFont"/>
              </a:rPr>
              <a:t>Anvil</a:t>
            </a:r>
            <a:r>
              <a:rPr lang="de-DE" sz="1100">
                <a:solidFill>
                  <a:schemeClr val="tx1"/>
                </a:solidFill>
                <a:effectLst/>
                <a:latin typeface=".AppleSystemUIFont"/>
              </a:rPr>
              <a:t> und der </a:t>
            </a:r>
            <a:r>
              <a:rPr lang="de-DE" sz="1100" b="1" err="1">
                <a:solidFill>
                  <a:schemeClr val="tx1"/>
                </a:solidFill>
                <a:effectLst/>
                <a:latin typeface=".AppleSystemUIFont"/>
              </a:rPr>
              <a:t>Hugging</a:t>
            </a:r>
            <a:r>
              <a:rPr lang="de-DE" sz="1100" b="1">
                <a:solidFill>
                  <a:schemeClr val="tx1"/>
                </a:solidFill>
                <a:effectLst/>
                <a:latin typeface=".AppleSystemUIFont"/>
              </a:rPr>
              <a:t> Face API</a:t>
            </a:r>
            <a:r>
              <a:rPr lang="de-DE" sz="1100">
                <a:solidFill>
                  <a:schemeClr val="tx1"/>
                </a:solidFill>
                <a:effectLst/>
                <a:latin typeface=".AppleSystemUIFont"/>
              </a:rPr>
              <a:t> ist in einem Tutorial beschrieben. </a:t>
            </a:r>
          </a:p>
          <a:p>
            <a:pPr marL="9525" indent="0"/>
            <a:endParaRPr lang="de-DE" sz="1100">
              <a:solidFill>
                <a:schemeClr val="tx1"/>
              </a:solidFill>
              <a:latin typeface=".AppleSystemUIFont"/>
            </a:endParaRPr>
          </a:p>
          <a:p>
            <a:pPr marL="9525" indent="0"/>
            <a:r>
              <a:rPr lang="de-DE" sz="1100">
                <a:solidFill>
                  <a:schemeClr val="tx1"/>
                </a:solidFill>
                <a:effectLst/>
                <a:latin typeface=".AppleSystemUIFont"/>
              </a:rPr>
              <a:t>Ggf. fallen Kosten an</a:t>
            </a:r>
          </a:p>
        </p:txBody>
      </p:sp>
      <p:sp>
        <p:nvSpPr>
          <p:cNvPr id="2" name="Textfeld 1">
            <a:extLst>
              <a:ext uri="{FF2B5EF4-FFF2-40B4-BE49-F238E27FC236}">
                <a16:creationId xmlns:a16="http://schemas.microsoft.com/office/drawing/2014/main" id="{87B26627-B43E-0360-87E8-F4E8D09B2F45}"/>
              </a:ext>
            </a:extLst>
          </p:cNvPr>
          <p:cNvSpPr txBox="1"/>
          <p:nvPr/>
        </p:nvSpPr>
        <p:spPr>
          <a:xfrm>
            <a:off x="5209953" y="324965"/>
            <a:ext cx="1924494" cy="280928"/>
          </a:xfrm>
          <a:prstGeom prst="roundRect">
            <a:avLst/>
          </a:prstGeom>
          <a:solidFill>
            <a:schemeClr val="bg2"/>
          </a:solidFill>
          <a:ln>
            <a:noFill/>
          </a:ln>
        </p:spPr>
        <p:txBody>
          <a:bodyPr wrap="square" rtlCol="0">
            <a:spAutoFit/>
          </a:bodyPr>
          <a:lstStyle/>
          <a:p>
            <a:r>
              <a:rPr lang="de-DE" sz="1050">
                <a:solidFill>
                  <a:schemeClr val="tx1"/>
                </a:solidFill>
              </a:rPr>
              <a:t>Fokus auf Einfachheit</a:t>
            </a:r>
          </a:p>
        </p:txBody>
      </p:sp>
    </p:spTree>
    <p:extLst>
      <p:ext uri="{BB962C8B-B14F-4D97-AF65-F5344CB8AC3E}">
        <p14:creationId xmlns:p14="http://schemas.microsoft.com/office/powerpoint/2010/main" val="1613981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FE9B8-8147-71DC-F461-A5FC454806CF}"/>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984DDD12-5309-4547-0E6E-16B6F85DC024}"/>
              </a:ext>
            </a:extLst>
          </p:cNvPr>
          <p:cNvPicPr>
            <a:picLocks noChangeAspect="1"/>
          </p:cNvPicPr>
          <p:nvPr/>
        </p:nvPicPr>
        <p:blipFill>
          <a:blip r:embed="rId3"/>
          <a:srcRect/>
          <a:stretch/>
        </p:blipFill>
        <p:spPr>
          <a:xfrm>
            <a:off x="1574612" y="541788"/>
            <a:ext cx="5455171" cy="3247518"/>
          </a:xfrm>
          <a:prstGeom prst="rect">
            <a:avLst/>
          </a:prstGeom>
        </p:spPr>
      </p:pic>
      <p:sp>
        <p:nvSpPr>
          <p:cNvPr id="4" name="Google Shape;632;p61">
            <a:extLst>
              <a:ext uri="{FF2B5EF4-FFF2-40B4-BE49-F238E27FC236}">
                <a16:creationId xmlns:a16="http://schemas.microsoft.com/office/drawing/2014/main" id="{0D22A5C1-3158-4AE2-4903-76B73A0A8935}"/>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Tree>
    <p:extLst>
      <p:ext uri="{BB962C8B-B14F-4D97-AF65-F5344CB8AC3E}">
        <p14:creationId xmlns:p14="http://schemas.microsoft.com/office/powerpoint/2010/main" val="3457587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EFB0AE9F-95E9-B5D2-74A6-93A6F1335E27}"/>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84884587-7146-3C15-ED0F-CCB84F0C2596}"/>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BF45B254-CAB4-37EC-C482-47C175AF7A1E}"/>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9525"/>
            <a:r>
              <a:rPr lang="de-DE" sz="1050" b="1" err="1">
                <a:solidFill>
                  <a:schemeClr val="tx1"/>
                </a:solidFill>
                <a:effectLst/>
                <a:latin typeface=".AppleSystemUIFont"/>
              </a:rPr>
              <a:t>Gradio</a:t>
            </a:r>
            <a:r>
              <a:rPr lang="de-DE" sz="1050">
                <a:solidFill>
                  <a:schemeClr val="tx1"/>
                </a:solidFill>
                <a:effectLst/>
                <a:latin typeface=".AppleSystemUIFont"/>
              </a:rPr>
              <a:t> ist ein </a:t>
            </a:r>
            <a:r>
              <a:rPr lang="de-DE" sz="1050" b="1">
                <a:solidFill>
                  <a:schemeClr val="tx1"/>
                </a:solidFill>
                <a:effectLst/>
                <a:latin typeface=".AppleSystemUIFont"/>
              </a:rPr>
              <a:t>Open-Source-Python-Paket</a:t>
            </a:r>
            <a:r>
              <a:rPr lang="de-DE" sz="1050">
                <a:solidFill>
                  <a:schemeClr val="tx1"/>
                </a:solidFill>
                <a:effectLst/>
                <a:latin typeface=".AppleSystemUIFont"/>
              </a:rPr>
              <a:t>, das es ermöglicht, </a:t>
            </a:r>
            <a:r>
              <a:rPr lang="de-DE" sz="1050" b="1">
                <a:solidFill>
                  <a:schemeClr val="tx1"/>
                </a:solidFill>
                <a:effectLst/>
                <a:latin typeface=".AppleSystemUIFont"/>
              </a:rPr>
              <a:t>benutzerfreundliche Webschnittstellen</a:t>
            </a:r>
            <a:r>
              <a:rPr lang="de-DE" sz="1050">
                <a:solidFill>
                  <a:schemeClr val="tx1"/>
                </a:solidFill>
                <a:effectLst/>
                <a:latin typeface=".AppleSystemUIFont"/>
              </a:rPr>
              <a:t> für maschinelle Lernmodelle, APIs oder beliebige Python-Funktionen mit minimalem Aufwand zu erstellen. Mit </a:t>
            </a:r>
            <a:r>
              <a:rPr lang="de-DE" sz="1050" err="1">
                <a:solidFill>
                  <a:schemeClr val="tx1"/>
                </a:solidFill>
                <a:effectLst/>
                <a:latin typeface=".AppleSystemUIFont"/>
              </a:rPr>
              <a:t>Gradio</a:t>
            </a:r>
            <a:r>
              <a:rPr lang="de-DE" sz="1050">
                <a:solidFill>
                  <a:schemeClr val="tx1"/>
                </a:solidFill>
                <a:effectLst/>
                <a:latin typeface=".AppleSystemUIFont"/>
              </a:rPr>
              <a:t> können Entwickler interaktive Demos oder Webanwendungen schnell erstellen und teilen, ohne tiefgehende Kenntnisse in Webentwicklung zu benötigen.</a:t>
            </a:r>
          </a:p>
        </p:txBody>
      </p:sp>
      <p:sp>
        <p:nvSpPr>
          <p:cNvPr id="643" name="Google Shape;643;p61">
            <a:extLst>
              <a:ext uri="{FF2B5EF4-FFF2-40B4-BE49-F238E27FC236}">
                <a16:creationId xmlns:a16="http://schemas.microsoft.com/office/drawing/2014/main" id="{CA1E9AF4-F1D5-6FED-4878-F1AF7E0D8B12}"/>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Gradio</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649C514A-2332-7E11-8AEF-CE749A71858C}"/>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09FFBFE4-04D6-2DE6-65ED-E5E1A3351A22}"/>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100">
                <a:solidFill>
                  <a:schemeClr val="tx1"/>
                </a:solidFill>
                <a:effectLst/>
                <a:latin typeface=".AppleSystemUIFont"/>
              </a:rPr>
              <a:t>• </a:t>
            </a:r>
            <a:r>
              <a:rPr lang="de-DE" sz="1100" b="1">
                <a:solidFill>
                  <a:schemeClr val="tx1"/>
                </a:solidFill>
                <a:latin typeface=".AppleSystemUIFont"/>
              </a:rPr>
              <a:t>Einfache Installation und Nutzung</a:t>
            </a:r>
            <a:r>
              <a:rPr lang="de-DE" sz="1100">
                <a:solidFill>
                  <a:schemeClr val="tx1"/>
                </a:solidFill>
                <a:latin typeface=".AppleSystemUIFont"/>
              </a:rPr>
              <a:t>: </a:t>
            </a:r>
            <a:r>
              <a:rPr lang="de-DE" sz="1100" err="1">
                <a:solidFill>
                  <a:schemeClr val="tx1"/>
                </a:solidFill>
                <a:latin typeface=".AppleSystemUIFont"/>
              </a:rPr>
              <a:t>Gradio</a:t>
            </a:r>
            <a:r>
              <a:rPr lang="de-DE" sz="1100">
                <a:solidFill>
                  <a:schemeClr val="tx1"/>
                </a:solidFill>
                <a:latin typeface=".AppleSystemUIFont"/>
              </a:rPr>
              <a:t> kann über </a:t>
            </a:r>
            <a:r>
              <a:rPr lang="de-DE" sz="1100" err="1">
                <a:solidFill>
                  <a:schemeClr val="tx1"/>
                </a:solidFill>
                <a:latin typeface=".AppleSystemUIFont"/>
              </a:rPr>
              <a:t>pip</a:t>
            </a:r>
            <a:r>
              <a:rPr lang="de-DE" sz="1100">
                <a:solidFill>
                  <a:schemeClr val="tx1"/>
                </a:solidFill>
                <a:latin typeface=".AppleSystemUIFont"/>
              </a:rPr>
              <a:t> installiert werden und erfordert nur wenige Codezeilen, um eine Webschnittstelle zu erstell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raktive Komponenten:</a:t>
            </a:r>
            <a:r>
              <a:rPr lang="de-DE" sz="1100">
                <a:solidFill>
                  <a:schemeClr val="tx1"/>
                </a:solidFill>
                <a:effectLst/>
                <a:latin typeface=".AppleSystemUIFont"/>
              </a:rPr>
              <a:t> Bietet eine Vielzahl von Eingabe- und Ausgabe-Widgets wie Textfelder, Bild- und Audioeingaben, die leicht in Anwendungen integriert werden könn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chtzeit-Sharing:</a:t>
            </a:r>
            <a:r>
              <a:rPr lang="de-DE" sz="1100">
                <a:solidFill>
                  <a:schemeClr val="tx1"/>
                </a:solidFill>
                <a:effectLst/>
                <a:latin typeface=".AppleSystemUIFont"/>
              </a:rPr>
              <a:t> Ermöglicht das Generieren öffentlicher Links, über die andere Nutzer die Anwendung in Echtzeit ausprobieren könn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gration mit ML-Bibliotheken:</a:t>
            </a:r>
            <a:r>
              <a:rPr lang="de-DE" sz="1100">
                <a:solidFill>
                  <a:schemeClr val="tx1"/>
                </a:solidFill>
                <a:effectLst/>
                <a:latin typeface=".AppleSystemUIFont"/>
              </a:rPr>
              <a:t> Kompatibel mit gängigen maschinellen Lernbibliotheken wie </a:t>
            </a:r>
            <a:r>
              <a:rPr lang="de-DE" sz="1100" err="1">
                <a:solidFill>
                  <a:schemeClr val="tx1"/>
                </a:solidFill>
                <a:effectLst/>
                <a:latin typeface=".AppleSystemUIFont"/>
              </a:rPr>
              <a:t>TensorFlow</a:t>
            </a:r>
            <a:r>
              <a:rPr lang="de-DE" sz="1100">
                <a:solidFill>
                  <a:schemeClr val="tx1"/>
                </a:solidFill>
                <a:effectLst/>
                <a:latin typeface=".AppleSystemUIFont"/>
              </a:rPr>
              <a:t>, </a:t>
            </a:r>
            <a:r>
              <a:rPr lang="de-DE" sz="1100" err="1">
                <a:solidFill>
                  <a:schemeClr val="tx1"/>
                </a:solidFill>
                <a:effectLst/>
                <a:latin typeface=".AppleSystemUIFont"/>
              </a:rPr>
              <a:t>PyTorch</a:t>
            </a:r>
            <a:r>
              <a:rPr lang="de-DE" sz="1100">
                <a:solidFill>
                  <a:schemeClr val="tx1"/>
                </a:solidFill>
                <a:effectLst/>
                <a:latin typeface=".AppleSystemUIFont"/>
              </a:rPr>
              <a:t> und </a:t>
            </a:r>
            <a:r>
              <a:rPr lang="de-DE" sz="1100" err="1">
                <a:solidFill>
                  <a:schemeClr val="tx1"/>
                </a:solidFill>
                <a:effectLst/>
                <a:latin typeface=".AppleSystemUIFont"/>
              </a:rPr>
              <a:t>Hugging</a:t>
            </a:r>
            <a:r>
              <a:rPr lang="de-DE" sz="1100">
                <a:solidFill>
                  <a:schemeClr val="tx1"/>
                </a:solidFill>
                <a:effectLst/>
                <a:latin typeface=".AppleSystemUIFont"/>
              </a:rPr>
              <a:t> Face Transformers.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Bereitstellung:</a:t>
            </a:r>
            <a:r>
              <a:rPr lang="de-DE" sz="1100">
                <a:solidFill>
                  <a:schemeClr val="tx1"/>
                </a:solidFill>
                <a:effectLst/>
                <a:latin typeface=".AppleSystemUIFont"/>
              </a:rPr>
              <a:t> Anwendungen können dauerhaft auf Plattformen wie </a:t>
            </a:r>
            <a:r>
              <a:rPr lang="de-DE" sz="1100" err="1">
                <a:solidFill>
                  <a:schemeClr val="tx1"/>
                </a:solidFill>
                <a:effectLst/>
                <a:latin typeface=".AppleSystemUIFont"/>
              </a:rPr>
              <a:t>Hugging</a:t>
            </a:r>
            <a:r>
              <a:rPr lang="de-DE" sz="1100">
                <a:solidFill>
                  <a:schemeClr val="tx1"/>
                </a:solidFill>
                <a:effectLst/>
                <a:latin typeface=".AppleSystemUIFont"/>
              </a:rPr>
              <a:t> Face Spaces gehostet werden. </a:t>
            </a:r>
          </a:p>
        </p:txBody>
      </p:sp>
      <p:sp>
        <p:nvSpPr>
          <p:cNvPr id="30" name="Google Shape;631;p61">
            <a:extLst>
              <a:ext uri="{FF2B5EF4-FFF2-40B4-BE49-F238E27FC236}">
                <a16:creationId xmlns:a16="http://schemas.microsoft.com/office/drawing/2014/main" id="{367F0B6E-9B89-D7A0-C235-D55BA22C786C}"/>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D468F2D4-DB83-6AD6-1844-A292215691AF}"/>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180975" indent="-171450">
              <a:buFont typeface="Arial" panose="020B0604020202020204" pitchFamily="34" charset="0"/>
              <a:buChar char="•"/>
            </a:pPr>
            <a:r>
              <a:rPr lang="de-DE" sz="1200" err="1">
                <a:solidFill>
                  <a:schemeClr val="tx1"/>
                </a:solidFill>
                <a:effectLst/>
                <a:latin typeface=".AppleSystemUIFont"/>
              </a:rPr>
              <a:t>Gradio</a:t>
            </a:r>
            <a:r>
              <a:rPr lang="de-DE" sz="1200">
                <a:solidFill>
                  <a:schemeClr val="tx1"/>
                </a:solidFill>
                <a:effectLst/>
                <a:latin typeface=".AppleSystemUIFont"/>
              </a:rPr>
              <a:t> bietet spezielle Funktionen zur schnellen Erstellung von Chatbot-Oberflächen. Mit der </a:t>
            </a:r>
            <a:r>
              <a:rPr lang="de-DE" sz="1200" err="1">
                <a:solidFill>
                  <a:schemeClr val="tx1"/>
                </a:solidFill>
                <a:effectLst/>
                <a:latin typeface=".AppleSystemUIFontMonospaced"/>
              </a:rPr>
              <a:t>gr.ChatInterface</a:t>
            </a:r>
            <a:r>
              <a:rPr lang="de-DE" sz="1200">
                <a:solidFill>
                  <a:schemeClr val="tx1"/>
                </a:solidFill>
                <a:effectLst/>
                <a:latin typeface=".AppleSystemUIFontMonospaced"/>
              </a:rPr>
              <a:t>()</a:t>
            </a:r>
            <a:r>
              <a:rPr lang="de-DE" sz="1200">
                <a:solidFill>
                  <a:schemeClr val="tx1"/>
                </a:solidFill>
                <a:effectLst/>
                <a:latin typeface=".AppleSystemUIFont"/>
              </a:rPr>
              <a:t>-Klasse können Entwickler mit minimalem Codeaufwand interaktive Chatbot-UIs erstellen. </a:t>
            </a:r>
          </a:p>
          <a:p>
            <a:pPr marL="180975" indent="-171450">
              <a:buFont typeface="Arial" panose="020B0604020202020204" pitchFamily="34" charset="0"/>
              <a:buChar char="•"/>
            </a:pPr>
            <a:r>
              <a:rPr lang="de-DE" sz="1200">
                <a:solidFill>
                  <a:schemeClr val="tx1"/>
                </a:solidFill>
                <a:effectLst/>
                <a:latin typeface=".AppleSystemUIFont"/>
              </a:rPr>
              <a:t>Doku für Impleme</a:t>
            </a:r>
            <a:r>
              <a:rPr lang="de-DE" sz="1200">
                <a:solidFill>
                  <a:schemeClr val="tx1"/>
                </a:solidFill>
                <a:latin typeface=".AppleSystemUIFont"/>
              </a:rPr>
              <a:t>ntierung von </a:t>
            </a:r>
            <a:r>
              <a:rPr lang="de-DE" sz="1200" err="1">
                <a:solidFill>
                  <a:schemeClr val="tx1"/>
                </a:solidFill>
                <a:latin typeface=".AppleSystemUIFont"/>
              </a:rPr>
              <a:t>Llama</a:t>
            </a:r>
            <a:r>
              <a:rPr lang="de-DE" sz="1200">
                <a:solidFill>
                  <a:schemeClr val="tx1"/>
                </a:solidFill>
                <a:latin typeface=".AppleSystemUIFont"/>
              </a:rPr>
              <a:t> Index</a:t>
            </a:r>
          </a:p>
          <a:p>
            <a:pPr marL="180975" indent="-171450">
              <a:buFont typeface="Arial" panose="020B0604020202020204" pitchFamily="34" charset="0"/>
              <a:buChar char="•"/>
            </a:pPr>
            <a:r>
              <a:rPr lang="de-DE" sz="1200">
                <a:solidFill>
                  <a:schemeClr val="tx1"/>
                </a:solidFill>
                <a:effectLst/>
                <a:latin typeface=".AppleSystemUIFont"/>
              </a:rPr>
              <a:t>Generell gute Doku für Umsetzung eines Chatbots</a:t>
            </a:r>
          </a:p>
        </p:txBody>
      </p:sp>
      <p:sp>
        <p:nvSpPr>
          <p:cNvPr id="2" name="Textfeld 1">
            <a:extLst>
              <a:ext uri="{FF2B5EF4-FFF2-40B4-BE49-F238E27FC236}">
                <a16:creationId xmlns:a16="http://schemas.microsoft.com/office/drawing/2014/main" id="{3A369E2F-D851-6421-EE32-5AFD4598FF04}"/>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Einfachheit &amp; Schnelligkeit</a:t>
            </a:r>
          </a:p>
        </p:txBody>
      </p:sp>
    </p:spTree>
    <p:extLst>
      <p:ext uri="{BB962C8B-B14F-4D97-AF65-F5344CB8AC3E}">
        <p14:creationId xmlns:p14="http://schemas.microsoft.com/office/powerpoint/2010/main" val="772659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83432-A8DC-87CB-C3E6-1CAE081AB006}"/>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A477779F-19E5-D19E-042E-26AE76A310E6}"/>
              </a:ext>
            </a:extLst>
          </p:cNvPr>
          <p:cNvPicPr>
            <a:picLocks noChangeAspect="1"/>
          </p:cNvPicPr>
          <p:nvPr/>
        </p:nvPicPr>
        <p:blipFill>
          <a:blip r:embed="rId3"/>
          <a:srcRect/>
          <a:stretch/>
        </p:blipFill>
        <p:spPr>
          <a:xfrm>
            <a:off x="1574612" y="612921"/>
            <a:ext cx="5455171" cy="3105251"/>
          </a:xfrm>
          <a:prstGeom prst="rect">
            <a:avLst/>
          </a:prstGeom>
        </p:spPr>
      </p:pic>
      <p:sp>
        <p:nvSpPr>
          <p:cNvPr id="4" name="Google Shape;632;p61">
            <a:extLst>
              <a:ext uri="{FF2B5EF4-FFF2-40B4-BE49-F238E27FC236}">
                <a16:creationId xmlns:a16="http://schemas.microsoft.com/office/drawing/2014/main" id="{24DAE335-D100-1C38-743D-79421FFE4DE4}"/>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Tree>
    <p:extLst>
      <p:ext uri="{BB962C8B-B14F-4D97-AF65-F5344CB8AC3E}">
        <p14:creationId xmlns:p14="http://schemas.microsoft.com/office/powerpoint/2010/main" val="2354670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7EC6E20C-FAEA-7463-972E-594879354237}"/>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42705839-BA38-4249-2C87-7C575F12152A}"/>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C94D8E91-6B70-11FD-F264-40FB17444DDC}"/>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9525"/>
            <a:r>
              <a:rPr lang="de-DE" sz="1100" b="0" i="0" u="none" strike="noStrike" err="1">
                <a:solidFill>
                  <a:schemeClr val="tx1"/>
                </a:solidFill>
                <a:effectLst/>
                <a:latin typeface="-webkit-standard"/>
              </a:rPr>
              <a:t>FlowiseAI</a:t>
            </a:r>
            <a:r>
              <a:rPr lang="de-DE" sz="1100" b="0" i="0" u="none" strike="noStrike">
                <a:solidFill>
                  <a:schemeClr val="tx1"/>
                </a:solidFill>
                <a:effectLst/>
                <a:latin typeface="-webkit-standard"/>
              </a:rPr>
              <a:t> ist eine Open-Source-Plattform, die speziell für die Erstellung von Chatbot- und KI-gestützten Anwendungen mit </a:t>
            </a:r>
            <a:r>
              <a:rPr lang="de-DE" sz="1100" b="1" i="0" u="none" strike="noStrike">
                <a:solidFill>
                  <a:schemeClr val="tx1"/>
                </a:solidFill>
                <a:effectLst/>
              </a:rPr>
              <a:t>Large Language Models (LLMs)</a:t>
            </a:r>
            <a:r>
              <a:rPr lang="de-DE" sz="1100" b="0" i="0" u="none" strike="noStrike">
                <a:solidFill>
                  <a:schemeClr val="tx1"/>
                </a:solidFill>
                <a:effectLst/>
                <a:latin typeface="-webkit-standard"/>
              </a:rPr>
              <a:t> entwickelt wurde. Es kombiniert eine visuelle Drag-and-Drop-Benutzeroberfläche mit der Leistungsfähigkeit des </a:t>
            </a:r>
            <a:r>
              <a:rPr lang="de-DE" sz="1100" b="0" i="0" u="none" strike="noStrike" err="1">
                <a:solidFill>
                  <a:schemeClr val="tx1"/>
                </a:solidFill>
                <a:effectLst/>
                <a:latin typeface="-webkit-standard"/>
              </a:rPr>
              <a:t>LangChain</a:t>
            </a:r>
            <a:r>
              <a:rPr lang="de-DE" sz="1100" b="0" i="0" u="none" strike="noStrike">
                <a:solidFill>
                  <a:schemeClr val="tx1"/>
                </a:solidFill>
                <a:effectLst/>
                <a:latin typeface="-webkit-standard"/>
              </a:rPr>
              <a:t>-Frameworks, um komplexe KI-Workflows schnell und einfach zu erstellen, ohne umfangreiche Programmierkenntnisse zu benötigen.</a:t>
            </a:r>
            <a:endParaRPr lang="de-DE" sz="1000">
              <a:solidFill>
                <a:schemeClr val="tx1"/>
              </a:solidFill>
              <a:effectLst/>
              <a:latin typeface=".AppleSystemUIFont"/>
            </a:endParaRPr>
          </a:p>
        </p:txBody>
      </p:sp>
      <p:sp>
        <p:nvSpPr>
          <p:cNvPr id="643" name="Google Shape;643;p61">
            <a:extLst>
              <a:ext uri="{FF2B5EF4-FFF2-40B4-BE49-F238E27FC236}">
                <a16:creationId xmlns:a16="http://schemas.microsoft.com/office/drawing/2014/main" id="{7D5D60A0-E6A4-B283-4DD7-11B01AE372B5}"/>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FlowiseAI</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7AD7A857-36F1-6177-B4FB-3B01881594A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21CE4AA2-4324-FE9C-D90F-F3DBE86120DE}"/>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r>
              <a:rPr lang="de-DE" sz="1000" b="1"/>
              <a:t>Visuelle Entwicklung:</a:t>
            </a:r>
            <a:br>
              <a:rPr lang="de-DE" sz="1000"/>
            </a:br>
            <a:r>
              <a:rPr lang="de-DE" sz="1000"/>
              <a:t>Drag-and-Drop-Editor für die einfache Erstellung von Chatbot-Workflows und Datenpipelines.</a:t>
            </a:r>
          </a:p>
          <a:p>
            <a:r>
              <a:rPr lang="de-DE" sz="1000" b="1"/>
              <a:t>Integration mit LLMs:</a:t>
            </a:r>
            <a:br>
              <a:rPr lang="de-DE" sz="1000"/>
            </a:br>
            <a:r>
              <a:rPr lang="de-DE" sz="1000"/>
              <a:t>Unterstützt Modelle wie </a:t>
            </a:r>
            <a:r>
              <a:rPr lang="de-DE" sz="1000" err="1"/>
              <a:t>OpenAI</a:t>
            </a:r>
            <a:r>
              <a:rPr lang="de-DE" sz="1000"/>
              <a:t> GPT, </a:t>
            </a:r>
            <a:r>
              <a:rPr lang="de-DE" sz="1000" err="1"/>
              <a:t>Hugging</a:t>
            </a:r>
            <a:r>
              <a:rPr lang="de-DE" sz="1000"/>
              <a:t> Face-Modelle und andere KI-Bibliotheken.</a:t>
            </a:r>
          </a:p>
          <a:p>
            <a:r>
              <a:rPr lang="de-DE" sz="1000" b="1"/>
              <a:t>Externe Datenquellen:</a:t>
            </a:r>
            <a:br>
              <a:rPr lang="de-DE" sz="1000"/>
            </a:br>
            <a:r>
              <a:rPr lang="de-DE" sz="1000"/>
              <a:t>Möglichkeit zur Integration von Datenbanken wie </a:t>
            </a:r>
            <a:r>
              <a:rPr lang="de-DE" sz="1000" b="1" err="1"/>
              <a:t>Pinecone</a:t>
            </a:r>
            <a:r>
              <a:rPr lang="de-DE" sz="1000"/>
              <a:t>, </a:t>
            </a:r>
            <a:r>
              <a:rPr lang="de-DE" sz="1000" b="1" err="1"/>
              <a:t>Weaviate</a:t>
            </a:r>
            <a:r>
              <a:rPr lang="de-DE" sz="1000"/>
              <a:t>, oder CSV-Dateien, um den Chatbot mit individuellen Wissensdaten zu trainieren.</a:t>
            </a:r>
          </a:p>
          <a:p>
            <a:r>
              <a:rPr lang="de-DE" sz="1000" b="1" err="1"/>
              <a:t>No</a:t>
            </a:r>
            <a:r>
              <a:rPr lang="de-DE" sz="1000" b="1"/>
              <a:t>-Code/Low-Code-Ansatz:</a:t>
            </a:r>
            <a:br>
              <a:rPr lang="de-DE" sz="1000"/>
            </a:br>
            <a:r>
              <a:rPr lang="de-DE" sz="1000"/>
              <a:t>Benutzer können Anwendungen mit minimalem Aufwand erstellen, ohne tiefgehende Programmierkenntnisse.</a:t>
            </a:r>
          </a:p>
          <a:p>
            <a:r>
              <a:rPr lang="de-DE" sz="1000" b="1"/>
              <a:t>Open Source:</a:t>
            </a:r>
            <a:br>
              <a:rPr lang="de-DE" sz="1000"/>
            </a:br>
            <a:r>
              <a:rPr lang="de-DE" sz="1000"/>
              <a:t>Kostenlos nutzbar und anpassbar für individuelle Anforderungen.</a:t>
            </a:r>
          </a:p>
          <a:p>
            <a:r>
              <a:rPr lang="de-DE" sz="1000" b="1"/>
              <a:t>Echtzeit-Demos und </a:t>
            </a:r>
            <a:r>
              <a:rPr lang="de-DE" sz="1000" b="1" err="1"/>
              <a:t>Prototyping</a:t>
            </a:r>
            <a:r>
              <a:rPr lang="de-DE" sz="1000" b="1"/>
              <a:t>:</a:t>
            </a:r>
            <a:br>
              <a:rPr lang="de-DE" sz="1000"/>
            </a:br>
            <a:r>
              <a:rPr lang="de-DE" sz="1000"/>
              <a:t>Ideal für schnelle Tests und die Visualisierung von KI-Workflows.</a:t>
            </a:r>
          </a:p>
        </p:txBody>
      </p:sp>
      <p:sp>
        <p:nvSpPr>
          <p:cNvPr id="30" name="Google Shape;631;p61">
            <a:extLst>
              <a:ext uri="{FF2B5EF4-FFF2-40B4-BE49-F238E27FC236}">
                <a16:creationId xmlns:a16="http://schemas.microsoft.com/office/drawing/2014/main" id="{01395005-3C19-5F18-1975-3B895027EDC3}"/>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25F570E8-75F0-6A22-3647-334A497207BC}"/>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180975" indent="-171450">
              <a:buFont typeface="Arial" panose="020B0604020202020204" pitchFamily="34" charset="0"/>
              <a:buChar char="•"/>
            </a:pPr>
            <a:r>
              <a:rPr lang="de-DE" sz="900"/>
              <a:t>Perfekt geeignet für die Entwicklung von LLM-basierten Chatbots und Frage-Antwort-Systemen.</a:t>
            </a:r>
          </a:p>
          <a:p>
            <a:pPr marL="180975" indent="-171450">
              <a:buFont typeface="Arial" panose="020B0604020202020204" pitchFamily="34" charset="0"/>
              <a:buChar char="•"/>
            </a:pPr>
            <a:r>
              <a:rPr lang="de-DE" sz="900" b="1"/>
              <a:t>Einfache Installation:</a:t>
            </a:r>
            <a:r>
              <a:rPr lang="de-DE" sz="900"/>
              <a:t> Kann direkt über </a:t>
            </a:r>
            <a:r>
              <a:rPr lang="de-DE" sz="900" err="1"/>
              <a:t>Node.js</a:t>
            </a:r>
            <a:r>
              <a:rPr lang="de-DE" sz="900"/>
              <a:t> installiert und lokal oder in der Cloud betrieben werden.</a:t>
            </a:r>
          </a:p>
          <a:p>
            <a:pPr marL="180975" indent="-171450">
              <a:buFont typeface="Arial" panose="020B0604020202020204" pitchFamily="34" charset="0"/>
              <a:buChar char="•"/>
            </a:pPr>
            <a:r>
              <a:rPr lang="de-DE" sz="900"/>
              <a:t>Unterstützt erweiterte Workflows durch das Hinzufügen benutzerdefinierter Module und API-Integrationen.</a:t>
            </a:r>
          </a:p>
          <a:p>
            <a:pPr marL="180975" indent="-171450">
              <a:buFont typeface="Arial" panose="020B0604020202020204" pitchFamily="34" charset="0"/>
              <a:buChar char="•"/>
            </a:pPr>
            <a:r>
              <a:rPr lang="de-DE" sz="900"/>
              <a:t>Umfassende Dokumentation und aktive Community für Support und Erweiterungen.</a:t>
            </a:r>
          </a:p>
          <a:p>
            <a:pPr marL="180975" indent="-171450">
              <a:buFont typeface="Arial" panose="020B0604020202020204" pitchFamily="34" charset="0"/>
              <a:buChar char="•"/>
            </a:pPr>
            <a:r>
              <a:rPr lang="de-DE" sz="900"/>
              <a:t>Kann problemlos mit bestehenden KI-Ökosystemen kombiniert werden.</a:t>
            </a:r>
            <a:endParaRPr lang="de-DE" sz="700">
              <a:solidFill>
                <a:schemeClr val="tx1"/>
              </a:solidFill>
              <a:effectLst/>
              <a:latin typeface=".AppleSystemUIFont"/>
            </a:endParaRPr>
          </a:p>
        </p:txBody>
      </p:sp>
      <p:sp>
        <p:nvSpPr>
          <p:cNvPr id="2" name="Textfeld 1">
            <a:extLst>
              <a:ext uri="{FF2B5EF4-FFF2-40B4-BE49-F238E27FC236}">
                <a16:creationId xmlns:a16="http://schemas.microsoft.com/office/drawing/2014/main" id="{03E06196-39B2-26AB-F891-23303EF00472}"/>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Einfachheit &amp; Schnelligkeit</a:t>
            </a:r>
          </a:p>
        </p:txBody>
      </p:sp>
    </p:spTree>
    <p:extLst>
      <p:ext uri="{BB962C8B-B14F-4D97-AF65-F5344CB8AC3E}">
        <p14:creationId xmlns:p14="http://schemas.microsoft.com/office/powerpoint/2010/main" val="1834548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94F44-74CB-AEF5-C716-9F37FBA0B9FB}"/>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66D5A577-A04E-97AB-2A7A-4CA61A7B5C98}"/>
              </a:ext>
            </a:extLst>
          </p:cNvPr>
          <p:cNvPicPr>
            <a:picLocks noChangeAspect="1"/>
          </p:cNvPicPr>
          <p:nvPr/>
        </p:nvPicPr>
        <p:blipFill>
          <a:blip r:embed="rId3"/>
          <a:srcRect/>
          <a:stretch/>
        </p:blipFill>
        <p:spPr>
          <a:xfrm>
            <a:off x="1574612" y="795909"/>
            <a:ext cx="5455171" cy="2739275"/>
          </a:xfrm>
          <a:prstGeom prst="rect">
            <a:avLst/>
          </a:prstGeom>
        </p:spPr>
      </p:pic>
      <p:sp>
        <p:nvSpPr>
          <p:cNvPr id="4" name="Google Shape;632;p61">
            <a:extLst>
              <a:ext uri="{FF2B5EF4-FFF2-40B4-BE49-F238E27FC236}">
                <a16:creationId xmlns:a16="http://schemas.microsoft.com/office/drawing/2014/main" id="{49D50E67-1C46-37EC-D449-5644D2D1F869}"/>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Tree>
    <p:extLst>
      <p:ext uri="{BB962C8B-B14F-4D97-AF65-F5344CB8AC3E}">
        <p14:creationId xmlns:p14="http://schemas.microsoft.com/office/powerpoint/2010/main" val="4265536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CD60C13B-5936-EB13-99E4-99BF21E0DDF4}"/>
              </a:ext>
            </a:extLst>
          </p:cNvPr>
          <p:cNvGraphicFramePr>
            <a:graphicFrameLocks noGrp="1"/>
          </p:cNvGraphicFramePr>
          <p:nvPr>
            <p:extLst>
              <p:ext uri="{D42A27DB-BD31-4B8C-83A1-F6EECF244321}">
                <p14:modId xmlns:p14="http://schemas.microsoft.com/office/powerpoint/2010/main" val="1286619212"/>
              </p:ext>
            </p:extLst>
          </p:nvPr>
        </p:nvGraphicFramePr>
        <p:xfrm>
          <a:off x="0" y="0"/>
          <a:ext cx="9144000" cy="5143498"/>
        </p:xfrm>
        <a:graphic>
          <a:graphicData uri="http://schemas.openxmlformats.org/drawingml/2006/table">
            <a:tbl>
              <a:tblPr>
                <a:tableStyleId>{0D388EE7-05B4-4AC6-A653-FD656CC95793}</a:tableStyleId>
              </a:tblPr>
              <a:tblGrid>
                <a:gridCol w="662473">
                  <a:extLst>
                    <a:ext uri="{9D8B030D-6E8A-4147-A177-3AD203B41FA5}">
                      <a16:colId xmlns:a16="http://schemas.microsoft.com/office/drawing/2014/main" val="823855972"/>
                    </a:ext>
                  </a:extLst>
                </a:gridCol>
                <a:gridCol w="1362270">
                  <a:extLst>
                    <a:ext uri="{9D8B030D-6E8A-4147-A177-3AD203B41FA5}">
                      <a16:colId xmlns:a16="http://schemas.microsoft.com/office/drawing/2014/main" val="1745839797"/>
                    </a:ext>
                  </a:extLst>
                </a:gridCol>
                <a:gridCol w="1129004">
                  <a:extLst>
                    <a:ext uri="{9D8B030D-6E8A-4147-A177-3AD203B41FA5}">
                      <a16:colId xmlns:a16="http://schemas.microsoft.com/office/drawing/2014/main" val="1993576141"/>
                    </a:ext>
                  </a:extLst>
                </a:gridCol>
                <a:gridCol w="2612571">
                  <a:extLst>
                    <a:ext uri="{9D8B030D-6E8A-4147-A177-3AD203B41FA5}">
                      <a16:colId xmlns:a16="http://schemas.microsoft.com/office/drawing/2014/main" val="3035188277"/>
                    </a:ext>
                  </a:extLst>
                </a:gridCol>
                <a:gridCol w="1922106">
                  <a:extLst>
                    <a:ext uri="{9D8B030D-6E8A-4147-A177-3AD203B41FA5}">
                      <a16:colId xmlns:a16="http://schemas.microsoft.com/office/drawing/2014/main" val="383620687"/>
                    </a:ext>
                  </a:extLst>
                </a:gridCol>
                <a:gridCol w="1455576">
                  <a:extLst>
                    <a:ext uri="{9D8B030D-6E8A-4147-A177-3AD203B41FA5}">
                      <a16:colId xmlns:a16="http://schemas.microsoft.com/office/drawing/2014/main" val="3800341550"/>
                    </a:ext>
                  </a:extLst>
                </a:gridCol>
              </a:tblGrid>
              <a:tr h="466529">
                <a:tc>
                  <a:txBody>
                    <a:bodyPr/>
                    <a:lstStyle/>
                    <a:p>
                      <a:pPr algn="ctr" fontAlgn="t"/>
                      <a:r>
                        <a:rPr lang="de-DE" sz="900" u="none" strike="noStrike">
                          <a:solidFill>
                            <a:schemeClr val="tx1"/>
                          </a:solidFill>
                          <a:effectLst/>
                        </a:rPr>
                        <a:t>Tool</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Programmiersprache</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Fokus</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Vorteile</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Einschränkungen</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Open Source / Kosten</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extLst>
                  <a:ext uri="{0D108BD9-81ED-4DB2-BD59-A6C34878D82A}">
                    <a16:rowId xmlns:a16="http://schemas.microsoft.com/office/drawing/2014/main" val="3802976484"/>
                  </a:ext>
                </a:extLst>
              </a:tr>
              <a:tr h="842088">
                <a:tc>
                  <a:txBody>
                    <a:bodyPr/>
                    <a:lstStyle/>
                    <a:p>
                      <a:pPr algn="ctr" fontAlgn="b"/>
                      <a:r>
                        <a:rPr lang="de-DE" sz="900" u="none" strike="noStrike" err="1">
                          <a:solidFill>
                            <a:schemeClr val="tx1"/>
                          </a:solidFill>
                          <a:effectLst/>
                        </a:rPr>
                        <a:t>FlowiseAI</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LLM-basierte Chatbot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No-Code/Low-Code mit Drag-and-Drop; Perfekt für KI-Workflows; Integration von LLMs (OpenAI, Hugging Face, etc.); Erweiterbarkeit durch externe Datenquell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pezifisch für LLM-Anwendungen; Weniger flexibel für andere Webanwendung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 Kosten für externe Dienste (z. B. OpenAI API)</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1485919293"/>
                  </a:ext>
                </a:extLst>
              </a:tr>
              <a:tr h="842088">
                <a:tc>
                  <a:txBody>
                    <a:bodyPr/>
                    <a:lstStyle/>
                    <a:p>
                      <a:pPr algn="ctr" fontAlgn="b"/>
                      <a:r>
                        <a:rPr lang="de-DE" sz="900" u="none" strike="noStrike" err="1">
                          <a:solidFill>
                            <a:schemeClr val="tx1"/>
                          </a:solidFill>
                          <a:effectLst/>
                        </a:rPr>
                        <a:t>Streamlit</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Generelle Web-Apps, Dashboard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chnell und einfach für Datenvisualisierung; Interaktive Web-Apps ohne HTML/JS; Guter Einstieg für Datenprojekte</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Begrenzte Anpassungsmöglichkeiten; Nicht KI-spezifisch</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4133631563"/>
                  </a:ext>
                </a:extLst>
              </a:tr>
              <a:tr h="842088">
                <a:tc>
                  <a:txBody>
                    <a:bodyPr/>
                    <a:lstStyle/>
                    <a:p>
                      <a:pPr algn="ctr" fontAlgn="b"/>
                      <a:r>
                        <a:rPr lang="de-DE" sz="900" u="none" strike="noStrike" err="1">
                          <a:solidFill>
                            <a:schemeClr val="tx1"/>
                          </a:solidFill>
                          <a:effectLst/>
                        </a:rPr>
                        <a:t>React</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JavaScript, TypeScript</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Vollständig anpassbare Frontend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tarke Community und umfangreiches Ökosystem; Vollständige Kontrolle über das Frontend; Unterstützt zahlreiche Frameworks und Bibliothek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Hohe Einstiegshürde für Anfänger; Muss mit Backend wie Flask kombiniert werd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533321229"/>
                  </a:ext>
                </a:extLst>
              </a:tr>
              <a:tr h="842088">
                <a:tc>
                  <a:txBody>
                    <a:bodyPr/>
                    <a:lstStyle/>
                    <a:p>
                      <a:pPr algn="ctr" fontAlgn="b"/>
                      <a:r>
                        <a:rPr lang="de-DE" sz="900" u="none" strike="noStrike" err="1">
                          <a:solidFill>
                            <a:schemeClr val="tx1"/>
                          </a:solidFill>
                          <a:effectLst/>
                        </a:rPr>
                        <a:t>PyWebIO</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ere interaktive Web-App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Minimalistischer Ansatz; Unterstützt schnelle Entwicklung einfacher interaktiver Anwendungen; Keine HTML/CSS/JS-Kenntnisse nötig</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Nicht geeignet für komplexe Anwendungen; Eingeschränkte Anpassungsmöglichkeit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2027797276"/>
                  </a:ext>
                </a:extLst>
              </a:tr>
              <a:tr h="842088">
                <a:tc>
                  <a:txBody>
                    <a:bodyPr/>
                    <a:lstStyle/>
                    <a:p>
                      <a:pPr algn="ctr" fontAlgn="b"/>
                      <a:r>
                        <a:rPr lang="de-DE" sz="900" u="none" strike="noStrike" err="1">
                          <a:solidFill>
                            <a:schemeClr val="tx1"/>
                          </a:solidFill>
                          <a:effectLst/>
                        </a:rPr>
                        <a:t>Anvil</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Web-Apps, Drag-and-Drop</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es GUI-Design; Alles in Python; Hosting und Backend integriert</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Weniger flexibel für komplexe Apps; Abhängig von Anvil-Ökosystem</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Kostenpflichtig (Free-Tier verfügbar, Premium-Tarife für Hosting und Features)</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2765925746"/>
                  </a:ext>
                </a:extLst>
              </a:tr>
              <a:tr h="466529">
                <a:tc>
                  <a:txBody>
                    <a:bodyPr/>
                    <a:lstStyle/>
                    <a:p>
                      <a:pPr algn="ctr" fontAlgn="b"/>
                      <a:r>
                        <a:rPr lang="de-DE" sz="900" u="none" strike="noStrike" err="1">
                          <a:solidFill>
                            <a:schemeClr val="tx1"/>
                          </a:solidFill>
                          <a:effectLst/>
                        </a:rPr>
                        <a:t>Gradio</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Interaktive KI-Demo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 für KI-Prototypen; Drag-and-Drop; Gut für Input/Output-basierte App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Begrenzte Flexibilität für komplexe Anwendung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996328554"/>
                  </a:ext>
                </a:extLst>
              </a:tr>
            </a:tbl>
          </a:graphicData>
        </a:graphic>
      </p:graphicFrame>
    </p:spTree>
    <p:extLst>
      <p:ext uri="{BB962C8B-B14F-4D97-AF65-F5344CB8AC3E}">
        <p14:creationId xmlns:p14="http://schemas.microsoft.com/office/powerpoint/2010/main" val="2372439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6C75DE-777E-152E-8CEE-FD958C197973}"/>
              </a:ext>
            </a:extLst>
          </p:cNvPr>
          <p:cNvSpPr>
            <a:spLocks noGrp="1"/>
          </p:cNvSpPr>
          <p:nvPr>
            <p:ph type="title"/>
          </p:nvPr>
        </p:nvSpPr>
        <p:spPr/>
        <p:txBody>
          <a:bodyPr/>
          <a:lstStyle/>
          <a:p>
            <a:r>
              <a:rPr lang="de-DE"/>
              <a:t>Empfehlung</a:t>
            </a:r>
          </a:p>
        </p:txBody>
      </p:sp>
      <p:sp>
        <p:nvSpPr>
          <p:cNvPr id="3" name="Untertitel 2">
            <a:extLst>
              <a:ext uri="{FF2B5EF4-FFF2-40B4-BE49-F238E27FC236}">
                <a16:creationId xmlns:a16="http://schemas.microsoft.com/office/drawing/2014/main" id="{939D06C0-FB46-727E-EEA4-9E272F568A55}"/>
              </a:ext>
            </a:extLst>
          </p:cNvPr>
          <p:cNvSpPr>
            <a:spLocks noGrp="1"/>
          </p:cNvSpPr>
          <p:nvPr>
            <p:ph type="subTitle" idx="1"/>
          </p:nvPr>
        </p:nvSpPr>
        <p:spPr>
          <a:xfrm>
            <a:off x="717799" y="1255775"/>
            <a:ext cx="6672045" cy="3398100"/>
          </a:xfrm>
        </p:spPr>
        <p:txBody>
          <a:bodyPr/>
          <a:lstStyle/>
          <a:p>
            <a:pPr>
              <a:spcBef>
                <a:spcPts val="900"/>
              </a:spcBef>
            </a:pPr>
            <a:r>
              <a:rPr lang="de-DE" b="1" err="1">
                <a:solidFill>
                  <a:schemeClr val="tx1"/>
                </a:solidFill>
                <a:effectLst/>
                <a:latin typeface=".AppleSystemUIFont"/>
              </a:rPr>
              <a:t>FlowiseAI</a:t>
            </a:r>
            <a:r>
              <a:rPr lang="de-DE">
                <a:solidFill>
                  <a:schemeClr val="tx1"/>
                </a:solidFill>
                <a:effectLst/>
                <a:latin typeface=".AppleSystemUIFont"/>
              </a:rPr>
              <a:t>: Ideal, wenn du LLM-basierte Chatbots entwickelst.</a:t>
            </a:r>
          </a:p>
          <a:p>
            <a:pPr>
              <a:spcBef>
                <a:spcPts val="900"/>
              </a:spcBef>
            </a:pPr>
            <a:r>
              <a:rPr lang="de-DE" b="1" err="1">
                <a:solidFill>
                  <a:schemeClr val="tx1"/>
                </a:solidFill>
                <a:effectLst/>
                <a:latin typeface=".AppleSystemUIFont"/>
              </a:rPr>
              <a:t>Streamlit</a:t>
            </a:r>
            <a:r>
              <a:rPr lang="de-DE">
                <a:solidFill>
                  <a:schemeClr val="tx1"/>
                </a:solidFill>
                <a:effectLst/>
                <a:latin typeface=".AppleSystemUIFont"/>
              </a:rPr>
              <a:t>: Hervorragend für schnelle Datenvisualisierung und generelle </a:t>
            </a:r>
            <a:r>
              <a:rPr lang="de-DE" err="1">
                <a:solidFill>
                  <a:schemeClr val="tx1"/>
                </a:solidFill>
                <a:effectLst/>
                <a:latin typeface=".AppleSystemUIFont"/>
              </a:rPr>
              <a:t>Prototyping</a:t>
            </a:r>
            <a:r>
              <a:rPr lang="de-DE">
                <a:solidFill>
                  <a:schemeClr val="tx1"/>
                </a:solidFill>
                <a:effectLst/>
                <a:latin typeface=".AppleSystemUIFont"/>
              </a:rPr>
              <a:t>.</a:t>
            </a:r>
          </a:p>
          <a:p>
            <a:pPr>
              <a:spcBef>
                <a:spcPts val="900"/>
              </a:spcBef>
            </a:pPr>
            <a:r>
              <a:rPr lang="de-DE" b="1" err="1">
                <a:solidFill>
                  <a:schemeClr val="tx1"/>
                </a:solidFill>
                <a:effectLst/>
                <a:latin typeface=".AppleSystemUIFont"/>
              </a:rPr>
              <a:t>React</a:t>
            </a:r>
            <a:r>
              <a:rPr lang="de-DE">
                <a:solidFill>
                  <a:schemeClr val="tx1"/>
                </a:solidFill>
                <a:effectLst/>
                <a:latin typeface=".AppleSystemUIFont"/>
              </a:rPr>
              <a:t>: Perfekt, wenn du maximale Flexibilität im Frontend möchtest.</a:t>
            </a:r>
          </a:p>
          <a:p>
            <a:pPr>
              <a:spcBef>
                <a:spcPts val="900"/>
              </a:spcBef>
            </a:pPr>
            <a:r>
              <a:rPr lang="de-DE" b="1" err="1">
                <a:solidFill>
                  <a:schemeClr val="tx1"/>
                </a:solidFill>
                <a:effectLst/>
                <a:latin typeface=".AppleSystemUIFont"/>
              </a:rPr>
              <a:t>PyWebIO</a:t>
            </a:r>
            <a:r>
              <a:rPr lang="de-DE">
                <a:solidFill>
                  <a:schemeClr val="tx1"/>
                </a:solidFill>
                <a:effectLst/>
                <a:latin typeface=".AppleSystemUIFont"/>
              </a:rPr>
              <a:t>: Gut für einfache interaktive Webanwendungen ohne viel Aufwand.</a:t>
            </a:r>
          </a:p>
          <a:p>
            <a:pPr>
              <a:spcBef>
                <a:spcPts val="900"/>
              </a:spcBef>
            </a:pPr>
            <a:r>
              <a:rPr lang="de-DE" b="1" err="1">
                <a:solidFill>
                  <a:schemeClr val="tx1"/>
                </a:solidFill>
                <a:effectLst/>
                <a:latin typeface=".AppleSystemUIFont"/>
              </a:rPr>
              <a:t>Anvil</a:t>
            </a:r>
            <a:r>
              <a:rPr lang="de-DE">
                <a:solidFill>
                  <a:schemeClr val="tx1"/>
                </a:solidFill>
                <a:effectLst/>
                <a:latin typeface=".AppleSystemUIFont"/>
              </a:rPr>
              <a:t>: Empfehlenswert, wenn du Drag-and-Drop-Design möchtest und eine All-in-</a:t>
            </a:r>
            <a:r>
              <a:rPr lang="de-DE" err="1">
                <a:solidFill>
                  <a:schemeClr val="tx1"/>
                </a:solidFill>
                <a:effectLst/>
                <a:latin typeface=".AppleSystemUIFont"/>
              </a:rPr>
              <a:t>One</a:t>
            </a:r>
            <a:r>
              <a:rPr lang="de-DE">
                <a:solidFill>
                  <a:schemeClr val="tx1"/>
                </a:solidFill>
                <a:effectLst/>
                <a:latin typeface=".AppleSystemUIFont"/>
              </a:rPr>
              <a:t>-Lösung suchst.</a:t>
            </a:r>
          </a:p>
          <a:p>
            <a:pPr>
              <a:spcBef>
                <a:spcPts val="900"/>
              </a:spcBef>
            </a:pPr>
            <a:r>
              <a:rPr lang="de-DE" b="1" err="1">
                <a:solidFill>
                  <a:schemeClr val="tx1"/>
                </a:solidFill>
                <a:effectLst/>
                <a:latin typeface=".AppleSystemUIFont"/>
              </a:rPr>
              <a:t>Gradio</a:t>
            </a:r>
            <a:r>
              <a:rPr lang="de-DE">
                <a:solidFill>
                  <a:schemeClr val="tx1"/>
                </a:solidFill>
                <a:effectLst/>
                <a:latin typeface=".AppleSystemUIFont"/>
              </a:rPr>
              <a:t>: Perfekt für schnelle KI-Demos und kleine Anwendungen.</a:t>
            </a:r>
          </a:p>
        </p:txBody>
      </p:sp>
    </p:spTree>
    <p:extLst>
      <p:ext uri="{BB962C8B-B14F-4D97-AF65-F5344CB8AC3E}">
        <p14:creationId xmlns:p14="http://schemas.microsoft.com/office/powerpoint/2010/main" val="36816967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A1F18F-23D0-D3E0-A41E-EF029F92DB6C}"/>
              </a:ext>
            </a:extLst>
          </p:cNvPr>
          <p:cNvSpPr>
            <a:spLocks noGrp="1"/>
          </p:cNvSpPr>
          <p:nvPr>
            <p:ph type="title"/>
          </p:nvPr>
        </p:nvSpPr>
        <p:spPr>
          <a:xfrm>
            <a:off x="631467" y="445025"/>
            <a:ext cx="8200833"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800"/>
              <a:t>Interaktionsmodalitäten</a:t>
            </a:r>
            <a:endParaRPr lang="de-DE" sz="2800">
              <a:cs typeface="Arial"/>
            </a:endParaRPr>
          </a:p>
        </p:txBody>
      </p:sp>
      <p:graphicFrame>
        <p:nvGraphicFramePr>
          <p:cNvPr id="4" name="Inhaltsplatzhalter 3">
            <a:extLst>
              <a:ext uri="{FF2B5EF4-FFF2-40B4-BE49-F238E27FC236}">
                <a16:creationId xmlns:a16="http://schemas.microsoft.com/office/drawing/2014/main" id="{DA01CDC7-59BA-2282-532A-E25EFC7C205A}"/>
              </a:ext>
            </a:extLst>
          </p:cNvPr>
          <p:cNvGraphicFramePr>
            <a:graphicFrameLocks noGrp="1"/>
          </p:cNvGraphicFramePr>
          <p:nvPr>
            <p:ph idx="1"/>
            <p:extLst>
              <p:ext uri="{D42A27DB-BD31-4B8C-83A1-F6EECF244321}">
                <p14:modId xmlns:p14="http://schemas.microsoft.com/office/powerpoint/2010/main" val="935694155"/>
              </p:ext>
            </p:extLst>
          </p:nvPr>
        </p:nvGraphicFramePr>
        <p:xfrm>
          <a:off x="639131" y="1477192"/>
          <a:ext cx="7347288" cy="3528060"/>
        </p:xfrm>
        <a:graphic>
          <a:graphicData uri="http://schemas.openxmlformats.org/drawingml/2006/table">
            <a:tbl>
              <a:tblPr firstRow="1" bandRow="1">
                <a:tableStyleId>{5C22544A-7EE6-4342-B048-85BDC9FD1C3A}</a:tableStyleId>
              </a:tblPr>
              <a:tblGrid>
                <a:gridCol w="1737046">
                  <a:extLst>
                    <a:ext uri="{9D8B030D-6E8A-4147-A177-3AD203B41FA5}">
                      <a16:colId xmlns:a16="http://schemas.microsoft.com/office/drawing/2014/main" val="1436904518"/>
                    </a:ext>
                  </a:extLst>
                </a:gridCol>
                <a:gridCol w="1907474">
                  <a:extLst>
                    <a:ext uri="{9D8B030D-6E8A-4147-A177-3AD203B41FA5}">
                      <a16:colId xmlns:a16="http://schemas.microsoft.com/office/drawing/2014/main" val="3058270128"/>
                    </a:ext>
                  </a:extLst>
                </a:gridCol>
                <a:gridCol w="2241219">
                  <a:extLst>
                    <a:ext uri="{9D8B030D-6E8A-4147-A177-3AD203B41FA5}">
                      <a16:colId xmlns:a16="http://schemas.microsoft.com/office/drawing/2014/main" val="4187818578"/>
                    </a:ext>
                  </a:extLst>
                </a:gridCol>
                <a:gridCol w="1461549">
                  <a:extLst>
                    <a:ext uri="{9D8B030D-6E8A-4147-A177-3AD203B41FA5}">
                      <a16:colId xmlns:a16="http://schemas.microsoft.com/office/drawing/2014/main" val="2829171069"/>
                    </a:ext>
                  </a:extLst>
                </a:gridCol>
              </a:tblGrid>
              <a:tr h="472631">
                <a:tc>
                  <a:txBody>
                    <a:bodyPr/>
                    <a:lstStyle/>
                    <a:p>
                      <a:endParaRPr lang="de-DE" sz="1400"/>
                    </a:p>
                  </a:txBody>
                  <a:tcPr marL="68580" marR="68580" marT="34290" marB="34290"/>
                </a:tc>
                <a:tc>
                  <a:txBody>
                    <a:bodyPr/>
                    <a:lstStyle/>
                    <a:p>
                      <a:r>
                        <a:rPr lang="de-DE" sz="1400"/>
                        <a:t>Definitio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p>
                      <a:endParaRPr lang="de-DE" sz="1400"/>
                    </a:p>
                  </a:txBody>
                  <a:tcPr marL="68580" marR="68580" marT="34290" marB="34290"/>
                </a:tc>
                <a:tc>
                  <a:txBody>
                    <a:bodyPr/>
                    <a:lstStyle/>
                    <a:p>
                      <a:pPr marL="0" lvl="0" indent="0" algn="l" defTabSz="914400">
                        <a:lnSpc>
                          <a:spcPct val="100000"/>
                        </a:lnSpc>
                        <a:spcBef>
                          <a:spcPts val="0"/>
                        </a:spcBef>
                        <a:spcAft>
                          <a:spcPts val="0"/>
                        </a:spcAft>
                        <a:buNone/>
                        <a:tabLst/>
                        <a:defRPr/>
                      </a:pPr>
                      <a:r>
                        <a:rPr lang="de-DE" sz="1400" b="1" kern="1200">
                          <a:solidFill>
                            <a:schemeClr val="lt1"/>
                          </a:solidFill>
                          <a:effectLst/>
                          <a:latin typeface="+mn-lt"/>
                          <a:ea typeface="+mn-ea"/>
                          <a:cs typeface="+mn-cs"/>
                        </a:rPr>
                        <a:t>Projektrelevanz</a:t>
                      </a:r>
                    </a:p>
                  </a:txBody>
                  <a:tcPr marL="68580" marR="68580" marT="34290" marB="34290"/>
                </a:tc>
                <a:extLst>
                  <a:ext uri="{0D108BD9-81ED-4DB2-BD59-A6C34878D82A}">
                    <a16:rowId xmlns:a16="http://schemas.microsoft.com/office/drawing/2014/main" val="620724560"/>
                  </a:ext>
                </a:extLst>
              </a:tr>
              <a:tr h="754380">
                <a:tc>
                  <a:txBody>
                    <a:bodyPr/>
                    <a:lstStyle/>
                    <a:p>
                      <a:pPr marL="0" algn="l" defTabSz="914400" rtl="0" eaLnBrk="1" latinLnBrk="0" hangingPunct="1"/>
                      <a:r>
                        <a:rPr lang="de-DE" sz="900" b="1" kern="1200">
                          <a:solidFill>
                            <a:schemeClr val="bg1"/>
                          </a:solidFill>
                          <a:latin typeface="+mn-lt"/>
                          <a:ea typeface="+mn-ea"/>
                          <a:cs typeface="+mn-cs"/>
                        </a:rPr>
                        <a:t>Text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Eingabe und Ausgabe in Textform</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infach zu implementieren, aber begrenzte Ausdrucksmöglichkeiten.</a:t>
                      </a:r>
                    </a:p>
                    <a:p>
                      <a:pPr marL="171450" indent="-171450">
                        <a:buFont typeface="Arial" panose="020B0604020202020204" pitchFamily="34" charset="0"/>
                        <a:buChar char="•"/>
                      </a:pPr>
                      <a:r>
                        <a:rPr lang="de-DE" sz="900" kern="1200">
                          <a:solidFill>
                            <a:schemeClr val="bg1"/>
                          </a:solidFill>
                          <a:latin typeface="+mn-lt"/>
                          <a:ea typeface="+mn-ea"/>
                          <a:cs typeface="+mn-cs"/>
                        </a:rPr>
                        <a:t>Kann bei komplexen Anfragen, die visuelle Daten erfordern, unzureichend sei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793959588"/>
                  </a:ext>
                </a:extLst>
              </a:tr>
              <a:tr h="754380">
                <a:tc>
                  <a:txBody>
                    <a:bodyPr/>
                    <a:lstStyle/>
                    <a:p>
                      <a:pPr marL="0" algn="l" defTabSz="914400" rtl="0" eaLnBrk="1" latinLnBrk="0" hangingPunct="1"/>
                      <a:r>
                        <a:rPr lang="de-DE" sz="900" b="1" kern="1200">
                          <a:solidFill>
                            <a:schemeClr val="bg1"/>
                          </a:solidFill>
                          <a:latin typeface="+mn-lt"/>
                          <a:ea typeface="+mn-ea"/>
                          <a:cs typeface="+mn-cs"/>
                        </a:rPr>
                        <a:t>Multimodale Interaktion</a:t>
                      </a:r>
                    </a:p>
                  </a:txBody>
                  <a:tcPr marL="68580" marR="68580" marT="34290" marB="34290"/>
                </a:tc>
                <a:tc>
                  <a:txBody>
                    <a:bodyPr/>
                    <a:lstStyle/>
                    <a:p>
                      <a:pPr marL="0" lvl="1" algn="l" defTabSz="914400" rtl="0" eaLnBrk="1" latinLnBrk="0" hangingPunct="1"/>
                      <a:r>
                        <a:rPr lang="de-DE" sz="900" kern="1200">
                          <a:solidFill>
                            <a:schemeClr val="bg1"/>
                          </a:solidFill>
                          <a:latin typeface="+mn-lt"/>
                          <a:ea typeface="+mn-ea"/>
                          <a:cs typeface="+mn-cs"/>
                        </a:rPr>
                        <a:t>Kombination von Text, Bildern, Tabellen und anderen Datenformat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Bietet vielseitigere Benutzererfahrung</a:t>
                      </a:r>
                    </a:p>
                    <a:p>
                      <a:pPr marL="171450" indent="-171450">
                        <a:buFont typeface="Arial" panose="020B0604020202020204" pitchFamily="34" charset="0"/>
                        <a:buChar char="•"/>
                      </a:pPr>
                      <a:r>
                        <a:rPr lang="de-DE" sz="900" kern="1200">
                          <a:solidFill>
                            <a:schemeClr val="bg1"/>
                          </a:solidFill>
                          <a:latin typeface="+mn-lt"/>
                          <a:ea typeface="+mn-ea"/>
                          <a:cs typeface="+mn-cs"/>
                        </a:rPr>
                        <a:t>Reichhaltige Antworten, aber höhere technische Komplexität und Implementierungskosten.</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2800" kern="100">
                          <a:solidFill>
                            <a:srgbClr val="00B050"/>
                          </a:solidFill>
                          <a:effectLst/>
                          <a:latin typeface="Calibri"/>
                          <a:ea typeface="Calibri"/>
                          <a:cs typeface="Times New Roman"/>
                        </a:rPr>
                        <a:t>✓ </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942768468"/>
                  </a:ext>
                </a:extLst>
              </a:tr>
              <a:tr h="891540">
                <a:tc>
                  <a:txBody>
                    <a:bodyPr/>
                    <a:lstStyle/>
                    <a:p>
                      <a:pPr marL="0" algn="l" defTabSz="914400" rtl="0" eaLnBrk="1" latinLnBrk="0" hangingPunct="1"/>
                      <a:r>
                        <a:rPr lang="de-DE" sz="900" b="1" kern="1200">
                          <a:solidFill>
                            <a:schemeClr val="bg1"/>
                          </a:solidFill>
                          <a:latin typeface="+mn-lt"/>
                          <a:ea typeface="+mn-ea"/>
                          <a:cs typeface="+mn-cs"/>
                        </a:rPr>
                        <a:t>Sprach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Nutzung von Sprachbefehlen und Sprachausgabe</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Ideal für freihändige Anwendungen und barrierefreie Nutzung</a:t>
                      </a:r>
                    </a:p>
                    <a:p>
                      <a:pPr marL="171450" indent="-171450">
                        <a:buFont typeface="Arial" panose="020B0604020202020204" pitchFamily="34" charset="0"/>
                        <a:buChar char="•"/>
                      </a:pPr>
                      <a:r>
                        <a:rPr lang="de-DE" sz="900" kern="1200">
                          <a:solidFill>
                            <a:schemeClr val="bg1"/>
                          </a:solidFill>
                          <a:latin typeface="+mn-lt"/>
                          <a:ea typeface="+mn-ea"/>
                          <a:cs typeface="+mn-cs"/>
                        </a:rPr>
                        <a:t>Natürliche Interaktion, aber Abhängigkeit von Spracherkennung</a:t>
                      </a:r>
                    </a:p>
                    <a:p>
                      <a:pPr marL="171450" indent="-171450">
                        <a:buFont typeface="Arial" panose="020B0604020202020204" pitchFamily="34" charset="0"/>
                        <a:buChar char="•"/>
                      </a:pPr>
                      <a:r>
                        <a:rPr lang="de-DE" sz="900" kern="1200">
                          <a:solidFill>
                            <a:schemeClr val="bg1"/>
                          </a:solidFill>
                          <a:latin typeface="+mn-lt"/>
                          <a:ea typeface="+mn-ea"/>
                          <a:cs typeface="+mn-cs"/>
                        </a:rPr>
                        <a:t>Schwierigkeiten bei der Verarbeitung von Akzenten und Dialekte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122177393"/>
                  </a:ext>
                </a:extLst>
              </a:tr>
              <a:tr h="480060">
                <a:tc>
                  <a:txBody>
                    <a:bodyPr/>
                    <a:lstStyle/>
                    <a:p>
                      <a:pPr marL="0" algn="l" defTabSz="914400" rtl="0" eaLnBrk="1" latinLnBrk="0" hangingPunct="1"/>
                      <a:r>
                        <a:rPr lang="de-DE" sz="900" b="1" kern="1200">
                          <a:solidFill>
                            <a:schemeClr val="bg1"/>
                          </a:solidFill>
                          <a:latin typeface="+mn-lt"/>
                          <a:ea typeface="+mn-ea"/>
                          <a:cs typeface="+mn-cs"/>
                        </a:rPr>
                        <a:t>Visuelle Interaktion</a:t>
                      </a:r>
                    </a:p>
                  </a:txBody>
                  <a:tcPr marL="68580" marR="68580" marT="34290" marB="34290">
                    <a:solidFill>
                      <a:schemeClr val="tx1">
                        <a:lumMod val="75000"/>
                      </a:schemeClr>
                    </a:solidFill>
                  </a:tcPr>
                </a:tc>
                <a:tc>
                  <a:txBody>
                    <a:bodyPr/>
                    <a:lstStyle/>
                    <a:p>
                      <a:pPr marL="0" lvl="1" algn="l" defTabSz="914400" rtl="0" eaLnBrk="1" latinLnBrk="0" hangingPunct="1"/>
                      <a:r>
                        <a:rPr lang="de-DE" sz="900" kern="1200">
                          <a:solidFill>
                            <a:schemeClr val="bg1"/>
                          </a:solidFill>
                          <a:latin typeface="+mn-lt"/>
                          <a:ea typeface="+mn-ea"/>
                          <a:cs typeface="+mn-cs"/>
                        </a:rPr>
                        <a:t>Benutzerinteraktionen mit visuellen Elementen wie Diagrammen und Karten.</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rmöglicht tiefere Datenanalyse</a:t>
                      </a:r>
                    </a:p>
                    <a:p>
                      <a:pPr marL="171450" indent="-171450">
                        <a:buFont typeface="Arial" panose="020B0604020202020204" pitchFamily="34" charset="0"/>
                        <a:buChar char="•"/>
                      </a:pPr>
                      <a:r>
                        <a:rPr lang="de-DE" sz="900" kern="1200">
                          <a:solidFill>
                            <a:schemeClr val="bg1"/>
                          </a:solidFill>
                          <a:latin typeface="+mn-lt"/>
                          <a:ea typeface="+mn-ea"/>
                          <a:cs typeface="+mn-cs"/>
                        </a:rPr>
                        <a:t>Kann bei großen Datenmengen ressourcenintensiv sei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753638869"/>
                  </a:ext>
                </a:extLst>
              </a:tr>
            </a:tbl>
          </a:graphicData>
        </a:graphic>
      </p:graphicFrame>
      <p:sp>
        <p:nvSpPr>
          <p:cNvPr id="5" name="Textfeld 4">
            <a:extLst>
              <a:ext uri="{FF2B5EF4-FFF2-40B4-BE49-F238E27FC236}">
                <a16:creationId xmlns:a16="http://schemas.microsoft.com/office/drawing/2014/main" id="{EA2A8EED-DA4A-2196-AB01-DBA3B04D575E}"/>
              </a:ext>
            </a:extLst>
          </p:cNvPr>
          <p:cNvSpPr txBox="1"/>
          <p:nvPr/>
        </p:nvSpPr>
        <p:spPr>
          <a:xfrm>
            <a:off x="635453" y="1159159"/>
            <a:ext cx="735096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a:t>Interaktionsmodalitäten definieren die Kommunikation zwischen Nutzer und System, basierend auf Input und Output.</a:t>
            </a:r>
          </a:p>
        </p:txBody>
      </p:sp>
    </p:spTree>
    <p:extLst>
      <p:ext uri="{BB962C8B-B14F-4D97-AF65-F5344CB8AC3E}">
        <p14:creationId xmlns:p14="http://schemas.microsoft.com/office/powerpoint/2010/main" val="2431215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A7FD66-C2FA-39BE-E43A-19A316D80EB7}"/>
              </a:ext>
            </a:extLst>
          </p:cNvPr>
          <p:cNvSpPr>
            <a:spLocks noGrp="1"/>
          </p:cNvSpPr>
          <p:nvPr>
            <p:ph type="title"/>
          </p:nvPr>
        </p:nvSpPr>
        <p:spPr/>
        <p:txBody>
          <a:bodyPr/>
          <a:lstStyle/>
          <a:p>
            <a:r>
              <a:rPr lang="de-DE"/>
              <a:t>Multimodale Interaktion</a:t>
            </a:r>
            <a:br>
              <a:rPr lang="de-DE"/>
            </a:br>
            <a:endParaRPr lang="de-DE"/>
          </a:p>
        </p:txBody>
      </p:sp>
      <p:sp>
        <p:nvSpPr>
          <p:cNvPr id="5" name="Textfeld 4">
            <a:extLst>
              <a:ext uri="{FF2B5EF4-FFF2-40B4-BE49-F238E27FC236}">
                <a16:creationId xmlns:a16="http://schemas.microsoft.com/office/drawing/2014/main" id="{2937E42F-C8E4-4276-5BAB-C3963A3E026D}"/>
              </a:ext>
            </a:extLst>
          </p:cNvPr>
          <p:cNvSpPr txBox="1"/>
          <p:nvPr/>
        </p:nvSpPr>
        <p:spPr>
          <a:xfrm>
            <a:off x="311150" y="1055579"/>
            <a:ext cx="836837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a:t>Die multimodale Interaktion kombiniert verschiedene Kommunikationskanäle und Datenformate (z. B. Text, Bilder, Tabellen, Videos) </a:t>
            </a:r>
          </a:p>
        </p:txBody>
      </p:sp>
      <p:sp>
        <p:nvSpPr>
          <p:cNvPr id="4" name="Inhaltsplatzhalter 3">
            <a:extLst>
              <a:ext uri="{FF2B5EF4-FFF2-40B4-BE49-F238E27FC236}">
                <a16:creationId xmlns:a16="http://schemas.microsoft.com/office/drawing/2014/main" id="{DA566AAE-966C-3A3F-3343-22FDDFB1C2D9}"/>
              </a:ext>
            </a:extLst>
          </p:cNvPr>
          <p:cNvSpPr>
            <a:spLocks noGrp="1"/>
          </p:cNvSpPr>
          <p:nvPr>
            <p:ph idx="1"/>
          </p:nvPr>
        </p:nvSpPr>
        <p:spPr>
          <a:xfrm>
            <a:off x="4678332" y="2325705"/>
            <a:ext cx="4001194" cy="1926902"/>
          </a:xfrm>
          <a:ln w="25400">
            <a:solidFill>
              <a:schemeClr val="tx1"/>
            </a:solidFill>
          </a:ln>
        </p:spPr>
        <p:txBody>
          <a:bodyPr/>
          <a:lstStyle/>
          <a:p>
            <a:pPr marR="0" algn="l" rtl="0" fontAlgn="t">
              <a:spcBef>
                <a:spcPts val="0"/>
              </a:spcBef>
              <a:spcAft>
                <a:spcPts val="0"/>
              </a:spcAft>
            </a:pPr>
            <a:r>
              <a:rPr lang="de-DE" sz="1600" b="0" i="0" u="none" strike="noStrike">
                <a:solidFill>
                  <a:schemeClr val="tx1"/>
                </a:solidFill>
                <a:effectLst/>
                <a:latin typeface="Arial" panose="020B0604020202020204" pitchFamily="34" charset="0"/>
              </a:rPr>
              <a:t>Technische Komplexität (Datenintegration; Synchronisation der Modalitäte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Datenfusio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Flexibilität in der Ausgabe</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Benutzerfreundlichkeit und Desig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Datensicherheit und Datenschutz</a:t>
            </a:r>
          </a:p>
          <a:p>
            <a:endParaRPr lang="de-DE"/>
          </a:p>
        </p:txBody>
      </p:sp>
      <p:sp>
        <p:nvSpPr>
          <p:cNvPr id="8" name="Inhaltsplatzhalter 3">
            <a:extLst>
              <a:ext uri="{FF2B5EF4-FFF2-40B4-BE49-F238E27FC236}">
                <a16:creationId xmlns:a16="http://schemas.microsoft.com/office/drawing/2014/main" id="{D4E8B3BE-232D-9192-7F65-CB945C3249D7}"/>
              </a:ext>
            </a:extLst>
          </p:cNvPr>
          <p:cNvSpPr txBox="1">
            <a:spLocks/>
          </p:cNvSpPr>
          <p:nvPr/>
        </p:nvSpPr>
        <p:spPr>
          <a:xfrm>
            <a:off x="427640" y="2325704"/>
            <a:ext cx="3632636" cy="1926901"/>
          </a:xfrm>
          <a:prstGeom prst="rect">
            <a:avLst/>
          </a:prstGeom>
          <a:noFill/>
          <a:ln w="25400">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Char char="●"/>
              <a:defRPr sz="1800" b="0" i="0" u="none" strike="noStrike" cap="none">
                <a:solidFill>
                  <a:schemeClr val="dk2"/>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9pPr>
          </a:lstStyle>
          <a:p>
            <a:pPr marR="0" algn="l" rtl="0" fontAlgn="t">
              <a:spcBef>
                <a:spcPts val="0"/>
              </a:spcBef>
              <a:spcAft>
                <a:spcPts val="0"/>
              </a:spcAft>
            </a:pPr>
            <a:r>
              <a:rPr lang="de-DE" sz="1600">
                <a:solidFill>
                  <a:schemeClr val="tx1"/>
                </a:solidFill>
                <a:latin typeface="Arial" panose="020B0604020202020204" pitchFamily="34" charset="0"/>
              </a:rPr>
              <a:t>Mehrfache Eingabequellen</a:t>
            </a:r>
          </a:p>
          <a:p>
            <a:pPr marR="0" algn="l" rtl="0" fontAlgn="t">
              <a:spcBef>
                <a:spcPts val="0"/>
              </a:spcBef>
              <a:spcAft>
                <a:spcPts val="0"/>
              </a:spcAft>
            </a:pPr>
            <a:r>
              <a:rPr lang="de-DE" sz="1600" b="0" i="0" u="none" strike="noStrike">
                <a:solidFill>
                  <a:schemeClr val="tx1"/>
                </a:solidFill>
                <a:effectLst/>
                <a:latin typeface="Arial"/>
              </a:rPr>
              <a:t>Datenfusion</a:t>
            </a:r>
          </a:p>
          <a:p>
            <a:pPr marR="0" algn="l" rtl="0" fontAlgn="t">
              <a:spcBef>
                <a:spcPts val="0"/>
              </a:spcBef>
              <a:spcAft>
                <a:spcPts val="0"/>
              </a:spcAft>
            </a:pPr>
            <a:r>
              <a:rPr lang="de-DE" sz="1600" b="0" i="0" u="none" strike="noStrike">
                <a:solidFill>
                  <a:schemeClr val="tx1"/>
                </a:solidFill>
                <a:effectLst/>
                <a:latin typeface="Arial"/>
              </a:rPr>
              <a:t>Flexibilität in der Ausgabe</a:t>
            </a:r>
          </a:p>
          <a:p>
            <a:pPr marL="114300" marR="0" indent="0" algn="l" rtl="0" fontAlgn="t">
              <a:spcBef>
                <a:spcPts val="0"/>
              </a:spcBef>
              <a:spcAft>
                <a:spcPts val="0"/>
              </a:spcAft>
              <a:buNone/>
            </a:pPr>
            <a:endParaRPr lang="de-DE" sz="1600">
              <a:solidFill>
                <a:schemeClr val="tx1"/>
              </a:solidFill>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pPr marL="114300" marR="0" indent="0" algn="l" rtl="0" fontAlgn="t">
              <a:spcBef>
                <a:spcPts val="0"/>
              </a:spcBef>
              <a:spcAft>
                <a:spcPts val="0"/>
              </a:spcAft>
              <a:buNone/>
            </a:pPr>
            <a:endParaRPr lang="de-DE" sz="1600">
              <a:solidFill>
                <a:schemeClr val="tx1"/>
              </a:solidFill>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endParaRPr lang="de-DE"/>
          </a:p>
        </p:txBody>
      </p:sp>
      <p:sp>
        <p:nvSpPr>
          <p:cNvPr id="9" name="Textfeld 8">
            <a:extLst>
              <a:ext uri="{FF2B5EF4-FFF2-40B4-BE49-F238E27FC236}">
                <a16:creationId xmlns:a16="http://schemas.microsoft.com/office/drawing/2014/main" id="{30C834D9-23E7-27D2-B461-8C7E64586AB7}"/>
              </a:ext>
            </a:extLst>
          </p:cNvPr>
          <p:cNvSpPr txBox="1"/>
          <p:nvPr/>
        </p:nvSpPr>
        <p:spPr>
          <a:xfrm>
            <a:off x="427640" y="1489324"/>
            <a:ext cx="3632636" cy="523220"/>
          </a:xfrm>
          <a:prstGeom prst="rect">
            <a:avLst/>
          </a:prstGeom>
          <a:noFill/>
          <a:ln w="25400">
            <a:solidFill>
              <a:schemeClr val="tx1"/>
            </a:solidFill>
          </a:ln>
        </p:spPr>
        <p:txBody>
          <a:bodyPr wrap="square" rtlCol="0">
            <a:spAutoFit/>
          </a:bodyPr>
          <a:lstStyle/>
          <a:p>
            <a:pPr marL="114300" indent="0" algn="ctr" fontAlgn="t">
              <a:buFont typeface="Montserrat"/>
              <a:buNone/>
            </a:pPr>
            <a:r>
              <a:rPr lang="de-DE" sz="1400" b="1">
                <a:solidFill>
                  <a:schemeClr val="tx1"/>
                </a:solidFill>
                <a:latin typeface="Arial" panose="020B0604020202020204" pitchFamily="34" charset="0"/>
              </a:rPr>
              <a:t>Merkmale</a:t>
            </a:r>
          </a:p>
          <a:p>
            <a:endParaRPr lang="de-DE"/>
          </a:p>
        </p:txBody>
      </p:sp>
      <p:sp>
        <p:nvSpPr>
          <p:cNvPr id="10" name="Textfeld 9">
            <a:extLst>
              <a:ext uri="{FF2B5EF4-FFF2-40B4-BE49-F238E27FC236}">
                <a16:creationId xmlns:a16="http://schemas.microsoft.com/office/drawing/2014/main" id="{59C3658E-7E7E-B1FE-4584-0AF65CFF722D}"/>
              </a:ext>
            </a:extLst>
          </p:cNvPr>
          <p:cNvSpPr txBox="1"/>
          <p:nvPr/>
        </p:nvSpPr>
        <p:spPr>
          <a:xfrm>
            <a:off x="4678333" y="1489324"/>
            <a:ext cx="4001194" cy="523220"/>
          </a:xfrm>
          <a:prstGeom prst="rect">
            <a:avLst/>
          </a:prstGeom>
          <a:noFill/>
          <a:ln w="25400">
            <a:solidFill>
              <a:schemeClr val="tx1"/>
            </a:solidFill>
          </a:ln>
        </p:spPr>
        <p:txBody>
          <a:bodyPr wrap="square" rtlCol="0">
            <a:spAutoFit/>
          </a:bodyPr>
          <a:lstStyle/>
          <a:p>
            <a:pPr algn="ctr"/>
            <a:r>
              <a:rPr lang="de-DE" sz="1400" b="1" i="0" u="none" strike="noStrike">
                <a:solidFill>
                  <a:schemeClr val="tx1"/>
                </a:solidFill>
                <a:effectLst/>
                <a:latin typeface="Arial" panose="020B0604020202020204" pitchFamily="34" charset="0"/>
              </a:rPr>
              <a:t>Herausforderungen</a:t>
            </a:r>
            <a:endParaRPr lang="de-DE" sz="1400" b="0" i="0" u="none" strike="noStrike">
              <a:solidFill>
                <a:schemeClr val="tx1"/>
              </a:solidFill>
              <a:effectLst/>
              <a:latin typeface="Arial" panose="020B0604020202020204" pitchFamily="34" charset="0"/>
            </a:endParaRPr>
          </a:p>
          <a:p>
            <a:endParaRPr lang="de-DE"/>
          </a:p>
        </p:txBody>
      </p:sp>
      <p:sp>
        <p:nvSpPr>
          <p:cNvPr id="3" name="Textfeld 4">
            <a:extLst>
              <a:ext uri="{FF2B5EF4-FFF2-40B4-BE49-F238E27FC236}">
                <a16:creationId xmlns:a16="http://schemas.microsoft.com/office/drawing/2014/main" id="{051C3B2E-9E95-A1FD-612D-D78C374933E2}"/>
              </a:ext>
            </a:extLst>
          </p:cNvPr>
          <p:cNvSpPr txBox="1"/>
          <p:nvPr/>
        </p:nvSpPr>
        <p:spPr>
          <a:xfrm>
            <a:off x="2093685" y="4504990"/>
            <a:ext cx="4585591" cy="546303"/>
          </a:xfrm>
          <a:prstGeom prst="rect">
            <a:avLst/>
          </a:prstGeom>
          <a:noFill/>
          <a:ln w="25400">
            <a:solidFill>
              <a:schemeClr val="tx1"/>
            </a:solidFill>
          </a:ln>
        </p:spPr>
        <p:txBody>
          <a:bodyPr wrap="square" lIns="91440" tIns="45720" rIns="91440" bIns="4572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600">
                <a:ea typeface="+mn-lt"/>
                <a:cs typeface="+mn-lt"/>
              </a:rPr>
              <a:t>Fokus: Integration verschiedener Datenformate</a:t>
            </a:r>
            <a:endParaRPr lang="en-US" sz="1600"/>
          </a:p>
          <a:p>
            <a:endParaRPr lang="en-US"/>
          </a:p>
        </p:txBody>
      </p:sp>
    </p:spTree>
    <p:extLst>
      <p:ext uri="{BB962C8B-B14F-4D97-AF65-F5344CB8AC3E}">
        <p14:creationId xmlns:p14="http://schemas.microsoft.com/office/powerpoint/2010/main" val="2736734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Shape 630"/>
        <p:cNvGrpSpPr/>
        <p:nvPr/>
      </p:nvGrpSpPr>
      <p:grpSpPr>
        <a:xfrm>
          <a:off x="0" y="0"/>
          <a:ext cx="0" cy="0"/>
          <a:chOff x="0" y="0"/>
          <a:chExt cx="0" cy="0"/>
        </a:xfrm>
      </p:grpSpPr>
      <p:sp>
        <p:nvSpPr>
          <p:cNvPr id="631" name="Google Shape;631;p61"/>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err="1"/>
              <a:t>Einfachheit</a:t>
            </a:r>
            <a:r>
              <a:rPr lang="de-DE" sz="1600"/>
              <a:t> und </a:t>
            </a:r>
            <a:r>
              <a:rPr lang="de-DE" sz="1600" err="1"/>
              <a:t>Schnelligkeit</a:t>
            </a:r>
            <a:endParaRPr lang="de-DE" sz="1600"/>
          </a:p>
        </p:txBody>
      </p:sp>
      <p:sp>
        <p:nvSpPr>
          <p:cNvPr id="632" name="Google Shape;632;p61"/>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pPr>
            <a:r>
              <a:rPr lang="de-DE" sz="1000"/>
              <a:t>- Erstellt interaktive Benutzeroberflächen für</a:t>
            </a:r>
            <a:br>
              <a:rPr lang="de-DE" sz="1000"/>
            </a:br>
            <a:r>
              <a:rPr lang="de-DE" sz="1000"/>
              <a:t>   Chatbots mit wenigen Zeilen Python-Code</a:t>
            </a:r>
            <a:br>
              <a:rPr lang="de-DE" sz="1000"/>
            </a:br>
            <a:r>
              <a:rPr lang="de-DE" sz="1000"/>
              <a:t>- Keine Front-End-Kenntnisse nötig</a:t>
            </a:r>
            <a:br>
              <a:rPr lang="de-DE" sz="1000"/>
            </a:br>
            <a:r>
              <a:rPr lang="de-DE" sz="1000"/>
              <a:t>   (HTML, CSS, JavaScript)</a:t>
            </a:r>
            <a:br>
              <a:rPr lang="de-DE" sz="1000"/>
            </a:br>
            <a:r>
              <a:rPr lang="de-DE" sz="1000"/>
              <a:t>- Beschleunigt den Entwicklungsprozess erheblich</a:t>
            </a:r>
            <a:br>
              <a:rPr lang="de-DE" sz="1000"/>
            </a:br>
            <a:r>
              <a:rPr lang="de-DE" sz="1000"/>
              <a:t>- Ermöglicht Erstellung funktionaler Chatbot-  </a:t>
            </a:r>
            <a:br>
              <a:rPr lang="de-DE" sz="1000"/>
            </a:br>
            <a:r>
              <a:rPr lang="de-DE" sz="1000"/>
              <a:t>   Interfaces ohne Webentwicklungserfahrung</a:t>
            </a:r>
          </a:p>
        </p:txBody>
      </p:sp>
      <p:sp>
        <p:nvSpPr>
          <p:cNvPr id="643" name="Google Shape;643;p61"/>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err="1"/>
              <a:t>Streamlit</a:t>
            </a:r>
            <a:endParaRPr/>
          </a:p>
        </p:txBody>
      </p:sp>
      <p:sp>
        <p:nvSpPr>
          <p:cNvPr id="28" name="Google Shape;631;p61">
            <a:extLst>
              <a:ext uri="{FF2B5EF4-FFF2-40B4-BE49-F238E27FC236}">
                <a16:creationId xmlns:a16="http://schemas.microsoft.com/office/drawing/2014/main" id="{8BFD7D12-D8D6-406E-CBDD-62C7642C1A1E}"/>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Integration von KI-Modellen</a:t>
            </a:r>
          </a:p>
        </p:txBody>
      </p:sp>
      <p:sp>
        <p:nvSpPr>
          <p:cNvPr id="29" name="Google Shape;632;p61">
            <a:extLst>
              <a:ext uri="{FF2B5EF4-FFF2-40B4-BE49-F238E27FC236}">
                <a16:creationId xmlns:a16="http://schemas.microsoft.com/office/drawing/2014/main" id="{401B7834-B4C0-20C3-DC0C-734955D9D119}"/>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spcAft>
                <a:spcPts val="1600"/>
              </a:spcAft>
              <a:buClr>
                <a:schemeClr val="dk1"/>
              </a:buClr>
              <a:buSzPts val="1100"/>
            </a:pPr>
            <a:r>
              <a:rPr lang="de-DE" sz="1000"/>
              <a:t>- Nahtlose Integration mit ML-Frameworks</a:t>
            </a:r>
            <a:br>
              <a:rPr lang="de-DE" sz="1000"/>
            </a:br>
            <a:r>
              <a:rPr lang="de-DE" sz="1000"/>
              <a:t>   wie </a:t>
            </a:r>
            <a:r>
              <a:rPr lang="de-DE" sz="1000" err="1"/>
              <a:t>LangChain</a:t>
            </a:r>
            <a:br>
              <a:rPr lang="de-DE" sz="1000"/>
            </a:br>
            <a:r>
              <a:rPr lang="de-DE" sz="1000"/>
              <a:t>- Erleichtert Einbindung von KI-Modellen in </a:t>
            </a:r>
            <a:br>
              <a:rPr lang="de-DE" sz="1000"/>
            </a:br>
            <a:r>
              <a:rPr lang="de-DE" sz="1000"/>
              <a:t>   Chatbot-Anwendungen</a:t>
            </a:r>
            <a:br>
              <a:rPr lang="de-DE" sz="1000"/>
            </a:br>
            <a:r>
              <a:rPr lang="de-DE" sz="1000"/>
              <a:t>- Ermöglicht Implementierung von natürlicher</a:t>
            </a:r>
            <a:br>
              <a:rPr lang="de-DE" sz="1000"/>
            </a:br>
            <a:r>
              <a:rPr lang="de-DE" sz="1000"/>
              <a:t>   Sprachverarbeitung</a:t>
            </a:r>
          </a:p>
        </p:txBody>
      </p:sp>
      <p:sp>
        <p:nvSpPr>
          <p:cNvPr id="30" name="Google Shape;631;p61">
            <a:extLst>
              <a:ext uri="{FF2B5EF4-FFF2-40B4-BE49-F238E27FC236}">
                <a16:creationId xmlns:a16="http://schemas.microsoft.com/office/drawing/2014/main" id="{2EFD4BBD-D555-A6BE-6D93-4FF3D059E0F9}"/>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Interaktive Elemente</a:t>
            </a:r>
          </a:p>
        </p:txBody>
      </p:sp>
      <p:sp>
        <p:nvSpPr>
          <p:cNvPr id="31" name="Google Shape;632;p61">
            <a:extLst>
              <a:ext uri="{FF2B5EF4-FFF2-40B4-BE49-F238E27FC236}">
                <a16:creationId xmlns:a16="http://schemas.microsoft.com/office/drawing/2014/main" id="{642321CF-31E0-00CB-2AAB-A4A704FAE648}"/>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spcAft>
                <a:spcPts val="1600"/>
              </a:spcAft>
              <a:buClr>
                <a:schemeClr val="dk1"/>
              </a:buClr>
              <a:buSzPts val="1100"/>
            </a:pPr>
            <a:r>
              <a:rPr lang="de-DE" sz="1000"/>
              <a:t>- Spezielle Chat-Elemente wie </a:t>
            </a:r>
            <a:r>
              <a:rPr lang="de-DE" sz="1000" err="1"/>
              <a:t>st.chat_message</a:t>
            </a:r>
            <a:r>
              <a:rPr lang="de-DE" sz="1000"/>
              <a:t> </a:t>
            </a:r>
            <a:br>
              <a:rPr lang="de-DE" sz="1000"/>
            </a:br>
            <a:r>
              <a:rPr lang="de-DE" sz="1000"/>
              <a:t>   und </a:t>
            </a:r>
            <a:r>
              <a:rPr lang="de-DE" sz="1000" err="1"/>
              <a:t>st.chat_input</a:t>
            </a:r>
            <a:br>
              <a:rPr lang="de-DE" sz="1000"/>
            </a:br>
            <a:r>
              <a:rPr lang="de-DE" sz="1000"/>
              <a:t>- Speziell für Erstellung von Chatbot-Interfaces</a:t>
            </a:r>
            <a:br>
              <a:rPr lang="de-DE" sz="1000"/>
            </a:br>
            <a:r>
              <a:rPr lang="de-DE" sz="1000"/>
              <a:t>   konzipiert</a:t>
            </a:r>
            <a:br>
              <a:rPr lang="de-DE" sz="1000"/>
            </a:br>
            <a:r>
              <a:rPr lang="de-DE" sz="1000"/>
              <a:t>- Vereinfacht die Gestaltung einer</a:t>
            </a:r>
            <a:br>
              <a:rPr lang="de-DE" sz="1000"/>
            </a:br>
            <a:r>
              <a:rPr lang="de-DE" sz="1000"/>
              <a:t>   benutzerfreundlichen und interaktiven</a:t>
            </a:r>
            <a:br>
              <a:rPr lang="de-DE" sz="1000"/>
            </a:br>
            <a:r>
              <a:rPr lang="de-DE" sz="1000"/>
              <a:t>   Chatoberfläche</a:t>
            </a:r>
          </a:p>
        </p:txBody>
      </p:sp>
      <p:sp>
        <p:nvSpPr>
          <p:cNvPr id="32" name="Google Shape;631;p61">
            <a:extLst>
              <a:ext uri="{FF2B5EF4-FFF2-40B4-BE49-F238E27FC236}">
                <a16:creationId xmlns:a16="http://schemas.microsoft.com/office/drawing/2014/main" id="{F732BBFC-5E5A-D87C-FFF1-E5B28BB0620F}"/>
              </a:ext>
            </a:extLst>
          </p:cNvPr>
          <p:cNvSpPr txBox="1">
            <a:spLocks/>
          </p:cNvSpPr>
          <p:nvPr/>
        </p:nvSpPr>
        <p:spPr>
          <a:xfrm>
            <a:off x="3811151" y="2864448"/>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passbarkeit</a:t>
            </a:r>
          </a:p>
        </p:txBody>
      </p:sp>
      <p:sp>
        <p:nvSpPr>
          <p:cNvPr id="33" name="Google Shape;632;p61">
            <a:extLst>
              <a:ext uri="{FF2B5EF4-FFF2-40B4-BE49-F238E27FC236}">
                <a16:creationId xmlns:a16="http://schemas.microsoft.com/office/drawing/2014/main" id="{DAC430F4-F835-3DAD-32DF-55BC807A59F9}"/>
              </a:ext>
            </a:extLst>
          </p:cNvPr>
          <p:cNvSpPr txBox="1">
            <a:spLocks/>
          </p:cNvSpPr>
          <p:nvPr/>
        </p:nvSpPr>
        <p:spPr>
          <a:xfrm>
            <a:off x="3774006"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spcAft>
                <a:spcPts val="1600"/>
              </a:spcAft>
              <a:buClr>
                <a:schemeClr val="dk1"/>
              </a:buClr>
              <a:buSzPts val="1100"/>
            </a:pPr>
            <a:r>
              <a:rPr lang="de-DE" sz="1000"/>
              <a:t>- Erscheinungsbild und Verhalten der Chatbot</a:t>
            </a:r>
            <a:br>
              <a:rPr lang="de-DE" sz="1000"/>
            </a:br>
            <a:r>
              <a:rPr lang="de-DE" sz="1000"/>
              <a:t>   Anwendung genau anpassbar</a:t>
            </a:r>
            <a:br>
              <a:rPr lang="de-DE" sz="1000"/>
            </a:br>
            <a:r>
              <a:rPr lang="de-DE" sz="1000"/>
              <a:t>- Steuerung von Design und Funktionalität</a:t>
            </a:r>
            <a:br>
              <a:rPr lang="de-DE" sz="1000"/>
            </a:br>
            <a:r>
              <a:rPr lang="de-DE" sz="1000"/>
              <a:t>- Leichte Integration von zusätzlichen Funktionen</a:t>
            </a:r>
            <a:br>
              <a:rPr lang="de-DE" sz="1000"/>
            </a:br>
            <a:r>
              <a:rPr lang="de-DE" sz="1000"/>
              <a:t>   wie Feedback-Mechanismen und</a:t>
            </a:r>
            <a:br>
              <a:rPr lang="de-DE" sz="1000"/>
            </a:br>
            <a:r>
              <a:rPr lang="de-DE" sz="1000"/>
              <a:t>   Datenvisualisierungen</a:t>
            </a:r>
            <a:br>
              <a:rPr lang="de-DE" sz="1000"/>
            </a:br>
            <a:r>
              <a:rPr lang="de-DE" sz="1000"/>
              <a:t>- Hohe Benutzerfreundlichkeit und Leistung </a:t>
            </a:r>
            <a:br>
              <a:rPr lang="de-DE" sz="1000"/>
            </a:br>
            <a:r>
              <a:rPr lang="de-DE" sz="1000"/>
              <a:t>   des Chatbot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FA53C-06E3-1FE1-60CC-FC4954F5D992}"/>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Arten von Output</a:t>
            </a:r>
          </a:p>
        </p:txBody>
      </p:sp>
      <p:graphicFrame>
        <p:nvGraphicFramePr>
          <p:cNvPr id="4" name="Inhaltsplatzhalter 3">
            <a:extLst>
              <a:ext uri="{FF2B5EF4-FFF2-40B4-BE49-F238E27FC236}">
                <a16:creationId xmlns:a16="http://schemas.microsoft.com/office/drawing/2014/main" id="{C22A1241-E0C8-7E64-60B1-5E58F79558E6}"/>
              </a:ext>
            </a:extLst>
          </p:cNvPr>
          <p:cNvGraphicFramePr>
            <a:graphicFrameLocks noGrp="1"/>
          </p:cNvGraphicFramePr>
          <p:nvPr>
            <p:ph idx="1"/>
            <p:extLst>
              <p:ext uri="{D42A27DB-BD31-4B8C-83A1-F6EECF244321}">
                <p14:modId xmlns:p14="http://schemas.microsoft.com/office/powerpoint/2010/main" val="3044202827"/>
              </p:ext>
            </p:extLst>
          </p:nvPr>
        </p:nvGraphicFramePr>
        <p:xfrm>
          <a:off x="438428" y="1220796"/>
          <a:ext cx="8094947" cy="2956560"/>
        </p:xfrm>
        <a:graphic>
          <a:graphicData uri="http://schemas.openxmlformats.org/drawingml/2006/table">
            <a:tbl>
              <a:tblPr firstRow="1" bandRow="1">
                <a:tableStyleId>{5C22544A-7EE6-4342-B048-85BDC9FD1C3A}</a:tableStyleId>
              </a:tblPr>
              <a:tblGrid>
                <a:gridCol w="1146260">
                  <a:extLst>
                    <a:ext uri="{9D8B030D-6E8A-4147-A177-3AD203B41FA5}">
                      <a16:colId xmlns:a16="http://schemas.microsoft.com/office/drawing/2014/main" val="3528141745"/>
                    </a:ext>
                  </a:extLst>
                </a:gridCol>
                <a:gridCol w="1434084">
                  <a:extLst>
                    <a:ext uri="{9D8B030D-6E8A-4147-A177-3AD203B41FA5}">
                      <a16:colId xmlns:a16="http://schemas.microsoft.com/office/drawing/2014/main" val="2933443646"/>
                    </a:ext>
                  </a:extLst>
                </a:gridCol>
                <a:gridCol w="2330532">
                  <a:extLst>
                    <a:ext uri="{9D8B030D-6E8A-4147-A177-3AD203B41FA5}">
                      <a16:colId xmlns:a16="http://schemas.microsoft.com/office/drawing/2014/main" val="3618333473"/>
                    </a:ext>
                  </a:extLst>
                </a:gridCol>
                <a:gridCol w="1669563">
                  <a:extLst>
                    <a:ext uri="{9D8B030D-6E8A-4147-A177-3AD203B41FA5}">
                      <a16:colId xmlns:a16="http://schemas.microsoft.com/office/drawing/2014/main" val="1334584206"/>
                    </a:ext>
                  </a:extLst>
                </a:gridCol>
                <a:gridCol w="1514508">
                  <a:extLst>
                    <a:ext uri="{9D8B030D-6E8A-4147-A177-3AD203B41FA5}">
                      <a16:colId xmlns:a16="http://schemas.microsoft.com/office/drawing/2014/main" val="2968966894"/>
                    </a:ext>
                  </a:extLst>
                </a:gridCol>
              </a:tblGrid>
              <a:tr h="278130">
                <a:tc>
                  <a:txBody>
                    <a:bodyPr/>
                    <a:lstStyle/>
                    <a:p>
                      <a:endParaRPr lang="de-DE" sz="1400"/>
                    </a:p>
                  </a:txBody>
                  <a:tcPr marL="68580" marR="68580" marT="34290" marB="34290"/>
                </a:tc>
                <a:tc>
                  <a:txBody>
                    <a:bodyPr/>
                    <a:lstStyle/>
                    <a:p>
                      <a:r>
                        <a:rPr lang="de-DE" sz="1400"/>
                        <a:t>Definition </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Beispiele </a:t>
                      </a:r>
                    </a:p>
                  </a:txBody>
                  <a:tcPr marL="68580" marR="68580" marT="34290" marB="34290"/>
                </a:tc>
                <a:tc>
                  <a:txBody>
                    <a:bodyPr/>
                    <a:lstStyle/>
                    <a:p>
                      <a:pPr marL="0" lvl="0" indent="0" algn="l" defTabSz="914400">
                        <a:lnSpc>
                          <a:spcPct val="100000"/>
                        </a:lnSpc>
                        <a:spcBef>
                          <a:spcPts val="0"/>
                        </a:spcBef>
                        <a:spcAft>
                          <a:spcPts val="0"/>
                        </a:spcAft>
                        <a:buNone/>
                        <a:tabLst/>
                        <a:defRPr/>
                      </a:pPr>
                      <a:r>
                        <a:rPr lang="de-DE" sz="1400" b="1" kern="1200">
                          <a:solidFill>
                            <a:schemeClr val="lt1"/>
                          </a:solidFill>
                          <a:effectLst/>
                          <a:latin typeface="+mn-lt"/>
                          <a:ea typeface="+mn-ea"/>
                          <a:cs typeface="+mn-cs"/>
                        </a:rPr>
                        <a:t>Projektrelevanz</a:t>
                      </a:r>
                    </a:p>
                  </a:txBody>
                  <a:tcPr marL="68580" marR="68580" marT="34290" marB="34290"/>
                </a:tc>
                <a:extLst>
                  <a:ext uri="{0D108BD9-81ED-4DB2-BD59-A6C34878D82A}">
                    <a16:rowId xmlns:a16="http://schemas.microsoft.com/office/drawing/2014/main" val="1154961719"/>
                  </a:ext>
                </a:extLst>
              </a:tr>
              <a:tr h="617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Strukturiert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solidFill>
                      <a:schemeClr val="tx1">
                        <a:lumMod val="75000"/>
                      </a:schemeClr>
                    </a:solidFill>
                  </a:tcPr>
                </a:tc>
                <a:tc>
                  <a:txBody>
                    <a:bodyPr/>
                    <a:lstStyle/>
                    <a:p>
                      <a:pPr marL="0" indent="0" algn="l" defTabSz="914400" rtl="0" eaLnBrk="1" latinLnBrk="0" hangingPunct="1">
                        <a:buFont typeface="Arial" panose="020B0604020202020204" pitchFamily="34" charset="0"/>
                        <a:buNone/>
                      </a:pPr>
                      <a:r>
                        <a:rPr lang="de-DE" sz="900" kern="1200">
                          <a:solidFill>
                            <a:schemeClr val="bg1"/>
                          </a:solidFill>
                          <a:latin typeface="+mn-lt"/>
                          <a:ea typeface="+mn-ea"/>
                          <a:cs typeface="+mn-cs"/>
                        </a:rPr>
                        <a:t>Antworten, die einem vordefinierten Schema oder Format folgen, z.B. JSON, Tabellen oder spezifische Datenstrukturen; XML; CSV; YAML</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 einfache Integration in andere Systeme, Typensicherhei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ingeschränkte Flexibilität, erfordert genaue Definitionen und Validierung</a:t>
                      </a:r>
                    </a:p>
                  </a:txBody>
                  <a:tcPr marL="68580" marR="68580" marT="34290" marB="34290">
                    <a:solidFill>
                      <a:schemeClr val="tx1">
                        <a:lumMod val="7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900" kern="100">
                          <a:solidFill>
                            <a:schemeClr val="bg1"/>
                          </a:solidFill>
                          <a:effectLst/>
                          <a:latin typeface="Calibri"/>
                          <a:ea typeface="Calibri"/>
                          <a:cs typeface="Times New Roman"/>
                        </a:rPr>
                        <a:t>API-Responses, Datenbankeinträge.</a:t>
                      </a:r>
                    </a:p>
                  </a:txBody>
                  <a:tcPr marL="68580" marR="68580" marT="34290" marB="34290">
                    <a:solidFill>
                      <a:schemeClr val="tx1">
                        <a:lumMod val="75000"/>
                      </a:schemeClr>
                    </a:solidFill>
                  </a:tcPr>
                </a:tc>
                <a:tc>
                  <a:txBody>
                    <a:bodyPr/>
                    <a:lstStyle/>
                    <a:p>
                      <a:pPr marL="457200" marR="0" lvl="1" indent="0" algn="l" defTabSz="914400" rtl="0">
                        <a:lnSpc>
                          <a:spcPct val="100000"/>
                        </a:lnSpc>
                        <a:spcBef>
                          <a:spcPts val="0"/>
                        </a:spcBef>
                        <a:spcAft>
                          <a:spcPts val="0"/>
                        </a:spcAft>
                        <a:buClr>
                          <a:srgbClr val="000000"/>
                        </a:buClr>
                        <a:buFont typeface="Arial"/>
                        <a:buNone/>
                        <a:tabLst/>
                        <a:defRPr/>
                      </a:pPr>
                      <a:r>
                        <a:rPr lang="de-DE" sz="3200" b="0" i="0" u="none" strike="noStrike" kern="100" cap="none">
                          <a:solidFill>
                            <a:schemeClr val="bg1"/>
                          </a:solidFill>
                          <a:effectLst/>
                          <a:latin typeface="Calibri"/>
                          <a:ea typeface="Calibri"/>
                          <a:cs typeface="Times New Roman"/>
                          <a:sym typeface="Arial"/>
                        </a:rPr>
                        <a:t>×</a:t>
                      </a:r>
                    </a:p>
                  </a:txBody>
                  <a:tcPr marL="68580" marR="68580" marT="34290" marB="34290">
                    <a:solidFill>
                      <a:schemeClr val="tx1">
                        <a:lumMod val="75000"/>
                      </a:schemeClr>
                    </a:solidFill>
                  </a:tcPr>
                </a:tc>
                <a:extLst>
                  <a:ext uri="{0D108BD9-81ED-4DB2-BD59-A6C34878D82A}">
                    <a16:rowId xmlns:a16="http://schemas.microsoft.com/office/drawing/2014/main" val="2083323642"/>
                  </a:ext>
                </a:extLst>
              </a:tr>
              <a:tr h="617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Unstrukturiert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solidFill>
                      <a:schemeClr val="tx1">
                        <a:lumMod val="75000"/>
                      </a:schemeClr>
                    </a:solidFill>
                  </a:tcPr>
                </a:tc>
                <a:tc>
                  <a:txBody>
                    <a:bodyPr/>
                    <a:lstStyle/>
                    <a:p>
                      <a:pPr marL="0" indent="0">
                        <a:buFont typeface="Arial" panose="020B0604020202020204" pitchFamily="34" charset="0"/>
                        <a:buNone/>
                      </a:pPr>
                      <a:r>
                        <a:rPr lang="de-DE" sz="900" kern="1200">
                          <a:solidFill>
                            <a:schemeClr val="bg1"/>
                          </a:solidFill>
                          <a:latin typeface="+mn-lt"/>
                          <a:ea typeface="+mn-ea"/>
                          <a:cs typeface="+mn-cs"/>
                        </a:rPr>
                        <a:t>Freitextantworten ohne festgelegtes Format. Verwendung in natürlichen Sprachverarbeitungssystemen</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 Anpassungsfähigkeit an verschiedene Anfrage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Variabilität in der Qualität, schwieriger zu verarbeiten und zu integrieren</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00">
                          <a:solidFill>
                            <a:schemeClr val="bg1"/>
                          </a:solidFill>
                          <a:effectLst/>
                          <a:latin typeface="Calibri"/>
                          <a:ea typeface="Calibri"/>
                          <a:cs typeface="Times New Roman"/>
                        </a:rPr>
                        <a:t>Generative Texte, Zusammenfassungen</a:t>
                      </a:r>
                      <a:endParaRPr lang="de-DE" sz="900" kern="1200">
                        <a:solidFill>
                          <a:schemeClr val="bg1"/>
                        </a:solidFill>
                        <a:latin typeface="Calibri"/>
                        <a:ea typeface="Calibri"/>
                        <a:cs typeface="Times New Roman"/>
                      </a:endParaRPr>
                    </a:p>
                  </a:txBody>
                  <a:tcPr marL="68580" marR="68580" marT="34290" marB="34290">
                    <a:solidFill>
                      <a:schemeClr val="tx1">
                        <a:lumMod val="75000"/>
                      </a:schemeClr>
                    </a:solidFill>
                  </a:tcPr>
                </a:tc>
                <a:tc>
                  <a:txBody>
                    <a:bodyPr/>
                    <a:lstStyle/>
                    <a:p>
                      <a:pPr marL="457200" marR="0" lvl="1" indent="0" algn="l" defTabSz="914400" rtl="0">
                        <a:lnSpc>
                          <a:spcPct val="100000"/>
                        </a:lnSpc>
                        <a:spcBef>
                          <a:spcPts val="0"/>
                        </a:spcBef>
                        <a:spcAft>
                          <a:spcPts val="0"/>
                        </a:spcAft>
                        <a:buClr>
                          <a:srgbClr val="000000"/>
                        </a:buClr>
                        <a:buFont typeface="Arial"/>
                        <a:buNone/>
                      </a:pPr>
                      <a:r>
                        <a:rPr lang="de-DE" sz="3200" b="0" i="0" u="none" strike="noStrike" kern="100" cap="none">
                          <a:solidFill>
                            <a:schemeClr val="bg1"/>
                          </a:solidFill>
                          <a:effectLst/>
                          <a:latin typeface="Calibri"/>
                          <a:ea typeface="Calibri"/>
                          <a:cs typeface="Times New Roman"/>
                          <a:sym typeface="Arial"/>
                        </a:rPr>
                        <a:t>×</a:t>
                      </a:r>
                    </a:p>
                  </a:txBody>
                  <a:tcPr marL="68580" marR="68580" marT="34290" marB="34290">
                    <a:solidFill>
                      <a:schemeClr val="tx1">
                        <a:lumMod val="75000"/>
                      </a:schemeClr>
                    </a:solidFill>
                  </a:tcPr>
                </a:tc>
                <a:extLst>
                  <a:ext uri="{0D108BD9-81ED-4DB2-BD59-A6C34878D82A}">
                    <a16:rowId xmlns:a16="http://schemas.microsoft.com/office/drawing/2014/main" val="3793334089"/>
                  </a:ext>
                </a:extLst>
              </a:tr>
              <a:tr h="754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Multimodal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tc>
                <a:tc>
                  <a:txBody>
                    <a:bodyPr/>
                    <a:lstStyle/>
                    <a:p>
                      <a:r>
                        <a:rPr lang="de-DE" sz="900" kern="1200">
                          <a:solidFill>
                            <a:schemeClr val="bg1"/>
                          </a:solidFill>
                          <a:latin typeface="+mn-lt"/>
                          <a:ea typeface="+mn-ea"/>
                          <a:cs typeface="+mn-cs"/>
                        </a:rPr>
                        <a:t>Kombination aus Text, Bildern, Diagrammen oder anderen Medienformat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Reichhaltigere und kontextueller Antworten, bessere Visualisierung komplexer Informatione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Höhere technische Komplexität, größere Rechenressourcen erforderlich</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00">
                          <a:solidFill>
                            <a:schemeClr val="bg1"/>
                          </a:solidFill>
                          <a:effectLst/>
                          <a:latin typeface="Calibri"/>
                          <a:ea typeface="Calibri"/>
                          <a:cs typeface="Times New Roman"/>
                        </a:rPr>
                        <a:t>Berichte mit Text und unterstützenden Diagrammen</a:t>
                      </a:r>
                      <a:endParaRPr lang="de-DE" sz="900" kern="1200">
                        <a:solidFill>
                          <a:schemeClr val="bg1"/>
                        </a:solidFill>
                        <a:latin typeface="Calibri"/>
                        <a:ea typeface="Calibri"/>
                        <a:cs typeface="Times New Roman"/>
                      </a:endParaRPr>
                    </a:p>
                  </a:txBody>
                  <a:tcPr marL="68580" marR="68580" marT="34290" marB="34290"/>
                </a:tc>
                <a:tc>
                  <a:txBody>
                    <a:bodyPr/>
                    <a:lstStyle/>
                    <a:p>
                      <a:pPr marL="457200" lvl="1" indent="0" algn="l">
                        <a:buNone/>
                      </a:pPr>
                      <a:r>
                        <a:rPr lang="de-DE" sz="2800" kern="100">
                          <a:solidFill>
                            <a:srgbClr val="00B050"/>
                          </a:solidFill>
                          <a:effectLst/>
                          <a:latin typeface="Calibri"/>
                          <a:ea typeface="Calibri"/>
                          <a:cs typeface="Times New Roman"/>
                        </a:rPr>
                        <a:t>✓ </a:t>
                      </a:r>
                    </a:p>
                  </a:txBody>
                  <a:tcPr marL="68580" marR="68580" marT="34290" marB="34290"/>
                </a:tc>
                <a:extLst>
                  <a:ext uri="{0D108BD9-81ED-4DB2-BD59-A6C34878D82A}">
                    <a16:rowId xmlns:a16="http://schemas.microsoft.com/office/drawing/2014/main" val="1895135474"/>
                  </a:ext>
                </a:extLst>
              </a:tr>
            </a:tbl>
          </a:graphicData>
        </a:graphic>
      </p:graphicFrame>
    </p:spTree>
    <p:extLst>
      <p:ext uri="{BB962C8B-B14F-4D97-AF65-F5344CB8AC3E}">
        <p14:creationId xmlns:p14="http://schemas.microsoft.com/office/powerpoint/2010/main" val="2517486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F2805-296C-EB3E-0196-55957482C3A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7967F8-D533-FDDB-EB8E-0AE6C630906E}"/>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Kommunikationsformate</a:t>
            </a:r>
          </a:p>
        </p:txBody>
      </p:sp>
      <p:graphicFrame>
        <p:nvGraphicFramePr>
          <p:cNvPr id="4" name="Inhaltsplatzhalter 3">
            <a:extLst>
              <a:ext uri="{FF2B5EF4-FFF2-40B4-BE49-F238E27FC236}">
                <a16:creationId xmlns:a16="http://schemas.microsoft.com/office/drawing/2014/main" id="{B83C42CB-3E75-0D1D-7C39-94636D150FDA}"/>
              </a:ext>
            </a:extLst>
          </p:cNvPr>
          <p:cNvGraphicFramePr>
            <a:graphicFrameLocks noGrp="1"/>
          </p:cNvGraphicFramePr>
          <p:nvPr>
            <p:ph idx="1"/>
            <p:extLst>
              <p:ext uri="{D42A27DB-BD31-4B8C-83A1-F6EECF244321}">
                <p14:modId xmlns:p14="http://schemas.microsoft.com/office/powerpoint/2010/main" val="1316729485"/>
              </p:ext>
            </p:extLst>
          </p:nvPr>
        </p:nvGraphicFramePr>
        <p:xfrm>
          <a:off x="311700" y="1017725"/>
          <a:ext cx="8223875" cy="3660082"/>
        </p:xfrm>
        <a:graphic>
          <a:graphicData uri="http://schemas.openxmlformats.org/drawingml/2006/table">
            <a:tbl>
              <a:tblPr firstRow="1" bandRow="1">
                <a:tableStyleId>{5C22544A-7EE6-4342-B048-85BDC9FD1C3A}</a:tableStyleId>
              </a:tblPr>
              <a:tblGrid>
                <a:gridCol w="1233636">
                  <a:extLst>
                    <a:ext uri="{9D8B030D-6E8A-4147-A177-3AD203B41FA5}">
                      <a16:colId xmlns:a16="http://schemas.microsoft.com/office/drawing/2014/main" val="3528141745"/>
                    </a:ext>
                  </a:extLst>
                </a:gridCol>
                <a:gridCol w="2902872">
                  <a:extLst>
                    <a:ext uri="{9D8B030D-6E8A-4147-A177-3AD203B41FA5}">
                      <a16:colId xmlns:a16="http://schemas.microsoft.com/office/drawing/2014/main" val="3618333473"/>
                    </a:ext>
                  </a:extLst>
                </a:gridCol>
                <a:gridCol w="2862072">
                  <a:extLst>
                    <a:ext uri="{9D8B030D-6E8A-4147-A177-3AD203B41FA5}">
                      <a16:colId xmlns:a16="http://schemas.microsoft.com/office/drawing/2014/main" val="3585845154"/>
                    </a:ext>
                  </a:extLst>
                </a:gridCol>
                <a:gridCol w="1225295">
                  <a:extLst>
                    <a:ext uri="{9D8B030D-6E8A-4147-A177-3AD203B41FA5}">
                      <a16:colId xmlns:a16="http://schemas.microsoft.com/office/drawing/2014/main" val="441806918"/>
                    </a:ext>
                  </a:extLst>
                </a:gridCol>
              </a:tblGrid>
              <a:tr h="302610">
                <a:tc>
                  <a:txBody>
                    <a:bodyPr/>
                    <a:lstStyle/>
                    <a:p>
                      <a:endParaRPr lang="de-DE" sz="110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Vorteile</a:t>
                      </a:r>
                      <a:endParaRPr lang="de-DE" sz="11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Nachteile</a:t>
                      </a:r>
                      <a:endParaRPr lang="de-DE" sz="11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Projektrelevanz</a:t>
                      </a:r>
                      <a:endParaRPr lang="de-DE" sz="1100" b="1" kern="1200">
                        <a:solidFill>
                          <a:schemeClr val="lt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b="1" kern="1200">
                        <a:solidFill>
                          <a:schemeClr val="lt1"/>
                        </a:solidFill>
                        <a:effectLst/>
                        <a:latin typeface="+mn-lt"/>
                        <a:ea typeface="+mn-ea"/>
                        <a:cs typeface="+mn-cs"/>
                      </a:endParaRPr>
                    </a:p>
                  </a:txBody>
                  <a:tcPr marL="68580" marR="68580" marT="34290" marB="34290"/>
                </a:tc>
                <a:extLst>
                  <a:ext uri="{0D108BD9-81ED-4DB2-BD59-A6C34878D82A}">
                    <a16:rowId xmlns:a16="http://schemas.microsoft.com/office/drawing/2014/main" val="1154961719"/>
                  </a:ext>
                </a:extLst>
              </a:tr>
              <a:tr h="10464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Freitext: </a:t>
                      </a:r>
                      <a:r>
                        <a:rPr lang="de-DE" sz="900" kern="1200">
                          <a:solidFill>
                            <a:schemeClr val="bg1"/>
                          </a:solidFill>
                        </a:rPr>
                        <a:t>Nutzer beschriebt das Problem als 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lexibilität</a:t>
                      </a:r>
                      <a:r>
                        <a:rPr lang="de-DE" sz="800" kern="1200">
                          <a:solidFill>
                            <a:schemeClr val="bg1"/>
                          </a:solidFill>
                        </a:rPr>
                        <a:t>: Nutzer können ihre Anliegen ohne Einschränkungen formul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Natürliche und intuitive Kommunikation,</a:t>
                      </a:r>
                      <a:r>
                        <a:rPr lang="de-DE" sz="800" kern="1200">
                          <a:solidFill>
                            <a:schemeClr val="bg1"/>
                          </a:solidFill>
                        </a:rPr>
                        <a:t> besonders bei komplexen Anfrag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Vielseitigkeit</a:t>
                      </a:r>
                      <a:r>
                        <a:rPr lang="de-DE" sz="800" kern="1200">
                          <a:solidFill>
                            <a:schemeClr val="bg1"/>
                          </a:solidFill>
                        </a:rPr>
                        <a:t>: Ermöglicht die Erfassung einer breiten Palette von Fragen oder Problem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ormulierungsproblem</a:t>
                      </a:r>
                      <a:r>
                        <a:rPr lang="de-DE" sz="800" kern="1200">
                          <a:solidFill>
                            <a:schemeClr val="bg1"/>
                          </a:solidFill>
                        </a:rPr>
                        <a:t>: Chatbot könnte Probleme haben, komplexe oder unklare Formulierungen zu versteh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Zeitaufwendig</a:t>
                      </a:r>
                      <a:r>
                        <a:rPr lang="de-DE" sz="800" kern="1200">
                          <a:solidFill>
                            <a:schemeClr val="bg1"/>
                          </a:solidFill>
                        </a:rPr>
                        <a:t>: Nutzer müssen ihre Anliegen selbst vollständig beschreiben, was länger dauern kan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ehlende Struktur</a:t>
                      </a:r>
                      <a:r>
                        <a:rPr lang="de-DE" sz="800" kern="1200">
                          <a:solidFill>
                            <a:schemeClr val="bg1"/>
                          </a:solidFill>
                        </a:rPr>
                        <a:t>: Antworten könnten unspezifisch sein, wenn der Chatbot den Kontext nicht richtig versteht.</a:t>
                      </a:r>
                      <a:endParaRPr lang="de-DE" sz="800" kern="1200">
                        <a:solidFill>
                          <a:schemeClr val="bg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kern="100">
                          <a:solidFill>
                            <a:srgbClr val="00B050"/>
                          </a:solidFill>
                          <a:effectLst/>
                        </a:rPr>
                        <a:t>✓ </a:t>
                      </a: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083323642"/>
                  </a:ext>
                </a:extLst>
              </a:tr>
              <a:tr h="964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Buttons oder Menüs: </a:t>
                      </a:r>
                      <a:r>
                        <a:rPr lang="de-DE" sz="900" kern="1200">
                          <a:solidFill>
                            <a:schemeClr val="bg1"/>
                          </a:solidFill>
                        </a:rPr>
                        <a:t>Nutzer kann aus vorausgewählten Optionen auswäh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800" b="1" kern="1200">
                          <a:solidFill>
                            <a:schemeClr val="bg1"/>
                          </a:solidFill>
                        </a:rPr>
                        <a:t>Benutzerfreundlich</a:t>
                      </a:r>
                      <a:r>
                        <a:rPr lang="de-DE" sz="800" kern="1200">
                          <a:solidFill>
                            <a:schemeClr val="bg1"/>
                          </a:solidFill>
                        </a:rPr>
                        <a:t> und erfordert keine Schreibfähigkeiten.</a:t>
                      </a:r>
                    </a:p>
                    <a:p>
                      <a:pPr marL="171450" indent="-171450" algn="l" defTabSz="914400" rtl="0" eaLnBrk="1" latinLnBrk="0" hangingPunct="1">
                        <a:buFont typeface="Arial" panose="020B0604020202020204" pitchFamily="34" charset="0"/>
                        <a:buChar char="•"/>
                      </a:pPr>
                      <a:r>
                        <a:rPr lang="de-DE" sz="800" b="1" kern="1200">
                          <a:solidFill>
                            <a:schemeClr val="bg1"/>
                          </a:solidFill>
                        </a:rPr>
                        <a:t>Effizienz</a:t>
                      </a:r>
                      <a:r>
                        <a:rPr lang="de-DE" sz="800" kern="1200">
                          <a:solidFill>
                            <a:schemeClr val="bg1"/>
                          </a:solidFill>
                        </a:rPr>
                        <a:t>: Schnell und direkt, besonders bei häufig gestellten Fragen oder wiederkehrenden Prozessen.</a:t>
                      </a:r>
                    </a:p>
                    <a:p>
                      <a:pPr marL="171450" indent="-171450" algn="l" defTabSz="914400" rtl="0" eaLnBrk="1" latinLnBrk="0" hangingPunct="1">
                        <a:buFont typeface="Arial" panose="020B0604020202020204" pitchFamily="34" charset="0"/>
                        <a:buChar char="•"/>
                      </a:pPr>
                      <a:r>
                        <a:rPr lang="de-DE" sz="800" b="1" kern="1200">
                          <a:solidFill>
                            <a:schemeClr val="bg1"/>
                          </a:solidFill>
                        </a:rPr>
                        <a:t>Fehlerminimierung</a:t>
                      </a:r>
                      <a:r>
                        <a:rPr lang="de-DE" sz="800" kern="1200">
                          <a:solidFill>
                            <a:schemeClr val="bg1"/>
                          </a:solidFill>
                        </a:rPr>
                        <a:t>: Reduziert Missverständnisse, da der Nutzer keine Freitext-Eingaben machen muss.</a:t>
                      </a:r>
                    </a:p>
                    <a:p>
                      <a:pPr marL="171450" indent="-171450" algn="l" defTabSz="914400" rtl="0" eaLnBrk="1" latinLnBrk="0" hangingPunct="1">
                        <a:buFont typeface="Arial" panose="020B0604020202020204" pitchFamily="34" charset="0"/>
                        <a:buChar char="•"/>
                      </a:pPr>
                      <a:r>
                        <a:rPr lang="de-DE" sz="800" b="1" kern="1200">
                          <a:solidFill>
                            <a:schemeClr val="bg1"/>
                          </a:solidFill>
                        </a:rPr>
                        <a:t>Konsistenz</a:t>
                      </a:r>
                      <a:r>
                        <a:rPr lang="de-DE" sz="800" kern="1200">
                          <a:solidFill>
                            <a:schemeClr val="bg1"/>
                          </a:solidFill>
                        </a:rPr>
                        <a:t>: Der Chatbot kann leicht mit klar definierten Optionen arbeiten.</a:t>
                      </a:r>
                      <a:endParaRPr lang="de-DE" sz="800" kern="1200">
                        <a:solidFill>
                          <a:schemeClr val="bg1"/>
                        </a:solidFill>
                        <a:latin typeface="+mn-lt"/>
                        <a:ea typeface="+mn-ea"/>
                        <a:cs typeface="+mn-cs"/>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Begrenzte Flexibilität: </a:t>
                      </a:r>
                      <a:r>
                        <a:rPr lang="de-DE" sz="800" kern="1200">
                          <a:solidFill>
                            <a:schemeClr val="bg1"/>
                          </a:solidFill>
                        </a:rPr>
                        <a:t>Nicht geeignet für komplexe oder nicht vorhersehbare Anlieg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Überfrachtung</a:t>
                      </a:r>
                      <a:r>
                        <a:rPr lang="de-DE" sz="800" kern="1200">
                          <a:solidFill>
                            <a:schemeClr val="bg1"/>
                          </a:solidFill>
                        </a:rPr>
                        <a:t>: Zu viele Buttons oder Menüs können Benutzer überforder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atische Interaktionen</a:t>
                      </a:r>
                      <a:r>
                        <a:rPr lang="de-DE" sz="800" kern="1200">
                          <a:solidFill>
                            <a:schemeClr val="bg1"/>
                          </a:solidFill>
                        </a:rPr>
                        <a:t>: Kann sich mechanisch oder unpersönlich anfühl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Wenig Skalierbarkeit</a:t>
                      </a:r>
                      <a:r>
                        <a:rPr lang="de-DE" sz="800" kern="1200">
                          <a:solidFill>
                            <a:schemeClr val="bg1"/>
                          </a:solidFill>
                        </a:rPr>
                        <a:t>: Nicht praktikabel bei einem großen Spektrum an potenziellen Fragen.</a:t>
                      </a:r>
                      <a:endParaRPr lang="de-DE" sz="800" kern="1200">
                        <a:solidFill>
                          <a:schemeClr val="bg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b="0" u="none" strike="noStrike" kern="100" cap="none">
                          <a:solidFill>
                            <a:schemeClr val="bg1"/>
                          </a:solidFill>
                          <a:effectLst/>
                          <a:sym typeface="Arial"/>
                        </a:rPr>
                        <a:t>×/</a:t>
                      </a:r>
                      <a:r>
                        <a:rPr lang="de-DE" sz="2400" kern="100">
                          <a:solidFill>
                            <a:srgbClr val="00B050"/>
                          </a:solidFill>
                          <a:effectLst/>
                        </a:rPr>
                        <a:t>✓</a:t>
                      </a:r>
                      <a:r>
                        <a:rPr lang="de-DE" sz="2400" kern="100">
                          <a:solidFill>
                            <a:schemeClr val="bg1"/>
                          </a:solidFill>
                          <a:effectLst/>
                        </a:rPr>
                        <a:t>*</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kern="100">
                          <a:solidFill>
                            <a:srgbClr val="00B050"/>
                          </a:solidFill>
                          <a:effectLst/>
                        </a:rPr>
                        <a:t> </a:t>
                      </a: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793334089"/>
                  </a:ext>
                </a:extLst>
              </a:tr>
              <a:tr h="1147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Formulareingaben: </a:t>
                      </a:r>
                      <a:r>
                        <a:rPr lang="de-DE" sz="900" kern="1200">
                          <a:solidFill>
                            <a:schemeClr val="bg1"/>
                          </a:solidFill>
                        </a:rPr>
                        <a:t>Der Chatbot fordert den Nutzer auf, spezifische Felder auszufüllen (z. B. Name, Datum, 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rukturiertheit</a:t>
                      </a:r>
                      <a:r>
                        <a:rPr lang="de-DE" sz="800" kern="1200">
                          <a:solidFill>
                            <a:schemeClr val="bg1"/>
                          </a:solidFill>
                        </a:rPr>
                        <a:t>: Erleichtert die Datenverarbeitung, da die Informationen klar definiert sind.</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Gezielte Datenerhebung</a:t>
                      </a:r>
                      <a:r>
                        <a:rPr lang="de-DE" sz="800" kern="1200">
                          <a:solidFill>
                            <a:schemeClr val="bg1"/>
                          </a:solidFill>
                        </a:rPr>
                        <a:t>: Der Chatbot erhält genau die benötigten Information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Effizienz</a:t>
                      </a:r>
                      <a:r>
                        <a:rPr lang="de-DE" sz="800" kern="1200">
                          <a:solidFill>
                            <a:schemeClr val="bg1"/>
                          </a:solidFill>
                        </a:rPr>
                        <a:t>: Geeignet für spezifische Prozesse wie Terminbuchung oder Problemberich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Automatisierungspotential</a:t>
                      </a:r>
                      <a:r>
                        <a:rPr lang="de-DE" sz="800" kern="1200">
                          <a:solidFill>
                            <a:schemeClr val="bg1"/>
                          </a:solidFill>
                        </a:rPr>
                        <a:t>: Eingaben können leicht für nachgelagerte Prozesse verwendet werden.</a:t>
                      </a:r>
                      <a:endParaRPr lang="de-DE" sz="800" kern="1200">
                        <a:solidFill>
                          <a:schemeClr val="bg1"/>
                        </a:solidFill>
                        <a:latin typeface="+mn-lt"/>
                        <a:ea typeface="+mn-ea"/>
                        <a:cs typeface="+mn-cs"/>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arre Kommunikation</a:t>
                      </a:r>
                      <a:r>
                        <a:rPr lang="de-DE" sz="800" kern="1200">
                          <a:solidFill>
                            <a:schemeClr val="bg1"/>
                          </a:solidFill>
                        </a:rPr>
                        <a:t>: Kann unflexibel sein, wenn der Nutzer nicht in das Formularschema pass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Wenig Interaktion</a:t>
                      </a:r>
                      <a:r>
                        <a:rPr lang="de-DE" sz="800" kern="1200">
                          <a:solidFill>
                            <a:schemeClr val="bg1"/>
                          </a:solidFill>
                        </a:rPr>
                        <a:t>: Fördert keine dialogische Kommunikation, wodurch der Chatbot weniger „lebendig“ wirkt.</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b="0" u="none" strike="noStrike" kern="100" cap="none">
                          <a:solidFill>
                            <a:schemeClr val="bg1"/>
                          </a:solidFill>
                          <a:effectLst/>
                          <a:sym typeface="Arial"/>
                        </a:rPr>
                        <a:t>×/</a:t>
                      </a:r>
                      <a:r>
                        <a:rPr lang="de-DE" sz="2400" kern="100">
                          <a:solidFill>
                            <a:srgbClr val="00B050"/>
                          </a:solidFill>
                          <a:effectLst/>
                        </a:rPr>
                        <a:t>✓</a:t>
                      </a:r>
                      <a:r>
                        <a:rPr lang="de-DE" sz="2400" kern="100">
                          <a:solidFill>
                            <a:schemeClr val="bg1"/>
                          </a:solidFill>
                          <a:effectLst/>
                        </a:rPr>
                        <a:t>*</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de-DE" sz="2400" b="0" i="0" u="none" strike="noStrike" kern="100" cap="none">
                        <a:solidFill>
                          <a:schemeClr val="bg1"/>
                        </a:solidFill>
                        <a:effectLst/>
                        <a:latin typeface="Calibri"/>
                        <a:ea typeface="+mn-ea"/>
                        <a:cs typeface="Times New Roman"/>
                        <a:sym typeface="Arial"/>
                      </a:endParaRPr>
                    </a:p>
                    <a:p>
                      <a:pPr marL="0" marR="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895135474"/>
                  </a:ext>
                </a:extLst>
              </a:tr>
            </a:tbl>
          </a:graphicData>
        </a:graphic>
      </p:graphicFrame>
      <p:sp>
        <p:nvSpPr>
          <p:cNvPr id="3" name="Textfeld 2">
            <a:extLst>
              <a:ext uri="{FF2B5EF4-FFF2-40B4-BE49-F238E27FC236}">
                <a16:creationId xmlns:a16="http://schemas.microsoft.com/office/drawing/2014/main" id="{12E55178-B9E9-0029-4D0F-9F9A64126F66}"/>
              </a:ext>
            </a:extLst>
          </p:cNvPr>
          <p:cNvSpPr txBox="1"/>
          <p:nvPr/>
        </p:nvSpPr>
        <p:spPr>
          <a:xfrm>
            <a:off x="4737763" y="4677807"/>
            <a:ext cx="3878947" cy="400110"/>
          </a:xfrm>
          <a:prstGeom prst="rect">
            <a:avLst/>
          </a:prstGeom>
          <a:noFill/>
        </p:spPr>
        <p:txBody>
          <a:bodyPr wrap="none" rtlCol="0">
            <a:spAutoFit/>
          </a:bodyPr>
          <a:lstStyle/>
          <a:p>
            <a:r>
              <a:rPr lang="de-DE" sz="1000" kern="100">
                <a:solidFill>
                  <a:schemeClr val="tx1"/>
                </a:solidFill>
                <a:effectLst/>
              </a:rPr>
              <a:t>*Abhängig vom Userinterview/Userpräferenz und Anwendungsfall</a:t>
            </a:r>
            <a:endParaRPr lang="de-DE" sz="1000" b="0" i="0" u="none" strike="noStrike" kern="100" cap="none">
              <a:solidFill>
                <a:schemeClr val="tx1"/>
              </a:solidFill>
              <a:effectLst/>
              <a:latin typeface="Calibri"/>
              <a:ea typeface="+mn-ea"/>
              <a:cs typeface="Times New Roman"/>
              <a:sym typeface="Arial"/>
            </a:endParaRPr>
          </a:p>
          <a:p>
            <a:endParaRPr lang="de-DE" sz="1000">
              <a:solidFill>
                <a:schemeClr val="tx1"/>
              </a:solidFill>
            </a:endParaRPr>
          </a:p>
        </p:txBody>
      </p:sp>
    </p:spTree>
    <p:extLst>
      <p:ext uri="{BB962C8B-B14F-4D97-AF65-F5344CB8AC3E}">
        <p14:creationId xmlns:p14="http://schemas.microsoft.com/office/powerpoint/2010/main" val="634971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986061-A0C6-365B-DD03-A49AE8E8F591}"/>
              </a:ext>
            </a:extLst>
          </p:cNvPr>
          <p:cNvSpPr>
            <a:spLocks noGrp="1"/>
          </p:cNvSpPr>
          <p:nvPr>
            <p:ph type="title"/>
          </p:nvPr>
        </p:nvSpPr>
        <p:spPr/>
        <p:txBody>
          <a:bodyPr/>
          <a:lstStyle/>
          <a:p>
            <a:r>
              <a:rPr lang="de-DE" sz="2400" kern="1200">
                <a:solidFill>
                  <a:schemeClr val="tx1"/>
                </a:solidFill>
                <a:latin typeface="+mn-lt"/>
                <a:ea typeface="+mn-ea"/>
                <a:cs typeface="+mn-cs"/>
              </a:rPr>
              <a:t>Output-</a:t>
            </a:r>
            <a:r>
              <a:rPr lang="de-DE" sz="2400" kern="1200" err="1">
                <a:solidFill>
                  <a:schemeClr val="tx1"/>
                </a:solidFill>
                <a:latin typeface="+mn-lt"/>
                <a:ea typeface="+mn-ea"/>
                <a:cs typeface="+mn-cs"/>
              </a:rPr>
              <a:t>Formatting</a:t>
            </a:r>
            <a:r>
              <a:rPr lang="de-DE" sz="2800"/>
              <a:t> - </a:t>
            </a:r>
            <a:r>
              <a:rPr lang="de-DE" sz="2800" b="1">
                <a:latin typeface="Calibri" panose="020F0502020204030204" pitchFamily="34" charset="0"/>
                <a:cs typeface="Times New Roman" panose="02020603050405020304" pitchFamily="18" charset="0"/>
              </a:rPr>
              <a:t>Prinzipien der Formatierung</a:t>
            </a:r>
            <a:br>
              <a:rPr lang="de-DE" sz="2800" b="1">
                <a:latin typeface="Calibri" panose="020F0502020204030204" pitchFamily="34" charset="0"/>
                <a:cs typeface="Times New Roman" panose="02020603050405020304" pitchFamily="18" charset="0"/>
              </a:rPr>
            </a:br>
            <a:endParaRPr lang="de-DE"/>
          </a:p>
        </p:txBody>
      </p:sp>
      <p:sp>
        <p:nvSpPr>
          <p:cNvPr id="3" name="Inhaltsplatzhalter 2">
            <a:extLst>
              <a:ext uri="{FF2B5EF4-FFF2-40B4-BE49-F238E27FC236}">
                <a16:creationId xmlns:a16="http://schemas.microsoft.com/office/drawing/2014/main" id="{8FF9FA1B-E713-5A7A-83FD-70166D698B89}"/>
              </a:ext>
            </a:extLst>
          </p:cNvPr>
          <p:cNvSpPr>
            <a:spLocks noGrp="1"/>
          </p:cNvSpPr>
          <p:nvPr>
            <p:ph idx="1"/>
          </p:nvPr>
        </p:nvSpPr>
        <p:spPr/>
        <p:txBody>
          <a:bodyPr/>
          <a:lstStyle/>
          <a:p>
            <a:endParaRPr lang="de-DE"/>
          </a:p>
        </p:txBody>
      </p:sp>
      <p:graphicFrame>
        <p:nvGraphicFramePr>
          <p:cNvPr id="4" name="Inhaltsplatzhalter 3">
            <a:extLst>
              <a:ext uri="{FF2B5EF4-FFF2-40B4-BE49-F238E27FC236}">
                <a16:creationId xmlns:a16="http://schemas.microsoft.com/office/drawing/2014/main" id="{F33ADC6A-AF72-6029-BAE9-DD9BD51AE711}"/>
              </a:ext>
            </a:extLst>
          </p:cNvPr>
          <p:cNvGraphicFramePr>
            <a:graphicFrameLocks/>
          </p:cNvGraphicFramePr>
          <p:nvPr>
            <p:extLst>
              <p:ext uri="{D42A27DB-BD31-4B8C-83A1-F6EECF244321}">
                <p14:modId xmlns:p14="http://schemas.microsoft.com/office/powerpoint/2010/main" val="3799298249"/>
              </p:ext>
            </p:extLst>
          </p:nvPr>
        </p:nvGraphicFramePr>
        <p:xfrm>
          <a:off x="311699" y="1078505"/>
          <a:ext cx="8520601" cy="3543300"/>
        </p:xfrm>
        <a:graphic>
          <a:graphicData uri="http://schemas.openxmlformats.org/drawingml/2006/table">
            <a:tbl>
              <a:tblPr firstRow="1" bandRow="1">
                <a:tableStyleId>{5C22544A-7EE6-4342-B048-85BDC9FD1C3A}</a:tableStyleId>
              </a:tblPr>
              <a:tblGrid>
                <a:gridCol w="730716">
                  <a:extLst>
                    <a:ext uri="{9D8B030D-6E8A-4147-A177-3AD203B41FA5}">
                      <a16:colId xmlns:a16="http://schemas.microsoft.com/office/drawing/2014/main" val="3528141745"/>
                    </a:ext>
                  </a:extLst>
                </a:gridCol>
                <a:gridCol w="3476576">
                  <a:extLst>
                    <a:ext uri="{9D8B030D-6E8A-4147-A177-3AD203B41FA5}">
                      <a16:colId xmlns:a16="http://schemas.microsoft.com/office/drawing/2014/main" val="3618333473"/>
                    </a:ext>
                  </a:extLst>
                </a:gridCol>
                <a:gridCol w="3048000">
                  <a:extLst>
                    <a:ext uri="{9D8B030D-6E8A-4147-A177-3AD203B41FA5}">
                      <a16:colId xmlns:a16="http://schemas.microsoft.com/office/drawing/2014/main" val="3585845154"/>
                    </a:ext>
                  </a:extLst>
                </a:gridCol>
                <a:gridCol w="1265309">
                  <a:extLst>
                    <a:ext uri="{9D8B030D-6E8A-4147-A177-3AD203B41FA5}">
                      <a16:colId xmlns:a16="http://schemas.microsoft.com/office/drawing/2014/main" val="1011482538"/>
                    </a:ext>
                  </a:extLst>
                </a:gridCol>
              </a:tblGrid>
              <a:tr h="140456">
                <a:tc>
                  <a:txBody>
                    <a:bodyPr/>
                    <a:lstStyle/>
                    <a:p>
                      <a:endParaRPr lang="de-DE" sz="60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rPr>
                        <a:t>Best Practices </a:t>
                      </a:r>
                      <a:endParaRPr lang="de-DE" sz="6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latin typeface="+mn-lt"/>
                          <a:ea typeface="+mn-ea"/>
                          <a:cs typeface="+mn-cs"/>
                        </a:rPr>
                        <a:t>Vor- und Nachteile</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rPr>
                        <a:t>Projektrelevanz</a:t>
                      </a:r>
                      <a:endParaRPr lang="de-DE" sz="600" b="1" kern="1200">
                        <a:solidFill>
                          <a:schemeClr val="lt1"/>
                        </a:solidFill>
                        <a:effectLst/>
                        <a:latin typeface="+mn-lt"/>
                        <a:ea typeface="+mn-ea"/>
                        <a:cs typeface="+mn-cs"/>
                      </a:endParaRPr>
                    </a:p>
                  </a:txBody>
                  <a:tcPr marL="68580" marR="68580" marT="34290" marB="34290"/>
                </a:tc>
                <a:extLst>
                  <a:ext uri="{0D108BD9-81ED-4DB2-BD59-A6C34878D82A}">
                    <a16:rowId xmlns:a16="http://schemas.microsoft.com/office/drawing/2014/main" val="1154961719"/>
                  </a:ext>
                </a:extLst>
              </a:tr>
              <a:tr h="29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Lesbarkeit</a:t>
                      </a:r>
                      <a:endParaRPr lang="de-DE" sz="600" b="1">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Verwendung einer </a:t>
                      </a:r>
                      <a:r>
                        <a:rPr lang="de-DE" sz="600" b="1" kern="1200">
                          <a:solidFill>
                            <a:schemeClr val="bg1"/>
                          </a:solidFill>
                          <a:latin typeface="+mn-lt"/>
                          <a:ea typeface="+mn-ea"/>
                          <a:cs typeface="+mn-cs"/>
                        </a:rPr>
                        <a:t>gut lesbaren Schriftart </a:t>
                      </a:r>
                      <a:r>
                        <a:rPr lang="de-DE" sz="600" kern="1200">
                          <a:solidFill>
                            <a:schemeClr val="bg1"/>
                          </a:solidFill>
                          <a:latin typeface="+mn-lt"/>
                          <a:ea typeface="+mn-ea"/>
                          <a:cs typeface="+mn-cs"/>
                        </a:rPr>
                        <a:t>(z. B. Arial, Helvetica).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lare Trennung zwischen Absätzen</a:t>
                      </a:r>
                      <a:r>
                        <a:rPr lang="de-DE" sz="600" kern="1200">
                          <a:solidFill>
                            <a:schemeClr val="bg1"/>
                          </a:solidFill>
                          <a:latin typeface="+mn-lt"/>
                          <a:ea typeface="+mn-ea"/>
                          <a:cs typeface="+mn-cs"/>
                        </a:rPr>
                        <a:t>, Überschriften und Inhal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trast</a:t>
                      </a:r>
                      <a:r>
                        <a:rPr lang="de-DE" sz="600" kern="1200">
                          <a:solidFill>
                            <a:schemeClr val="bg1"/>
                          </a:solidFill>
                          <a:latin typeface="+mn-lt"/>
                          <a:ea typeface="+mn-ea"/>
                          <a:cs typeface="+mn-cs"/>
                        </a:rPr>
                        <a:t> zwischen Text und Hintergrund optim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Schriftgrößen</a:t>
                      </a:r>
                      <a:r>
                        <a:rPr lang="de-DE" sz="600" kern="1200">
                          <a:solidFill>
                            <a:schemeClr val="bg1"/>
                          </a:solidFill>
                          <a:latin typeface="+mn-lt"/>
                          <a:ea typeface="+mn-ea"/>
                          <a:cs typeface="+mn-cs"/>
                        </a:rPr>
                        <a:t> für verschiedene Inhalte differenzier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Unterstützt eine schnelle und angenehme Aufnahme von Information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Reduziert kognitive Belastung durch klare, gut lesbare Schriftar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Bessere Nutzerzufriedenheit, da Informationen intuitiv erfassbar sind.</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Wenig ansprechende Schriftarten (z. B. Arial) können monoton wirken.</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a:t>
                      </a:r>
                      <a:r>
                        <a:rPr lang="de-DE" sz="600" kern="1200">
                          <a:solidFill>
                            <a:schemeClr val="bg1"/>
                          </a:solidFill>
                          <a:latin typeface="+mn-lt"/>
                          <a:ea typeface="+mn-ea"/>
                          <a:cs typeface="+mn-cs"/>
                        </a:rPr>
                        <a:t>Übernahme der Standardschriftart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083323642"/>
                  </a:ext>
                </a:extLst>
              </a:tr>
              <a:tr h="1612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Struktur</a:t>
                      </a:r>
                      <a:endParaRPr lang="de-DE" sz="600" b="1">
                        <a:solidFill>
                          <a:schemeClr val="bg1"/>
                        </a:solidFill>
                      </a:endParaRP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600" b="1" kern="1200">
                          <a:solidFill>
                            <a:schemeClr val="bg1"/>
                          </a:solidFill>
                          <a:latin typeface="+mn-lt"/>
                          <a:ea typeface="+mn-ea"/>
                          <a:cs typeface="+mn-cs"/>
                        </a:rPr>
                        <a:t>Logische Gliederung </a:t>
                      </a:r>
                      <a:r>
                        <a:rPr lang="de-DE" sz="600" kern="1200">
                          <a:solidFill>
                            <a:schemeClr val="bg1"/>
                          </a:solidFill>
                          <a:latin typeface="+mn-lt"/>
                          <a:ea typeface="+mn-ea"/>
                          <a:cs typeface="+mn-cs"/>
                        </a:rPr>
                        <a:t>mit klar definierten Abschnitten. Nutzung von Aufzählungen oder Tabellen, um Informationen zu organis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Klar unterscheidbare Überschriftenebenen (z. B. H1, H2, H3).</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Gruppieren verwandter Inhalte, z. B. durch Aufzählungen oder nummerierte List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Ermöglicht eine schnelle Navigation und Auffindbarkeit von Informationen.</a:t>
                      </a:r>
                    </a:p>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Hilft, komplexe Inhalte in übersichtliche, verdauliche Teile zu zerlegen.</a:t>
                      </a:r>
                    </a:p>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Missverständliche oder inkonsistente Gliederung kann Nutzer verwirr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Best Practice auf Anwendungsfall übertragbar </a:t>
                      </a: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793334089"/>
                  </a:ext>
                </a:extLst>
              </a:tr>
              <a:tr h="370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Design</a:t>
                      </a:r>
                      <a:endParaRPr lang="de-DE" sz="600" b="1">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Einheitliche Farb- und Stilgestaltung</a:t>
                      </a:r>
                      <a:r>
                        <a:rPr lang="de-DE" sz="600" b="0" kern="1200">
                          <a:solidFill>
                            <a:schemeClr val="bg1"/>
                          </a:solidFill>
                          <a:latin typeface="+mn-lt"/>
                          <a:ea typeface="+mn-ea"/>
                          <a:cs typeface="+mn-cs"/>
                        </a:rPr>
                        <a:t>. Sparsamer Einsatz von Designelemen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Definition einer Farbpalette und konsistente Verwendung dieser (maximal 3-4 Farben). Sparsame Verwendung von Akzen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Sicherstellen, dass das Design visuell ansprechend und gleichzeitig funktional bleibt.</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inheitliches Design schafft Professionalität und stärkt die Markenwahrnehmung.</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ine schlichte Gestaltung minimiert Ablenkungen und fördert die Konzentratio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Zu einfaches Design könnte uninspiriert wirk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latin typeface="+mn-lt"/>
                          <a:ea typeface="+mn-ea"/>
                          <a:cs typeface="+mn-cs"/>
                        </a:rPr>
                        <a:t>Übernahme des Designs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895135474"/>
                  </a:ext>
                </a:extLst>
              </a:tr>
              <a:tr h="3622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Responsive Gestaltung</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Anpassungsfähigkeit an verschiedene Geräte </a:t>
                      </a:r>
                      <a:r>
                        <a:rPr lang="de-DE" sz="600" kern="1200">
                          <a:solidFill>
                            <a:schemeClr val="bg1"/>
                          </a:solidFill>
                          <a:latin typeface="+mn-lt"/>
                          <a:ea typeface="+mn-ea"/>
                          <a:cs typeface="+mn-cs"/>
                        </a:rPr>
                        <a:t>(Desktop, Tablet, Smartphon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Testen der Darstellung auf verschiedenen Bildschirmgrößen (Desktop, Tablet, Smartphon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Flexible Layouts und die Anpassung von Schriftgrößen und -art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Verbesserte Benutzerfreundlichkeit auf verschiedenen Gerä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rhöht die Reichweite durch eine bessere Nutzererfahrung auf Mobilgerä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Höhere Entwicklungszeit und –kos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Komplexität bei der Sicherstellung, dass alle Elemente auf kleinen Bildschirmen funktionier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chemeClr val="bg1"/>
                          </a:solidFill>
                          <a:effectLst/>
                          <a:latin typeface="Calibri"/>
                          <a:ea typeface="Calibri"/>
                          <a:cs typeface="Times New Roman"/>
                        </a:rPr>
                        <a:t>×</a:t>
                      </a: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Definition im Userinterview</a:t>
                      </a:r>
                      <a:endParaRPr lang="de-DE" sz="600" kern="1200">
                        <a:solidFill>
                          <a:schemeClr val="bg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938510299"/>
                  </a:ext>
                </a:extLst>
              </a:tr>
              <a:tr h="580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Farbkodierung</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Farben gezielt einsetzen</a:t>
                      </a:r>
                      <a:r>
                        <a:rPr lang="de-DE" sz="600" kern="1200">
                          <a:solidFill>
                            <a:schemeClr val="bg1"/>
                          </a:solidFill>
                          <a:latin typeface="+mn-lt"/>
                          <a:ea typeface="+mn-ea"/>
                          <a:cs typeface="+mn-cs"/>
                        </a:rPr>
                        <a:t>, um Informationen zu kategorisieren oder zu priorisieren. Beispiel: Grün für positive, Rot für negative Trends.</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sistenz</a:t>
                      </a:r>
                      <a:r>
                        <a:rPr lang="de-DE" sz="600" kern="1200">
                          <a:solidFill>
                            <a:schemeClr val="bg1"/>
                          </a:solidFill>
                          <a:latin typeface="+mn-lt"/>
                          <a:ea typeface="+mn-ea"/>
                          <a:cs typeface="+mn-cs"/>
                        </a:rPr>
                        <a:t>: Verwendung einer einheitlichen Farbpalette, um Verwirrung zu vermeid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trast beachten: </a:t>
                      </a:r>
                      <a:r>
                        <a:rPr lang="de-DE" sz="600" kern="1200">
                          <a:solidFill>
                            <a:schemeClr val="bg1"/>
                          </a:solidFill>
                          <a:latin typeface="+mn-lt"/>
                          <a:ea typeface="+mn-ea"/>
                          <a:cs typeface="+mn-cs"/>
                        </a:rPr>
                        <a:t>ausreichend Kontrast zwischen Text und Hintergrundfarbe für optimale Lesbarkei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Testen</a:t>
                      </a:r>
                      <a:r>
                        <a:rPr lang="de-DE" sz="600" kern="1200">
                          <a:solidFill>
                            <a:schemeClr val="bg1"/>
                          </a:solidFill>
                          <a:latin typeface="+mn-lt"/>
                          <a:ea typeface="+mn-ea"/>
                          <a:cs typeface="+mn-cs"/>
                        </a:rPr>
                        <a:t>: Validierung der Farbcodierung mit Nutzertests</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Schnelle Orientierung: Nutzer erkennen Informationen oder Kategorien intuitiv durch Far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Verbesserte Strukturierung: Farben helfen, Inhalte zu organisieren und hervorzuhe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Universalität: Farben funktionieren unabhängig von Sprachbarr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Überladenheit: Zu viele Farben können verwirren und unprofessionell wirk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latin typeface="+mn-lt"/>
                          <a:ea typeface="+mn-ea"/>
                          <a:cs typeface="+mn-cs"/>
                        </a:rPr>
                        <a:t>Übernahme der Farbkodierung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123342965"/>
                  </a:ext>
                </a:extLst>
              </a:tr>
              <a:tr h="5121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White Space (Freiraum):</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Ausreichend Freiraum um Texte und Grafiken schafft </a:t>
                      </a:r>
                      <a:r>
                        <a:rPr lang="de-DE" sz="600" b="1" kern="1200">
                          <a:solidFill>
                            <a:schemeClr val="bg1"/>
                          </a:solidFill>
                          <a:latin typeface="+mn-lt"/>
                          <a:ea typeface="+mn-ea"/>
                          <a:cs typeface="+mn-cs"/>
                        </a:rPr>
                        <a:t>Übersichtlichkeit</a:t>
                      </a:r>
                      <a:r>
                        <a:rPr lang="de-DE" sz="600" kern="1200">
                          <a:solidFill>
                            <a:schemeClr val="bg1"/>
                          </a:solidFill>
                          <a:latin typeface="+mn-lt"/>
                          <a:ea typeface="+mn-ea"/>
                          <a:cs typeface="+mn-cs"/>
                        </a:rPr>
                        <a:t> und erleichtert die Aufnahme der Inhal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Ausgewogene Abstände</a:t>
                      </a:r>
                      <a:r>
                        <a:rPr lang="de-DE" sz="600" kern="1200">
                          <a:solidFill>
                            <a:schemeClr val="bg1"/>
                          </a:solidFill>
                          <a:latin typeface="+mn-lt"/>
                          <a:ea typeface="+mn-ea"/>
                          <a:cs typeface="+mn-cs"/>
                        </a:rPr>
                        <a:t>: Konsistente Abstände zwischen Absätzen, Überschriften und Bilder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Responsive Design beachten</a:t>
                      </a:r>
                      <a:r>
                        <a:rPr lang="de-DE" sz="600" kern="1200">
                          <a:solidFill>
                            <a:schemeClr val="bg1"/>
                          </a:solidFill>
                          <a:latin typeface="+mn-lt"/>
                          <a:ea typeface="+mn-ea"/>
                          <a:cs typeface="+mn-cs"/>
                        </a:rPr>
                        <a:t>: Freiraum soll auf verschiedenen Geräten proportional blei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Negativer Freiraum: </a:t>
                      </a:r>
                      <a:r>
                        <a:rPr lang="de-DE" sz="600" kern="1200">
                          <a:solidFill>
                            <a:schemeClr val="bg1"/>
                          </a:solidFill>
                          <a:latin typeface="+mn-lt"/>
                          <a:ea typeface="+mn-ea"/>
                          <a:cs typeface="+mn-cs"/>
                        </a:rPr>
                        <a:t>Wie wird der „leere Raum“ verwendet, um den Fokus zu lenken, statt ihn einfach „leer“ zu lass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rhöhte Lesbarkeit: Freiraum trennt Inhalte visuell und macht sie leichter erfassbar.</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Fokuslenkung: Lenkt die Aufmerksamkeit des Nutzers auf wesentliche Inhal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ntlastung für die Augen: Verhindert visuelle Überforderung, besonders bei komplexen Sei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Platzbedarf: Kann auf kleinen Bildschirmen oder in begrenztem Layout Platzprobleme verursach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Best Practice auf Anwendungsfall übertragbar</a:t>
                      </a:r>
                      <a:endParaRPr lang="de-DE" sz="600" kern="1200">
                        <a:solidFill>
                          <a:schemeClr val="bg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399187917"/>
                  </a:ext>
                </a:extLst>
              </a:tr>
            </a:tbl>
          </a:graphicData>
        </a:graphic>
      </p:graphicFrame>
    </p:spTree>
    <p:extLst>
      <p:ext uri="{BB962C8B-B14F-4D97-AF65-F5344CB8AC3E}">
        <p14:creationId xmlns:p14="http://schemas.microsoft.com/office/powerpoint/2010/main" val="2720047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ython</a:t>
            </a:r>
          </a:p>
        </p:txBody>
      </p:sp>
      <p:sp>
        <p:nvSpPr>
          <p:cNvPr id="3" name="Content Placeholder 2">
            <a:extLst>
              <a:ext uri="{FF2B5EF4-FFF2-40B4-BE49-F238E27FC236}">
                <a16:creationId xmlns:a16="http://schemas.microsoft.com/office/drawing/2014/main" id="{0866A2E3-DF7B-65BA-CC7D-36EA193B9F7B}"/>
              </a:ext>
            </a:extLst>
          </p:cNvPr>
          <p:cNvSpPr>
            <a:spLocks noGrp="1"/>
          </p:cNvSpPr>
          <p:nvPr>
            <p:ph idx="1"/>
          </p:nvPr>
        </p:nvSpPr>
        <p:spPr/>
        <p:txBody>
          <a:bodyPr/>
          <a:lstStyle/>
          <a:p>
            <a:r>
              <a:rPr lang="en-US" err="1"/>
              <a:t>Nutzung</a:t>
            </a:r>
            <a:r>
              <a:rPr lang="en-US"/>
              <a:t> der API </a:t>
            </a:r>
            <a:r>
              <a:rPr lang="en-US" err="1"/>
              <a:t>wie</a:t>
            </a:r>
            <a:r>
              <a:rPr lang="en-US"/>
              <a:t> in der </a:t>
            </a:r>
            <a:r>
              <a:rPr lang="en-US" err="1"/>
              <a:t>Dokumentation</a:t>
            </a:r>
            <a:r>
              <a:rPr lang="en-US"/>
              <a:t> </a:t>
            </a:r>
            <a:r>
              <a:rPr lang="en-US" err="1"/>
              <a:t>beschrieben</a:t>
            </a:r>
            <a:r>
              <a:rPr lang="en-US"/>
              <a:t> um den Service </a:t>
            </a:r>
            <a:r>
              <a:rPr lang="en-US" err="1"/>
              <a:t>zu</a:t>
            </a:r>
            <a:r>
              <a:rPr lang="en-US"/>
              <a:t> </a:t>
            </a:r>
            <a:r>
              <a:rPr lang="en-US" err="1"/>
              <a:t>nutzen</a:t>
            </a:r>
          </a:p>
          <a:p>
            <a:r>
              <a:rPr lang="en-US" err="1"/>
              <a:t>Ergänzung</a:t>
            </a:r>
            <a:r>
              <a:rPr lang="en-US"/>
              <a:t> der </a:t>
            </a:r>
            <a:r>
              <a:rPr lang="en-US" err="1"/>
              <a:t>Ausgabe</a:t>
            </a:r>
            <a:r>
              <a:rPr lang="en-US"/>
              <a:t> um Status &amp; </a:t>
            </a:r>
            <a:r>
              <a:rPr lang="en-US" err="1"/>
              <a:t>Resultate</a:t>
            </a:r>
            <a:endParaRPr lang="en-US"/>
          </a:p>
        </p:txBody>
      </p:sp>
      <p:sp>
        <p:nvSpPr>
          <p:cNvPr id="4" name="TextBox 3">
            <a:extLst>
              <a:ext uri="{FF2B5EF4-FFF2-40B4-BE49-F238E27FC236}">
                <a16:creationId xmlns:a16="http://schemas.microsoft.com/office/drawing/2014/main" id="{3A352525-7773-C4B9-E57E-22C618668A30}"/>
              </a:ext>
            </a:extLst>
          </p:cNvPr>
          <p:cNvSpPr txBox="1"/>
          <p:nvPr/>
        </p:nvSpPr>
        <p:spPr>
          <a:xfrm>
            <a:off x="555625" y="2571750"/>
            <a:ext cx="8035925"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3E3E3"/>
                </a:solidFill>
                <a:latin typeface="Courier New"/>
                <a:cs typeface="Courier New"/>
              </a:rPr>
              <a:t>Status: id='7cfcade9-6400-4855-be63-798f632d31d4' status=&lt;</a:t>
            </a:r>
            <a:r>
              <a:rPr lang="en-US" err="1">
                <a:solidFill>
                  <a:srgbClr val="E3E3E3"/>
                </a:solidFill>
                <a:latin typeface="Courier New"/>
                <a:cs typeface="Courier New"/>
              </a:rPr>
              <a:t>JobStatus.PENDING</a:t>
            </a:r>
            <a:r>
              <a:rPr lang="en-US">
                <a:solidFill>
                  <a:srgbClr val="E3E3E3"/>
                </a:solidFill>
                <a:latin typeface="Courier New"/>
                <a:cs typeface="Courier New"/>
              </a:rPr>
              <a:t>: 'PENDING'&gt; </a:t>
            </a:r>
            <a:r>
              <a:rPr lang="en-US" err="1">
                <a:solidFill>
                  <a:srgbClr val="E3E3E3"/>
                </a:solidFill>
                <a:latin typeface="Courier New"/>
                <a:cs typeface="Courier New"/>
              </a:rPr>
              <a:t>created_at</a:t>
            </a:r>
            <a:r>
              <a:rPr lang="en-US">
                <a:solidFill>
                  <a:srgbClr val="E3E3E3"/>
                </a:solidFill>
                <a:latin typeface="Courier New"/>
                <a:cs typeface="Courier New"/>
              </a:rPr>
              <a:t>='2025-01-12 22:04:04' </a:t>
            </a:r>
            <a:r>
              <a:rPr lang="en-US" err="1">
                <a:solidFill>
                  <a:srgbClr val="E3E3E3"/>
                </a:solidFill>
                <a:latin typeface="Courier New"/>
                <a:cs typeface="Courier New"/>
              </a:rPr>
              <a:t>started_at</a:t>
            </a:r>
            <a:r>
              <a:rPr lang="en-US">
                <a:solidFill>
                  <a:srgbClr val="E3E3E3"/>
                </a:solidFill>
                <a:latin typeface="Courier New"/>
                <a:cs typeface="Courier New"/>
              </a:rPr>
              <a:t>=None </a:t>
            </a:r>
            <a:r>
              <a:rPr lang="en-US" err="1">
                <a:solidFill>
                  <a:srgbClr val="E3E3E3"/>
                </a:solidFill>
                <a:latin typeface="Courier New"/>
                <a:cs typeface="Courier New"/>
              </a:rPr>
              <a:t>ended_at</a:t>
            </a:r>
            <a:r>
              <a:rPr lang="en-US">
                <a:solidFill>
                  <a:srgbClr val="E3E3E3"/>
                </a:solidFill>
                <a:latin typeface="Courier New"/>
                <a:cs typeface="Courier New"/>
              </a:rPr>
              <a:t>=None </a:t>
            </a:r>
            <a:endParaRPr lang="en-US"/>
          </a:p>
          <a:p>
            <a:endParaRPr lang="en-US">
              <a:solidFill>
                <a:srgbClr val="E3E3E3"/>
              </a:solidFill>
              <a:latin typeface="Courier New"/>
              <a:cs typeface="Courier New"/>
            </a:endParaRPr>
          </a:p>
          <a:p>
            <a:r>
              <a:rPr lang="en-US" err="1">
                <a:solidFill>
                  <a:srgbClr val="E3E3E3"/>
                </a:solidFill>
                <a:latin typeface="Courier New"/>
                <a:cs typeface="Courier New"/>
              </a:rPr>
              <a:t>Ergebnis</a:t>
            </a:r>
            <a:r>
              <a:rPr lang="en-US">
                <a:solidFill>
                  <a:srgbClr val="E3E3E3"/>
                </a:solidFill>
                <a:latin typeface="Courier New"/>
                <a:cs typeface="Courier New"/>
              </a:rPr>
              <a:t>: {'</a:t>
            </a:r>
            <a:r>
              <a:rPr lang="en-US" err="1">
                <a:solidFill>
                  <a:srgbClr val="E3E3E3"/>
                </a:solidFill>
                <a:latin typeface="Courier New"/>
                <a:cs typeface="Courier New"/>
              </a:rPr>
              <a:t>backend_name</a:t>
            </a:r>
            <a:r>
              <a:rPr lang="en-US">
                <a:solidFill>
                  <a:srgbClr val="E3E3E3"/>
                </a:solidFill>
                <a:latin typeface="Courier New"/>
                <a:cs typeface="Courier New"/>
              </a:rPr>
              <a:t>': '</a:t>
            </a:r>
            <a:r>
              <a:rPr lang="en-US" err="1">
                <a:solidFill>
                  <a:srgbClr val="E3E3E3"/>
                </a:solidFill>
                <a:latin typeface="Courier New"/>
                <a:cs typeface="Courier New"/>
              </a:rPr>
              <a:t>azure.ionq.simulator</a:t>
            </a:r>
            <a:r>
              <a:rPr lang="en-US">
                <a:solidFill>
                  <a:srgbClr val="E3E3E3"/>
                </a:solidFill>
                <a:latin typeface="Courier New"/>
                <a:cs typeface="Courier New"/>
              </a:rPr>
              <a:t>', '</a:t>
            </a:r>
            <a:r>
              <a:rPr lang="en-US" err="1">
                <a:solidFill>
                  <a:srgbClr val="E3E3E3"/>
                </a:solidFill>
                <a:latin typeface="Courier New"/>
                <a:cs typeface="Courier New"/>
              </a:rPr>
              <a:t>job_id</a:t>
            </a:r>
            <a:r>
              <a:rPr lang="en-US">
                <a:solidFill>
                  <a:srgbClr val="E3E3E3"/>
                </a:solidFill>
                <a:latin typeface="Courier New"/>
                <a:cs typeface="Courier New"/>
              </a:rPr>
              <a:t>': 'e1253d12-1d00-40c8-918b-40ddbbb92070', 'counts': {'0000': 34, '0001': 111, '0010': 1, '0011': 5, '0100': 116, '0101': 158, '0110': 3, '0111': 48, '1000': 244, '1001': 84, '1010': 35, '1011': 46, '1100': 51, '1101': 16, '1110': 43, '1111': 29}, 'shots': 1024}</a:t>
            </a:r>
            <a:endParaRPr lang="en-US"/>
          </a:p>
        </p:txBody>
      </p:sp>
    </p:spTree>
    <p:extLst>
      <p:ext uri="{BB962C8B-B14F-4D97-AF65-F5344CB8AC3E}">
        <p14:creationId xmlns:p14="http://schemas.microsoft.com/office/powerpoint/2010/main" val="30636719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F3BEB9-0AC8-8052-1E3B-4C75A382FB4C}"/>
              </a:ext>
            </a:extLst>
          </p:cNvPr>
          <p:cNvPicPr>
            <a:picLocks noChangeAspect="1"/>
          </p:cNvPicPr>
          <p:nvPr/>
        </p:nvPicPr>
        <p:blipFill>
          <a:blip r:embed="rId3"/>
          <a:stretch>
            <a:fillRect/>
          </a:stretch>
        </p:blipFill>
        <p:spPr>
          <a:xfrm>
            <a:off x="1837853" y="174625"/>
            <a:ext cx="5468293" cy="4794250"/>
          </a:xfrm>
          <a:prstGeom prst="rect">
            <a:avLst/>
          </a:prstGeom>
        </p:spPr>
      </p:pic>
    </p:spTree>
    <p:extLst>
      <p:ext uri="{BB962C8B-B14F-4D97-AF65-F5344CB8AC3E}">
        <p14:creationId xmlns:p14="http://schemas.microsoft.com/office/powerpoint/2010/main" val="2428689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pic>
        <p:nvPicPr>
          <p:cNvPr id="9" name="Content Placeholder 8">
            <a:extLst>
              <a:ext uri="{FF2B5EF4-FFF2-40B4-BE49-F238E27FC236}">
                <a16:creationId xmlns:a16="http://schemas.microsoft.com/office/drawing/2014/main" id="{0B75D2D3-E28F-4EED-2701-BEC107055D38}"/>
              </a:ext>
            </a:extLst>
          </p:cNvPr>
          <p:cNvPicPr>
            <a:picLocks noGrp="1" noChangeAspect="1"/>
          </p:cNvPicPr>
          <p:nvPr>
            <p:ph idx="1"/>
          </p:nvPr>
        </p:nvPicPr>
        <p:blipFill>
          <a:blip r:embed="rId2"/>
          <a:stretch>
            <a:fillRect/>
          </a:stretch>
        </p:blipFill>
        <p:spPr>
          <a:xfrm>
            <a:off x="181986" y="1523950"/>
            <a:ext cx="2569727" cy="3416400"/>
          </a:xfrm>
        </p:spPr>
      </p:pic>
      <p:grpSp>
        <p:nvGrpSpPr>
          <p:cNvPr id="12" name="Group 11">
            <a:extLst>
              <a:ext uri="{FF2B5EF4-FFF2-40B4-BE49-F238E27FC236}">
                <a16:creationId xmlns:a16="http://schemas.microsoft.com/office/drawing/2014/main" id="{B74588AA-86C9-136E-46D5-133714FD6124}"/>
              </a:ext>
            </a:extLst>
          </p:cNvPr>
          <p:cNvGrpSpPr/>
          <p:nvPr/>
        </p:nvGrpSpPr>
        <p:grpSpPr>
          <a:xfrm>
            <a:off x="3092450" y="1817392"/>
            <a:ext cx="5740409" cy="2826342"/>
            <a:chOff x="2965450" y="1817392"/>
            <a:chExt cx="5740409" cy="2826342"/>
          </a:xfrm>
        </p:grpSpPr>
        <p:pic>
          <p:nvPicPr>
            <p:cNvPr id="10" name="Picture 9">
              <a:extLst>
                <a:ext uri="{FF2B5EF4-FFF2-40B4-BE49-F238E27FC236}">
                  <a16:creationId xmlns:a16="http://schemas.microsoft.com/office/drawing/2014/main" id="{F9591FA6-B4E6-321E-8E3E-08522D39DD9C}"/>
                </a:ext>
              </a:extLst>
            </p:cNvPr>
            <p:cNvPicPr>
              <a:picLocks noChangeAspect="1"/>
            </p:cNvPicPr>
            <p:nvPr/>
          </p:nvPicPr>
          <p:blipFill>
            <a:blip r:embed="rId3"/>
            <a:srcRect r="84583" b="-112"/>
            <a:stretch/>
          </p:blipFill>
          <p:spPr>
            <a:xfrm>
              <a:off x="2965450" y="1817392"/>
              <a:ext cx="1409704" cy="2826342"/>
            </a:xfrm>
            <a:prstGeom prst="rect">
              <a:avLst/>
            </a:prstGeom>
          </p:spPr>
        </p:pic>
        <p:pic>
          <p:nvPicPr>
            <p:cNvPr id="11" name="Picture 10">
              <a:extLst>
                <a:ext uri="{FF2B5EF4-FFF2-40B4-BE49-F238E27FC236}">
                  <a16:creationId xmlns:a16="http://schemas.microsoft.com/office/drawing/2014/main" id="{57B54DCC-3840-2125-F50E-79381AD397C7}"/>
                </a:ext>
              </a:extLst>
            </p:cNvPr>
            <p:cNvPicPr>
              <a:picLocks noChangeAspect="1"/>
            </p:cNvPicPr>
            <p:nvPr/>
          </p:nvPicPr>
          <p:blipFill>
            <a:blip r:embed="rId3"/>
            <a:srcRect l="52639" b="-112"/>
            <a:stretch/>
          </p:blipFill>
          <p:spPr>
            <a:xfrm>
              <a:off x="4375150" y="1817392"/>
              <a:ext cx="4330709" cy="2826342"/>
            </a:xfrm>
            <a:prstGeom prst="rect">
              <a:avLst/>
            </a:prstGeom>
          </p:spPr>
        </p:pic>
      </p:grpSp>
      <p:sp>
        <p:nvSpPr>
          <p:cNvPr id="13" name="TextBox 12">
            <a:extLst>
              <a:ext uri="{FF2B5EF4-FFF2-40B4-BE49-F238E27FC236}">
                <a16:creationId xmlns:a16="http://schemas.microsoft.com/office/drawing/2014/main" id="{AE88932D-A9A0-3ECB-B0CE-9BB9236330A4}"/>
              </a:ext>
            </a:extLst>
          </p:cNvPr>
          <p:cNvSpPr txBox="1"/>
          <p:nvPr/>
        </p:nvSpPr>
        <p:spPr>
          <a:xfrm>
            <a:off x="1090762" y="1100656"/>
            <a:ext cx="75864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Input</a:t>
            </a:r>
          </a:p>
        </p:txBody>
      </p:sp>
      <p:sp>
        <p:nvSpPr>
          <p:cNvPr id="14" name="TextBox 13">
            <a:extLst>
              <a:ext uri="{FF2B5EF4-FFF2-40B4-BE49-F238E27FC236}">
                <a16:creationId xmlns:a16="http://schemas.microsoft.com/office/drawing/2014/main" id="{3F1BE64A-4068-65FB-31DE-D22F177C6CEF}"/>
              </a:ext>
            </a:extLst>
          </p:cNvPr>
          <p:cNvSpPr txBox="1"/>
          <p:nvPr/>
        </p:nvSpPr>
        <p:spPr>
          <a:xfrm>
            <a:off x="5437337" y="1100656"/>
            <a:ext cx="10539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Header</a:t>
            </a:r>
            <a:endParaRPr lang="en-US"/>
          </a:p>
        </p:txBody>
      </p:sp>
    </p:spTree>
    <p:extLst>
      <p:ext uri="{BB962C8B-B14F-4D97-AF65-F5344CB8AC3E}">
        <p14:creationId xmlns:p14="http://schemas.microsoft.com/office/powerpoint/2010/main" val="40742534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sp>
        <p:nvSpPr>
          <p:cNvPr id="6" name="TextBox 5">
            <a:extLst>
              <a:ext uri="{FF2B5EF4-FFF2-40B4-BE49-F238E27FC236}">
                <a16:creationId xmlns:a16="http://schemas.microsoft.com/office/drawing/2014/main" id="{A68F0CB1-3452-686B-796A-9A7AB1FC37CB}"/>
              </a:ext>
            </a:extLst>
          </p:cNvPr>
          <p:cNvSpPr txBox="1"/>
          <p:nvPr/>
        </p:nvSpPr>
        <p:spPr>
          <a:xfrm>
            <a:off x="5043637" y="1507056"/>
            <a:ext cx="3787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Get interim results of an execution</a:t>
            </a:r>
            <a:endParaRPr lang="en-US"/>
          </a:p>
        </p:txBody>
      </p:sp>
      <p:sp>
        <p:nvSpPr>
          <p:cNvPr id="7" name="TextBox 6">
            <a:extLst>
              <a:ext uri="{FF2B5EF4-FFF2-40B4-BE49-F238E27FC236}">
                <a16:creationId xmlns:a16="http://schemas.microsoft.com/office/drawing/2014/main" id="{A4D362AF-AC9F-465E-E2F5-E127E9367750}"/>
              </a:ext>
            </a:extLst>
          </p:cNvPr>
          <p:cNvSpPr txBox="1"/>
          <p:nvPr/>
        </p:nvSpPr>
        <p:spPr>
          <a:xfrm>
            <a:off x="735162" y="1507056"/>
            <a:ext cx="3279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Health checking Endpoint</a:t>
            </a:r>
            <a:endParaRPr lang="en-US"/>
          </a:p>
        </p:txBody>
      </p:sp>
      <p:pic>
        <p:nvPicPr>
          <p:cNvPr id="9" name="Picture 8">
            <a:extLst>
              <a:ext uri="{FF2B5EF4-FFF2-40B4-BE49-F238E27FC236}">
                <a16:creationId xmlns:a16="http://schemas.microsoft.com/office/drawing/2014/main" id="{BB26BDF7-1EFF-B77D-5540-191D2F9A3CF3}"/>
              </a:ext>
            </a:extLst>
          </p:cNvPr>
          <p:cNvPicPr>
            <a:picLocks noChangeAspect="1"/>
          </p:cNvPicPr>
          <p:nvPr/>
        </p:nvPicPr>
        <p:blipFill>
          <a:blip r:embed="rId2"/>
          <a:stretch>
            <a:fillRect/>
          </a:stretch>
        </p:blipFill>
        <p:spPr>
          <a:xfrm>
            <a:off x="5170488" y="2671763"/>
            <a:ext cx="3533775" cy="695325"/>
          </a:xfrm>
          <a:prstGeom prst="rect">
            <a:avLst/>
          </a:prstGeom>
        </p:spPr>
      </p:pic>
      <p:pic>
        <p:nvPicPr>
          <p:cNvPr id="10" name="Picture 9">
            <a:extLst>
              <a:ext uri="{FF2B5EF4-FFF2-40B4-BE49-F238E27FC236}">
                <a16:creationId xmlns:a16="http://schemas.microsoft.com/office/drawing/2014/main" id="{5017C13C-8A8E-DA5B-C9E7-64AF20497984}"/>
              </a:ext>
            </a:extLst>
          </p:cNvPr>
          <p:cNvPicPr>
            <a:picLocks noChangeAspect="1"/>
          </p:cNvPicPr>
          <p:nvPr/>
        </p:nvPicPr>
        <p:blipFill>
          <a:blip r:embed="rId3"/>
          <a:stretch>
            <a:fillRect/>
          </a:stretch>
        </p:blipFill>
        <p:spPr>
          <a:xfrm>
            <a:off x="441325" y="2770188"/>
            <a:ext cx="3863975" cy="365125"/>
          </a:xfrm>
          <a:prstGeom prst="rect">
            <a:avLst/>
          </a:prstGeom>
        </p:spPr>
      </p:pic>
    </p:spTree>
    <p:extLst>
      <p:ext uri="{BB962C8B-B14F-4D97-AF65-F5344CB8AC3E}">
        <p14:creationId xmlns:p14="http://schemas.microsoft.com/office/powerpoint/2010/main" val="1879178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pic>
        <p:nvPicPr>
          <p:cNvPr id="3" name="Content Placeholder 2">
            <a:extLst>
              <a:ext uri="{FF2B5EF4-FFF2-40B4-BE49-F238E27FC236}">
                <a16:creationId xmlns:a16="http://schemas.microsoft.com/office/drawing/2014/main" id="{98BD0911-54A4-3271-E210-164AF1075DA4}"/>
              </a:ext>
            </a:extLst>
          </p:cNvPr>
          <p:cNvPicPr>
            <a:picLocks noGrp="1" noChangeAspect="1"/>
          </p:cNvPicPr>
          <p:nvPr>
            <p:ph idx="1"/>
          </p:nvPr>
        </p:nvPicPr>
        <p:blipFill>
          <a:blip r:embed="rId2"/>
          <a:stretch>
            <a:fillRect/>
          </a:stretch>
        </p:blipFill>
        <p:spPr>
          <a:xfrm>
            <a:off x="312135" y="2244482"/>
            <a:ext cx="4067175" cy="1952625"/>
          </a:xfrm>
        </p:spPr>
      </p:pic>
      <p:sp>
        <p:nvSpPr>
          <p:cNvPr id="6" name="TextBox 5">
            <a:extLst>
              <a:ext uri="{FF2B5EF4-FFF2-40B4-BE49-F238E27FC236}">
                <a16:creationId xmlns:a16="http://schemas.microsoft.com/office/drawing/2014/main" id="{A68F0CB1-3452-686B-796A-9A7AB1FC37CB}"/>
              </a:ext>
            </a:extLst>
          </p:cNvPr>
          <p:cNvSpPr txBox="1"/>
          <p:nvPr/>
        </p:nvSpPr>
        <p:spPr>
          <a:xfrm>
            <a:off x="903437" y="1424506"/>
            <a:ext cx="28858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Check execution status</a:t>
            </a:r>
            <a:endParaRPr lang="en-US"/>
          </a:p>
        </p:txBody>
      </p:sp>
      <p:sp>
        <p:nvSpPr>
          <p:cNvPr id="7" name="TextBox 6">
            <a:extLst>
              <a:ext uri="{FF2B5EF4-FFF2-40B4-BE49-F238E27FC236}">
                <a16:creationId xmlns:a16="http://schemas.microsoft.com/office/drawing/2014/main" id="{A4D362AF-AC9F-465E-E2F5-E127E9367750}"/>
              </a:ext>
            </a:extLst>
          </p:cNvPr>
          <p:cNvSpPr txBox="1"/>
          <p:nvPr/>
        </p:nvSpPr>
        <p:spPr>
          <a:xfrm>
            <a:off x="5192862" y="1424506"/>
            <a:ext cx="3279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Get the result of an execution</a:t>
            </a:r>
            <a:endParaRPr lang="en-US"/>
          </a:p>
        </p:txBody>
      </p:sp>
      <p:pic>
        <p:nvPicPr>
          <p:cNvPr id="8" name="Picture 7">
            <a:extLst>
              <a:ext uri="{FF2B5EF4-FFF2-40B4-BE49-F238E27FC236}">
                <a16:creationId xmlns:a16="http://schemas.microsoft.com/office/drawing/2014/main" id="{B27885E7-9C22-673C-E00F-536941F8215F}"/>
              </a:ext>
            </a:extLst>
          </p:cNvPr>
          <p:cNvPicPr>
            <a:picLocks noChangeAspect="1"/>
          </p:cNvPicPr>
          <p:nvPr/>
        </p:nvPicPr>
        <p:blipFill>
          <a:blip r:embed="rId3"/>
          <a:stretch>
            <a:fillRect/>
          </a:stretch>
        </p:blipFill>
        <p:spPr>
          <a:xfrm>
            <a:off x="4570413" y="2401888"/>
            <a:ext cx="4524375" cy="1635125"/>
          </a:xfrm>
          <a:prstGeom prst="rect">
            <a:avLst/>
          </a:prstGeom>
        </p:spPr>
      </p:pic>
    </p:spTree>
    <p:extLst>
      <p:ext uri="{BB962C8B-B14F-4D97-AF65-F5344CB8AC3E}">
        <p14:creationId xmlns:p14="http://schemas.microsoft.com/office/powerpoint/2010/main" val="25009619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Ausblick</a:t>
            </a:r>
            <a:r>
              <a:rPr lang="en-US"/>
              <a:t>: </a:t>
            </a:r>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endParaRPr lang="en-US" sz="1600">
              <a:latin typeface="Consolas"/>
            </a:endParaRPr>
          </a:p>
        </p:txBody>
      </p:sp>
    </p:spTree>
    <p:extLst>
      <p:ext uri="{BB962C8B-B14F-4D97-AF65-F5344CB8AC3E}">
        <p14:creationId xmlns:p14="http://schemas.microsoft.com/office/powerpoint/2010/main" val="2698038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600" u="sng"/>
              <a:t>Question</a:t>
            </a:r>
            <a:r>
              <a:rPr lang="en-US" sz="1600"/>
              <a:t>:</a:t>
            </a:r>
            <a:r>
              <a:rPr lang="en-US" sz="1600">
                <a:latin typeface="Consolas"/>
              </a:rPr>
              <a:t> </a:t>
            </a:r>
            <a:r>
              <a:rPr lang="en-US" sz="1600" err="1">
                <a:latin typeface="Consolas"/>
              </a:rPr>
              <a:t>Kannst</a:t>
            </a:r>
            <a:r>
              <a:rPr lang="en-US" sz="1600">
                <a:latin typeface="Consolas"/>
              </a:rPr>
              <a:t> du mir </a:t>
            </a:r>
            <a:r>
              <a:rPr lang="en-US" sz="1600" err="1">
                <a:latin typeface="Consolas"/>
              </a:rPr>
              <a:t>eine</a:t>
            </a:r>
            <a:r>
              <a:rPr lang="en-US" sz="1600">
                <a:latin typeface="Consolas"/>
              </a:rPr>
              <a:t> Schritt für Schritt </a:t>
            </a:r>
            <a:r>
              <a:rPr lang="en-US" sz="1600" err="1">
                <a:latin typeface="Consolas"/>
              </a:rPr>
              <a:t>Anleitung</a:t>
            </a:r>
            <a:r>
              <a:rPr lang="en-US" sz="1600">
                <a:latin typeface="Consolas"/>
              </a:rPr>
              <a:t> </a:t>
            </a:r>
            <a:r>
              <a:rPr lang="en-US" sz="1600" err="1">
                <a:latin typeface="Consolas"/>
              </a:rPr>
              <a:t>geben</a:t>
            </a:r>
            <a:r>
              <a:rPr lang="en-US" sz="1600">
                <a:latin typeface="Consolas"/>
              </a:rPr>
              <a:t>, </a:t>
            </a:r>
            <a:r>
              <a:rPr lang="en-US" sz="1600" err="1">
                <a:latin typeface="Consolas"/>
              </a:rPr>
              <a:t>wie</a:t>
            </a:r>
            <a:r>
              <a:rPr lang="en-US" sz="1600">
                <a:latin typeface="Consolas"/>
              </a:rPr>
              <a:t> ich die API für den </a:t>
            </a:r>
            <a:r>
              <a:rPr lang="en-US" sz="1600" err="1">
                <a:latin typeface="Consolas"/>
              </a:rPr>
              <a:t>im</a:t>
            </a:r>
            <a:r>
              <a:rPr lang="en-US" sz="1600">
                <a:latin typeface="Consolas"/>
              </a:rPr>
              <a:t> PDF </a:t>
            </a:r>
            <a:r>
              <a:rPr lang="en-US" sz="1600" err="1">
                <a:latin typeface="Consolas"/>
              </a:rPr>
              <a:t>genannten</a:t>
            </a:r>
            <a:r>
              <a:rPr lang="en-US" sz="1600">
                <a:latin typeface="Consolas"/>
              </a:rPr>
              <a:t> </a:t>
            </a:r>
            <a:r>
              <a:rPr lang="en-US" sz="1600" err="1">
                <a:latin typeface="Consolas"/>
              </a:rPr>
              <a:t>Algorithmus</a:t>
            </a:r>
            <a:r>
              <a:rPr lang="en-US" sz="1600">
                <a:latin typeface="Consolas"/>
              </a:rPr>
              <a:t> DCQO </a:t>
            </a:r>
            <a:r>
              <a:rPr lang="en-US" sz="1600" err="1">
                <a:latin typeface="Consolas"/>
              </a:rPr>
              <a:t>nutze</a:t>
            </a:r>
            <a:r>
              <a:rPr lang="en-US" sz="1600">
                <a:latin typeface="Consolas"/>
              </a:rPr>
              <a:t>?</a:t>
            </a:r>
            <a:endParaRPr lang="en-US"/>
          </a:p>
          <a:p>
            <a:pPr marL="114300" indent="0">
              <a:buNone/>
            </a:pPr>
            <a:endParaRPr lang="en-US" sz="1600"/>
          </a:p>
          <a:p>
            <a:pPr marL="114300" indent="0">
              <a:buNone/>
            </a:pPr>
            <a:r>
              <a:rPr lang="en-US" sz="1600" u="sng"/>
              <a:t>Result</a:t>
            </a:r>
            <a:r>
              <a:rPr lang="en-US" sz="1600"/>
              <a:t>: </a:t>
            </a:r>
            <a:r>
              <a:rPr lang="en-US" sz="1600">
                <a:latin typeface="Consolas"/>
              </a:rPr>
              <a:t>I'm afraid I can't answer that.</a:t>
            </a:r>
            <a:endParaRPr lang="en-US"/>
          </a:p>
        </p:txBody>
      </p:sp>
    </p:spTree>
    <p:extLst>
      <p:ext uri="{BB962C8B-B14F-4D97-AF65-F5344CB8AC3E}">
        <p14:creationId xmlns:p14="http://schemas.microsoft.com/office/powerpoint/2010/main" val="1982833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FA306F6C-C0DB-BC2E-8BE4-47C01D712255}"/>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DE72F275-34DD-F731-BA6F-E7CDA74BE8E7}"/>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089F4830-18D1-035C-509E-6A390C235D22}"/>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2075" indent="0"/>
            <a:r>
              <a:rPr lang="de-DE" sz="1050" err="1">
                <a:solidFill>
                  <a:schemeClr val="tx1"/>
                </a:solidFill>
                <a:effectLst/>
                <a:latin typeface=".AppleSystemUIFont"/>
              </a:rPr>
              <a:t>Streamlit</a:t>
            </a:r>
            <a:r>
              <a:rPr lang="de-DE" sz="1050">
                <a:solidFill>
                  <a:schemeClr val="tx1"/>
                </a:solidFill>
                <a:effectLst/>
                <a:latin typeface=".AppleSystemUIFont"/>
              </a:rPr>
              <a:t> ist ein Open-Source-Python-Framework, das Entwicklern ermöglicht, </a:t>
            </a:r>
            <a:r>
              <a:rPr lang="de-DE" sz="1050" b="1">
                <a:solidFill>
                  <a:schemeClr val="tx1"/>
                </a:solidFill>
                <a:effectLst/>
                <a:latin typeface=".AppleSystemUIFont"/>
              </a:rPr>
              <a:t>interaktive Web-Apps</a:t>
            </a:r>
            <a:r>
              <a:rPr lang="de-DE" sz="1050">
                <a:solidFill>
                  <a:schemeClr val="tx1"/>
                </a:solidFill>
                <a:effectLst/>
                <a:latin typeface=".AppleSystemUIFont"/>
              </a:rPr>
              <a:t> für Datenanalyse, maschinelles Lernen und Visualisierung zu erstellen. Mit einer minimalistischen API können Datenwissenschaftler und Entwickler in wenigen Zeilen Python-Code schnell Prototypen entwickeln, ohne sich mit Webentwicklung (HTML, CSS oder JavaScript) beschäftigen zu müssen.</a:t>
            </a:r>
          </a:p>
        </p:txBody>
      </p:sp>
      <p:sp>
        <p:nvSpPr>
          <p:cNvPr id="643" name="Google Shape;643;p61">
            <a:extLst>
              <a:ext uri="{FF2B5EF4-FFF2-40B4-BE49-F238E27FC236}">
                <a16:creationId xmlns:a16="http://schemas.microsoft.com/office/drawing/2014/main" id="{307386DF-51B6-0812-50DC-C18C7825735A}"/>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Streamlit</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AD22A25C-CA80-9604-EE70-CAC234D14FF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60E17710-1791-1E19-9B0A-5D3C22F7575B}"/>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Einfache Installation und Nutzung:</a:t>
            </a:r>
            <a:endParaRPr lang="de-DE" sz="900">
              <a:solidFill>
                <a:schemeClr val="tx1"/>
              </a:solidFill>
              <a:effectLst/>
              <a:latin typeface=".AppleSystemUIFont"/>
            </a:endParaRPr>
          </a:p>
          <a:p>
            <a:r>
              <a:rPr lang="de-DE" sz="900" err="1">
                <a:solidFill>
                  <a:schemeClr val="tx1"/>
                </a:solidFill>
                <a:effectLst/>
                <a:latin typeface=".AppleSystemUIFont"/>
              </a:rPr>
              <a:t>Streamlit</a:t>
            </a:r>
            <a:r>
              <a:rPr lang="de-DE" sz="900">
                <a:solidFill>
                  <a:schemeClr val="tx1"/>
                </a:solidFill>
                <a:effectLst/>
                <a:latin typeface=".AppleSystemUIFont"/>
              </a:rPr>
              <a:t> kann über </a:t>
            </a:r>
            <a:r>
              <a:rPr lang="de-DE" sz="900" err="1">
                <a:solidFill>
                  <a:schemeClr val="tx1"/>
                </a:solidFill>
                <a:effectLst/>
                <a:latin typeface=".AppleSystemUIFontMonospaced"/>
              </a:rPr>
              <a:t>pip</a:t>
            </a:r>
            <a:r>
              <a:rPr lang="de-DE" sz="900">
                <a:solidFill>
                  <a:schemeClr val="tx1"/>
                </a:solidFill>
                <a:effectLst/>
                <a:latin typeface=".AppleSystemUIFont"/>
              </a:rPr>
              <a:t> installiert werden und benötigt keine zusätzliche Konfiguration. Apps lassen sich direkt im Browser ausführen.</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Python-zentriert:</a:t>
            </a:r>
            <a:endParaRPr lang="de-DE" sz="900">
              <a:solidFill>
                <a:schemeClr val="tx1"/>
              </a:solidFill>
              <a:effectLst/>
              <a:latin typeface=".AppleSystemUIFont"/>
            </a:endParaRPr>
          </a:p>
          <a:p>
            <a:r>
              <a:rPr lang="de-DE" sz="900">
                <a:solidFill>
                  <a:schemeClr val="tx1"/>
                </a:solidFill>
                <a:effectLst/>
                <a:latin typeface=".AppleSystemUIFont"/>
              </a:rPr>
              <a:t>Alles wird in reinem Python geschrieben – kein Bedarf für HTML, CSS oder JavaScript.</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Interaktive Widgets:</a:t>
            </a:r>
            <a:endParaRPr lang="de-DE" sz="900">
              <a:solidFill>
                <a:schemeClr val="tx1"/>
              </a:solidFill>
              <a:effectLst/>
              <a:latin typeface=".AppleSystemUIFont"/>
            </a:endParaRPr>
          </a:p>
          <a:p>
            <a:r>
              <a:rPr lang="de-DE" sz="900">
                <a:solidFill>
                  <a:schemeClr val="tx1"/>
                </a:solidFill>
                <a:effectLst/>
                <a:latin typeface=".AppleSystemUIFont"/>
              </a:rPr>
              <a:t>Eingabe- und Steuerungs-Widgets wie Schieberegler, Dropdowns und Textfelder sind bereits integriert, um dynamische Interaktionen zu ermöglichen.</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Echtzeit-Updates:</a:t>
            </a:r>
            <a:endParaRPr lang="de-DE" sz="900">
              <a:solidFill>
                <a:schemeClr val="tx1"/>
              </a:solidFill>
              <a:effectLst/>
              <a:latin typeface=".AppleSystemUIFont"/>
            </a:endParaRPr>
          </a:p>
          <a:p>
            <a:r>
              <a:rPr lang="de-DE" sz="900">
                <a:solidFill>
                  <a:schemeClr val="tx1"/>
                </a:solidFill>
                <a:effectLst/>
                <a:latin typeface=".AppleSystemUIFont"/>
              </a:rPr>
              <a:t>Änderungen im Code werden automatisch übernommen und die App im Browser aktualisiert.</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Nahtlose Integration mit Daten- und ML-Bibliotheken:</a:t>
            </a:r>
            <a:endParaRPr lang="de-DE" sz="900">
              <a:solidFill>
                <a:schemeClr val="tx1"/>
              </a:solidFill>
              <a:effectLst/>
              <a:latin typeface=".AppleSystemUIFont"/>
            </a:endParaRPr>
          </a:p>
          <a:p>
            <a:r>
              <a:rPr lang="de-DE" sz="900">
                <a:solidFill>
                  <a:schemeClr val="tx1"/>
                </a:solidFill>
                <a:effectLst/>
                <a:latin typeface=".AppleSystemUIFont"/>
              </a:rPr>
              <a:t>Unterstützt </a:t>
            </a:r>
            <a:r>
              <a:rPr lang="de-DE" sz="900" b="1">
                <a:solidFill>
                  <a:schemeClr val="tx1"/>
                </a:solidFill>
                <a:effectLst/>
                <a:latin typeface=".AppleSystemUIFont"/>
              </a:rPr>
              <a:t>Pandas</a:t>
            </a:r>
            <a:r>
              <a:rPr lang="de-DE" sz="900">
                <a:solidFill>
                  <a:schemeClr val="tx1"/>
                </a:solidFill>
                <a:effectLst/>
                <a:latin typeface=".AppleSystemUIFont"/>
              </a:rPr>
              <a:t>, </a:t>
            </a:r>
            <a:r>
              <a:rPr lang="de-DE" sz="900" b="1" err="1">
                <a:solidFill>
                  <a:schemeClr val="tx1"/>
                </a:solidFill>
                <a:effectLst/>
                <a:latin typeface=".AppleSystemUIFont"/>
              </a:rPr>
              <a:t>NumPy</a:t>
            </a:r>
            <a:r>
              <a:rPr lang="de-DE" sz="900">
                <a:solidFill>
                  <a:schemeClr val="tx1"/>
                </a:solidFill>
                <a:effectLst/>
                <a:latin typeface=".AppleSystemUIFont"/>
              </a:rPr>
              <a:t>, </a:t>
            </a:r>
            <a:r>
              <a:rPr lang="de-DE" sz="900" b="1" err="1">
                <a:solidFill>
                  <a:schemeClr val="tx1"/>
                </a:solidFill>
                <a:effectLst/>
                <a:latin typeface=".AppleSystemUIFont"/>
              </a:rPr>
              <a:t>Matplotlib</a:t>
            </a:r>
            <a:r>
              <a:rPr lang="de-DE" sz="900">
                <a:solidFill>
                  <a:schemeClr val="tx1"/>
                </a:solidFill>
                <a:effectLst/>
                <a:latin typeface=".AppleSystemUIFont"/>
              </a:rPr>
              <a:t>, </a:t>
            </a:r>
            <a:r>
              <a:rPr lang="de-DE" sz="900" b="1" err="1">
                <a:solidFill>
                  <a:schemeClr val="tx1"/>
                </a:solidFill>
                <a:effectLst/>
                <a:latin typeface=".AppleSystemUIFont"/>
              </a:rPr>
              <a:t>Plotly</a:t>
            </a:r>
            <a:r>
              <a:rPr lang="de-DE" sz="900">
                <a:solidFill>
                  <a:schemeClr val="tx1"/>
                </a:solidFill>
                <a:effectLst/>
                <a:latin typeface=".AppleSystemUIFont"/>
              </a:rPr>
              <a:t>, </a:t>
            </a:r>
            <a:r>
              <a:rPr lang="de-DE" sz="900" b="1" err="1">
                <a:solidFill>
                  <a:schemeClr val="tx1"/>
                </a:solidFill>
                <a:effectLst/>
                <a:latin typeface=".AppleSystemUIFont"/>
              </a:rPr>
              <a:t>TensorFlow</a:t>
            </a:r>
            <a:r>
              <a:rPr lang="de-DE" sz="900">
                <a:solidFill>
                  <a:schemeClr val="tx1"/>
                </a:solidFill>
                <a:effectLst/>
                <a:latin typeface=".AppleSystemUIFont"/>
              </a:rPr>
              <a:t>, </a:t>
            </a:r>
            <a:r>
              <a:rPr lang="de-DE" sz="900" b="1" err="1">
                <a:solidFill>
                  <a:schemeClr val="tx1"/>
                </a:solidFill>
                <a:effectLst/>
                <a:latin typeface=".AppleSystemUIFont"/>
              </a:rPr>
              <a:t>PyTorch</a:t>
            </a:r>
            <a:r>
              <a:rPr lang="de-DE" sz="900">
                <a:solidFill>
                  <a:schemeClr val="tx1"/>
                </a:solidFill>
                <a:effectLst/>
                <a:latin typeface=".AppleSystemUIFont"/>
              </a:rPr>
              <a:t> und andere Bibliotheken.</a:t>
            </a:r>
          </a:p>
          <a:p>
            <a:pPr>
              <a:spcBef>
                <a:spcPts val="900"/>
              </a:spcBef>
            </a:pPr>
            <a:r>
              <a:rPr lang="de-DE" sz="900">
                <a:solidFill>
                  <a:schemeClr val="tx1"/>
                </a:solidFill>
                <a:effectLst/>
                <a:latin typeface=".AppleSystemUIFont"/>
              </a:rPr>
              <a:t>• </a:t>
            </a:r>
            <a:r>
              <a:rPr lang="de-DE" sz="900" b="1" err="1">
                <a:solidFill>
                  <a:schemeClr val="tx1"/>
                </a:solidFill>
                <a:effectLst/>
                <a:latin typeface=".AppleSystemUIFont"/>
              </a:rPr>
              <a:t>Deployment</a:t>
            </a:r>
            <a:r>
              <a:rPr lang="de-DE" sz="900" b="1">
                <a:solidFill>
                  <a:schemeClr val="tx1"/>
                </a:solidFill>
                <a:effectLst/>
                <a:latin typeface=".AppleSystemUIFont"/>
              </a:rPr>
              <a:t>:</a:t>
            </a:r>
            <a:endParaRPr lang="de-DE" sz="900">
              <a:solidFill>
                <a:schemeClr val="tx1"/>
              </a:solidFill>
              <a:effectLst/>
              <a:latin typeface=".AppleSystemUIFont"/>
            </a:endParaRPr>
          </a:p>
          <a:p>
            <a:r>
              <a:rPr lang="de-DE" sz="900">
                <a:solidFill>
                  <a:schemeClr val="tx1"/>
                </a:solidFill>
                <a:effectLst/>
                <a:latin typeface=".AppleSystemUIFont"/>
              </a:rPr>
              <a:t>Einfaches Teilen von Anwendungen durch Hosting auf </a:t>
            </a:r>
            <a:r>
              <a:rPr lang="de-DE" sz="900" b="1" err="1">
                <a:solidFill>
                  <a:schemeClr val="tx1"/>
                </a:solidFill>
                <a:effectLst/>
                <a:latin typeface=".AppleSystemUIFont"/>
              </a:rPr>
              <a:t>Streamlit</a:t>
            </a:r>
            <a:r>
              <a:rPr lang="de-DE" sz="900" b="1">
                <a:solidFill>
                  <a:schemeClr val="tx1"/>
                </a:solidFill>
                <a:effectLst/>
                <a:latin typeface=".AppleSystemUIFont"/>
              </a:rPr>
              <a:t> Cloud</a:t>
            </a:r>
            <a:r>
              <a:rPr lang="de-DE" sz="900">
                <a:solidFill>
                  <a:schemeClr val="tx1"/>
                </a:solidFill>
                <a:effectLst/>
                <a:latin typeface=".AppleSystemUIFont"/>
              </a:rPr>
              <a:t> oder einem eigenen Server.</a:t>
            </a:r>
          </a:p>
        </p:txBody>
      </p:sp>
      <p:sp>
        <p:nvSpPr>
          <p:cNvPr id="30" name="Google Shape;631;p61">
            <a:extLst>
              <a:ext uri="{FF2B5EF4-FFF2-40B4-BE49-F238E27FC236}">
                <a16:creationId xmlns:a16="http://schemas.microsoft.com/office/drawing/2014/main" id="{742A5F6F-F23A-FAE7-2569-A3B0E6B37841}"/>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E67985D5-CAB9-0BBA-9090-3FFC842B4E65}"/>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000">
                <a:solidFill>
                  <a:schemeClr val="tx1"/>
                </a:solidFill>
                <a:effectLst/>
                <a:latin typeface=".AppleSystemUIFont"/>
              </a:rPr>
              <a:t>• Besonders geeignet für </a:t>
            </a:r>
            <a:r>
              <a:rPr lang="de-DE" sz="1000" b="1">
                <a:solidFill>
                  <a:schemeClr val="tx1"/>
                </a:solidFill>
                <a:effectLst/>
                <a:latin typeface=".AppleSystemUIFont"/>
              </a:rPr>
              <a:t>Datenvisualisierung</a:t>
            </a:r>
            <a:r>
              <a:rPr lang="de-DE" sz="1000">
                <a:solidFill>
                  <a:schemeClr val="tx1"/>
                </a:solidFill>
                <a:effectLst/>
                <a:latin typeface=".AppleSystemUIFont"/>
              </a:rPr>
              <a:t>, </a:t>
            </a:r>
            <a:r>
              <a:rPr lang="de-DE" sz="1000" b="1">
                <a:solidFill>
                  <a:schemeClr val="tx1"/>
                </a:solidFill>
                <a:effectLst/>
                <a:latin typeface=".AppleSystemUIFont"/>
              </a:rPr>
              <a:t>ML-Modell-Demos</a:t>
            </a:r>
            <a:r>
              <a:rPr lang="de-DE" sz="1000">
                <a:solidFill>
                  <a:schemeClr val="tx1"/>
                </a:solidFill>
                <a:effectLst/>
                <a:latin typeface=".AppleSystemUIFont"/>
              </a:rPr>
              <a:t> und </a:t>
            </a:r>
            <a:r>
              <a:rPr lang="de-DE" sz="1000" b="1">
                <a:solidFill>
                  <a:schemeClr val="tx1"/>
                </a:solidFill>
                <a:effectLst/>
                <a:latin typeface=".AppleSystemUIFont"/>
              </a:rPr>
              <a:t>Dashboards</a:t>
            </a:r>
            <a:r>
              <a:rPr lang="de-DE" sz="1000">
                <a:solidFill>
                  <a:schemeClr val="tx1"/>
                </a:solidFill>
                <a:effectLst/>
                <a:latin typeface=".AppleSystemUIFont"/>
              </a:rPr>
              <a:t>.</a:t>
            </a:r>
          </a:p>
          <a:p>
            <a:pPr>
              <a:spcBef>
                <a:spcPts val="900"/>
              </a:spcBef>
            </a:pPr>
            <a:r>
              <a:rPr lang="de-DE" sz="1000">
                <a:solidFill>
                  <a:schemeClr val="tx1"/>
                </a:solidFill>
                <a:effectLst/>
                <a:latin typeface=".AppleSystemUIFont"/>
              </a:rPr>
              <a:t>• Sehr geringer Lernaufwand – ideal für Einsteiger oder </a:t>
            </a:r>
            <a:r>
              <a:rPr lang="de-DE" sz="1000" err="1">
                <a:solidFill>
                  <a:schemeClr val="tx1"/>
                </a:solidFill>
                <a:effectLst/>
                <a:latin typeface=".AppleSystemUIFont"/>
              </a:rPr>
              <a:t>Prototyping</a:t>
            </a:r>
            <a:r>
              <a:rPr lang="de-DE" sz="1000">
                <a:solidFill>
                  <a:schemeClr val="tx1"/>
                </a:solidFill>
                <a:effectLst/>
                <a:latin typeface=".AppleSystemUIFont"/>
              </a:rPr>
              <a:t>.</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Einschränkung:</a:t>
            </a:r>
            <a:r>
              <a:rPr lang="de-DE" sz="1000">
                <a:solidFill>
                  <a:schemeClr val="tx1"/>
                </a:solidFill>
                <a:effectLst/>
                <a:latin typeface=".AppleSystemUIFont"/>
              </a:rPr>
              <a:t> Nicht geeignet für komplexe Web-Apps mit mehreren Seiten oder umfangreichen Interaktionen.</a:t>
            </a:r>
          </a:p>
          <a:p>
            <a:pPr>
              <a:spcBef>
                <a:spcPts val="900"/>
              </a:spcBef>
            </a:pPr>
            <a:r>
              <a:rPr lang="de-DE" sz="1000">
                <a:solidFill>
                  <a:schemeClr val="tx1"/>
                </a:solidFill>
                <a:effectLst/>
                <a:latin typeface=".AppleSystemUIFont"/>
              </a:rPr>
              <a:t>• Große und aktive Community bietet viele Erweiterungen und Unterstützung.</a:t>
            </a:r>
          </a:p>
        </p:txBody>
      </p:sp>
      <p:sp>
        <p:nvSpPr>
          <p:cNvPr id="2" name="Textfeld 1">
            <a:extLst>
              <a:ext uri="{FF2B5EF4-FFF2-40B4-BE49-F238E27FC236}">
                <a16:creationId xmlns:a16="http://schemas.microsoft.com/office/drawing/2014/main" id="{01A59FFD-F104-ABEA-157D-D7C0613B1773}"/>
              </a:ext>
            </a:extLst>
          </p:cNvPr>
          <p:cNvSpPr txBox="1"/>
          <p:nvPr/>
        </p:nvSpPr>
        <p:spPr>
          <a:xfrm>
            <a:off x="5209953" y="324965"/>
            <a:ext cx="1924494" cy="280928"/>
          </a:xfrm>
          <a:prstGeom prst="roundRect">
            <a:avLst/>
          </a:prstGeom>
          <a:solidFill>
            <a:schemeClr val="bg2"/>
          </a:solidFill>
          <a:ln>
            <a:noFill/>
          </a:ln>
        </p:spPr>
        <p:txBody>
          <a:bodyPr wrap="square" rtlCol="0">
            <a:spAutoFit/>
          </a:bodyPr>
          <a:lstStyle/>
          <a:p>
            <a:r>
              <a:rPr lang="de-DE" sz="1050">
                <a:solidFill>
                  <a:schemeClr val="tx1"/>
                </a:solidFill>
              </a:rPr>
              <a:t>Fokus auf Einfachheit</a:t>
            </a:r>
          </a:p>
        </p:txBody>
      </p:sp>
    </p:spTree>
    <p:extLst>
      <p:ext uri="{BB962C8B-B14F-4D97-AF65-F5344CB8AC3E}">
        <p14:creationId xmlns:p14="http://schemas.microsoft.com/office/powerpoint/2010/main" val="6531026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600" u="sng" err="1"/>
              <a:t>Anpassung</a:t>
            </a:r>
            <a:r>
              <a:rPr lang="en-US" sz="1600" u="sng"/>
              <a:t> des Custom Prompt templates:</a:t>
            </a:r>
            <a:endParaRPr lang="en-US" u="sng"/>
          </a:p>
          <a:p>
            <a:pPr marL="114300" indent="0">
              <a:buNone/>
            </a:pPr>
            <a:r>
              <a:rPr lang="en-US" sz="1600">
                <a:latin typeface="Consolas"/>
              </a:rPr>
              <a:t>Your name is "TutorGPT2.0". You are an upbeat and encouraging tutor for </a:t>
            </a:r>
            <a:r>
              <a:rPr lang="en-US" sz="1600" err="1">
                <a:latin typeface="Consolas"/>
              </a:rPr>
              <a:t>PlanQK</a:t>
            </a:r>
            <a:r>
              <a:rPr lang="en-US" sz="1600">
                <a:latin typeface="Consolas"/>
              </a:rPr>
              <a:t>. You help physicists understand how to interact with the API by explaining ideas, answering questions and providing step by step solutions. You encourage interaction, practice, and creation over passive learning, and help physicists reflect on their thought processes to generalize IT skills. You stimulate interest in learning and strengthen the learner's self-efficacy. Given the documents as a context (below), help physicists understand the API and the given algorithm by providing explanations, examples, and analogies.</a:t>
            </a:r>
          </a:p>
        </p:txBody>
      </p:sp>
    </p:spTree>
    <p:extLst>
      <p:ext uri="{BB962C8B-B14F-4D97-AF65-F5344CB8AC3E}">
        <p14:creationId xmlns:p14="http://schemas.microsoft.com/office/powerpoint/2010/main" val="19866757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a:t>
            </a:r>
            <a:r>
              <a:rPr lang="en-US" err="1"/>
              <a:t>zusätzliche</a:t>
            </a:r>
            <a:r>
              <a:rPr lang="en-US"/>
              <a:t> PDFs</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a:xfrm>
            <a:off x="311700" y="1152475"/>
            <a:ext cx="8520600" cy="3812053"/>
          </a:xfrm>
        </p:spPr>
        <p:txBody>
          <a:bodyPr/>
          <a:lstStyle/>
          <a:p>
            <a:pPr marL="114300" indent="0">
              <a:buNone/>
            </a:pPr>
            <a:r>
              <a:rPr lang="en-US" sz="1200" u="sng"/>
              <a:t>Question</a:t>
            </a:r>
            <a:r>
              <a:rPr lang="en-US" sz="1200"/>
              <a:t>:</a:t>
            </a:r>
            <a:r>
              <a:rPr lang="en-US" sz="1200">
                <a:latin typeface="Consolas"/>
              </a:rPr>
              <a:t> </a:t>
            </a:r>
            <a:r>
              <a:rPr lang="en-US" sz="1200" err="1">
                <a:latin typeface="Consolas"/>
              </a:rPr>
              <a:t>Kannst</a:t>
            </a:r>
            <a:r>
              <a:rPr lang="en-US" sz="1200">
                <a:latin typeface="Consolas"/>
              </a:rPr>
              <a:t> du mir </a:t>
            </a:r>
            <a:r>
              <a:rPr lang="en-US" sz="1200" err="1">
                <a:latin typeface="Consolas"/>
              </a:rPr>
              <a:t>eine</a:t>
            </a:r>
            <a:r>
              <a:rPr lang="en-US" sz="1200">
                <a:latin typeface="Consolas"/>
              </a:rPr>
              <a:t> Schritt für Schritt </a:t>
            </a:r>
            <a:r>
              <a:rPr lang="en-US" sz="1200" err="1">
                <a:latin typeface="Consolas"/>
              </a:rPr>
              <a:t>Anleitung</a:t>
            </a:r>
            <a:r>
              <a:rPr lang="en-US" sz="1200">
                <a:latin typeface="Consolas"/>
              </a:rPr>
              <a:t> </a:t>
            </a:r>
            <a:r>
              <a:rPr lang="en-US" sz="1200" err="1">
                <a:latin typeface="Consolas"/>
              </a:rPr>
              <a:t>geben</a:t>
            </a:r>
            <a:r>
              <a:rPr lang="en-US" sz="1200">
                <a:latin typeface="Consolas"/>
              </a:rPr>
              <a:t>, </a:t>
            </a:r>
            <a:r>
              <a:rPr lang="en-US" sz="1200" err="1">
                <a:latin typeface="Consolas"/>
              </a:rPr>
              <a:t>wie</a:t>
            </a:r>
            <a:r>
              <a:rPr lang="en-US" sz="1200">
                <a:latin typeface="Consolas"/>
              </a:rPr>
              <a:t> ich die API für den </a:t>
            </a:r>
            <a:r>
              <a:rPr lang="en-US" sz="1200" err="1">
                <a:latin typeface="Consolas"/>
              </a:rPr>
              <a:t>im</a:t>
            </a:r>
            <a:r>
              <a:rPr lang="en-US" sz="1200">
                <a:latin typeface="Consolas"/>
              </a:rPr>
              <a:t> PDF </a:t>
            </a:r>
            <a:r>
              <a:rPr lang="en-US" sz="1200" err="1">
                <a:latin typeface="Consolas"/>
              </a:rPr>
              <a:t>genannten</a:t>
            </a:r>
            <a:r>
              <a:rPr lang="en-US" sz="1200">
                <a:latin typeface="Consolas"/>
              </a:rPr>
              <a:t> </a:t>
            </a:r>
            <a:r>
              <a:rPr lang="en-US" sz="1200" err="1">
                <a:latin typeface="Consolas"/>
              </a:rPr>
              <a:t>Algorithmus</a:t>
            </a:r>
            <a:r>
              <a:rPr lang="en-US" sz="1200">
                <a:latin typeface="Consolas"/>
              </a:rPr>
              <a:t> DCQO </a:t>
            </a:r>
            <a:r>
              <a:rPr lang="en-US" sz="1200" err="1">
                <a:latin typeface="Consolas"/>
              </a:rPr>
              <a:t>nutze</a:t>
            </a:r>
            <a:r>
              <a:rPr lang="en-US" sz="1200">
                <a:latin typeface="Consolas"/>
              </a:rPr>
              <a:t>?</a:t>
            </a:r>
            <a:endParaRPr lang="en-US" sz="1200"/>
          </a:p>
          <a:p>
            <a:pPr marL="114300" indent="0">
              <a:buNone/>
            </a:pPr>
            <a:r>
              <a:rPr lang="en-US" sz="1200" u="sng"/>
              <a:t>Answer</a:t>
            </a:r>
            <a:r>
              <a:rPr lang="en-US" sz="1200"/>
              <a:t>:</a:t>
            </a:r>
            <a:r>
              <a:rPr lang="en-US" sz="1050">
                <a:latin typeface="Consolas"/>
              </a:rPr>
              <a:t>
</a:t>
            </a:r>
            <a:r>
              <a:rPr lang="en-US" sz="1200">
                <a:latin typeface="Consolas"/>
              </a:rPr>
              <a:t>1. Schritt: </a:t>
            </a:r>
            <a:r>
              <a:rPr lang="en-US" sz="1200" err="1">
                <a:latin typeface="Consolas"/>
              </a:rPr>
              <a:t>Öffne</a:t>
            </a:r>
            <a:r>
              <a:rPr lang="en-US" sz="1200">
                <a:latin typeface="Consolas"/>
              </a:rPr>
              <a:t> das PDF-</a:t>
            </a:r>
            <a:r>
              <a:rPr lang="en-US" sz="1200" err="1">
                <a:latin typeface="Consolas"/>
              </a:rPr>
              <a:t>Dokument</a:t>
            </a:r>
            <a:r>
              <a:rPr lang="en-US" sz="1200">
                <a:latin typeface="Consolas"/>
              </a:rPr>
              <a:t>, das den </a:t>
            </a:r>
            <a:r>
              <a:rPr lang="en-US" sz="1200" err="1">
                <a:latin typeface="Consolas"/>
              </a:rPr>
              <a:t>Algorithmus</a:t>
            </a:r>
            <a:r>
              <a:rPr lang="en-US" sz="1200">
                <a:latin typeface="Consolas"/>
              </a:rPr>
              <a:t> DCQO </a:t>
            </a:r>
            <a:r>
              <a:rPr lang="en-US" sz="1200" err="1">
                <a:latin typeface="Consolas"/>
              </a:rPr>
              <a:t>enthält</a:t>
            </a:r>
            <a:r>
              <a:rPr lang="en-US" sz="1200">
                <a:latin typeface="Consolas"/>
              </a:rPr>
              <a:t>.
2. Schritt:</a:t>
            </a:r>
            <a:r>
              <a:rPr lang="en-US" sz="1200" b="1">
                <a:solidFill>
                  <a:srgbClr val="FF0000"/>
                </a:solidFill>
                <a:latin typeface="Consolas"/>
              </a:rPr>
              <a:t> </a:t>
            </a:r>
            <a:r>
              <a:rPr lang="en-US" sz="1200" b="1" err="1">
                <a:solidFill>
                  <a:srgbClr val="FF0000"/>
                </a:solidFill>
                <a:latin typeface="Consolas"/>
              </a:rPr>
              <a:t>Identifiziere</a:t>
            </a:r>
            <a:r>
              <a:rPr lang="en-US" sz="1200" b="1">
                <a:solidFill>
                  <a:srgbClr val="FF0000"/>
                </a:solidFill>
                <a:latin typeface="Consolas"/>
              </a:rPr>
              <a:t> die </a:t>
            </a:r>
            <a:r>
              <a:rPr lang="en-US" sz="1200" b="1" err="1">
                <a:solidFill>
                  <a:srgbClr val="FF0000"/>
                </a:solidFill>
                <a:latin typeface="Consolas"/>
              </a:rPr>
              <a:t>spezifischen</a:t>
            </a:r>
            <a:r>
              <a:rPr lang="en-US" sz="1200" b="1">
                <a:solidFill>
                  <a:srgbClr val="FF0000"/>
                </a:solidFill>
                <a:latin typeface="Consolas"/>
              </a:rPr>
              <a:t> </a:t>
            </a:r>
            <a:r>
              <a:rPr lang="en-US" sz="1200" b="1" err="1">
                <a:solidFill>
                  <a:srgbClr val="FF0000"/>
                </a:solidFill>
                <a:latin typeface="Consolas"/>
              </a:rPr>
              <a:t>Anweisungen</a:t>
            </a:r>
            <a:r>
              <a:rPr lang="en-US" sz="1200" b="1">
                <a:solidFill>
                  <a:srgbClr val="FF0000"/>
                </a:solidFill>
                <a:latin typeface="Consolas"/>
              </a:rPr>
              <a:t> </a:t>
            </a:r>
            <a:r>
              <a:rPr lang="en-US" sz="1200" b="1" err="1">
                <a:solidFill>
                  <a:srgbClr val="FF0000"/>
                </a:solidFill>
                <a:latin typeface="Consolas"/>
              </a:rPr>
              <a:t>oder</a:t>
            </a:r>
            <a:r>
              <a:rPr lang="en-US" sz="1200" b="1">
                <a:solidFill>
                  <a:srgbClr val="FF0000"/>
                </a:solidFill>
                <a:latin typeface="Consolas"/>
              </a:rPr>
              <a:t> </a:t>
            </a:r>
            <a:r>
              <a:rPr lang="en-US" sz="1200" b="1" err="1">
                <a:solidFill>
                  <a:srgbClr val="FF0000"/>
                </a:solidFill>
                <a:latin typeface="Consolas"/>
              </a:rPr>
              <a:t>Informationen</a:t>
            </a:r>
            <a:r>
              <a:rPr lang="en-US" sz="1200" b="1">
                <a:solidFill>
                  <a:srgbClr val="FF0000"/>
                </a:solidFill>
                <a:latin typeface="Consolas"/>
              </a:rPr>
              <a:t> </a:t>
            </a:r>
            <a:r>
              <a:rPr lang="en-US" sz="1200" b="1" err="1">
                <a:solidFill>
                  <a:srgbClr val="FF0000"/>
                </a:solidFill>
                <a:latin typeface="Consolas"/>
              </a:rPr>
              <a:t>zum</a:t>
            </a:r>
            <a:r>
              <a:rPr lang="en-US" sz="1200" b="1">
                <a:solidFill>
                  <a:srgbClr val="FF0000"/>
                </a:solidFill>
                <a:latin typeface="Consolas"/>
              </a:rPr>
              <a:t> </a:t>
            </a:r>
            <a:r>
              <a:rPr lang="en-US" sz="1200" b="1" err="1">
                <a:solidFill>
                  <a:srgbClr val="FF0000"/>
                </a:solidFill>
                <a:latin typeface="Consolas"/>
              </a:rPr>
              <a:t>Einsatz</a:t>
            </a:r>
            <a:r>
              <a:rPr lang="en-US" sz="1200" b="1">
                <a:solidFill>
                  <a:srgbClr val="FF0000"/>
                </a:solidFill>
                <a:latin typeface="Consolas"/>
              </a:rPr>
              <a:t> der API für </a:t>
            </a:r>
            <a:r>
              <a:rPr lang="en-US" sz="1200" b="1" err="1">
                <a:solidFill>
                  <a:srgbClr val="FF0000"/>
                </a:solidFill>
                <a:latin typeface="Consolas"/>
              </a:rPr>
              <a:t>diesen</a:t>
            </a:r>
            <a:r>
              <a:rPr lang="en-US" sz="1200" b="1">
                <a:solidFill>
                  <a:srgbClr val="FF0000"/>
                </a:solidFill>
                <a:latin typeface="Consolas"/>
              </a:rPr>
              <a:t> </a:t>
            </a:r>
            <a:r>
              <a:rPr lang="en-US" sz="1200" b="1" err="1">
                <a:solidFill>
                  <a:srgbClr val="FF0000"/>
                </a:solidFill>
                <a:latin typeface="Consolas"/>
              </a:rPr>
              <a:t>Algorithmus</a:t>
            </a:r>
            <a:r>
              <a:rPr lang="en-US" sz="1200" b="1">
                <a:solidFill>
                  <a:srgbClr val="FF0000"/>
                </a:solidFill>
                <a:latin typeface="Consolas"/>
              </a:rPr>
              <a:t>.</a:t>
            </a:r>
            <a:r>
              <a:rPr lang="en-US" sz="1200">
                <a:latin typeface="Consolas"/>
              </a:rPr>
              <a:t>
3. Schritt: </a:t>
            </a:r>
            <a:r>
              <a:rPr lang="en-US" sz="1200" b="1" err="1">
                <a:solidFill>
                  <a:srgbClr val="FF0000"/>
                </a:solidFill>
                <a:latin typeface="Consolas"/>
              </a:rPr>
              <a:t>Suche</a:t>
            </a:r>
            <a:r>
              <a:rPr lang="en-US" sz="1200" b="1">
                <a:solidFill>
                  <a:srgbClr val="FF0000"/>
                </a:solidFill>
                <a:latin typeface="Consolas"/>
              </a:rPr>
              <a:t> </a:t>
            </a:r>
            <a:r>
              <a:rPr lang="en-US" sz="1200" b="1" err="1">
                <a:solidFill>
                  <a:srgbClr val="FF0000"/>
                </a:solidFill>
                <a:latin typeface="Consolas"/>
              </a:rPr>
              <a:t>nach</a:t>
            </a:r>
            <a:r>
              <a:rPr lang="en-US" sz="1200" b="1">
                <a:solidFill>
                  <a:srgbClr val="FF0000"/>
                </a:solidFill>
                <a:latin typeface="Consolas"/>
              </a:rPr>
              <a:t> </a:t>
            </a:r>
            <a:r>
              <a:rPr lang="en-US" sz="1200" b="1" err="1">
                <a:solidFill>
                  <a:srgbClr val="FF0000"/>
                </a:solidFill>
                <a:latin typeface="Consolas"/>
              </a:rPr>
              <a:t>Beispielen</a:t>
            </a:r>
            <a:r>
              <a:rPr lang="en-US" sz="1200" b="1">
                <a:solidFill>
                  <a:srgbClr val="FF0000"/>
                </a:solidFill>
                <a:latin typeface="Consolas"/>
              </a:rPr>
              <a:t> </a:t>
            </a:r>
            <a:r>
              <a:rPr lang="en-US" sz="1200" b="1" err="1">
                <a:solidFill>
                  <a:srgbClr val="FF0000"/>
                </a:solidFill>
                <a:latin typeface="Consolas"/>
              </a:rPr>
              <a:t>oder</a:t>
            </a:r>
            <a:r>
              <a:rPr lang="en-US" sz="1200" b="1">
                <a:solidFill>
                  <a:srgbClr val="FF0000"/>
                </a:solidFill>
                <a:latin typeface="Consolas"/>
              </a:rPr>
              <a:t> Code-Snippets, die </a:t>
            </a:r>
            <a:r>
              <a:rPr lang="en-US" sz="1200" b="1" err="1">
                <a:solidFill>
                  <a:srgbClr val="FF0000"/>
                </a:solidFill>
                <a:latin typeface="Consolas"/>
              </a:rPr>
              <a:t>die</a:t>
            </a:r>
            <a:r>
              <a:rPr lang="en-US" sz="1200" b="1">
                <a:solidFill>
                  <a:srgbClr val="FF0000"/>
                </a:solidFill>
                <a:latin typeface="Consolas"/>
              </a:rPr>
              <a:t> </a:t>
            </a:r>
            <a:r>
              <a:rPr lang="en-US" sz="1200" b="1" err="1">
                <a:solidFill>
                  <a:srgbClr val="FF0000"/>
                </a:solidFill>
                <a:latin typeface="Consolas"/>
              </a:rPr>
              <a:t>Verwendung</a:t>
            </a:r>
            <a:r>
              <a:rPr lang="en-US" sz="1200" b="1">
                <a:solidFill>
                  <a:srgbClr val="FF0000"/>
                </a:solidFill>
                <a:latin typeface="Consolas"/>
              </a:rPr>
              <a:t> der API für den DCQO-</a:t>
            </a:r>
            <a:r>
              <a:rPr lang="en-US" sz="1200" b="1" err="1">
                <a:solidFill>
                  <a:srgbClr val="FF0000"/>
                </a:solidFill>
                <a:latin typeface="Consolas"/>
              </a:rPr>
              <a:t>Algorithmus</a:t>
            </a:r>
            <a:r>
              <a:rPr lang="en-US" sz="1200" b="1">
                <a:solidFill>
                  <a:srgbClr val="FF0000"/>
                </a:solidFill>
                <a:latin typeface="Consolas"/>
              </a:rPr>
              <a:t> </a:t>
            </a:r>
            <a:r>
              <a:rPr lang="en-US" sz="1200" b="1" err="1">
                <a:solidFill>
                  <a:srgbClr val="FF0000"/>
                </a:solidFill>
                <a:latin typeface="Consolas"/>
              </a:rPr>
              <a:t>zeigen</a:t>
            </a:r>
            <a:r>
              <a:rPr lang="en-US" sz="1200" b="1">
                <a:solidFill>
                  <a:srgbClr val="FF0000"/>
                </a:solidFill>
                <a:latin typeface="Consolas"/>
              </a:rPr>
              <a:t>.</a:t>
            </a:r>
            <a:r>
              <a:rPr lang="en-US" sz="1200">
                <a:latin typeface="Consolas"/>
              </a:rPr>
              <a:t>
4. Schritt: Stelle </a:t>
            </a:r>
            <a:r>
              <a:rPr lang="en-US" sz="1200" err="1">
                <a:latin typeface="Consolas"/>
              </a:rPr>
              <a:t>sicher</a:t>
            </a:r>
            <a:r>
              <a:rPr lang="en-US" sz="1200">
                <a:latin typeface="Consolas"/>
              </a:rPr>
              <a:t>, </a:t>
            </a:r>
            <a:r>
              <a:rPr lang="en-US" sz="1200" err="1">
                <a:latin typeface="Consolas"/>
              </a:rPr>
              <a:t>dass</a:t>
            </a:r>
            <a:r>
              <a:rPr lang="en-US" sz="1200">
                <a:latin typeface="Consolas"/>
              </a:rPr>
              <a:t> du die </a:t>
            </a:r>
            <a:r>
              <a:rPr lang="en-US" sz="1200" err="1">
                <a:latin typeface="Consolas"/>
              </a:rPr>
              <a:t>erforderlichen</a:t>
            </a:r>
            <a:r>
              <a:rPr lang="en-US" sz="1200">
                <a:latin typeface="Consolas"/>
              </a:rPr>
              <a:t> </a:t>
            </a:r>
            <a:r>
              <a:rPr lang="en-US" sz="1200" err="1">
                <a:latin typeface="Consolas"/>
              </a:rPr>
              <a:t>Bibliotheken</a:t>
            </a:r>
            <a:r>
              <a:rPr lang="en-US" sz="1200">
                <a:latin typeface="Consolas"/>
              </a:rPr>
              <a:t> </a:t>
            </a:r>
            <a:r>
              <a:rPr lang="en-US" sz="1200" err="1">
                <a:latin typeface="Consolas"/>
              </a:rPr>
              <a:t>oder</a:t>
            </a:r>
            <a:r>
              <a:rPr lang="en-US" sz="1200">
                <a:latin typeface="Consolas"/>
              </a:rPr>
              <a:t> Tools </a:t>
            </a:r>
            <a:r>
              <a:rPr lang="en-US" sz="1200" err="1">
                <a:latin typeface="Consolas"/>
              </a:rPr>
              <a:t>installiert</a:t>
            </a:r>
            <a:r>
              <a:rPr lang="en-US" sz="1200">
                <a:latin typeface="Consolas"/>
              </a:rPr>
              <a:t> hast, um die API </a:t>
            </a:r>
            <a:r>
              <a:rPr lang="en-US" sz="1200" err="1">
                <a:latin typeface="Consolas"/>
              </a:rPr>
              <a:t>verwenden</a:t>
            </a:r>
            <a:r>
              <a:rPr lang="en-US" sz="1200">
                <a:latin typeface="Consolas"/>
              </a:rPr>
              <a:t> </a:t>
            </a:r>
            <a:r>
              <a:rPr lang="en-US" sz="1200" err="1">
                <a:latin typeface="Consolas"/>
              </a:rPr>
              <a:t>zu</a:t>
            </a:r>
            <a:r>
              <a:rPr lang="en-US" sz="1200">
                <a:latin typeface="Consolas"/>
              </a:rPr>
              <a:t> </a:t>
            </a:r>
            <a:r>
              <a:rPr lang="en-US" sz="1200" err="1">
                <a:latin typeface="Consolas"/>
              </a:rPr>
              <a:t>können</a:t>
            </a:r>
            <a:r>
              <a:rPr lang="en-US" sz="1200">
                <a:latin typeface="Consolas"/>
              </a:rPr>
              <a:t>.
5. Schritt: Teste die API-Integration </a:t>
            </a:r>
            <a:r>
              <a:rPr lang="en-US" sz="1200" err="1">
                <a:latin typeface="Consolas"/>
              </a:rPr>
              <a:t>mit</a:t>
            </a:r>
            <a:r>
              <a:rPr lang="en-US" sz="1200">
                <a:latin typeface="Consolas"/>
              </a:rPr>
              <a:t> </a:t>
            </a:r>
            <a:r>
              <a:rPr lang="en-US" sz="1200" err="1">
                <a:latin typeface="Consolas"/>
              </a:rPr>
              <a:t>kleinen</a:t>
            </a:r>
            <a:r>
              <a:rPr lang="en-US" sz="1200">
                <a:latin typeface="Consolas"/>
              </a:rPr>
              <a:t> </a:t>
            </a:r>
            <a:r>
              <a:rPr lang="en-US" sz="1200" err="1">
                <a:latin typeface="Consolas"/>
              </a:rPr>
              <a:t>Beispieldaten</a:t>
            </a:r>
            <a:r>
              <a:rPr lang="en-US" sz="1200">
                <a:latin typeface="Consolas"/>
              </a:rPr>
              <a:t>, um </a:t>
            </a:r>
            <a:r>
              <a:rPr lang="en-US" sz="1200" err="1">
                <a:latin typeface="Consolas"/>
              </a:rPr>
              <a:t>sicherzustellen</a:t>
            </a:r>
            <a:r>
              <a:rPr lang="en-US" sz="1200">
                <a:latin typeface="Consolas"/>
              </a:rPr>
              <a:t>, </a:t>
            </a:r>
            <a:r>
              <a:rPr lang="en-US" sz="1200" err="1">
                <a:latin typeface="Consolas"/>
              </a:rPr>
              <a:t>dass</a:t>
            </a:r>
            <a:r>
              <a:rPr lang="en-US" sz="1200">
                <a:latin typeface="Consolas"/>
              </a:rPr>
              <a:t> </a:t>
            </a:r>
            <a:r>
              <a:rPr lang="en-US" sz="1200" err="1">
                <a:latin typeface="Consolas"/>
              </a:rPr>
              <a:t>sie</a:t>
            </a:r>
            <a:r>
              <a:rPr lang="en-US" sz="1200">
                <a:latin typeface="Consolas"/>
              </a:rPr>
              <a:t> </a:t>
            </a:r>
            <a:r>
              <a:rPr lang="en-US" sz="1200" err="1">
                <a:latin typeface="Consolas"/>
              </a:rPr>
              <a:t>korrekt</a:t>
            </a:r>
            <a:r>
              <a:rPr lang="en-US" sz="1200">
                <a:latin typeface="Consolas"/>
              </a:rPr>
              <a:t> </a:t>
            </a:r>
            <a:r>
              <a:rPr lang="en-US" sz="1200" err="1">
                <a:latin typeface="Consolas"/>
              </a:rPr>
              <a:t>funktioniert</a:t>
            </a:r>
            <a:r>
              <a:rPr lang="en-US" sz="1200">
                <a:latin typeface="Consolas"/>
              </a:rPr>
              <a:t>.
6. Schritt: </a:t>
            </a:r>
            <a:r>
              <a:rPr lang="en-US" sz="1200" err="1">
                <a:latin typeface="Consolas"/>
              </a:rPr>
              <a:t>Überprüfe</a:t>
            </a:r>
            <a:r>
              <a:rPr lang="en-US" sz="1200">
                <a:latin typeface="Consolas"/>
              </a:rPr>
              <a:t> die </a:t>
            </a:r>
            <a:r>
              <a:rPr lang="en-US" sz="1200" err="1">
                <a:latin typeface="Consolas"/>
              </a:rPr>
              <a:t>Ausgabe</a:t>
            </a:r>
            <a:r>
              <a:rPr lang="en-US" sz="1200">
                <a:latin typeface="Consolas"/>
              </a:rPr>
              <a:t> und </a:t>
            </a:r>
            <a:r>
              <a:rPr lang="en-US" sz="1200" err="1">
                <a:latin typeface="Consolas"/>
              </a:rPr>
              <a:t>vergleiche</a:t>
            </a:r>
            <a:r>
              <a:rPr lang="en-US" sz="1200">
                <a:latin typeface="Consolas"/>
              </a:rPr>
              <a:t> </a:t>
            </a:r>
            <a:r>
              <a:rPr lang="en-US" sz="1200" err="1">
                <a:latin typeface="Consolas"/>
              </a:rPr>
              <a:t>sie</a:t>
            </a:r>
            <a:r>
              <a:rPr lang="en-US" sz="1200">
                <a:latin typeface="Consolas"/>
              </a:rPr>
              <a:t> </a:t>
            </a:r>
            <a:r>
              <a:rPr lang="en-US" sz="1200" err="1">
                <a:latin typeface="Consolas"/>
              </a:rPr>
              <a:t>mit</a:t>
            </a:r>
            <a:r>
              <a:rPr lang="en-US" sz="1200">
                <a:latin typeface="Consolas"/>
              </a:rPr>
              <a:t> den </a:t>
            </a:r>
            <a:r>
              <a:rPr lang="en-US" sz="1200" err="1">
                <a:latin typeface="Consolas"/>
              </a:rPr>
              <a:t>erwarteten</a:t>
            </a:r>
            <a:r>
              <a:rPr lang="en-US" sz="1200">
                <a:latin typeface="Consolas"/>
              </a:rPr>
              <a:t> </a:t>
            </a:r>
            <a:r>
              <a:rPr lang="en-US" sz="1200" err="1">
                <a:latin typeface="Consolas"/>
              </a:rPr>
              <a:t>Ergebnissen</a:t>
            </a:r>
            <a:r>
              <a:rPr lang="en-US" sz="1200">
                <a:latin typeface="Consolas"/>
              </a:rPr>
              <a:t> </a:t>
            </a:r>
            <a:r>
              <a:rPr lang="en-US" sz="1200" err="1">
                <a:latin typeface="Consolas"/>
              </a:rPr>
              <a:t>gemäß</a:t>
            </a:r>
            <a:r>
              <a:rPr lang="en-US" sz="1200">
                <a:latin typeface="Consolas"/>
              </a:rPr>
              <a:t> dem </a:t>
            </a:r>
            <a:r>
              <a:rPr lang="en-US" sz="1200" err="1">
                <a:latin typeface="Consolas"/>
              </a:rPr>
              <a:t>Algorithmus</a:t>
            </a:r>
            <a:r>
              <a:rPr lang="en-US" sz="1200">
                <a:latin typeface="Consolas"/>
              </a:rPr>
              <a:t>.
7. Schritt: Falls </a:t>
            </a:r>
            <a:r>
              <a:rPr lang="en-US" sz="1200" err="1">
                <a:latin typeface="Consolas"/>
              </a:rPr>
              <a:t>Probleme</a:t>
            </a:r>
            <a:r>
              <a:rPr lang="en-US" sz="1200">
                <a:latin typeface="Consolas"/>
              </a:rPr>
              <a:t> </a:t>
            </a:r>
            <a:r>
              <a:rPr lang="en-US" sz="1200" err="1">
                <a:latin typeface="Consolas"/>
              </a:rPr>
              <a:t>auftreten</a:t>
            </a:r>
            <a:r>
              <a:rPr lang="en-US" sz="1200">
                <a:latin typeface="Consolas"/>
              </a:rPr>
              <a:t>, </a:t>
            </a:r>
            <a:r>
              <a:rPr lang="en-US" sz="1200" err="1">
                <a:latin typeface="Consolas"/>
              </a:rPr>
              <a:t>überprüfe</a:t>
            </a:r>
            <a:r>
              <a:rPr lang="en-US" sz="1200">
                <a:latin typeface="Consolas"/>
              </a:rPr>
              <a:t> die API-</a:t>
            </a:r>
            <a:r>
              <a:rPr lang="en-US" sz="1200" err="1">
                <a:latin typeface="Consolas"/>
              </a:rPr>
              <a:t>Dokumentation</a:t>
            </a:r>
            <a:r>
              <a:rPr lang="en-US" sz="1200">
                <a:latin typeface="Consolas"/>
              </a:rPr>
              <a:t> </a:t>
            </a:r>
            <a:r>
              <a:rPr lang="en-US" sz="1200" err="1">
                <a:latin typeface="Consolas"/>
              </a:rPr>
              <a:t>oder</a:t>
            </a:r>
            <a:r>
              <a:rPr lang="en-US" sz="1200">
                <a:latin typeface="Consolas"/>
              </a:rPr>
              <a:t> </a:t>
            </a:r>
            <a:r>
              <a:rPr lang="en-US" sz="1200" err="1">
                <a:latin typeface="Consolas"/>
              </a:rPr>
              <a:t>suche</a:t>
            </a:r>
            <a:r>
              <a:rPr lang="en-US" sz="1200">
                <a:latin typeface="Consolas"/>
              </a:rPr>
              <a:t> </a:t>
            </a:r>
            <a:r>
              <a:rPr lang="en-US" sz="1200" err="1">
                <a:latin typeface="Consolas"/>
              </a:rPr>
              <a:t>nach</a:t>
            </a:r>
            <a:r>
              <a:rPr lang="en-US" sz="1200">
                <a:latin typeface="Consolas"/>
              </a:rPr>
              <a:t> Online-</a:t>
            </a:r>
            <a:r>
              <a:rPr lang="en-US" sz="1200" err="1">
                <a:latin typeface="Consolas"/>
              </a:rPr>
              <a:t>Ressourcen</a:t>
            </a:r>
            <a:r>
              <a:rPr lang="en-US" sz="1200">
                <a:latin typeface="Consolas"/>
              </a:rPr>
              <a:t>, die </a:t>
            </a:r>
            <a:r>
              <a:rPr lang="en-US" sz="1200" err="1">
                <a:latin typeface="Consolas"/>
              </a:rPr>
              <a:t>bei</a:t>
            </a:r>
            <a:r>
              <a:rPr lang="en-US" sz="1200">
                <a:latin typeface="Consolas"/>
              </a:rPr>
              <a:t> der </a:t>
            </a:r>
            <a:r>
              <a:rPr lang="en-US" sz="1200" err="1">
                <a:latin typeface="Consolas"/>
              </a:rPr>
              <a:t>Fehlerbehebung</a:t>
            </a:r>
            <a:r>
              <a:rPr lang="en-US" sz="1200">
                <a:latin typeface="Consolas"/>
              </a:rPr>
              <a:t> </a:t>
            </a:r>
            <a:r>
              <a:rPr lang="en-US" sz="1200" err="1">
                <a:latin typeface="Consolas"/>
              </a:rPr>
              <a:t>helfen</a:t>
            </a:r>
            <a:r>
              <a:rPr lang="en-US" sz="1200">
                <a:latin typeface="Consolas"/>
              </a:rPr>
              <a:t> </a:t>
            </a:r>
            <a:r>
              <a:rPr lang="en-US" sz="1200" err="1">
                <a:latin typeface="Consolas"/>
              </a:rPr>
              <a:t>können</a:t>
            </a:r>
            <a:r>
              <a:rPr lang="en-US" sz="1200">
                <a:latin typeface="Consolas"/>
              </a:rPr>
              <a:t>.
8. Schritt: </a:t>
            </a:r>
            <a:r>
              <a:rPr lang="en-US" sz="1200" err="1">
                <a:latin typeface="Consolas"/>
              </a:rPr>
              <a:t>Experimentiere</a:t>
            </a:r>
            <a:r>
              <a:rPr lang="en-US" sz="1200">
                <a:latin typeface="Consolas"/>
              </a:rPr>
              <a:t> </a:t>
            </a:r>
            <a:r>
              <a:rPr lang="en-US" sz="1200" err="1">
                <a:latin typeface="Consolas"/>
              </a:rPr>
              <a:t>mit</a:t>
            </a:r>
            <a:r>
              <a:rPr lang="en-US" sz="1200">
                <a:latin typeface="Consolas"/>
              </a:rPr>
              <a:t> </a:t>
            </a:r>
            <a:r>
              <a:rPr lang="en-US" sz="1200" err="1">
                <a:latin typeface="Consolas"/>
              </a:rPr>
              <a:t>verschiedenen</a:t>
            </a:r>
            <a:r>
              <a:rPr lang="en-US" sz="1200">
                <a:latin typeface="Consolas"/>
              </a:rPr>
              <a:t> </a:t>
            </a:r>
            <a:r>
              <a:rPr lang="en-US" sz="1200" err="1">
                <a:latin typeface="Consolas"/>
              </a:rPr>
              <a:t>Parametern</a:t>
            </a:r>
            <a:r>
              <a:rPr lang="en-US" sz="1200">
                <a:latin typeface="Consolas"/>
              </a:rPr>
              <a:t> </a:t>
            </a:r>
            <a:r>
              <a:rPr lang="en-US" sz="1200" err="1">
                <a:latin typeface="Consolas"/>
              </a:rPr>
              <a:t>oder</a:t>
            </a:r>
            <a:r>
              <a:rPr lang="en-US" sz="1200">
                <a:latin typeface="Consolas"/>
              </a:rPr>
              <a:t> </a:t>
            </a:r>
            <a:r>
              <a:rPr lang="en-US" sz="1200" err="1">
                <a:latin typeface="Consolas"/>
              </a:rPr>
              <a:t>Einstellungen</a:t>
            </a:r>
            <a:r>
              <a:rPr lang="en-US" sz="1200">
                <a:latin typeface="Consolas"/>
              </a:rPr>
              <a:t>, um </a:t>
            </a:r>
            <a:r>
              <a:rPr lang="en-US" sz="1200" err="1">
                <a:latin typeface="Consolas"/>
              </a:rPr>
              <a:t>ein</a:t>
            </a:r>
            <a:r>
              <a:rPr lang="en-US" sz="1200">
                <a:latin typeface="Consolas"/>
              </a:rPr>
              <a:t> </a:t>
            </a:r>
            <a:r>
              <a:rPr lang="en-US" sz="1200" err="1">
                <a:latin typeface="Consolas"/>
              </a:rPr>
              <a:t>besseres</a:t>
            </a:r>
            <a:r>
              <a:rPr lang="en-US" sz="1200">
                <a:latin typeface="Consolas"/>
              </a:rPr>
              <a:t> </a:t>
            </a:r>
            <a:r>
              <a:rPr lang="en-US" sz="1200" err="1">
                <a:latin typeface="Consolas"/>
              </a:rPr>
              <a:t>Verständnis</a:t>
            </a:r>
            <a:r>
              <a:rPr lang="en-US" sz="1200">
                <a:latin typeface="Consolas"/>
              </a:rPr>
              <a:t> für die API und den </a:t>
            </a:r>
            <a:r>
              <a:rPr lang="en-US" sz="1200" err="1">
                <a:latin typeface="Consolas"/>
              </a:rPr>
              <a:t>Algorithmus</a:t>
            </a:r>
            <a:r>
              <a:rPr lang="en-US" sz="1200">
                <a:latin typeface="Consolas"/>
              </a:rPr>
              <a:t> </a:t>
            </a:r>
            <a:r>
              <a:rPr lang="en-US" sz="1200" err="1">
                <a:latin typeface="Consolas"/>
              </a:rPr>
              <a:t>zu</a:t>
            </a:r>
            <a:r>
              <a:rPr lang="en-US" sz="1200">
                <a:latin typeface="Consolas"/>
              </a:rPr>
              <a:t> </a:t>
            </a:r>
            <a:r>
              <a:rPr lang="en-US" sz="1200" err="1">
                <a:latin typeface="Consolas"/>
              </a:rPr>
              <a:t>entwickeln</a:t>
            </a:r>
            <a:r>
              <a:rPr lang="en-US" sz="1200">
                <a:latin typeface="Consolas"/>
              </a:rPr>
              <a:t>.
9. Schritt: </a:t>
            </a:r>
            <a:r>
              <a:rPr lang="en-US" sz="1200" err="1">
                <a:latin typeface="Consolas"/>
              </a:rPr>
              <a:t>Reflektiere</a:t>
            </a:r>
            <a:r>
              <a:rPr lang="en-US" sz="1200">
                <a:latin typeface="Consolas"/>
              </a:rPr>
              <a:t> </a:t>
            </a:r>
            <a:r>
              <a:rPr lang="en-US" sz="1200" err="1">
                <a:latin typeface="Consolas"/>
              </a:rPr>
              <a:t>über</a:t>
            </a:r>
            <a:r>
              <a:rPr lang="en-US" sz="1200">
                <a:latin typeface="Consolas"/>
              </a:rPr>
              <a:t> den </a:t>
            </a:r>
            <a:r>
              <a:rPr lang="en-US" sz="1200" err="1">
                <a:latin typeface="Consolas"/>
              </a:rPr>
              <a:t>Prozess</a:t>
            </a:r>
            <a:r>
              <a:rPr lang="en-US" sz="1200">
                <a:latin typeface="Consolas"/>
              </a:rPr>
              <a:t> und </a:t>
            </a:r>
            <a:r>
              <a:rPr lang="en-US" sz="1200" err="1">
                <a:latin typeface="Consolas"/>
              </a:rPr>
              <a:t>notiere</a:t>
            </a:r>
            <a:r>
              <a:rPr lang="en-US" sz="1200">
                <a:latin typeface="Consolas"/>
              </a:rPr>
              <a:t> </a:t>
            </a:r>
            <a:r>
              <a:rPr lang="en-US" sz="1200" err="1">
                <a:latin typeface="Consolas"/>
              </a:rPr>
              <a:t>dir</a:t>
            </a:r>
            <a:r>
              <a:rPr lang="en-US" sz="1200">
                <a:latin typeface="Consolas"/>
              </a:rPr>
              <a:t> </a:t>
            </a:r>
            <a:r>
              <a:rPr lang="en-US" sz="1200" err="1">
                <a:latin typeface="Consolas"/>
              </a:rPr>
              <a:t>mögliche</a:t>
            </a:r>
            <a:r>
              <a:rPr lang="en-US" sz="1200">
                <a:latin typeface="Consolas"/>
              </a:rPr>
              <a:t> </a:t>
            </a:r>
            <a:r>
              <a:rPr lang="en-US" sz="1200" err="1">
                <a:latin typeface="Consolas"/>
              </a:rPr>
              <a:t>Verbesserungen</a:t>
            </a:r>
            <a:r>
              <a:rPr lang="en-US" sz="1200">
                <a:latin typeface="Consolas"/>
              </a:rPr>
              <a:t> </a:t>
            </a:r>
            <a:r>
              <a:rPr lang="en-US" sz="1200" err="1">
                <a:latin typeface="Consolas"/>
              </a:rPr>
              <a:t>oder</a:t>
            </a:r>
            <a:r>
              <a:rPr lang="en-US" sz="1200">
                <a:latin typeface="Consolas"/>
              </a:rPr>
              <a:t> </a:t>
            </a:r>
            <a:r>
              <a:rPr lang="en-US" sz="1200" err="1">
                <a:latin typeface="Consolas"/>
              </a:rPr>
              <a:t>Erkenntnisse</a:t>
            </a:r>
            <a:r>
              <a:rPr lang="en-US" sz="1200">
                <a:latin typeface="Consolas"/>
              </a:rPr>
              <a:t> für </a:t>
            </a:r>
            <a:r>
              <a:rPr lang="en-US" sz="1200" err="1">
                <a:latin typeface="Consolas"/>
              </a:rPr>
              <a:t>zukünftige</a:t>
            </a:r>
            <a:r>
              <a:rPr lang="en-US" sz="1200">
                <a:latin typeface="Consolas"/>
              </a:rPr>
              <a:t> </a:t>
            </a:r>
            <a:r>
              <a:rPr lang="en-US" sz="1200" err="1">
                <a:latin typeface="Consolas"/>
              </a:rPr>
              <a:t>Anwendungen</a:t>
            </a:r>
            <a:r>
              <a:rPr lang="en-US" sz="1200">
                <a:latin typeface="Consolas"/>
              </a:rPr>
              <a:t>.</a:t>
            </a:r>
            <a:endParaRPr lang="en-US" sz="1200"/>
          </a:p>
        </p:txBody>
      </p:sp>
    </p:spTree>
    <p:extLst>
      <p:ext uri="{BB962C8B-B14F-4D97-AF65-F5344CB8AC3E}">
        <p14:creationId xmlns:p14="http://schemas.microsoft.com/office/powerpoint/2010/main" val="1623946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DCQO PDF</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a:xfrm>
            <a:off x="311700" y="1152475"/>
            <a:ext cx="8520600" cy="3829638"/>
          </a:xfrm>
        </p:spPr>
        <p:txBody>
          <a:bodyPr/>
          <a:lstStyle/>
          <a:p>
            <a:pPr marL="0" indent="0">
              <a:buNone/>
            </a:pPr>
            <a:r>
              <a:rPr lang="en-US" sz="1200" u="sng"/>
              <a:t>Question</a:t>
            </a:r>
            <a:r>
              <a:rPr lang="en-US" sz="1200"/>
              <a:t>:</a:t>
            </a:r>
            <a:r>
              <a:rPr lang="en-US" sz="1200">
                <a:latin typeface="Consolas"/>
              </a:rPr>
              <a:t> </a:t>
            </a:r>
            <a:r>
              <a:rPr lang="en-US" sz="1200" err="1">
                <a:latin typeface="Consolas"/>
              </a:rPr>
              <a:t>Kannst</a:t>
            </a:r>
            <a:r>
              <a:rPr lang="en-US" sz="1200">
                <a:latin typeface="Consolas"/>
              </a:rPr>
              <a:t> du mir </a:t>
            </a:r>
            <a:r>
              <a:rPr lang="en-US" sz="1200" err="1">
                <a:latin typeface="Consolas"/>
              </a:rPr>
              <a:t>eine</a:t>
            </a:r>
            <a:r>
              <a:rPr lang="en-US" sz="1200">
                <a:latin typeface="Consolas"/>
              </a:rPr>
              <a:t> Schritt für Schritt </a:t>
            </a:r>
            <a:r>
              <a:rPr lang="en-US" sz="1200" err="1">
                <a:latin typeface="Consolas"/>
              </a:rPr>
              <a:t>Anleitung</a:t>
            </a:r>
            <a:r>
              <a:rPr lang="en-US" sz="1200">
                <a:latin typeface="Consolas"/>
              </a:rPr>
              <a:t> </a:t>
            </a:r>
            <a:r>
              <a:rPr lang="en-US" sz="1200" err="1">
                <a:latin typeface="Consolas"/>
              </a:rPr>
              <a:t>geben</a:t>
            </a:r>
            <a:r>
              <a:rPr lang="en-US" sz="1200">
                <a:latin typeface="Consolas"/>
              </a:rPr>
              <a:t> </a:t>
            </a:r>
            <a:r>
              <a:rPr lang="en-US" sz="1200" err="1">
                <a:latin typeface="Consolas"/>
              </a:rPr>
              <a:t>wie</a:t>
            </a:r>
            <a:r>
              <a:rPr lang="en-US" sz="1200">
                <a:latin typeface="Consolas"/>
              </a:rPr>
              <a:t> ich die API für den </a:t>
            </a:r>
            <a:r>
              <a:rPr lang="en-US" sz="1200" err="1">
                <a:latin typeface="Consolas"/>
              </a:rPr>
              <a:t>im</a:t>
            </a:r>
            <a:r>
              <a:rPr lang="en-US" sz="1200">
                <a:latin typeface="Consolas"/>
              </a:rPr>
              <a:t> PDF </a:t>
            </a:r>
            <a:r>
              <a:rPr lang="en-US" sz="1200" err="1">
                <a:latin typeface="Consolas"/>
              </a:rPr>
              <a:t>genannten</a:t>
            </a:r>
            <a:r>
              <a:rPr lang="en-US" sz="1200">
                <a:latin typeface="Consolas"/>
              </a:rPr>
              <a:t> </a:t>
            </a:r>
            <a:r>
              <a:rPr lang="en-US" sz="1200" err="1">
                <a:latin typeface="Consolas"/>
              </a:rPr>
              <a:t>Algorithmus</a:t>
            </a:r>
            <a:r>
              <a:rPr lang="en-US" sz="1200">
                <a:latin typeface="Consolas"/>
              </a:rPr>
              <a:t> DCQO </a:t>
            </a:r>
            <a:r>
              <a:rPr lang="en-US" sz="1200" err="1">
                <a:latin typeface="Consolas"/>
              </a:rPr>
              <a:t>nutze</a:t>
            </a:r>
            <a:r>
              <a:rPr lang="en-US" sz="1200">
                <a:latin typeface="Consolas"/>
              </a:rPr>
              <a:t>?</a:t>
            </a:r>
            <a:endParaRPr lang="en-US"/>
          </a:p>
          <a:p>
            <a:pPr marL="0" indent="0">
              <a:buNone/>
            </a:pPr>
            <a:endParaRPr lang="en-US" sz="1200">
              <a:latin typeface="Consolas"/>
            </a:endParaRPr>
          </a:p>
          <a:p>
            <a:pPr marL="0" indent="0">
              <a:buNone/>
            </a:pPr>
            <a:r>
              <a:rPr lang="en-US" sz="1200" u="sng"/>
              <a:t>Result</a:t>
            </a:r>
            <a:r>
              <a:rPr lang="en-US" sz="1200"/>
              <a:t>:</a:t>
            </a:r>
            <a:r>
              <a:rPr lang="en-US" sz="1050">
                <a:latin typeface="Consolas"/>
              </a:rPr>
              <a:t>
</a:t>
            </a:r>
            <a:r>
              <a:rPr lang="en-US" sz="1100">
                <a:latin typeface="Consolas"/>
              </a:rPr>
              <a:t>1. First, you need to access the endpoint for the DCQO algorithm. The endpoint is: </a:t>
            </a:r>
            <a:r>
              <a:rPr lang="en-US" sz="1100" b="1" u="sng">
                <a:solidFill>
                  <a:srgbClr val="FF0000"/>
                </a:solidFill>
                <a:latin typeface="Consolas"/>
              </a:rPr>
              <a:t>https://gateway.platform.planqk.de/kipu-quantum/kipu-digitized-counterdiabatic-quantum-optimization---dcqo/1.0.0</a:t>
            </a:r>
            <a:r>
              <a:rPr lang="en-US" sz="1100" u="sng">
                <a:latin typeface="Consolas"/>
              </a:rPr>
              <a:t>.</a:t>
            </a:r>
            <a:r>
              <a:rPr lang="en-US" sz="1100">
                <a:latin typeface="Consolas"/>
              </a:rPr>
              <a:t>
2. Next, you can use the API to interact with the algorithm. You can make a </a:t>
            </a:r>
            <a:r>
              <a:rPr lang="en-US" sz="1100" u="sng">
                <a:latin typeface="Consolas"/>
              </a:rPr>
              <a:t>GET request</a:t>
            </a:r>
            <a:r>
              <a:rPr lang="en-US" sz="1100">
                <a:latin typeface="Consolas"/>
              </a:rPr>
              <a:t> to the health checking endpoint to ensure everything is working correctly. The parameters you can include in your request are the backend name and job ID.
3. If you want to execute the service asynchronously, you can make a </a:t>
            </a:r>
            <a:r>
              <a:rPr lang="en-US" sz="1100" u="sng">
                <a:latin typeface="Consolas"/>
              </a:rPr>
              <a:t>POST request</a:t>
            </a:r>
            <a:r>
              <a:rPr lang="en-US" sz="1100">
                <a:latin typeface="Consolas"/>
              </a:rPr>
              <a:t> to the service API. This will allow you to submit your input data and parameters for the optimization process.
4. You can also check the execution status by making a GET request with the ID of the execution.
5. Make sure to prepare your input data and parameters according to the format required by the algorithm. You can refer to the example provided in the PDF for guidance on how to structure your data.</a:t>
            </a:r>
          </a:p>
          <a:p>
            <a:pPr marL="114300" indent="0">
              <a:buNone/>
            </a:pPr>
            <a:endParaRPr lang="en-US" sz="1200">
              <a:latin typeface="Consolas"/>
            </a:endParaRPr>
          </a:p>
          <a:p>
            <a:pPr marL="114300" indent="0">
              <a:buNone/>
            </a:pPr>
            <a:r>
              <a:rPr lang="en-US" sz="1200" b="1">
                <a:latin typeface="Consolas"/>
              </a:rPr>
              <a:t>--&gt; </a:t>
            </a:r>
            <a:r>
              <a:rPr lang="en-US" sz="1200" b="1" err="1">
                <a:latin typeface="Consolas"/>
              </a:rPr>
              <a:t>explizite</a:t>
            </a:r>
            <a:r>
              <a:rPr lang="en-US" sz="1200" b="1">
                <a:latin typeface="Consolas"/>
              </a:rPr>
              <a:t> </a:t>
            </a:r>
            <a:r>
              <a:rPr lang="en-US" sz="1200" b="1" err="1">
                <a:latin typeface="Consolas"/>
              </a:rPr>
              <a:t>weitere</a:t>
            </a:r>
            <a:r>
              <a:rPr lang="en-US" sz="1200" b="1">
                <a:latin typeface="Consolas"/>
              </a:rPr>
              <a:t> </a:t>
            </a:r>
            <a:r>
              <a:rPr lang="en-US" sz="1200" b="1" err="1">
                <a:latin typeface="Consolas"/>
              </a:rPr>
              <a:t>Fragen</a:t>
            </a:r>
            <a:r>
              <a:rPr lang="en-US" sz="1200" b="1">
                <a:latin typeface="Consolas"/>
              </a:rPr>
              <a:t> </a:t>
            </a:r>
            <a:r>
              <a:rPr lang="en-US" sz="1200" b="1" err="1">
                <a:latin typeface="Consolas"/>
              </a:rPr>
              <a:t>notwendig</a:t>
            </a:r>
            <a:endParaRPr lang="en-US" sz="1200" b="1">
              <a:latin typeface="Consolas"/>
            </a:endParaRPr>
          </a:p>
        </p:txBody>
      </p:sp>
    </p:spTree>
    <p:extLst>
      <p:ext uri="{BB962C8B-B14F-4D97-AF65-F5344CB8AC3E}">
        <p14:creationId xmlns:p14="http://schemas.microsoft.com/office/powerpoint/2010/main" val="34394206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a:t>
            </a:r>
            <a:r>
              <a:rPr lang="en-US" err="1"/>
              <a:t>umformulierte</a:t>
            </a:r>
            <a:r>
              <a:rPr lang="en-US"/>
              <a:t> Frage</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200" u="sng"/>
              <a:t>Question</a:t>
            </a:r>
            <a:r>
              <a:rPr lang="en-US" sz="1200"/>
              <a:t>:</a:t>
            </a:r>
            <a:r>
              <a:rPr lang="en-US" sz="1200">
                <a:latin typeface="Consolas"/>
              </a:rPr>
              <a:t> Wie </a:t>
            </a:r>
            <a:r>
              <a:rPr lang="en-US" sz="1200" err="1">
                <a:latin typeface="Consolas"/>
              </a:rPr>
              <a:t>kann</a:t>
            </a:r>
            <a:r>
              <a:rPr lang="en-US" sz="1200">
                <a:latin typeface="Consolas"/>
              </a:rPr>
              <a:t> ich den </a:t>
            </a:r>
            <a:r>
              <a:rPr lang="en-US" sz="1200" err="1">
                <a:latin typeface="Consolas"/>
              </a:rPr>
              <a:t>Algorithmus</a:t>
            </a:r>
            <a:r>
              <a:rPr lang="en-US" sz="1200">
                <a:latin typeface="Consolas"/>
              </a:rPr>
              <a:t> </a:t>
            </a:r>
            <a:r>
              <a:rPr lang="en-US" sz="1200" err="1">
                <a:latin typeface="Consolas"/>
              </a:rPr>
              <a:t>mithilfe</a:t>
            </a:r>
            <a:r>
              <a:rPr lang="en-US" sz="1200">
                <a:latin typeface="Consolas"/>
              </a:rPr>
              <a:t> der </a:t>
            </a:r>
            <a:r>
              <a:rPr lang="en-US" sz="1200" err="1">
                <a:latin typeface="Consolas"/>
              </a:rPr>
              <a:t>bereitgestellten</a:t>
            </a:r>
            <a:r>
              <a:rPr lang="en-US" sz="1200">
                <a:latin typeface="Consolas"/>
              </a:rPr>
              <a:t> API </a:t>
            </a:r>
            <a:r>
              <a:rPr lang="en-US" sz="1200" err="1">
                <a:latin typeface="Consolas"/>
              </a:rPr>
              <a:t>nutzen</a:t>
            </a:r>
            <a:r>
              <a:rPr lang="en-US" sz="1200">
                <a:latin typeface="Consolas"/>
              </a:rPr>
              <a:t>?</a:t>
            </a:r>
            <a:endParaRPr lang="en-US"/>
          </a:p>
          <a:p>
            <a:pPr marL="114300" indent="0">
              <a:buNone/>
            </a:pPr>
            <a:r>
              <a:rPr lang="en-US" sz="1200" u="sng"/>
              <a:t>Answer</a:t>
            </a:r>
            <a:r>
              <a:rPr lang="en-US" sz="1200"/>
              <a:t>:</a:t>
            </a:r>
            <a:r>
              <a:rPr lang="en-US" sz="1600">
                <a:latin typeface="Consolas"/>
              </a:rPr>
              <a:t> </a:t>
            </a:r>
          </a:p>
          <a:p>
            <a:pPr marL="114300" indent="0">
              <a:buNone/>
            </a:pPr>
            <a:r>
              <a:rPr lang="en-US" sz="1200">
                <a:latin typeface="Consolas"/>
              </a:rPr>
              <a:t>Um den </a:t>
            </a:r>
            <a:r>
              <a:rPr lang="en-US" sz="1200" err="1">
                <a:latin typeface="Consolas"/>
              </a:rPr>
              <a:t>Algorithmus</a:t>
            </a:r>
            <a:r>
              <a:rPr lang="en-US" sz="1200">
                <a:latin typeface="Consolas"/>
              </a:rPr>
              <a:t> </a:t>
            </a:r>
            <a:r>
              <a:rPr lang="en-US" sz="1200" err="1">
                <a:latin typeface="Consolas"/>
              </a:rPr>
              <a:t>mithilfe</a:t>
            </a:r>
            <a:r>
              <a:rPr lang="en-US" sz="1200">
                <a:latin typeface="Consolas"/>
              </a:rPr>
              <a:t> der </a:t>
            </a:r>
            <a:r>
              <a:rPr lang="en-US" sz="1200" err="1">
                <a:latin typeface="Consolas"/>
              </a:rPr>
              <a:t>bereitgestellten</a:t>
            </a:r>
            <a:r>
              <a:rPr lang="en-US" sz="1200">
                <a:latin typeface="Consolas"/>
              </a:rPr>
              <a:t> API </a:t>
            </a:r>
            <a:r>
              <a:rPr lang="en-US" sz="1200" err="1">
                <a:latin typeface="Consolas"/>
              </a:rPr>
              <a:t>zu</a:t>
            </a:r>
            <a:r>
              <a:rPr lang="en-US" sz="1200">
                <a:latin typeface="Consolas"/>
              </a:rPr>
              <a:t> </a:t>
            </a:r>
            <a:r>
              <a:rPr lang="en-US" sz="1200" err="1">
                <a:latin typeface="Consolas"/>
              </a:rPr>
              <a:t>nutzen</a:t>
            </a:r>
            <a:r>
              <a:rPr lang="en-US" sz="1200">
                <a:latin typeface="Consolas"/>
              </a:rPr>
              <a:t>, </a:t>
            </a:r>
            <a:r>
              <a:rPr lang="en-US" sz="1200" err="1">
                <a:latin typeface="Consolas"/>
              </a:rPr>
              <a:t>müssen</a:t>
            </a:r>
            <a:r>
              <a:rPr lang="en-US" sz="1200">
                <a:latin typeface="Consolas"/>
              </a:rPr>
              <a:t> Sie </a:t>
            </a:r>
            <a:r>
              <a:rPr lang="en-US" sz="1200" err="1">
                <a:latin typeface="Consolas"/>
              </a:rPr>
              <a:t>zunächst</a:t>
            </a:r>
            <a:r>
              <a:rPr lang="en-US" sz="1200">
                <a:latin typeface="Consolas"/>
              </a:rPr>
              <a:t> die </a:t>
            </a:r>
            <a:r>
              <a:rPr lang="en-US" sz="1200" err="1">
                <a:latin typeface="Consolas"/>
              </a:rPr>
              <a:t>spezifischen</a:t>
            </a:r>
            <a:r>
              <a:rPr lang="en-US" sz="1200">
                <a:latin typeface="Consolas"/>
              </a:rPr>
              <a:t> Parameter des </a:t>
            </a:r>
            <a:r>
              <a:rPr lang="en-US" sz="1200" err="1">
                <a:latin typeface="Consolas"/>
              </a:rPr>
              <a:t>Algorithmus</a:t>
            </a:r>
            <a:r>
              <a:rPr lang="en-US" sz="1200">
                <a:latin typeface="Consolas"/>
              </a:rPr>
              <a:t> </a:t>
            </a:r>
            <a:r>
              <a:rPr lang="en-US" sz="1200" err="1">
                <a:latin typeface="Consolas"/>
              </a:rPr>
              <a:t>angeben</a:t>
            </a:r>
            <a:r>
              <a:rPr lang="en-US" sz="1200">
                <a:latin typeface="Consolas"/>
              </a:rPr>
              <a:t>, </a:t>
            </a:r>
            <a:r>
              <a:rPr lang="en-US" sz="1200" err="1">
                <a:latin typeface="Consolas"/>
              </a:rPr>
              <a:t>wie</a:t>
            </a:r>
            <a:r>
              <a:rPr lang="en-US" sz="1200">
                <a:latin typeface="Consolas"/>
              </a:rPr>
              <a:t> die </a:t>
            </a:r>
            <a:r>
              <a:rPr lang="en-US" sz="1200" b="1">
                <a:solidFill>
                  <a:srgbClr val="FF0000"/>
                </a:solidFill>
                <a:latin typeface="Consolas"/>
              </a:rPr>
              <a:t>Hamiltonian-</a:t>
            </a:r>
            <a:r>
              <a:rPr lang="en-US" sz="1200" b="1" err="1">
                <a:solidFill>
                  <a:srgbClr val="FF0000"/>
                </a:solidFill>
                <a:latin typeface="Consolas"/>
              </a:rPr>
              <a:t>Koeffizienten</a:t>
            </a:r>
            <a:r>
              <a:rPr lang="en-US" sz="1200">
                <a:latin typeface="Consolas"/>
              </a:rPr>
              <a:t>, die </a:t>
            </a:r>
            <a:r>
              <a:rPr lang="en-US" sz="1200" b="1">
                <a:solidFill>
                  <a:srgbClr val="FF0000"/>
                </a:solidFill>
                <a:latin typeface="Consolas"/>
              </a:rPr>
              <a:t>Annealing-Zeit</a:t>
            </a:r>
            <a:r>
              <a:rPr lang="en-US" sz="1200">
                <a:latin typeface="Consolas"/>
              </a:rPr>
              <a:t>, die </a:t>
            </a:r>
            <a:r>
              <a:rPr lang="en-US" sz="1200" b="1" err="1">
                <a:solidFill>
                  <a:srgbClr val="FF0000"/>
                </a:solidFill>
                <a:latin typeface="Consolas"/>
              </a:rPr>
              <a:t>Anzahl</a:t>
            </a:r>
            <a:r>
              <a:rPr lang="en-US" sz="1200" b="1">
                <a:solidFill>
                  <a:srgbClr val="FF0000"/>
                </a:solidFill>
                <a:latin typeface="Consolas"/>
              </a:rPr>
              <a:t> der Trotter-</a:t>
            </a:r>
            <a:r>
              <a:rPr lang="en-US" sz="1200" b="1" err="1">
                <a:solidFill>
                  <a:srgbClr val="FF0000"/>
                </a:solidFill>
                <a:latin typeface="Consolas"/>
              </a:rPr>
              <a:t>Schritte</a:t>
            </a:r>
            <a:r>
              <a:rPr lang="en-US" sz="1200">
                <a:latin typeface="Consolas"/>
              </a:rPr>
              <a:t> und den </a:t>
            </a:r>
            <a:r>
              <a:rPr lang="en-US" sz="1200" b="1" err="1">
                <a:solidFill>
                  <a:srgbClr val="FF0000"/>
                </a:solidFill>
                <a:latin typeface="Consolas"/>
              </a:rPr>
              <a:t>Betriebsmodus</a:t>
            </a:r>
            <a:r>
              <a:rPr lang="en-US" sz="1200">
                <a:latin typeface="Consolas"/>
              </a:rPr>
              <a:t>.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err="1">
                <a:latin typeface="Consolas"/>
              </a:rPr>
              <a:t>werden</a:t>
            </a:r>
            <a:r>
              <a:rPr lang="en-US" sz="1200">
                <a:latin typeface="Consolas"/>
              </a:rPr>
              <a:t> </a:t>
            </a:r>
            <a:r>
              <a:rPr lang="en-US" sz="1200" err="1">
                <a:latin typeface="Consolas"/>
              </a:rPr>
              <a:t>im</a:t>
            </a:r>
            <a:r>
              <a:rPr lang="en-US" sz="1200">
                <a:latin typeface="Consolas"/>
              </a:rPr>
              <a:t> </a:t>
            </a:r>
            <a:r>
              <a:rPr lang="en-US" sz="1200" err="1">
                <a:latin typeface="Consolas"/>
              </a:rPr>
              <a:t>Abschnitt</a:t>
            </a:r>
            <a:r>
              <a:rPr lang="en-US" sz="1200">
                <a:latin typeface="Consolas"/>
              </a:rPr>
              <a:t> "</a:t>
            </a:r>
            <a:r>
              <a:rPr lang="en-US" sz="1200" b="1">
                <a:solidFill>
                  <a:srgbClr val="FF0000"/>
                </a:solidFill>
                <a:latin typeface="Consolas"/>
              </a:rPr>
              <a:t>data</a:t>
            </a:r>
            <a:r>
              <a:rPr lang="en-US" sz="1200">
                <a:latin typeface="Consolas"/>
              </a:rPr>
              <a:t>" der </a:t>
            </a:r>
            <a:r>
              <a:rPr lang="en-US" sz="1200" err="1">
                <a:latin typeface="Consolas"/>
              </a:rPr>
              <a:t>Dokumente</a:t>
            </a:r>
            <a:r>
              <a:rPr lang="en-US" sz="1200">
                <a:latin typeface="Consolas"/>
              </a:rPr>
              <a:t> </a:t>
            </a:r>
            <a:r>
              <a:rPr lang="en-US" sz="1200" err="1">
                <a:latin typeface="Consolas"/>
              </a:rPr>
              <a:t>bereitgestellt</a:t>
            </a:r>
            <a:r>
              <a:rPr lang="en-US" sz="1200">
                <a:latin typeface="Consolas"/>
              </a:rPr>
              <a:t>.
Dann </a:t>
            </a:r>
            <a:r>
              <a:rPr lang="en-US" sz="1200" err="1">
                <a:latin typeface="Consolas"/>
              </a:rPr>
              <a:t>müssen</a:t>
            </a:r>
            <a:r>
              <a:rPr lang="en-US" sz="1200">
                <a:latin typeface="Consolas"/>
              </a:rPr>
              <a:t> Sie die Parameter für die </a:t>
            </a:r>
            <a:r>
              <a:rPr lang="en-US" sz="1200" err="1">
                <a:latin typeface="Consolas"/>
              </a:rPr>
              <a:t>Ausführung</a:t>
            </a:r>
            <a:r>
              <a:rPr lang="en-US" sz="1200">
                <a:latin typeface="Consolas"/>
              </a:rPr>
              <a:t> des </a:t>
            </a:r>
            <a:r>
              <a:rPr lang="en-US" sz="1200" err="1">
                <a:latin typeface="Consolas"/>
              </a:rPr>
              <a:t>Algorithmus</a:t>
            </a:r>
            <a:r>
              <a:rPr lang="en-US" sz="1200">
                <a:latin typeface="Consolas"/>
              </a:rPr>
              <a:t> auf </a:t>
            </a:r>
            <a:r>
              <a:rPr lang="en-US" sz="1200" err="1">
                <a:latin typeface="Consolas"/>
              </a:rPr>
              <a:t>einem</a:t>
            </a:r>
            <a:r>
              <a:rPr lang="en-US" sz="1200">
                <a:latin typeface="Consolas"/>
              </a:rPr>
              <a:t> Hardware-Backend </a:t>
            </a:r>
            <a:r>
              <a:rPr lang="en-US" sz="1200" err="1">
                <a:latin typeface="Consolas"/>
              </a:rPr>
              <a:t>angeben</a:t>
            </a:r>
            <a:r>
              <a:rPr lang="en-US" sz="1200">
                <a:latin typeface="Consolas"/>
              </a:rPr>
              <a:t>, </a:t>
            </a:r>
            <a:r>
              <a:rPr lang="en-US" sz="1200" err="1">
                <a:latin typeface="Consolas"/>
              </a:rPr>
              <a:t>wie</a:t>
            </a:r>
            <a:r>
              <a:rPr lang="en-US" sz="1200">
                <a:latin typeface="Consolas"/>
              </a:rPr>
              <a:t> die </a:t>
            </a:r>
            <a:r>
              <a:rPr lang="en-US" sz="1200" err="1">
                <a:latin typeface="Consolas"/>
              </a:rPr>
              <a:t>Anzahl</a:t>
            </a:r>
            <a:r>
              <a:rPr lang="en-US" sz="1200">
                <a:latin typeface="Consolas"/>
              </a:rPr>
              <a:t> der </a:t>
            </a:r>
            <a:r>
              <a:rPr lang="en-US" sz="1200" err="1">
                <a:latin typeface="Consolas"/>
              </a:rPr>
              <a:t>Durchläufe</a:t>
            </a:r>
            <a:r>
              <a:rPr lang="en-US" sz="1200">
                <a:latin typeface="Consolas"/>
              </a:rPr>
              <a:t> (shots) und das Backend </a:t>
            </a:r>
            <a:r>
              <a:rPr lang="en-US" sz="1200" err="1">
                <a:latin typeface="Consolas"/>
              </a:rPr>
              <a:t>selbst</a:t>
            </a:r>
            <a:r>
              <a:rPr lang="en-US" sz="1200">
                <a:latin typeface="Consolas"/>
              </a:rPr>
              <a:t>.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err="1">
                <a:latin typeface="Consolas"/>
              </a:rPr>
              <a:t>finden</a:t>
            </a:r>
            <a:r>
              <a:rPr lang="en-US" sz="1200">
                <a:latin typeface="Consolas"/>
              </a:rPr>
              <a:t> Sie </a:t>
            </a:r>
            <a:r>
              <a:rPr lang="en-US" sz="1200" err="1">
                <a:latin typeface="Consolas"/>
              </a:rPr>
              <a:t>im</a:t>
            </a:r>
            <a:r>
              <a:rPr lang="en-US" sz="1200">
                <a:latin typeface="Consolas"/>
              </a:rPr>
              <a:t> </a:t>
            </a:r>
            <a:r>
              <a:rPr lang="en-US" sz="1200" err="1">
                <a:latin typeface="Consolas"/>
              </a:rPr>
              <a:t>Abschnitt</a:t>
            </a:r>
            <a:r>
              <a:rPr lang="en-US" sz="1200">
                <a:latin typeface="Consolas"/>
              </a:rPr>
              <a:t> "</a:t>
            </a:r>
            <a:r>
              <a:rPr lang="en-US" sz="1200" b="1">
                <a:solidFill>
                  <a:srgbClr val="FF0000"/>
                </a:solidFill>
                <a:latin typeface="Consolas"/>
              </a:rPr>
              <a:t>params</a:t>
            </a:r>
            <a:r>
              <a:rPr lang="en-US" sz="1200">
                <a:latin typeface="Consolas"/>
              </a:rPr>
              <a:t>" der </a:t>
            </a:r>
            <a:r>
              <a:rPr lang="en-US" sz="1200" err="1">
                <a:latin typeface="Consolas"/>
              </a:rPr>
              <a:t>Dokumente</a:t>
            </a:r>
            <a:r>
              <a:rPr lang="en-US" sz="1200">
                <a:latin typeface="Consolas"/>
              </a:rPr>
              <a:t>.
</a:t>
            </a:r>
            <a:r>
              <a:rPr lang="en-US" sz="1200" err="1">
                <a:latin typeface="Consolas"/>
              </a:rPr>
              <a:t>Nachdem</a:t>
            </a:r>
            <a:r>
              <a:rPr lang="en-US" sz="1200">
                <a:latin typeface="Consolas"/>
              </a:rPr>
              <a:t> Sie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b="1" err="1">
                <a:solidFill>
                  <a:srgbClr val="FF0000"/>
                </a:solidFill>
                <a:latin typeface="Consolas"/>
              </a:rPr>
              <a:t>bereitgestellt</a:t>
            </a:r>
            <a:r>
              <a:rPr lang="en-US" sz="1200" b="1">
                <a:solidFill>
                  <a:srgbClr val="FF0000"/>
                </a:solidFill>
                <a:latin typeface="Consolas"/>
              </a:rPr>
              <a:t> </a:t>
            </a:r>
            <a:r>
              <a:rPr lang="en-US" sz="1200" b="1" err="1">
                <a:solidFill>
                  <a:srgbClr val="FF0000"/>
                </a:solidFill>
                <a:latin typeface="Consolas"/>
              </a:rPr>
              <a:t>haben</a:t>
            </a:r>
            <a:r>
              <a:rPr lang="en-US" sz="1200" b="1">
                <a:solidFill>
                  <a:srgbClr val="FF0000"/>
                </a:solidFill>
                <a:latin typeface="Consolas"/>
              </a:rPr>
              <a:t>, </a:t>
            </a:r>
            <a:r>
              <a:rPr lang="en-US" sz="1200" b="1" err="1">
                <a:solidFill>
                  <a:srgbClr val="FF0000"/>
                </a:solidFill>
                <a:latin typeface="Consolas"/>
              </a:rPr>
              <a:t>können</a:t>
            </a:r>
            <a:r>
              <a:rPr lang="en-US" sz="1200" b="1">
                <a:solidFill>
                  <a:srgbClr val="FF0000"/>
                </a:solidFill>
                <a:latin typeface="Consolas"/>
              </a:rPr>
              <a:t> Sie den </a:t>
            </a:r>
            <a:r>
              <a:rPr lang="en-US" sz="1200" b="1" err="1">
                <a:solidFill>
                  <a:srgbClr val="FF0000"/>
                </a:solidFill>
                <a:latin typeface="Consolas"/>
              </a:rPr>
              <a:t>Algorithmus</a:t>
            </a:r>
            <a:r>
              <a:rPr lang="en-US" sz="1200" b="1">
                <a:solidFill>
                  <a:srgbClr val="FF0000"/>
                </a:solidFill>
                <a:latin typeface="Consolas"/>
              </a:rPr>
              <a:t> </a:t>
            </a:r>
            <a:r>
              <a:rPr lang="en-US" sz="1200" b="1" err="1">
                <a:solidFill>
                  <a:srgbClr val="FF0000"/>
                </a:solidFill>
                <a:latin typeface="Consolas"/>
              </a:rPr>
              <a:t>über</a:t>
            </a:r>
            <a:r>
              <a:rPr lang="en-US" sz="1200" b="1">
                <a:solidFill>
                  <a:srgbClr val="FF0000"/>
                </a:solidFill>
                <a:latin typeface="Consolas"/>
              </a:rPr>
              <a:t> die API </a:t>
            </a:r>
            <a:r>
              <a:rPr lang="en-US" sz="1200" b="1" err="1">
                <a:solidFill>
                  <a:srgbClr val="FF0000"/>
                </a:solidFill>
                <a:latin typeface="Consolas"/>
              </a:rPr>
              <a:t>ausführen</a:t>
            </a:r>
            <a:r>
              <a:rPr lang="en-US" sz="1200">
                <a:latin typeface="Consolas"/>
              </a:rPr>
              <a:t>, </a:t>
            </a:r>
            <a:r>
              <a:rPr lang="en-US" sz="1200" err="1">
                <a:latin typeface="Consolas"/>
              </a:rPr>
              <a:t>indem</a:t>
            </a:r>
            <a:r>
              <a:rPr lang="en-US" sz="1200">
                <a:latin typeface="Consolas"/>
              </a:rPr>
              <a:t> Sie </a:t>
            </a:r>
            <a:r>
              <a:rPr lang="en-US" sz="1200" err="1">
                <a:latin typeface="Consolas"/>
              </a:rPr>
              <a:t>einen</a:t>
            </a:r>
            <a:r>
              <a:rPr lang="en-US" sz="1200">
                <a:latin typeface="Consolas"/>
              </a:rPr>
              <a:t> </a:t>
            </a:r>
            <a:r>
              <a:rPr lang="en-US" sz="1200" b="1">
                <a:solidFill>
                  <a:srgbClr val="FF0000"/>
                </a:solidFill>
                <a:latin typeface="Consolas"/>
              </a:rPr>
              <a:t>POST-Request für die </a:t>
            </a:r>
            <a:r>
              <a:rPr lang="en-US" sz="1200" b="1" err="1">
                <a:solidFill>
                  <a:srgbClr val="FF0000"/>
                </a:solidFill>
                <a:latin typeface="Consolas"/>
              </a:rPr>
              <a:t>asynchrone</a:t>
            </a:r>
            <a:r>
              <a:rPr lang="en-US" sz="1200" b="1">
                <a:solidFill>
                  <a:srgbClr val="FF0000"/>
                </a:solidFill>
                <a:latin typeface="Consolas"/>
              </a:rPr>
              <a:t> </a:t>
            </a:r>
            <a:r>
              <a:rPr lang="en-US" sz="1200" b="1" err="1">
                <a:solidFill>
                  <a:srgbClr val="FF0000"/>
                </a:solidFill>
                <a:latin typeface="Consolas"/>
              </a:rPr>
              <a:t>Ausführung</a:t>
            </a:r>
            <a:r>
              <a:rPr lang="en-US" sz="1200" b="1">
                <a:solidFill>
                  <a:srgbClr val="FF0000"/>
                </a:solidFill>
                <a:latin typeface="Consolas"/>
              </a:rPr>
              <a:t> des </a:t>
            </a:r>
            <a:r>
              <a:rPr lang="en-US" sz="1200" b="1" err="1">
                <a:solidFill>
                  <a:srgbClr val="FF0000"/>
                </a:solidFill>
                <a:latin typeface="Consolas"/>
              </a:rPr>
              <a:t>Dienstes</a:t>
            </a:r>
            <a:r>
              <a:rPr lang="en-US" sz="1200" b="1">
                <a:solidFill>
                  <a:srgbClr val="FF0000"/>
                </a:solidFill>
                <a:latin typeface="Consolas"/>
              </a:rPr>
              <a:t> </a:t>
            </a:r>
            <a:r>
              <a:rPr lang="en-US" sz="1200" b="1" err="1">
                <a:solidFill>
                  <a:srgbClr val="FF0000"/>
                </a:solidFill>
                <a:latin typeface="Consolas"/>
              </a:rPr>
              <a:t>senden</a:t>
            </a:r>
            <a:r>
              <a:rPr lang="en-US" sz="1200">
                <a:latin typeface="Consolas"/>
              </a:rPr>
              <a:t>. Sie </a:t>
            </a:r>
            <a:r>
              <a:rPr lang="en-US" sz="1200" err="1">
                <a:latin typeface="Consolas"/>
              </a:rPr>
              <a:t>erhalten</a:t>
            </a:r>
            <a:r>
              <a:rPr lang="en-US" sz="1200">
                <a:latin typeface="Consolas"/>
              </a:rPr>
              <a:t> </a:t>
            </a:r>
            <a:r>
              <a:rPr lang="en-US" sz="1200" err="1">
                <a:latin typeface="Consolas"/>
              </a:rPr>
              <a:t>eine</a:t>
            </a:r>
            <a:r>
              <a:rPr lang="en-US" sz="1200">
                <a:latin typeface="Consolas"/>
              </a:rPr>
              <a:t> Job-ID, </a:t>
            </a:r>
            <a:r>
              <a:rPr lang="en-US" sz="1200" err="1">
                <a:latin typeface="Consolas"/>
              </a:rPr>
              <a:t>mit</a:t>
            </a:r>
            <a:r>
              <a:rPr lang="en-US" sz="1200">
                <a:latin typeface="Consolas"/>
              </a:rPr>
              <a:t> der Sie den Status der </a:t>
            </a:r>
            <a:r>
              <a:rPr lang="en-US" sz="1200" err="1">
                <a:latin typeface="Consolas"/>
              </a:rPr>
              <a:t>Ausführung</a:t>
            </a:r>
            <a:r>
              <a:rPr lang="en-US" sz="1200">
                <a:latin typeface="Consolas"/>
              </a:rPr>
              <a:t> </a:t>
            </a:r>
            <a:r>
              <a:rPr lang="en-US" sz="1200" err="1">
                <a:latin typeface="Consolas"/>
              </a:rPr>
              <a:t>über</a:t>
            </a:r>
            <a:r>
              <a:rPr lang="en-US" sz="1200">
                <a:latin typeface="Consolas"/>
              </a:rPr>
              <a:t> </a:t>
            </a:r>
            <a:r>
              <a:rPr lang="en-US" sz="1200" err="1">
                <a:latin typeface="Consolas"/>
              </a:rPr>
              <a:t>einen</a:t>
            </a:r>
            <a:r>
              <a:rPr lang="en-US" sz="1200">
                <a:latin typeface="Consolas"/>
              </a:rPr>
              <a:t> GET-Request </a:t>
            </a:r>
            <a:r>
              <a:rPr lang="en-US" sz="1200" err="1">
                <a:latin typeface="Consolas"/>
              </a:rPr>
              <a:t>überprüfen</a:t>
            </a:r>
            <a:r>
              <a:rPr lang="en-US" sz="1200">
                <a:latin typeface="Consolas"/>
              </a:rPr>
              <a:t> </a:t>
            </a:r>
            <a:r>
              <a:rPr lang="en-US" sz="1200" err="1">
                <a:latin typeface="Consolas"/>
              </a:rPr>
              <a:t>können</a:t>
            </a:r>
            <a:r>
              <a:rPr lang="en-US" sz="1200">
                <a:latin typeface="Consolas"/>
              </a:rPr>
              <a:t>.
Es </a:t>
            </a:r>
            <a:r>
              <a:rPr lang="en-US" sz="1200" err="1">
                <a:latin typeface="Consolas"/>
              </a:rPr>
              <a:t>ist</a:t>
            </a:r>
            <a:r>
              <a:rPr lang="en-US" sz="1200">
                <a:latin typeface="Consolas"/>
              </a:rPr>
              <a:t> </a:t>
            </a:r>
            <a:r>
              <a:rPr lang="en-US" sz="1200" err="1">
                <a:latin typeface="Consolas"/>
              </a:rPr>
              <a:t>wichtig</a:t>
            </a:r>
            <a:r>
              <a:rPr lang="en-US" sz="1200">
                <a:latin typeface="Consolas"/>
              </a:rPr>
              <a:t>, </a:t>
            </a:r>
            <a:r>
              <a:rPr lang="en-US" sz="1200" err="1">
                <a:latin typeface="Consolas"/>
              </a:rPr>
              <a:t>dass</a:t>
            </a:r>
            <a:r>
              <a:rPr lang="en-US" sz="1200">
                <a:latin typeface="Consolas"/>
              </a:rPr>
              <a:t> Sie die API-</a:t>
            </a:r>
            <a:r>
              <a:rPr lang="en-US" sz="1200" err="1">
                <a:latin typeface="Consolas"/>
              </a:rPr>
              <a:t>Dokumentation</a:t>
            </a:r>
            <a:r>
              <a:rPr lang="en-US" sz="1200">
                <a:latin typeface="Consolas"/>
              </a:rPr>
              <a:t> </a:t>
            </a:r>
            <a:r>
              <a:rPr lang="en-US" sz="1200" err="1">
                <a:latin typeface="Consolas"/>
              </a:rPr>
              <a:t>sorgfältig</a:t>
            </a:r>
            <a:r>
              <a:rPr lang="en-US" sz="1200">
                <a:latin typeface="Consolas"/>
              </a:rPr>
              <a:t> </a:t>
            </a:r>
            <a:r>
              <a:rPr lang="en-US" sz="1200" err="1">
                <a:latin typeface="Consolas"/>
              </a:rPr>
              <a:t>lesen</a:t>
            </a:r>
            <a:r>
              <a:rPr lang="en-US" sz="1200">
                <a:latin typeface="Consolas"/>
              </a:rPr>
              <a:t> und die </a:t>
            </a:r>
            <a:r>
              <a:rPr lang="en-US" sz="1200" err="1">
                <a:latin typeface="Consolas"/>
              </a:rPr>
              <a:t>bereitgestellten</a:t>
            </a:r>
            <a:r>
              <a:rPr lang="en-US" sz="1200">
                <a:latin typeface="Consolas"/>
              </a:rPr>
              <a:t> </a:t>
            </a:r>
            <a:r>
              <a:rPr lang="en-US" sz="1200" err="1">
                <a:latin typeface="Consolas"/>
              </a:rPr>
              <a:t>Informationen</a:t>
            </a:r>
            <a:r>
              <a:rPr lang="en-US" sz="1200">
                <a:latin typeface="Consolas"/>
              </a:rPr>
              <a:t> </a:t>
            </a:r>
            <a:r>
              <a:rPr lang="en-US" sz="1200" err="1">
                <a:latin typeface="Consolas"/>
              </a:rPr>
              <a:t>korrekt</a:t>
            </a:r>
            <a:r>
              <a:rPr lang="en-US" sz="1200">
                <a:latin typeface="Consolas"/>
              </a:rPr>
              <a:t> </a:t>
            </a:r>
            <a:r>
              <a:rPr lang="en-US" sz="1200" err="1">
                <a:latin typeface="Consolas"/>
              </a:rPr>
              <a:t>verwenden</a:t>
            </a:r>
            <a:r>
              <a:rPr lang="en-US" sz="1200">
                <a:latin typeface="Consolas"/>
              </a:rPr>
              <a:t>, um den </a:t>
            </a:r>
            <a:r>
              <a:rPr lang="en-US" sz="1200" err="1">
                <a:latin typeface="Consolas"/>
              </a:rPr>
              <a:t>Algorithmus</a:t>
            </a:r>
            <a:r>
              <a:rPr lang="en-US" sz="1200">
                <a:latin typeface="Consolas"/>
              </a:rPr>
              <a:t> </a:t>
            </a:r>
            <a:r>
              <a:rPr lang="en-US" sz="1200" err="1">
                <a:latin typeface="Consolas"/>
              </a:rPr>
              <a:t>erfolgreich</a:t>
            </a:r>
            <a:r>
              <a:rPr lang="en-US" sz="1200">
                <a:latin typeface="Consolas"/>
              </a:rPr>
              <a:t> </a:t>
            </a:r>
            <a:r>
              <a:rPr lang="en-US" sz="1200" err="1">
                <a:latin typeface="Consolas"/>
              </a:rPr>
              <a:t>auszuführen</a:t>
            </a:r>
            <a:r>
              <a:rPr lang="en-US" sz="1200">
                <a:latin typeface="Consolas"/>
              </a:rPr>
              <a:t>. Wenn Sie </a:t>
            </a:r>
            <a:r>
              <a:rPr lang="en-US" sz="1200" err="1">
                <a:latin typeface="Consolas"/>
              </a:rPr>
              <a:t>weitere</a:t>
            </a:r>
            <a:r>
              <a:rPr lang="en-US" sz="1200">
                <a:latin typeface="Consolas"/>
              </a:rPr>
              <a:t> </a:t>
            </a:r>
            <a:r>
              <a:rPr lang="en-US" sz="1200" err="1">
                <a:latin typeface="Consolas"/>
              </a:rPr>
              <a:t>Fragen</a:t>
            </a:r>
            <a:r>
              <a:rPr lang="en-US" sz="1200">
                <a:latin typeface="Consolas"/>
              </a:rPr>
              <a:t> </a:t>
            </a:r>
            <a:r>
              <a:rPr lang="en-US" sz="1200" err="1">
                <a:latin typeface="Consolas"/>
              </a:rPr>
              <a:t>haben</a:t>
            </a:r>
            <a:r>
              <a:rPr lang="en-US" sz="1200">
                <a:latin typeface="Consolas"/>
              </a:rPr>
              <a:t>, </a:t>
            </a:r>
            <a:r>
              <a:rPr lang="en-US" sz="1200" err="1">
                <a:latin typeface="Consolas"/>
              </a:rPr>
              <a:t>stehe</a:t>
            </a:r>
            <a:r>
              <a:rPr lang="en-US" sz="1200">
                <a:latin typeface="Consolas"/>
              </a:rPr>
              <a:t> ich Ihnen gerne </a:t>
            </a:r>
            <a:r>
              <a:rPr lang="en-US" sz="1200" err="1">
                <a:latin typeface="Consolas"/>
              </a:rPr>
              <a:t>zur</a:t>
            </a:r>
            <a:r>
              <a:rPr lang="en-US" sz="1200">
                <a:latin typeface="Consolas"/>
              </a:rPr>
              <a:t> </a:t>
            </a:r>
            <a:r>
              <a:rPr lang="en-US" sz="1200" err="1">
                <a:latin typeface="Consolas"/>
              </a:rPr>
              <a:t>Verfügung</a:t>
            </a:r>
            <a:r>
              <a:rPr lang="en-US" sz="1200">
                <a:latin typeface="Consolas"/>
              </a:rPr>
              <a:t>, um Ihnen </a:t>
            </a:r>
            <a:r>
              <a:rPr lang="en-US" sz="1200" err="1">
                <a:latin typeface="Consolas"/>
              </a:rPr>
              <a:t>zu</a:t>
            </a:r>
            <a:r>
              <a:rPr lang="en-US" sz="1200">
                <a:latin typeface="Consolas"/>
              </a:rPr>
              <a:t> </a:t>
            </a:r>
            <a:r>
              <a:rPr lang="en-US" sz="1200" err="1">
                <a:latin typeface="Consolas"/>
              </a:rPr>
              <a:t>helfen</a:t>
            </a:r>
            <a:r>
              <a:rPr lang="en-US" sz="1200">
                <a:latin typeface="Consolas"/>
              </a:rPr>
              <a:t>.</a:t>
            </a:r>
            <a:endParaRPr lang="en-US"/>
          </a:p>
        </p:txBody>
      </p:sp>
    </p:spTree>
    <p:extLst>
      <p:ext uri="{BB962C8B-B14F-4D97-AF65-F5344CB8AC3E}">
        <p14:creationId xmlns:p14="http://schemas.microsoft.com/office/powerpoint/2010/main" val="1111659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err="1"/>
              <a:t>Probleme</a:t>
            </a:r>
          </a:p>
        </p:txBody>
      </p:sp>
      <p:sp>
        <p:nvSpPr>
          <p:cNvPr id="3" name="Content Placeholder 2">
            <a:extLst>
              <a:ext uri="{FF2B5EF4-FFF2-40B4-BE49-F238E27FC236}">
                <a16:creationId xmlns:a16="http://schemas.microsoft.com/office/drawing/2014/main" id="{195EF4AC-F13B-57A5-3FD6-38AC0E3DF9D6}"/>
              </a:ext>
            </a:extLst>
          </p:cNvPr>
          <p:cNvSpPr>
            <a:spLocks noGrp="1"/>
          </p:cNvSpPr>
          <p:nvPr>
            <p:ph idx="1"/>
          </p:nvPr>
        </p:nvSpPr>
        <p:spPr/>
        <p:txBody>
          <a:bodyPr/>
          <a:lstStyle/>
          <a:p>
            <a:r>
              <a:rPr lang="en-US" sz="1000" b="1" err="1">
                <a:solidFill>
                  <a:srgbClr val="B22B31"/>
                </a:solidFill>
                <a:latin typeface="Consolas"/>
              </a:rPr>
              <a:t>NotFoundError</a:t>
            </a:r>
            <a:r>
              <a:rPr lang="en-US" sz="1000">
                <a:latin typeface="Consolas"/>
              </a:rPr>
              <a:t>: </a:t>
            </a:r>
            <a:r>
              <a:rPr lang="en-US" sz="1000" err="1">
                <a:latin typeface="Consolas"/>
              </a:rPr>
              <a:t>status_code</a:t>
            </a:r>
            <a:r>
              <a:rPr lang="en-US" sz="1000">
                <a:latin typeface="Consolas"/>
              </a:rPr>
              <a:t>: 404, body: {'status': 'NOT_FOUND', '</a:t>
            </a:r>
            <a:r>
              <a:rPr lang="en-US" sz="1000" err="1">
                <a:latin typeface="Consolas"/>
              </a:rPr>
              <a:t>errorMessage</a:t>
            </a:r>
            <a:r>
              <a:rPr lang="en-US" sz="1000">
                <a:latin typeface="Consolas"/>
              </a:rPr>
              <a:t>': "Billing account for owner with id '</a:t>
            </a:r>
            <a:r>
              <a:rPr lang="en-US" sz="1000" err="1">
                <a:latin typeface="Consolas"/>
              </a:rPr>
              <a:t>xy</a:t>
            </a:r>
            <a:r>
              <a:rPr lang="en-US" sz="1000">
                <a:latin typeface="Consolas"/>
              </a:rPr>
              <a:t>' could not be found", '</a:t>
            </a:r>
            <a:r>
              <a:rPr lang="en-US" sz="1000" err="1">
                <a:latin typeface="Consolas"/>
              </a:rPr>
              <a:t>stackTrace</a:t>
            </a:r>
            <a:r>
              <a:rPr lang="en-US" sz="1000">
                <a:latin typeface="Consolas"/>
              </a:rPr>
              <a:t>': ['de.stoneone.planqk.qccatalog.domain.account.BillingAccountService.lambda$getByOwnerId$0(BillingAccountService.java:41)', [...]</a:t>
            </a:r>
            <a:endParaRPr lang="en-US"/>
          </a:p>
        </p:txBody>
      </p:sp>
    </p:spTree>
    <p:extLst>
      <p:ext uri="{BB962C8B-B14F-4D97-AF65-F5344CB8AC3E}">
        <p14:creationId xmlns:p14="http://schemas.microsoft.com/office/powerpoint/2010/main" val="2754504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7" name="Picture 6">
            <a:extLst>
              <a:ext uri="{FF2B5EF4-FFF2-40B4-BE49-F238E27FC236}">
                <a16:creationId xmlns:a16="http://schemas.microsoft.com/office/drawing/2014/main" id="{7DCA790A-2C5E-EC7C-8E7D-53BFD4412789}"/>
              </a:ext>
            </a:extLst>
          </p:cNvPr>
          <p:cNvPicPr>
            <a:picLocks noChangeAspect="1"/>
          </p:cNvPicPr>
          <p:nvPr/>
        </p:nvPicPr>
        <p:blipFill>
          <a:blip r:embed="rId2"/>
          <a:stretch>
            <a:fillRect/>
          </a:stretch>
        </p:blipFill>
        <p:spPr>
          <a:xfrm>
            <a:off x="718457" y="1427396"/>
            <a:ext cx="7715250" cy="2745907"/>
          </a:xfrm>
          <a:prstGeom prst="rect">
            <a:avLst/>
          </a:prstGeom>
        </p:spPr>
      </p:pic>
    </p:spTree>
    <p:extLst>
      <p:ext uri="{BB962C8B-B14F-4D97-AF65-F5344CB8AC3E}">
        <p14:creationId xmlns:p14="http://schemas.microsoft.com/office/powerpoint/2010/main" val="18067111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4" name="Picture 3">
            <a:extLst>
              <a:ext uri="{FF2B5EF4-FFF2-40B4-BE49-F238E27FC236}">
                <a16:creationId xmlns:a16="http://schemas.microsoft.com/office/drawing/2014/main" id="{1BABCDA3-D23C-009C-B794-F9C8E2382F1D}"/>
              </a:ext>
            </a:extLst>
          </p:cNvPr>
          <p:cNvPicPr>
            <a:picLocks noChangeAspect="1"/>
          </p:cNvPicPr>
          <p:nvPr/>
        </p:nvPicPr>
        <p:blipFill>
          <a:blip r:embed="rId2"/>
          <a:stretch>
            <a:fillRect/>
          </a:stretch>
        </p:blipFill>
        <p:spPr>
          <a:xfrm>
            <a:off x="917407" y="1283301"/>
            <a:ext cx="7617494" cy="3253673"/>
          </a:xfrm>
          <a:prstGeom prst="rect">
            <a:avLst/>
          </a:prstGeom>
        </p:spPr>
      </p:pic>
    </p:spTree>
    <p:extLst>
      <p:ext uri="{BB962C8B-B14F-4D97-AF65-F5344CB8AC3E}">
        <p14:creationId xmlns:p14="http://schemas.microsoft.com/office/powerpoint/2010/main" val="39981152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14" name="Picture 13">
            <a:extLst>
              <a:ext uri="{FF2B5EF4-FFF2-40B4-BE49-F238E27FC236}">
                <a16:creationId xmlns:a16="http://schemas.microsoft.com/office/drawing/2014/main" id="{C37FF472-16B0-319F-558B-BCA815E16B50}"/>
              </a:ext>
            </a:extLst>
          </p:cNvPr>
          <p:cNvPicPr>
            <a:picLocks noChangeAspect="1"/>
          </p:cNvPicPr>
          <p:nvPr/>
        </p:nvPicPr>
        <p:blipFill>
          <a:blip r:embed="rId2"/>
          <a:stretch>
            <a:fillRect/>
          </a:stretch>
        </p:blipFill>
        <p:spPr>
          <a:xfrm>
            <a:off x="1271821" y="1085850"/>
            <a:ext cx="6600357" cy="3788229"/>
          </a:xfrm>
          <a:prstGeom prst="rect">
            <a:avLst/>
          </a:prstGeom>
        </p:spPr>
      </p:pic>
    </p:spTree>
    <p:extLst>
      <p:ext uri="{BB962C8B-B14F-4D97-AF65-F5344CB8AC3E}">
        <p14:creationId xmlns:p14="http://schemas.microsoft.com/office/powerpoint/2010/main" val="8579682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4" name="Picture 3">
            <a:extLst>
              <a:ext uri="{FF2B5EF4-FFF2-40B4-BE49-F238E27FC236}">
                <a16:creationId xmlns:a16="http://schemas.microsoft.com/office/drawing/2014/main" id="{428FF23A-68D8-06D5-27AE-825F6C945375}"/>
              </a:ext>
            </a:extLst>
          </p:cNvPr>
          <p:cNvPicPr>
            <a:picLocks noChangeAspect="1"/>
          </p:cNvPicPr>
          <p:nvPr/>
        </p:nvPicPr>
        <p:blipFill>
          <a:blip r:embed="rId2"/>
          <a:stretch>
            <a:fillRect/>
          </a:stretch>
        </p:blipFill>
        <p:spPr>
          <a:xfrm>
            <a:off x="767013" y="1387271"/>
            <a:ext cx="7617494" cy="3263806"/>
          </a:xfrm>
          <a:prstGeom prst="rect">
            <a:avLst/>
          </a:prstGeom>
        </p:spPr>
      </p:pic>
    </p:spTree>
    <p:extLst>
      <p:ext uri="{BB962C8B-B14F-4D97-AF65-F5344CB8AC3E}">
        <p14:creationId xmlns:p14="http://schemas.microsoft.com/office/powerpoint/2010/main" val="22586763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6ED6576-7941-4388-84BE-7359F68773D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92527F-F7CA-1338-404C-678A5EC57758}"/>
              </a:ext>
            </a:extLst>
          </p:cNvPr>
          <p:cNvSpPr>
            <a:spLocks noGrp="1"/>
          </p:cNvSpPr>
          <p:nvPr>
            <p:ph type="title"/>
          </p:nvPr>
        </p:nvSpPr>
        <p:spPr/>
        <p:txBody>
          <a:bodyPr/>
          <a:lstStyle/>
          <a:p>
            <a:r>
              <a:rPr lang="de-DE" sz="2400"/>
              <a:t>Wesentliche Aspekte bei der Projektplanung</a:t>
            </a:r>
            <a:br>
              <a:rPr lang="de-DE"/>
            </a:br>
            <a:endParaRPr lang="de-DE"/>
          </a:p>
        </p:txBody>
      </p:sp>
      <p:graphicFrame>
        <p:nvGraphicFramePr>
          <p:cNvPr id="8" name="Inhaltsplatzhalter 5">
            <a:extLst>
              <a:ext uri="{FF2B5EF4-FFF2-40B4-BE49-F238E27FC236}">
                <a16:creationId xmlns:a16="http://schemas.microsoft.com/office/drawing/2014/main" id="{A55D20AE-9B9C-0C34-A8B0-1614A3DE001F}"/>
              </a:ext>
            </a:extLst>
          </p:cNvPr>
          <p:cNvGraphicFramePr>
            <a:graphicFrameLocks noGrp="1"/>
          </p:cNvGraphicFramePr>
          <p:nvPr>
            <p:ph idx="1"/>
            <p:extLst>
              <p:ext uri="{D42A27DB-BD31-4B8C-83A1-F6EECF244321}">
                <p14:modId xmlns:p14="http://schemas.microsoft.com/office/powerpoint/2010/main" val="4272270950"/>
              </p:ext>
            </p:extLst>
          </p:nvPr>
        </p:nvGraphicFramePr>
        <p:xfrm>
          <a:off x="378936" y="1172695"/>
          <a:ext cx="8139776" cy="3364827"/>
        </p:xfrm>
        <a:graphic>
          <a:graphicData uri="http://schemas.openxmlformats.org/drawingml/2006/table">
            <a:tbl>
              <a:tblPr firstRow="1" bandRow="1">
                <a:tableStyleId>{3C2FFA5D-87B4-456A-9821-1D502468CF0F}</a:tableStyleId>
              </a:tblPr>
              <a:tblGrid>
                <a:gridCol w="3487644">
                  <a:extLst>
                    <a:ext uri="{9D8B030D-6E8A-4147-A177-3AD203B41FA5}">
                      <a16:colId xmlns:a16="http://schemas.microsoft.com/office/drawing/2014/main" val="1130080475"/>
                    </a:ext>
                  </a:extLst>
                </a:gridCol>
                <a:gridCol w="4652132">
                  <a:extLst>
                    <a:ext uri="{9D8B030D-6E8A-4147-A177-3AD203B41FA5}">
                      <a16:colId xmlns:a16="http://schemas.microsoft.com/office/drawing/2014/main" val="496144132"/>
                    </a:ext>
                  </a:extLst>
                </a:gridCol>
              </a:tblGrid>
              <a:tr h="347307">
                <a:tc>
                  <a:txBody>
                    <a:bodyPr/>
                    <a:lstStyle/>
                    <a:p>
                      <a:pPr algn="ctr"/>
                      <a:r>
                        <a:rPr lang="de-DE"/>
                        <a:t>Aspekte</a:t>
                      </a:r>
                    </a:p>
                  </a:txBody>
                  <a:tcPr/>
                </a:tc>
                <a:tc>
                  <a:txBody>
                    <a:bodyPr/>
                    <a:lstStyle/>
                    <a:p>
                      <a:pPr algn="ctr"/>
                      <a:r>
                        <a:rPr lang="de-DE"/>
                        <a:t>Definition</a:t>
                      </a:r>
                    </a:p>
                  </a:txBody>
                  <a:tcPr/>
                </a:tc>
                <a:extLst>
                  <a:ext uri="{0D108BD9-81ED-4DB2-BD59-A6C34878D82A}">
                    <a16:rowId xmlns:a16="http://schemas.microsoft.com/office/drawing/2014/main" val="1779971284"/>
                  </a:ext>
                </a:extLst>
              </a:tr>
              <a:tr h="370840">
                <a:tc>
                  <a:txBody>
                    <a:bodyPr/>
                    <a:lstStyle/>
                    <a:p>
                      <a:r>
                        <a:rPr lang="de-DE" sz="1200" b="0">
                          <a:solidFill>
                            <a:schemeClr val="bg1"/>
                          </a:solidFill>
                        </a:rPr>
                        <a:t>Zieldefinition und Use-Case-Auswahl</a:t>
                      </a:r>
                    </a:p>
                  </a:txBody>
                  <a:tcPr/>
                </a:tc>
                <a:tc>
                  <a:txBody>
                    <a:bodyPr/>
                    <a:lstStyle/>
                    <a:p>
                      <a:pPr marL="171450" indent="-171450">
                        <a:buFont typeface="Arial" panose="020B0604020202020204" pitchFamily="34" charset="0"/>
                        <a:buChar char="•"/>
                      </a:pPr>
                      <a:r>
                        <a:rPr lang="de-DE" sz="1200" b="0">
                          <a:solidFill>
                            <a:schemeClr val="bg1"/>
                          </a:solidFill>
                        </a:rPr>
                        <a:t>Klare Festlegung der Modalitäten basierend auf den Anforderungen des Unternehmens.</a:t>
                      </a:r>
                    </a:p>
                    <a:p>
                      <a:pPr marL="171450" indent="-171450">
                        <a:buFont typeface="Arial" panose="020B0604020202020204" pitchFamily="34" charset="0"/>
                        <a:buChar char="•"/>
                      </a:pPr>
                      <a:r>
                        <a:rPr lang="de-DE" sz="1200" b="0">
                          <a:solidFill>
                            <a:schemeClr val="bg1"/>
                          </a:solidFill>
                        </a:rPr>
                        <a:t>Beispiel: Text- und Bildanalyse, falls Videos nicht notwendig sind.</a:t>
                      </a:r>
                    </a:p>
                  </a:txBody>
                  <a:tcPr/>
                </a:tc>
                <a:extLst>
                  <a:ext uri="{0D108BD9-81ED-4DB2-BD59-A6C34878D82A}">
                    <a16:rowId xmlns:a16="http://schemas.microsoft.com/office/drawing/2014/main" val="761635650"/>
                  </a:ext>
                </a:extLst>
              </a:tr>
              <a:tr h="370840">
                <a:tc>
                  <a:txBody>
                    <a:bodyPr/>
                    <a:lstStyle/>
                    <a:p>
                      <a:r>
                        <a:rPr lang="de-DE" sz="1200" b="0" i="0" u="none" strike="noStrike" cap="none">
                          <a:solidFill>
                            <a:schemeClr val="bg1"/>
                          </a:solidFill>
                          <a:latin typeface="+mn-lt"/>
                          <a:ea typeface="+mn-ea"/>
                          <a:cs typeface="+mn-cs"/>
                          <a:sym typeface="Arial"/>
                        </a:rPr>
                        <a:t>Technologieauswahl</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Frameworks: </a:t>
                      </a:r>
                      <a:r>
                        <a:rPr lang="de-DE" sz="1200" b="0" i="0" u="none" strike="noStrike" cap="none" err="1">
                          <a:solidFill>
                            <a:schemeClr val="bg1"/>
                          </a:solidFill>
                          <a:latin typeface="+mn-lt"/>
                          <a:ea typeface="+mn-ea"/>
                          <a:cs typeface="+mn-cs"/>
                          <a:sym typeface="Arial"/>
                        </a:rPr>
                        <a:t>TensorFlow</a:t>
                      </a:r>
                      <a:r>
                        <a:rPr lang="de-DE" sz="1200" b="0" i="0" u="none" strike="noStrike" cap="none">
                          <a:solidFill>
                            <a:schemeClr val="bg1"/>
                          </a:solidFill>
                          <a:latin typeface="+mn-lt"/>
                          <a:ea typeface="+mn-ea"/>
                          <a:cs typeface="+mn-cs"/>
                          <a:sym typeface="Arial"/>
                        </a:rPr>
                        <a:t>, </a:t>
                      </a:r>
                      <a:r>
                        <a:rPr lang="de-DE" sz="1200" b="0" i="0" u="none" strike="noStrike" cap="none" err="1">
                          <a:solidFill>
                            <a:schemeClr val="bg1"/>
                          </a:solidFill>
                          <a:latin typeface="+mn-lt"/>
                          <a:ea typeface="+mn-ea"/>
                          <a:cs typeface="+mn-cs"/>
                          <a:sym typeface="Arial"/>
                        </a:rPr>
                        <a:t>PyTorch</a:t>
                      </a:r>
                      <a:r>
                        <a:rPr lang="de-DE" sz="1200" b="0" i="0" u="none" strike="noStrike" cap="none">
                          <a:solidFill>
                            <a:schemeClr val="bg1"/>
                          </a:solidFill>
                          <a:latin typeface="+mn-lt"/>
                          <a:ea typeface="+mn-ea"/>
                          <a:cs typeface="+mn-cs"/>
                          <a:sym typeface="Arial"/>
                        </a:rPr>
                        <a:t> (</a:t>
                      </a:r>
                      <a:r>
                        <a:rPr lang="de-DE" sz="1200" b="0" i="0" u="none" strike="noStrike" cap="none" err="1">
                          <a:solidFill>
                            <a:schemeClr val="bg1"/>
                          </a:solidFill>
                          <a:latin typeface="+mn-lt"/>
                          <a:ea typeface="+mn-ea"/>
                          <a:cs typeface="+mn-cs"/>
                          <a:sym typeface="Arial"/>
                        </a:rPr>
                        <a:t>Machine</a:t>
                      </a:r>
                      <a:r>
                        <a:rPr lang="de-DE" sz="1200" b="0" i="0" u="none" strike="noStrike" cap="none">
                          <a:solidFill>
                            <a:schemeClr val="bg1"/>
                          </a:solidFill>
                          <a:latin typeface="+mn-lt"/>
                          <a:ea typeface="+mn-ea"/>
                          <a:cs typeface="+mn-cs"/>
                          <a:sym typeface="Arial"/>
                        </a:rPr>
                        <a:t> Learning); </a:t>
                      </a:r>
                      <a:r>
                        <a:rPr lang="de-DE" sz="1200" b="0" i="0" u="none" strike="noStrike" cap="none" err="1">
                          <a:solidFill>
                            <a:schemeClr val="bg1"/>
                          </a:solidFill>
                          <a:latin typeface="+mn-lt"/>
                          <a:ea typeface="+mn-ea"/>
                          <a:cs typeface="+mn-cs"/>
                          <a:sym typeface="Arial"/>
                        </a:rPr>
                        <a:t>spaCy</a:t>
                      </a:r>
                      <a:r>
                        <a:rPr lang="de-DE" sz="1200" b="0" i="0" u="none" strike="noStrike" cap="none">
                          <a:solidFill>
                            <a:schemeClr val="bg1"/>
                          </a:solidFill>
                          <a:latin typeface="+mn-lt"/>
                          <a:ea typeface="+mn-ea"/>
                          <a:cs typeface="+mn-cs"/>
                          <a:sym typeface="Arial"/>
                        </a:rPr>
                        <a:t> (NLP); </a:t>
                      </a:r>
                      <a:r>
                        <a:rPr lang="de-DE" sz="1200" b="0" i="0" u="none" strike="noStrike" cap="none" err="1">
                          <a:solidFill>
                            <a:schemeClr val="bg1"/>
                          </a:solidFill>
                          <a:latin typeface="+mn-lt"/>
                          <a:ea typeface="+mn-ea"/>
                          <a:cs typeface="+mn-cs"/>
                          <a:sym typeface="Arial"/>
                        </a:rPr>
                        <a:t>OpenCV</a:t>
                      </a:r>
                      <a:r>
                        <a:rPr lang="de-DE" sz="1200" b="0" i="0" u="none" strike="noStrike" cap="none">
                          <a:solidFill>
                            <a:schemeClr val="bg1"/>
                          </a:solidFill>
                          <a:latin typeface="+mn-lt"/>
                          <a:ea typeface="+mn-ea"/>
                          <a:cs typeface="+mn-cs"/>
                          <a:sym typeface="Arial"/>
                        </a:rPr>
                        <a:t> (Bildverarbeitung).</a:t>
                      </a:r>
                    </a:p>
                  </a:txBody>
                  <a:tcPr/>
                </a:tc>
                <a:extLst>
                  <a:ext uri="{0D108BD9-81ED-4DB2-BD59-A6C34878D82A}">
                    <a16:rowId xmlns:a16="http://schemas.microsoft.com/office/drawing/2014/main" val="2499452594"/>
                  </a:ext>
                </a:extLst>
              </a:tr>
              <a:tr h="370840">
                <a:tc>
                  <a:txBody>
                    <a:bodyPr/>
                    <a:lstStyle/>
                    <a:p>
                      <a:r>
                        <a:rPr lang="de-DE" sz="1200" b="0" i="0" u="none" strike="noStrike" cap="none">
                          <a:solidFill>
                            <a:schemeClr val="bg1"/>
                          </a:solidFill>
                          <a:latin typeface="+mn-lt"/>
                          <a:ea typeface="+mn-ea"/>
                          <a:cs typeface="+mn-cs"/>
                          <a:sym typeface="Arial"/>
                        </a:rPr>
                        <a:t>Test und Validierung</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Umfangreiche Tests in realen Szenarien </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Sicherstellen, dass alle Modalitäten korrekt funktionieren.</a:t>
                      </a:r>
                    </a:p>
                  </a:txBody>
                  <a:tcPr/>
                </a:tc>
                <a:extLst>
                  <a:ext uri="{0D108BD9-81ED-4DB2-BD59-A6C34878D82A}">
                    <a16:rowId xmlns:a16="http://schemas.microsoft.com/office/drawing/2014/main" val="489950263"/>
                  </a:ext>
                </a:extLst>
              </a:tr>
              <a:tr h="370840">
                <a:tc>
                  <a:txBody>
                    <a:bodyPr/>
                    <a:lstStyle/>
                    <a:p>
                      <a:r>
                        <a:rPr lang="de-DE" sz="1200" b="0" i="0" u="none" strike="noStrike" cap="none">
                          <a:solidFill>
                            <a:schemeClr val="bg1"/>
                          </a:solidFill>
                          <a:latin typeface="+mn-lt"/>
                          <a:ea typeface="+mn-ea"/>
                          <a:cs typeface="+mn-cs"/>
                          <a:sym typeface="Arial"/>
                        </a:rPr>
                        <a:t>Skalierbarkeit und Performanceoptimierung</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Infrastruktur, die bei wachsendem Datenvolumen skaliert.</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Latenzminimierung durch </a:t>
                      </a:r>
                      <a:r>
                        <a:rPr lang="de-DE" sz="1200" b="0" i="0" u="none" strike="noStrike" cap="none" err="1">
                          <a:solidFill>
                            <a:schemeClr val="bg1"/>
                          </a:solidFill>
                          <a:latin typeface="+mn-lt"/>
                          <a:ea typeface="+mn-ea"/>
                          <a:cs typeface="+mn-cs"/>
                          <a:sym typeface="Arial"/>
                        </a:rPr>
                        <a:t>Algorithmusoptimierung</a:t>
                      </a:r>
                      <a:r>
                        <a:rPr lang="de-DE" sz="1200" b="0" i="0" u="none" strike="noStrike" cap="none">
                          <a:solidFill>
                            <a:schemeClr val="bg1"/>
                          </a:solidFill>
                          <a:latin typeface="+mn-lt"/>
                          <a:ea typeface="+mn-ea"/>
                          <a:cs typeface="+mn-cs"/>
                          <a:sym typeface="Arial"/>
                        </a:rPr>
                        <a:t>.</a:t>
                      </a:r>
                    </a:p>
                  </a:txBody>
                  <a:tcPr/>
                </a:tc>
                <a:extLst>
                  <a:ext uri="{0D108BD9-81ED-4DB2-BD59-A6C34878D82A}">
                    <a16:rowId xmlns:a16="http://schemas.microsoft.com/office/drawing/2014/main" val="928182776"/>
                  </a:ext>
                </a:extLst>
              </a:tr>
              <a:tr h="370840">
                <a:tc>
                  <a:txBody>
                    <a:bodyPr/>
                    <a:lstStyle/>
                    <a:p>
                      <a:r>
                        <a:rPr lang="de-DE" sz="1200" b="0" i="0" u="none" strike="noStrike" cap="none">
                          <a:solidFill>
                            <a:schemeClr val="bg1"/>
                          </a:solidFill>
                          <a:latin typeface="+mn-lt"/>
                          <a:ea typeface="+mn-ea"/>
                          <a:cs typeface="+mn-cs"/>
                          <a:sym typeface="Arial"/>
                        </a:rPr>
                        <a:t>Benutzerfeedback und Iteration</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Regelmäßiges Feedback von Testnutzern einholen.</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Usability-Tests zur Optimierung der Benutzererfahrung.</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Mockups, um Auswahlmöglichkeiten im Userinterview darzustellen und Auswahl zu Erleichtern</a:t>
                      </a:r>
                    </a:p>
                  </a:txBody>
                  <a:tcPr/>
                </a:tc>
                <a:extLst>
                  <a:ext uri="{0D108BD9-81ED-4DB2-BD59-A6C34878D82A}">
                    <a16:rowId xmlns:a16="http://schemas.microsoft.com/office/drawing/2014/main" val="364398322"/>
                  </a:ext>
                </a:extLst>
              </a:tr>
            </a:tbl>
          </a:graphicData>
        </a:graphic>
      </p:graphicFrame>
    </p:spTree>
    <p:extLst>
      <p:ext uri="{BB962C8B-B14F-4D97-AF65-F5344CB8AC3E}">
        <p14:creationId xmlns:p14="http://schemas.microsoft.com/office/powerpoint/2010/main" val="3702973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Screenshot, Software, Webseite enthält.&#10;&#10;Automatisch generierte Beschreibung">
            <a:extLst>
              <a:ext uri="{FF2B5EF4-FFF2-40B4-BE49-F238E27FC236}">
                <a16:creationId xmlns:a16="http://schemas.microsoft.com/office/drawing/2014/main" id="{5666B473-2EE9-3E24-B8B0-3A56C3E516B2}"/>
              </a:ext>
            </a:extLst>
          </p:cNvPr>
          <p:cNvPicPr>
            <a:picLocks noChangeAspect="1"/>
          </p:cNvPicPr>
          <p:nvPr/>
        </p:nvPicPr>
        <p:blipFill>
          <a:blip r:embed="rId3"/>
          <a:stretch>
            <a:fillRect/>
          </a:stretch>
        </p:blipFill>
        <p:spPr>
          <a:xfrm>
            <a:off x="952485" y="143142"/>
            <a:ext cx="6699425" cy="4044810"/>
          </a:xfrm>
          <a:prstGeom prst="rect">
            <a:avLst/>
          </a:prstGeom>
        </p:spPr>
      </p:pic>
      <p:sp>
        <p:nvSpPr>
          <p:cNvPr id="4" name="Google Shape;632;p61">
            <a:extLst>
              <a:ext uri="{FF2B5EF4-FFF2-40B4-BE49-F238E27FC236}">
                <a16:creationId xmlns:a16="http://schemas.microsoft.com/office/drawing/2014/main" id="{0BB1C9C0-E844-145B-99A4-11E81100348D}"/>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Gallery von </a:t>
            </a:r>
            <a:r>
              <a:rPr lang="de-DE" sz="1000" err="1"/>
              <a:t>Streamlit</a:t>
            </a:r>
            <a:r>
              <a:rPr lang="de-DE" sz="1000"/>
              <a:t> bietet bereits zahlreiche Design-Möglichkeiten für Chatbot Anwendungen</a:t>
            </a:r>
            <a:br>
              <a:rPr lang="de-DE" sz="1000"/>
            </a:br>
            <a:r>
              <a:rPr lang="de-DE" sz="1000"/>
              <a:t>-&gt; Code ist einfach in GitHub ablegbar</a:t>
            </a:r>
          </a:p>
        </p:txBody>
      </p:sp>
    </p:spTree>
    <p:extLst>
      <p:ext uri="{BB962C8B-B14F-4D97-AF65-F5344CB8AC3E}">
        <p14:creationId xmlns:p14="http://schemas.microsoft.com/office/powerpoint/2010/main" val="36574741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A1F18F-23D0-D3E0-A41E-EF029F92DB6C}"/>
              </a:ext>
            </a:extLst>
          </p:cNvPr>
          <p:cNvSpPr>
            <a:spLocks noGrp="1"/>
          </p:cNvSpPr>
          <p:nvPr>
            <p:ph type="title"/>
          </p:nvPr>
        </p:nvSpPr>
        <p:spPr>
          <a:xfrm>
            <a:off x="631467" y="445025"/>
            <a:ext cx="8200833"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800"/>
              <a:t>Interaktionsmodalitäten</a:t>
            </a:r>
            <a:endParaRPr lang="de-DE" sz="2800">
              <a:cs typeface="Arial"/>
            </a:endParaRPr>
          </a:p>
        </p:txBody>
      </p:sp>
      <p:graphicFrame>
        <p:nvGraphicFramePr>
          <p:cNvPr id="4" name="Inhaltsplatzhalter 3">
            <a:extLst>
              <a:ext uri="{FF2B5EF4-FFF2-40B4-BE49-F238E27FC236}">
                <a16:creationId xmlns:a16="http://schemas.microsoft.com/office/drawing/2014/main" id="{DA01CDC7-59BA-2282-532A-E25EFC7C205A}"/>
              </a:ext>
            </a:extLst>
          </p:cNvPr>
          <p:cNvGraphicFramePr>
            <a:graphicFrameLocks noGrp="1"/>
          </p:cNvGraphicFramePr>
          <p:nvPr>
            <p:ph idx="1"/>
          </p:nvPr>
        </p:nvGraphicFramePr>
        <p:xfrm>
          <a:off x="660436" y="1551151"/>
          <a:ext cx="8142894" cy="3375660"/>
        </p:xfrm>
        <a:graphic>
          <a:graphicData uri="http://schemas.openxmlformats.org/drawingml/2006/table">
            <a:tbl>
              <a:tblPr firstRow="1" bandRow="1">
                <a:tableStyleId>{5C22544A-7EE6-4342-B048-85BDC9FD1C3A}</a:tableStyleId>
              </a:tblPr>
              <a:tblGrid>
                <a:gridCol w="1737046">
                  <a:extLst>
                    <a:ext uri="{9D8B030D-6E8A-4147-A177-3AD203B41FA5}">
                      <a16:colId xmlns:a16="http://schemas.microsoft.com/office/drawing/2014/main" val="1436904518"/>
                    </a:ext>
                  </a:extLst>
                </a:gridCol>
                <a:gridCol w="1907474">
                  <a:extLst>
                    <a:ext uri="{9D8B030D-6E8A-4147-A177-3AD203B41FA5}">
                      <a16:colId xmlns:a16="http://schemas.microsoft.com/office/drawing/2014/main" val="3058270128"/>
                    </a:ext>
                  </a:extLst>
                </a:gridCol>
                <a:gridCol w="2241219">
                  <a:extLst>
                    <a:ext uri="{9D8B030D-6E8A-4147-A177-3AD203B41FA5}">
                      <a16:colId xmlns:a16="http://schemas.microsoft.com/office/drawing/2014/main" val="4187818578"/>
                    </a:ext>
                  </a:extLst>
                </a:gridCol>
                <a:gridCol w="2257155">
                  <a:extLst>
                    <a:ext uri="{9D8B030D-6E8A-4147-A177-3AD203B41FA5}">
                      <a16:colId xmlns:a16="http://schemas.microsoft.com/office/drawing/2014/main" val="2829171069"/>
                    </a:ext>
                  </a:extLst>
                </a:gridCol>
              </a:tblGrid>
              <a:tr h="472631">
                <a:tc>
                  <a:txBody>
                    <a:bodyPr/>
                    <a:lstStyle/>
                    <a:p>
                      <a:endParaRPr lang="de-DE" sz="1400"/>
                    </a:p>
                  </a:txBody>
                  <a:tcPr marL="68580" marR="68580" marT="34290" marB="34290"/>
                </a:tc>
                <a:tc>
                  <a:txBody>
                    <a:bodyPr/>
                    <a:lstStyle/>
                    <a:p>
                      <a:r>
                        <a:rPr lang="de-DE" sz="1400"/>
                        <a:t>Definitio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p>
                      <a:endParaRPr lang="de-DE" sz="1400"/>
                    </a:p>
                  </a:txBody>
                  <a:tcPr marL="68580" marR="68580" marT="34290" marB="34290"/>
                </a:tc>
                <a:tc>
                  <a:txBody>
                    <a:bodyPr/>
                    <a:lstStyle/>
                    <a:p>
                      <a:r>
                        <a:rPr lang="de-DE" sz="1400"/>
                        <a:t>Anwendungsfälle und Beispiele</a:t>
                      </a:r>
                    </a:p>
                  </a:txBody>
                  <a:tcPr marL="68580" marR="68580" marT="34290" marB="34290"/>
                </a:tc>
                <a:extLst>
                  <a:ext uri="{0D108BD9-81ED-4DB2-BD59-A6C34878D82A}">
                    <a16:rowId xmlns:a16="http://schemas.microsoft.com/office/drawing/2014/main" val="620724560"/>
                  </a:ext>
                </a:extLst>
              </a:tr>
              <a:tr h="754380">
                <a:tc>
                  <a:txBody>
                    <a:bodyPr/>
                    <a:lstStyle/>
                    <a:p>
                      <a:pPr marL="0" algn="l" defTabSz="914400" rtl="0" eaLnBrk="1" latinLnBrk="0" hangingPunct="1"/>
                      <a:r>
                        <a:rPr lang="de-DE" sz="900" b="1" kern="1200">
                          <a:solidFill>
                            <a:schemeClr val="bg1"/>
                          </a:solidFill>
                          <a:latin typeface="+mn-lt"/>
                          <a:ea typeface="+mn-ea"/>
                          <a:cs typeface="+mn-cs"/>
                        </a:rPr>
                        <a:t>Text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Eingabe und Ausgabe in Textform</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infach zu implementieren, aber begrenzte Ausdrucksmöglichkeiten.</a:t>
                      </a:r>
                    </a:p>
                    <a:p>
                      <a:pPr marL="171450" indent="-171450">
                        <a:buFont typeface="Arial" panose="020B0604020202020204" pitchFamily="34" charset="0"/>
                        <a:buChar char="•"/>
                      </a:pPr>
                      <a:r>
                        <a:rPr lang="de-DE" sz="900" kern="1200">
                          <a:solidFill>
                            <a:schemeClr val="bg1"/>
                          </a:solidFill>
                          <a:latin typeface="+mn-lt"/>
                          <a:ea typeface="+mn-ea"/>
                          <a:cs typeface="+mn-cs"/>
                        </a:rPr>
                        <a:t>Kann bei komplexen Anfragen, die visuelle Daten erfordern, unzureichend sei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Chatbots, Suchmaschinen</a:t>
                      </a:r>
                    </a:p>
                    <a:p>
                      <a:pPr marL="0" algn="l" defTabSz="914400" rtl="0" eaLnBrk="1" latinLnBrk="0" hangingPunct="1"/>
                      <a:r>
                        <a:rPr lang="de-DE" sz="900" kern="1200">
                          <a:solidFill>
                            <a:schemeClr val="bg1"/>
                          </a:solidFill>
                          <a:latin typeface="+mn-lt"/>
                          <a:ea typeface="+mn-ea"/>
                          <a:cs typeface="+mn-cs"/>
                        </a:rPr>
                        <a:t>Support-Systeme (FAQ-Seiten oder interaktive Wissensdatenbanken)</a:t>
                      </a:r>
                    </a:p>
                  </a:txBody>
                  <a:tcPr marL="68580" marR="68580" marT="34290" marB="34290">
                    <a:solidFill>
                      <a:schemeClr val="tx1">
                        <a:lumMod val="75000"/>
                      </a:schemeClr>
                    </a:solidFill>
                  </a:tcPr>
                </a:tc>
                <a:extLst>
                  <a:ext uri="{0D108BD9-81ED-4DB2-BD59-A6C34878D82A}">
                    <a16:rowId xmlns:a16="http://schemas.microsoft.com/office/drawing/2014/main" val="793959588"/>
                  </a:ext>
                </a:extLst>
              </a:tr>
              <a:tr h="754380">
                <a:tc>
                  <a:txBody>
                    <a:bodyPr/>
                    <a:lstStyle/>
                    <a:p>
                      <a:pPr marL="0" algn="l" defTabSz="914400" rtl="0" eaLnBrk="1" latinLnBrk="0" hangingPunct="1"/>
                      <a:r>
                        <a:rPr lang="de-DE" sz="900" b="1" kern="1200">
                          <a:solidFill>
                            <a:schemeClr val="bg1"/>
                          </a:solidFill>
                          <a:latin typeface="+mn-lt"/>
                          <a:ea typeface="+mn-ea"/>
                          <a:cs typeface="+mn-cs"/>
                        </a:rPr>
                        <a:t>Multimodale Interaktion</a:t>
                      </a:r>
                    </a:p>
                  </a:txBody>
                  <a:tcPr marL="68580" marR="68580" marT="34290" marB="34290"/>
                </a:tc>
                <a:tc>
                  <a:txBody>
                    <a:bodyPr/>
                    <a:lstStyle/>
                    <a:p>
                      <a:pPr marL="0" lvl="1" algn="l" defTabSz="914400" rtl="0" eaLnBrk="1" latinLnBrk="0" hangingPunct="1"/>
                      <a:r>
                        <a:rPr lang="de-DE" sz="900" kern="1200">
                          <a:solidFill>
                            <a:schemeClr val="bg1"/>
                          </a:solidFill>
                          <a:latin typeface="+mn-lt"/>
                          <a:ea typeface="+mn-ea"/>
                          <a:cs typeface="+mn-cs"/>
                        </a:rPr>
                        <a:t>Kombination von Text, Bildern, Tabellen und anderen Datenformat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Bietet vielseitigere Benutzererfahrung</a:t>
                      </a:r>
                    </a:p>
                    <a:p>
                      <a:pPr marL="171450" indent="-171450">
                        <a:buFont typeface="Arial" panose="020B0604020202020204" pitchFamily="34" charset="0"/>
                        <a:buChar char="•"/>
                      </a:pPr>
                      <a:r>
                        <a:rPr lang="de-DE" sz="900" kern="1200">
                          <a:solidFill>
                            <a:schemeClr val="bg1"/>
                          </a:solidFill>
                          <a:latin typeface="+mn-lt"/>
                          <a:ea typeface="+mn-ea"/>
                          <a:cs typeface="+mn-cs"/>
                        </a:rPr>
                        <a:t>Reichhaltige Antworten, aber höhere technische Komplexität und Implementierungskosten.</a:t>
                      </a:r>
                    </a:p>
                  </a:txBody>
                  <a:tcPr marL="68580" marR="68580" marT="34290" marB="34290"/>
                </a:tc>
                <a:tc>
                  <a:txBody>
                    <a:bodyPr/>
                    <a:lstStyle/>
                    <a:p>
                      <a:pPr marL="0" algn="l" defTabSz="914400" rtl="0" eaLnBrk="1" latinLnBrk="0" hangingPunct="1"/>
                      <a:r>
                        <a:rPr lang="de-DE" sz="900" kern="1200">
                          <a:solidFill>
                            <a:schemeClr val="bg1"/>
                          </a:solidFill>
                          <a:latin typeface="+mn-lt"/>
                          <a:ea typeface="+mn-ea"/>
                          <a:cs typeface="+mn-cs"/>
                        </a:rPr>
                        <a:t>Bildbeschreibung, visuelle Suche</a:t>
                      </a:r>
                    </a:p>
                  </a:txBody>
                  <a:tcPr marL="68580" marR="68580" marT="34290" marB="34290"/>
                </a:tc>
                <a:extLst>
                  <a:ext uri="{0D108BD9-81ED-4DB2-BD59-A6C34878D82A}">
                    <a16:rowId xmlns:a16="http://schemas.microsoft.com/office/drawing/2014/main" val="1942768468"/>
                  </a:ext>
                </a:extLst>
              </a:tr>
              <a:tr h="891540">
                <a:tc>
                  <a:txBody>
                    <a:bodyPr/>
                    <a:lstStyle/>
                    <a:p>
                      <a:pPr marL="0" algn="l" defTabSz="914400" rtl="0" eaLnBrk="1" latinLnBrk="0" hangingPunct="1"/>
                      <a:r>
                        <a:rPr lang="de-DE" sz="900" b="1" kern="1200">
                          <a:solidFill>
                            <a:schemeClr val="bg1"/>
                          </a:solidFill>
                          <a:latin typeface="+mn-lt"/>
                          <a:ea typeface="+mn-ea"/>
                          <a:cs typeface="+mn-cs"/>
                        </a:rPr>
                        <a:t>Sprach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Nutzung von Sprachbefehlen und Sprachausgabe</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Ideal für freihändige Anwendungen und barrierefreie Nutzung</a:t>
                      </a:r>
                    </a:p>
                    <a:p>
                      <a:pPr marL="171450" indent="-171450">
                        <a:buFont typeface="Arial" panose="020B0604020202020204" pitchFamily="34" charset="0"/>
                        <a:buChar char="•"/>
                      </a:pPr>
                      <a:r>
                        <a:rPr lang="de-DE" sz="900" kern="1200">
                          <a:solidFill>
                            <a:schemeClr val="bg1"/>
                          </a:solidFill>
                          <a:latin typeface="+mn-lt"/>
                          <a:ea typeface="+mn-ea"/>
                          <a:cs typeface="+mn-cs"/>
                        </a:rPr>
                        <a:t>Natürliche Interaktion, aber Abhängigkeit von Spracherkennung</a:t>
                      </a:r>
                    </a:p>
                    <a:p>
                      <a:pPr marL="171450" indent="-171450">
                        <a:buFont typeface="Arial" panose="020B0604020202020204" pitchFamily="34" charset="0"/>
                        <a:buChar char="•"/>
                      </a:pPr>
                      <a:r>
                        <a:rPr lang="de-DE" sz="900" kern="1200">
                          <a:solidFill>
                            <a:schemeClr val="bg1"/>
                          </a:solidFill>
                          <a:latin typeface="+mn-lt"/>
                          <a:ea typeface="+mn-ea"/>
                          <a:cs typeface="+mn-cs"/>
                        </a:rPr>
                        <a:t>Schwierigkeiten bei der Verarbeitung von Akzenten und Dialekte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Smart Speaker, virtuelle Assistenten</a:t>
                      </a:r>
                    </a:p>
                    <a:p>
                      <a:pPr marL="0" algn="l" defTabSz="914400" rtl="0" eaLnBrk="1" latinLnBrk="0" hangingPunct="1"/>
                      <a:r>
                        <a:rPr lang="de-DE" sz="900" kern="1200">
                          <a:solidFill>
                            <a:schemeClr val="bg1"/>
                          </a:solidFill>
                          <a:latin typeface="+mn-lt"/>
                          <a:ea typeface="+mn-ea"/>
                          <a:cs typeface="+mn-cs"/>
                        </a:rPr>
                        <a:t>Siri und Alexa</a:t>
                      </a:r>
                    </a:p>
                  </a:txBody>
                  <a:tcPr marL="68580" marR="68580" marT="34290" marB="34290">
                    <a:solidFill>
                      <a:schemeClr val="tx1">
                        <a:lumMod val="75000"/>
                      </a:schemeClr>
                    </a:solidFill>
                  </a:tcPr>
                </a:tc>
                <a:extLst>
                  <a:ext uri="{0D108BD9-81ED-4DB2-BD59-A6C34878D82A}">
                    <a16:rowId xmlns:a16="http://schemas.microsoft.com/office/drawing/2014/main" val="122177393"/>
                  </a:ext>
                </a:extLst>
              </a:tr>
              <a:tr h="480060">
                <a:tc>
                  <a:txBody>
                    <a:bodyPr/>
                    <a:lstStyle/>
                    <a:p>
                      <a:pPr marL="0" algn="l" defTabSz="914400" rtl="0" eaLnBrk="1" latinLnBrk="0" hangingPunct="1"/>
                      <a:r>
                        <a:rPr lang="de-DE" sz="900" b="1" kern="1200">
                          <a:solidFill>
                            <a:schemeClr val="bg1"/>
                          </a:solidFill>
                          <a:latin typeface="+mn-lt"/>
                          <a:ea typeface="+mn-ea"/>
                          <a:cs typeface="+mn-cs"/>
                        </a:rPr>
                        <a:t>Visuelle Interaktion</a:t>
                      </a:r>
                    </a:p>
                  </a:txBody>
                  <a:tcPr marL="68580" marR="68580" marT="34290" marB="34290">
                    <a:solidFill>
                      <a:schemeClr val="tx1">
                        <a:lumMod val="75000"/>
                      </a:schemeClr>
                    </a:solidFill>
                  </a:tcPr>
                </a:tc>
                <a:tc>
                  <a:txBody>
                    <a:bodyPr/>
                    <a:lstStyle/>
                    <a:p>
                      <a:pPr marL="0" lvl="1" algn="l" defTabSz="914400" rtl="0" eaLnBrk="1" latinLnBrk="0" hangingPunct="1"/>
                      <a:r>
                        <a:rPr lang="de-DE" sz="900" kern="1200">
                          <a:solidFill>
                            <a:schemeClr val="bg1"/>
                          </a:solidFill>
                          <a:latin typeface="+mn-lt"/>
                          <a:ea typeface="+mn-ea"/>
                          <a:cs typeface="+mn-cs"/>
                        </a:rPr>
                        <a:t>Benutzerinteraktionen mit visuellen Elementen wie Diagrammen und Karten.</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rmöglicht tiefere Datenanalyse</a:t>
                      </a:r>
                    </a:p>
                    <a:p>
                      <a:pPr marL="171450" indent="-171450">
                        <a:buFont typeface="Arial" panose="020B0604020202020204" pitchFamily="34" charset="0"/>
                        <a:buChar char="•"/>
                      </a:pPr>
                      <a:r>
                        <a:rPr lang="de-DE" sz="900" kern="1200">
                          <a:solidFill>
                            <a:schemeClr val="bg1"/>
                          </a:solidFill>
                          <a:latin typeface="+mn-lt"/>
                          <a:ea typeface="+mn-ea"/>
                          <a:cs typeface="+mn-cs"/>
                        </a:rPr>
                        <a:t>Kann bei großen Datenmengen ressourcenintensiv sei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Dashboards, Datenexplorationstools</a:t>
                      </a:r>
                    </a:p>
                    <a:p>
                      <a:pPr marL="0" algn="l" defTabSz="914400" rtl="0" eaLnBrk="1" latinLnBrk="0" hangingPunct="1"/>
                      <a:r>
                        <a:rPr lang="de-DE" sz="900" kern="1200">
                          <a:solidFill>
                            <a:schemeClr val="bg1"/>
                          </a:solidFill>
                          <a:latin typeface="+mn-lt"/>
                          <a:ea typeface="+mn-ea"/>
                          <a:cs typeface="+mn-cs"/>
                        </a:rPr>
                        <a:t>AR-Apps</a:t>
                      </a:r>
                    </a:p>
                  </a:txBody>
                  <a:tcPr marL="68580" marR="68580" marT="34290" marB="34290">
                    <a:solidFill>
                      <a:schemeClr val="tx1">
                        <a:lumMod val="75000"/>
                      </a:schemeClr>
                    </a:solidFill>
                  </a:tcPr>
                </a:tc>
                <a:extLst>
                  <a:ext uri="{0D108BD9-81ED-4DB2-BD59-A6C34878D82A}">
                    <a16:rowId xmlns:a16="http://schemas.microsoft.com/office/drawing/2014/main" val="753638869"/>
                  </a:ext>
                </a:extLst>
              </a:tr>
            </a:tbl>
          </a:graphicData>
        </a:graphic>
      </p:graphicFrame>
      <p:sp>
        <p:nvSpPr>
          <p:cNvPr id="5" name="Textfeld 4">
            <a:extLst>
              <a:ext uri="{FF2B5EF4-FFF2-40B4-BE49-F238E27FC236}">
                <a16:creationId xmlns:a16="http://schemas.microsoft.com/office/drawing/2014/main" id="{EA2A8EED-DA4A-2196-AB01-DBA3B04D575E}"/>
              </a:ext>
            </a:extLst>
          </p:cNvPr>
          <p:cNvSpPr txBox="1"/>
          <p:nvPr/>
        </p:nvSpPr>
        <p:spPr>
          <a:xfrm>
            <a:off x="635453" y="1159159"/>
            <a:ext cx="735096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a:t>Interaktionsmodalitäten definieren die Kommunikation zwischen Nutzer und System, basierend auf Input und Output.</a:t>
            </a:r>
          </a:p>
        </p:txBody>
      </p:sp>
    </p:spTree>
    <p:extLst>
      <p:ext uri="{BB962C8B-B14F-4D97-AF65-F5344CB8AC3E}">
        <p14:creationId xmlns:p14="http://schemas.microsoft.com/office/powerpoint/2010/main" val="4264496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62DE16-76D8-5A04-8C38-0D7396DDF01F}"/>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Output-</a:t>
            </a:r>
            <a:r>
              <a:rPr lang="de-DE" sz="2400" err="1"/>
              <a:t>Formatting</a:t>
            </a:r>
            <a:endParaRPr lang="de-DE" sz="2400"/>
          </a:p>
        </p:txBody>
      </p:sp>
      <p:sp>
        <p:nvSpPr>
          <p:cNvPr id="5" name="Textfeld 4">
            <a:extLst>
              <a:ext uri="{FF2B5EF4-FFF2-40B4-BE49-F238E27FC236}">
                <a16:creationId xmlns:a16="http://schemas.microsoft.com/office/drawing/2014/main" id="{64E62650-F735-0FAA-DD60-7952F78CE347}"/>
              </a:ext>
            </a:extLst>
          </p:cNvPr>
          <p:cNvSpPr txBox="1"/>
          <p:nvPr/>
        </p:nvSpPr>
        <p:spPr>
          <a:xfrm>
            <a:off x="628650" y="1409189"/>
            <a:ext cx="2391387" cy="300082"/>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350" b="1">
                <a:effectLst/>
                <a:latin typeface="Calibri" panose="020F0502020204030204" pitchFamily="34" charset="0"/>
                <a:ea typeface="Calibri" panose="020F0502020204030204" pitchFamily="34" charset="0"/>
                <a:cs typeface="Times New Roman" panose="02020603050405020304" pitchFamily="18" charset="0"/>
              </a:rPr>
              <a:t>Kriterien für effektives Output</a:t>
            </a:r>
            <a:endParaRPr lang="de-DE" sz="1013"/>
          </a:p>
        </p:txBody>
      </p:sp>
      <p:sp>
        <p:nvSpPr>
          <p:cNvPr id="6" name="Textfeld 5">
            <a:extLst>
              <a:ext uri="{FF2B5EF4-FFF2-40B4-BE49-F238E27FC236}">
                <a16:creationId xmlns:a16="http://schemas.microsoft.com/office/drawing/2014/main" id="{F9AD64D6-665F-B7A4-EDB0-DB11F76D7FC9}"/>
              </a:ext>
            </a:extLst>
          </p:cNvPr>
          <p:cNvSpPr txBox="1"/>
          <p:nvPr/>
        </p:nvSpPr>
        <p:spPr>
          <a:xfrm>
            <a:off x="628650" y="1924439"/>
            <a:ext cx="2391387" cy="2911374"/>
          </a:xfrm>
          <a:prstGeom prst="rect">
            <a:avLst/>
          </a:prstGeom>
          <a:noFill/>
          <a:ln w="19050">
            <a:solidFill>
              <a:schemeClr val="tx1"/>
            </a:solidFill>
          </a:ln>
        </p:spPr>
        <p:txBody>
          <a:bodyPr wrap="square" lIns="91440" tIns="45720" rIns="91440" bIns="4572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Klarheit: </a:t>
            </a:r>
            <a:r>
              <a:rPr lang="de-DE" sz="800" kern="100">
                <a:effectLst/>
                <a:latin typeface="Calibri"/>
                <a:ea typeface="Calibri"/>
                <a:cs typeface="Times New Roman"/>
              </a:rPr>
              <a:t>Das Output sollte leicht verständlich sein und keine unnötigen Informationen enthalte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Relevanz</a:t>
            </a:r>
            <a:r>
              <a:rPr lang="de-DE" sz="800" b="1" kern="100">
                <a:effectLst/>
                <a:latin typeface="Calibri"/>
                <a:ea typeface="Calibri"/>
                <a:cs typeface="Times New Roman"/>
              </a:rPr>
              <a:t>: </a:t>
            </a:r>
            <a:r>
              <a:rPr lang="de-DE" sz="800" kern="100">
                <a:effectLst/>
                <a:latin typeface="Calibri"/>
                <a:ea typeface="Calibri"/>
                <a:cs typeface="Times New Roman"/>
              </a:rPr>
              <a:t>Nur die Informationen anzeigen, die für den Nutzer und die jeweilige Aufgabe wichtig sind.</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Kohärenz: </a:t>
            </a:r>
            <a:r>
              <a:rPr lang="de-DE" sz="800" kern="100">
                <a:effectLst/>
                <a:latin typeface="Calibri"/>
                <a:ea typeface="Calibri"/>
                <a:cs typeface="Times New Roman"/>
              </a:rPr>
              <a:t>Einheitliche Struktur und Terminologie, um Verwirrung zu vermeide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Visuelle</a:t>
            </a:r>
            <a:r>
              <a:rPr lang="de-DE" sz="800" b="1" kern="100">
                <a:effectLst/>
                <a:latin typeface="Calibri"/>
                <a:ea typeface="Calibri"/>
                <a:cs typeface="Times New Roman"/>
              </a:rPr>
              <a:t> Hierarchie</a:t>
            </a:r>
            <a:r>
              <a:rPr lang="de-DE" sz="800" b="1" kern="100">
                <a:latin typeface="Calibri"/>
                <a:ea typeface="Calibri"/>
                <a:cs typeface="Times New Roman"/>
              </a:rPr>
              <a:t>: </a:t>
            </a:r>
            <a:r>
              <a:rPr lang="de-DE" sz="800" kern="100">
                <a:effectLst/>
                <a:latin typeface="Calibri"/>
                <a:ea typeface="Calibri"/>
                <a:cs typeface="Times New Roman"/>
              </a:rPr>
              <a:t>Wichtige Informationen sollten hervorgehoben werden (z. B. durch Größe, Farbe, Positio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Benutzerfreundlichkeit: </a:t>
            </a:r>
            <a:r>
              <a:rPr lang="de-DE" sz="800" kern="100">
                <a:effectLst/>
                <a:latin typeface="Calibri"/>
                <a:ea typeface="Calibri"/>
                <a:cs typeface="Times New Roman"/>
              </a:rPr>
              <a:t>Das Output sollte intuitiv zu erfassen sein, ohne dass der Nutzer lange überlegen muss.</a:t>
            </a: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feld 6">
            <a:extLst>
              <a:ext uri="{FF2B5EF4-FFF2-40B4-BE49-F238E27FC236}">
                <a16:creationId xmlns:a16="http://schemas.microsoft.com/office/drawing/2014/main" id="{4F623946-E3C3-4528-5BFC-440CC6A13CA5}"/>
              </a:ext>
            </a:extLst>
          </p:cNvPr>
          <p:cNvSpPr txBox="1"/>
          <p:nvPr/>
        </p:nvSpPr>
        <p:spPr>
          <a:xfrm>
            <a:off x="3438316" y="1409189"/>
            <a:ext cx="2391387" cy="248209"/>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013" b="1">
                <a:latin typeface="Calibri" panose="020F0502020204030204" pitchFamily="34" charset="0"/>
                <a:cs typeface="Times New Roman" panose="02020603050405020304" pitchFamily="18" charset="0"/>
              </a:rPr>
              <a:t>Prinzipien der Formatierung</a:t>
            </a:r>
          </a:p>
        </p:txBody>
      </p:sp>
      <p:sp>
        <p:nvSpPr>
          <p:cNvPr id="8" name="Textfeld 7">
            <a:extLst>
              <a:ext uri="{FF2B5EF4-FFF2-40B4-BE49-F238E27FC236}">
                <a16:creationId xmlns:a16="http://schemas.microsoft.com/office/drawing/2014/main" id="{CF2D9A17-7FAE-4AFD-A3BB-F0C44852F9A5}"/>
              </a:ext>
            </a:extLst>
          </p:cNvPr>
          <p:cNvSpPr txBox="1"/>
          <p:nvPr/>
        </p:nvSpPr>
        <p:spPr>
          <a:xfrm>
            <a:off x="3438316" y="1815582"/>
            <a:ext cx="2391387" cy="2893340"/>
          </a:xfrm>
          <a:prstGeom prst="rect">
            <a:avLst/>
          </a:prstGeom>
          <a:no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Lesbarkeit</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Verwendung einer gut lesbaren Schriftart (z. B. Arial, Helvetica). Klare Trennung zwischen Absätzen, Überschriften und Inhalt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Struktur: </a:t>
            </a:r>
            <a:r>
              <a:rPr lang="de-DE" sz="825" kern="100">
                <a:effectLst/>
                <a:latin typeface="Calibri" panose="020F0502020204030204" pitchFamily="34" charset="0"/>
                <a:ea typeface="Calibri" panose="020F0502020204030204" pitchFamily="34" charset="0"/>
                <a:cs typeface="Times New Roman" panose="02020603050405020304" pitchFamily="18" charset="0"/>
              </a:rPr>
              <a:t>Logische Gliederung mit klar definierten Abschnitten. Nutzung von Aufzählungen oder Tabellen, um Informationen zu organisier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Design</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Einheitliche Farb- und Stilgestaltung. Sparsamer Einsatz von Designelementen, um Überladenheit zu vermeid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Responsive Gestaltung</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Anpassungsfähigkeit an verschiedene Geräte (Desktop, Tablet, Smartphone).</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Barrierefreiheit</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Unterstützung für Nutzer mit Einschränkungen, z. B. durch Screenreader-freundliche Layouts.</a:t>
            </a:r>
          </a:p>
          <a:p>
            <a:pPr lvl="0">
              <a:lnSpc>
                <a:spcPct val="107000"/>
              </a:lnSpc>
              <a:spcAft>
                <a:spcPts val="600"/>
              </a:spcAft>
              <a:tabLst>
                <a:tab pos="342900" algn="l"/>
              </a:tabLst>
            </a:pPr>
            <a:endParaRPr lang="de-DE" sz="825"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feld 8">
            <a:extLst>
              <a:ext uri="{FF2B5EF4-FFF2-40B4-BE49-F238E27FC236}">
                <a16:creationId xmlns:a16="http://schemas.microsoft.com/office/drawing/2014/main" id="{45D2BC0C-290F-C935-849F-26DF14482F81}"/>
              </a:ext>
            </a:extLst>
          </p:cNvPr>
          <p:cNvSpPr txBox="1"/>
          <p:nvPr/>
        </p:nvSpPr>
        <p:spPr>
          <a:xfrm>
            <a:off x="5996264" y="1409189"/>
            <a:ext cx="2391387" cy="300082"/>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350" b="1">
                <a:effectLst/>
                <a:latin typeface="Calibri" panose="020F0502020204030204" pitchFamily="34" charset="0"/>
                <a:ea typeface="Calibri" panose="020F0502020204030204" pitchFamily="34" charset="0"/>
                <a:cs typeface="Times New Roman" panose="02020603050405020304" pitchFamily="18" charset="0"/>
              </a:rPr>
              <a:t>Beispiele</a:t>
            </a:r>
            <a:endParaRPr lang="de-DE" sz="1013" b="1">
              <a:latin typeface="Calibri" panose="020F0502020204030204" pitchFamily="34" charset="0"/>
              <a:cs typeface="Times New Roman" panose="02020603050405020304" pitchFamily="18" charset="0"/>
            </a:endParaRPr>
          </a:p>
        </p:txBody>
      </p:sp>
      <p:sp>
        <p:nvSpPr>
          <p:cNvPr id="10" name="Textfeld 9">
            <a:extLst>
              <a:ext uri="{FF2B5EF4-FFF2-40B4-BE49-F238E27FC236}">
                <a16:creationId xmlns:a16="http://schemas.microsoft.com/office/drawing/2014/main" id="{26A9ABD8-0D29-BFE6-8239-73A405212320}"/>
              </a:ext>
            </a:extLst>
          </p:cNvPr>
          <p:cNvSpPr txBox="1"/>
          <p:nvPr/>
        </p:nvSpPr>
        <p:spPr>
          <a:xfrm>
            <a:off x="6050693" y="1876813"/>
            <a:ext cx="2391387" cy="1386149"/>
          </a:xfrm>
          <a:prstGeom prst="rect">
            <a:avLst/>
          </a:prstGeom>
          <a:no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indent="-257175">
              <a:lnSpc>
                <a:spcPct val="107000"/>
              </a:lnSpc>
              <a:spcAft>
                <a:spcPts val="600"/>
              </a:spcAft>
              <a:buSzPts val="1000"/>
              <a:buFont typeface="+mj-lt"/>
              <a:buAutoNum type="arabicPeriod"/>
              <a:tabLst>
                <a:tab pos="342900" algn="l"/>
              </a:tabLst>
            </a:pPr>
            <a:r>
              <a:rPr lang="de-DE" sz="825" b="1" kern="100">
                <a:latin typeface="Calibri" panose="020F0502020204030204" pitchFamily="34" charset="0"/>
                <a:cs typeface="Times New Roman" panose="02020603050405020304" pitchFamily="18" charset="0"/>
              </a:rPr>
              <a:t>White Space (Freiraum):</a:t>
            </a:r>
            <a:br>
              <a:rPr lang="de-DE" sz="825" b="1" kern="100">
                <a:latin typeface="Calibri" panose="020F0502020204030204" pitchFamily="34" charset="0"/>
                <a:cs typeface="Times New Roman" panose="02020603050405020304" pitchFamily="18" charset="0"/>
              </a:rPr>
            </a:br>
            <a:r>
              <a:rPr lang="de-DE" sz="825" kern="100">
                <a:latin typeface="Calibri" panose="020F0502020204030204" pitchFamily="34" charset="0"/>
                <a:cs typeface="Times New Roman" panose="02020603050405020304" pitchFamily="18" charset="0"/>
              </a:rPr>
              <a:t>Ausreichend Freiraum um Texte und Grafiken schafft Übersichtlichkeit und erleichtert die Aufnahme der Inhalte.</a:t>
            </a:r>
          </a:p>
          <a:p>
            <a:pPr marL="257175" indent="-257175">
              <a:lnSpc>
                <a:spcPct val="107000"/>
              </a:lnSpc>
              <a:spcAft>
                <a:spcPts val="600"/>
              </a:spcAft>
              <a:buSzPts val="1000"/>
              <a:buFont typeface="+mj-lt"/>
              <a:buAutoNum type="arabicPeriod"/>
              <a:tabLst>
                <a:tab pos="342900" algn="l"/>
              </a:tabLst>
            </a:pPr>
            <a:r>
              <a:rPr lang="de-DE" sz="825" b="1" kern="100">
                <a:latin typeface="Calibri" panose="020F0502020204030204" pitchFamily="34" charset="0"/>
                <a:cs typeface="Times New Roman" panose="02020603050405020304" pitchFamily="18" charset="0"/>
              </a:rPr>
              <a:t>Farbkodierung:</a:t>
            </a:r>
            <a:br>
              <a:rPr lang="de-DE" sz="825" b="1" kern="100">
                <a:latin typeface="Calibri" panose="020F0502020204030204" pitchFamily="34" charset="0"/>
                <a:cs typeface="Times New Roman" panose="02020603050405020304" pitchFamily="18" charset="0"/>
              </a:rPr>
            </a:br>
            <a:r>
              <a:rPr lang="de-DE" sz="825" kern="100">
                <a:latin typeface="Calibri" panose="020F0502020204030204" pitchFamily="34" charset="0"/>
                <a:cs typeface="Times New Roman" panose="02020603050405020304" pitchFamily="18" charset="0"/>
              </a:rPr>
              <a:t>Farben gezielt einsetzen, um Informationen zu kategorisieren oder zu priorisieren. Beispiel: Grün für positive, Rot für negative Trends.</a:t>
            </a:r>
          </a:p>
        </p:txBody>
      </p:sp>
    </p:spTree>
    <p:extLst>
      <p:ext uri="{BB962C8B-B14F-4D97-AF65-F5344CB8AC3E}">
        <p14:creationId xmlns:p14="http://schemas.microsoft.com/office/powerpoint/2010/main" val="21083828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8DE98A-BF53-2DCA-E57D-934EB505D771}"/>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Output-Formatierungstechniken</a:t>
            </a:r>
          </a:p>
        </p:txBody>
      </p:sp>
      <p:graphicFrame>
        <p:nvGraphicFramePr>
          <p:cNvPr id="4" name="Inhaltsplatzhalter 3">
            <a:extLst>
              <a:ext uri="{FF2B5EF4-FFF2-40B4-BE49-F238E27FC236}">
                <a16:creationId xmlns:a16="http://schemas.microsoft.com/office/drawing/2014/main" id="{F8A0FFD8-ACAA-03F3-4DEB-0A2566C41395}"/>
              </a:ext>
            </a:extLst>
          </p:cNvPr>
          <p:cNvGraphicFramePr>
            <a:graphicFrameLocks noGrp="1"/>
          </p:cNvGraphicFramePr>
          <p:nvPr>
            <p:ph idx="1"/>
            <p:extLst>
              <p:ext uri="{D42A27DB-BD31-4B8C-83A1-F6EECF244321}">
                <p14:modId xmlns:p14="http://schemas.microsoft.com/office/powerpoint/2010/main" val="364206636"/>
              </p:ext>
            </p:extLst>
          </p:nvPr>
        </p:nvGraphicFramePr>
        <p:xfrm>
          <a:off x="369726" y="1355225"/>
          <a:ext cx="7607946" cy="3230880"/>
        </p:xfrm>
        <a:graphic>
          <a:graphicData uri="http://schemas.openxmlformats.org/drawingml/2006/table">
            <a:tbl>
              <a:tblPr firstRow="1" bandRow="1">
                <a:tableStyleId>{5C22544A-7EE6-4342-B048-85BDC9FD1C3A}</a:tableStyleId>
              </a:tblPr>
              <a:tblGrid>
                <a:gridCol w="1959428">
                  <a:extLst>
                    <a:ext uri="{9D8B030D-6E8A-4147-A177-3AD203B41FA5}">
                      <a16:colId xmlns:a16="http://schemas.microsoft.com/office/drawing/2014/main" val="2003511695"/>
                    </a:ext>
                  </a:extLst>
                </a:gridCol>
                <a:gridCol w="3122255">
                  <a:extLst>
                    <a:ext uri="{9D8B030D-6E8A-4147-A177-3AD203B41FA5}">
                      <a16:colId xmlns:a16="http://schemas.microsoft.com/office/drawing/2014/main" val="3266740273"/>
                    </a:ext>
                  </a:extLst>
                </a:gridCol>
                <a:gridCol w="2526263">
                  <a:extLst>
                    <a:ext uri="{9D8B030D-6E8A-4147-A177-3AD203B41FA5}">
                      <a16:colId xmlns:a16="http://schemas.microsoft.com/office/drawing/2014/main" val="3891463276"/>
                    </a:ext>
                  </a:extLst>
                </a:gridCol>
              </a:tblGrid>
              <a:tr h="278130">
                <a:tc>
                  <a:txBody>
                    <a:bodyPr/>
                    <a:lstStyle/>
                    <a:p>
                      <a:endParaRPr lang="de-DE" sz="1400"/>
                    </a:p>
                  </a:txBody>
                  <a:tcPr marL="68580" marR="68580" marT="34290" marB="34290"/>
                </a:tc>
                <a:tc>
                  <a:txBody>
                    <a:bodyPr/>
                    <a:lstStyle/>
                    <a:p>
                      <a:r>
                        <a:rPr lang="de-DE" sz="1400" b="1" kern="1200">
                          <a:solidFill>
                            <a:schemeClr val="lt1"/>
                          </a:solidFill>
                          <a:effectLst/>
                          <a:latin typeface="+mn-lt"/>
                          <a:ea typeface="+mn-ea"/>
                          <a:cs typeface="+mn-cs"/>
                        </a:rPr>
                        <a:t>Definition</a:t>
                      </a:r>
                      <a:endParaRPr lang="de-DE" sz="1400"/>
                    </a:p>
                  </a:txBody>
                  <a:tcPr marL="68580" marR="68580" marT="34290" marB="34290"/>
                </a:tc>
                <a:tc>
                  <a:txBody>
                    <a:bodyPr/>
                    <a:lstStyle/>
                    <a:p>
                      <a:r>
                        <a:rPr lang="de-DE" sz="1400"/>
                        <a:t>Vorteile</a:t>
                      </a:r>
                    </a:p>
                  </a:txBody>
                  <a:tcPr marL="68580" marR="68580" marT="34290" marB="34290"/>
                </a:tc>
                <a:extLst>
                  <a:ext uri="{0D108BD9-81ED-4DB2-BD59-A6C34878D82A}">
                    <a16:rowId xmlns:a16="http://schemas.microsoft.com/office/drawing/2014/main" val="1753384570"/>
                  </a:ext>
                </a:extLst>
              </a:tr>
              <a:tr h="480060">
                <a:tc>
                  <a:txBody>
                    <a:bodyPr/>
                    <a:lstStyle/>
                    <a:p>
                      <a:r>
                        <a:rPr lang="de-DE" sz="1100" b="1">
                          <a:solidFill>
                            <a:schemeClr val="bg1"/>
                          </a:solidFill>
                        </a:rPr>
                        <a:t>Chunking</a:t>
                      </a:r>
                    </a:p>
                  </a:txBody>
                  <a:tcPr marL="68580" marR="68580" marT="34290" marB="34290"/>
                </a:tc>
                <a:tc>
                  <a:txBody>
                    <a:bodyPr/>
                    <a:lstStyle/>
                    <a:p>
                      <a:r>
                        <a:rPr lang="de-DE" sz="900">
                          <a:solidFill>
                            <a:schemeClr val="bg1"/>
                          </a:solidFill>
                        </a:rPr>
                        <a:t>Chunking ist die Technik, bei der große Textblöcke in kleinere, logisch zusammenhängende Einheiten aufgeteilt werden. Dies erleichtert die Verarbeitung und Darstellung von Information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Verbesserte Lesbarkeit</a:t>
                      </a:r>
                    </a:p>
                    <a:p>
                      <a:pPr marL="171450" indent="-171450">
                        <a:buFont typeface="Arial" panose="020B0604020202020204" pitchFamily="34" charset="0"/>
                        <a:buChar char="•"/>
                      </a:pPr>
                      <a:r>
                        <a:rPr lang="de-DE" sz="900" kern="1200">
                          <a:solidFill>
                            <a:schemeClr val="bg1"/>
                          </a:solidFill>
                          <a:latin typeface="+mn-lt"/>
                          <a:ea typeface="+mn-ea"/>
                          <a:cs typeface="+mn-cs"/>
                        </a:rPr>
                        <a:t>Bessere Verarbeitung</a:t>
                      </a:r>
                    </a:p>
                    <a:p>
                      <a:pPr marL="171450" indent="-171450">
                        <a:buFont typeface="Arial" panose="020B0604020202020204" pitchFamily="34" charset="0"/>
                        <a:buChar char="•"/>
                      </a:pPr>
                      <a:r>
                        <a:rPr lang="de-DE" sz="900" kern="1200">
                          <a:solidFill>
                            <a:schemeClr val="bg1"/>
                          </a:solidFill>
                          <a:latin typeface="+mn-lt"/>
                          <a:ea typeface="+mn-ea"/>
                          <a:cs typeface="+mn-cs"/>
                        </a:rPr>
                        <a:t>Erhöhte Genauigkeit</a:t>
                      </a:r>
                    </a:p>
                  </a:txBody>
                  <a:tcPr marL="68580" marR="68580" marT="34290" marB="34290"/>
                </a:tc>
                <a:extLst>
                  <a:ext uri="{0D108BD9-81ED-4DB2-BD59-A6C34878D82A}">
                    <a16:rowId xmlns:a16="http://schemas.microsoft.com/office/drawing/2014/main" val="3958497530"/>
                  </a:ext>
                </a:extLst>
              </a:tr>
              <a:tr h="480060">
                <a:tc>
                  <a:txBody>
                    <a:bodyPr/>
                    <a:lstStyle/>
                    <a:p>
                      <a:r>
                        <a:rPr lang="de-DE" sz="1100" b="1">
                          <a:solidFill>
                            <a:schemeClr val="bg1"/>
                          </a:solidFill>
                        </a:rPr>
                        <a:t> Metadaten</a:t>
                      </a:r>
                    </a:p>
                  </a:txBody>
                  <a:tcPr marL="68580" marR="68580" marT="34290" marB="34290"/>
                </a:tc>
                <a:tc>
                  <a:txBody>
                    <a:bodyPr/>
                    <a:lstStyle/>
                    <a:p>
                      <a:r>
                        <a:rPr lang="de-DE" sz="900">
                          <a:solidFill>
                            <a:schemeClr val="bg1"/>
                          </a:solidFill>
                        </a:rPr>
                        <a:t>Metadaten sind zusätzliche Informationen, die zu Textblöcken hinzugefügt werden, um Kontext und Struktur zu bewahren. Sie helfen dabei, Daten besser zu organisieren und zu durchsuch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Bessere Organisatio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rhöhte Auffindbarkei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textbewahrung</a:t>
                      </a:r>
                    </a:p>
                  </a:txBody>
                  <a:tcPr marL="68580" marR="68580" marT="34290" marB="34290"/>
                </a:tc>
                <a:extLst>
                  <a:ext uri="{0D108BD9-81ED-4DB2-BD59-A6C34878D82A}">
                    <a16:rowId xmlns:a16="http://schemas.microsoft.com/office/drawing/2014/main" val="3728231265"/>
                  </a:ext>
                </a:extLst>
              </a:tr>
              <a:tr h="480060">
                <a:tc>
                  <a:txBody>
                    <a:bodyPr/>
                    <a:lstStyle/>
                    <a:p>
                      <a:r>
                        <a:rPr lang="de-DE" sz="1100" b="1">
                          <a:solidFill>
                            <a:schemeClr val="bg1"/>
                          </a:solidFill>
                        </a:rPr>
                        <a:t>Formatierungstools</a:t>
                      </a:r>
                    </a:p>
                  </a:txBody>
                  <a:tcPr marL="68580" marR="68580" marT="34290" marB="34290"/>
                </a:tc>
                <a:tc>
                  <a:txBody>
                    <a:bodyPr/>
                    <a:lstStyle/>
                    <a:p>
                      <a:r>
                        <a:rPr lang="de-DE" sz="900">
                          <a:solidFill>
                            <a:schemeClr val="bg1"/>
                          </a:solidFill>
                        </a:rPr>
                        <a:t>Formatierungstools sind Softwarewerkzeuge, die helfen, Daten in einem bestimmten Format zu strukturieren und zu validieren. Sie stellen sicher, dass die generierten Antworten konsistent und maschinenlesbar sind.</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Dokumentation</a:t>
                      </a:r>
                    </a:p>
                  </a:txBody>
                  <a:tcPr marL="68580" marR="68580" marT="34290" marB="34290"/>
                </a:tc>
                <a:extLst>
                  <a:ext uri="{0D108BD9-81ED-4DB2-BD59-A6C34878D82A}">
                    <a16:rowId xmlns:a16="http://schemas.microsoft.com/office/drawing/2014/main" val="1772263647"/>
                  </a:ext>
                </a:extLst>
              </a:tr>
              <a:tr h="480060">
                <a:tc>
                  <a:txBody>
                    <a:bodyPr/>
                    <a:lstStyle/>
                    <a:p>
                      <a:r>
                        <a:rPr lang="de-DE" sz="1100" b="1">
                          <a:solidFill>
                            <a:schemeClr val="bg1"/>
                          </a:solidFill>
                        </a:rPr>
                        <a:t>Templates</a:t>
                      </a:r>
                    </a:p>
                  </a:txBody>
                  <a:tcPr marL="68580" marR="68580" marT="34290" marB="34290"/>
                </a:tc>
                <a:tc>
                  <a:txBody>
                    <a:bodyPr/>
                    <a:lstStyle/>
                    <a:p>
                      <a:r>
                        <a:rPr lang="de-DE" sz="900">
                          <a:solidFill>
                            <a:schemeClr val="bg1"/>
                          </a:solidFill>
                        </a:rPr>
                        <a:t>Templates sind vordefinierte Strukturen oder Layouts, die verwendet werden, um Daten in einem bestimmten Format zu präsentieren. Sie ermöglichen die konsistente Darstellung von Information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ffizi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a:t>
                      </a:r>
                    </a:p>
                  </a:txBody>
                  <a:tcPr marL="68580" marR="68580" marT="34290" marB="34290"/>
                </a:tc>
                <a:extLst>
                  <a:ext uri="{0D108BD9-81ED-4DB2-BD59-A6C34878D82A}">
                    <a16:rowId xmlns:a16="http://schemas.microsoft.com/office/drawing/2014/main" val="3543198835"/>
                  </a:ext>
                </a:extLst>
              </a:tr>
              <a:tr h="480060">
                <a:tc>
                  <a:txBody>
                    <a:bodyPr/>
                    <a:lstStyle/>
                    <a:p>
                      <a:r>
                        <a:rPr lang="de-DE" sz="1100" b="1">
                          <a:solidFill>
                            <a:schemeClr val="bg1"/>
                          </a:solidFill>
                        </a:rPr>
                        <a:t>Text-zu-Sprache (TTS)</a:t>
                      </a:r>
                    </a:p>
                  </a:txBody>
                  <a:tcPr marL="68580" marR="68580" marT="34290" marB="34290"/>
                </a:tc>
                <a:tc>
                  <a:txBody>
                    <a:bodyPr/>
                    <a:lstStyle/>
                    <a:p>
                      <a:r>
                        <a:rPr lang="de-DE" sz="900">
                          <a:solidFill>
                            <a:schemeClr val="bg1"/>
                          </a:solidFill>
                        </a:rPr>
                        <a:t>Text-zu-Sprache (TTS) ist eine Technik, bei der Text in gesprochene Sprache umgewandelt wird. Dies wird häufig in sprachbasierten Interaktionssystemen verwendet.</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Barrierefreiheit </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Natürliche Interaktio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Multitasking</a:t>
                      </a:r>
                    </a:p>
                  </a:txBody>
                  <a:tcPr marL="68580" marR="68580" marT="34290" marB="34290"/>
                </a:tc>
                <a:extLst>
                  <a:ext uri="{0D108BD9-81ED-4DB2-BD59-A6C34878D82A}">
                    <a16:rowId xmlns:a16="http://schemas.microsoft.com/office/drawing/2014/main" val="1608431948"/>
                  </a:ext>
                </a:extLst>
              </a:tr>
            </a:tbl>
          </a:graphicData>
        </a:graphic>
      </p:graphicFrame>
    </p:spTree>
    <p:extLst>
      <p:ext uri="{BB962C8B-B14F-4D97-AF65-F5344CB8AC3E}">
        <p14:creationId xmlns:p14="http://schemas.microsoft.com/office/powerpoint/2010/main" val="29206828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D3DD31-0350-2C97-B263-37C51C76ACD0}"/>
              </a:ext>
            </a:extLst>
          </p:cNvPr>
          <p:cNvSpPr>
            <a:spLocks noGrp="1"/>
          </p:cNvSpPr>
          <p:nvPr>
            <p:ph type="title"/>
          </p:nvPr>
        </p:nvSpPr>
        <p:spPr>
          <a:xfrm>
            <a:off x="474985" y="445025"/>
            <a:ext cx="8357315"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Formatierungstools</a:t>
            </a:r>
          </a:p>
        </p:txBody>
      </p:sp>
      <p:graphicFrame>
        <p:nvGraphicFramePr>
          <p:cNvPr id="4" name="Inhaltsplatzhalter 3">
            <a:extLst>
              <a:ext uri="{FF2B5EF4-FFF2-40B4-BE49-F238E27FC236}">
                <a16:creationId xmlns:a16="http://schemas.microsoft.com/office/drawing/2014/main" id="{8E613696-B129-0C9F-24F6-BD5A2B34B8AB}"/>
              </a:ext>
            </a:extLst>
          </p:cNvPr>
          <p:cNvGraphicFramePr>
            <a:graphicFrameLocks noGrp="1"/>
          </p:cNvGraphicFramePr>
          <p:nvPr>
            <p:ph idx="1"/>
            <p:extLst>
              <p:ext uri="{D42A27DB-BD31-4B8C-83A1-F6EECF244321}">
                <p14:modId xmlns:p14="http://schemas.microsoft.com/office/powerpoint/2010/main" val="163606664"/>
              </p:ext>
            </p:extLst>
          </p:nvPr>
        </p:nvGraphicFramePr>
        <p:xfrm>
          <a:off x="478971" y="961005"/>
          <a:ext cx="7886698" cy="3985260"/>
        </p:xfrm>
        <a:graphic>
          <a:graphicData uri="http://schemas.openxmlformats.org/drawingml/2006/table">
            <a:tbl>
              <a:tblPr firstRow="1" bandRow="1">
                <a:tableStyleId>{5C22544A-7EE6-4342-B048-85BDC9FD1C3A}</a:tableStyleId>
              </a:tblPr>
              <a:tblGrid>
                <a:gridCol w="1067585">
                  <a:extLst>
                    <a:ext uri="{9D8B030D-6E8A-4147-A177-3AD203B41FA5}">
                      <a16:colId xmlns:a16="http://schemas.microsoft.com/office/drawing/2014/main" val="2589096647"/>
                    </a:ext>
                  </a:extLst>
                </a:gridCol>
                <a:gridCol w="2514128">
                  <a:extLst>
                    <a:ext uri="{9D8B030D-6E8A-4147-A177-3AD203B41FA5}">
                      <a16:colId xmlns:a16="http://schemas.microsoft.com/office/drawing/2014/main" val="2228557598"/>
                    </a:ext>
                  </a:extLst>
                </a:gridCol>
                <a:gridCol w="2514128">
                  <a:extLst>
                    <a:ext uri="{9D8B030D-6E8A-4147-A177-3AD203B41FA5}">
                      <a16:colId xmlns:a16="http://schemas.microsoft.com/office/drawing/2014/main" val="437910136"/>
                    </a:ext>
                  </a:extLst>
                </a:gridCol>
                <a:gridCol w="1790857">
                  <a:extLst>
                    <a:ext uri="{9D8B030D-6E8A-4147-A177-3AD203B41FA5}">
                      <a16:colId xmlns:a16="http://schemas.microsoft.com/office/drawing/2014/main" val="2265285941"/>
                    </a:ext>
                  </a:extLst>
                </a:gridCol>
              </a:tblGrid>
              <a:tr h="278130">
                <a:tc>
                  <a:txBody>
                    <a:bodyPr/>
                    <a:lstStyle/>
                    <a:p>
                      <a:endParaRPr lang="de-DE" sz="1000"/>
                    </a:p>
                  </a:txBody>
                  <a:tcPr marL="68580" marR="68580" marT="34290" marB="34290"/>
                </a:tc>
                <a:tc>
                  <a:txBody>
                    <a:bodyPr/>
                    <a:lstStyle/>
                    <a:p>
                      <a:r>
                        <a:rPr lang="de-DE" sz="1400"/>
                        <a:t>Definition</a:t>
                      </a:r>
                    </a:p>
                  </a:txBody>
                  <a:tcPr marL="68580" marR="68580" marT="34290" marB="34290"/>
                </a:tc>
                <a:tc>
                  <a:txBody>
                    <a:bodyPr/>
                    <a:lstStyle/>
                    <a:p>
                      <a:r>
                        <a:rPr lang="de-DE" sz="1400"/>
                        <a:t>Vorteile</a:t>
                      </a:r>
                    </a:p>
                  </a:txBody>
                  <a:tcPr marL="68580" marR="68580" marT="34290" marB="34290"/>
                </a:tc>
                <a:tc>
                  <a:txBody>
                    <a:bodyPr/>
                    <a:lstStyle/>
                    <a:p>
                      <a:r>
                        <a:rPr lang="de-DE" sz="1400" b="1" kern="1200">
                          <a:solidFill>
                            <a:schemeClr val="lt1"/>
                          </a:solidFill>
                          <a:effectLst/>
                          <a:latin typeface="+mn-lt"/>
                          <a:ea typeface="+mn-ea"/>
                          <a:cs typeface="+mn-cs"/>
                        </a:rPr>
                        <a:t>Anwendungsfall: </a:t>
                      </a:r>
                      <a:endParaRPr lang="de-DE" sz="1400"/>
                    </a:p>
                  </a:txBody>
                  <a:tcPr marL="68580" marR="68580" marT="34290" marB="34290"/>
                </a:tc>
                <a:extLst>
                  <a:ext uri="{0D108BD9-81ED-4DB2-BD59-A6C34878D82A}">
                    <a16:rowId xmlns:a16="http://schemas.microsoft.com/office/drawing/2014/main" val="1202675007"/>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Pydantic</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Pydantic</a:t>
                      </a:r>
                      <a:r>
                        <a:rPr lang="de-DE" sz="800" kern="1200">
                          <a:solidFill>
                            <a:schemeClr val="bg1"/>
                          </a:solidFill>
                          <a:latin typeface="+mn-lt"/>
                          <a:ea typeface="+mn-ea"/>
                          <a:cs typeface="+mn-cs"/>
                        </a:rPr>
                        <a:t> ist ein Python-Bibliothek, die Datenvalidierung und -serialisierung ermöglicht. Es verwendet Python-Typannotationen, um sicherzustellen, dass die Daten den erwarteten Formaten entsprech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Typensicherheit, automatische Validierung, einfache Integration in Python-Anwendung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Validierung und Serialisierung von JSON-Daten in Web-APIs</a:t>
                      </a:r>
                    </a:p>
                  </a:txBody>
                  <a:tcPr marL="68580" marR="68580" marT="34290" marB="34290"/>
                </a:tc>
                <a:extLst>
                  <a:ext uri="{0D108BD9-81ED-4DB2-BD59-A6C34878D82A}">
                    <a16:rowId xmlns:a16="http://schemas.microsoft.com/office/drawing/2014/main" val="2725546671"/>
                  </a:ext>
                </a:extLst>
              </a:tr>
              <a:tr h="525780">
                <a:tc>
                  <a:txBody>
                    <a:bodyPr/>
                    <a:lstStyle/>
                    <a:p>
                      <a:r>
                        <a:rPr lang="de-DE" sz="1000" b="1" kern="1200">
                          <a:solidFill>
                            <a:schemeClr val="bg1"/>
                          </a:solidFill>
                          <a:effectLst/>
                          <a:latin typeface="+mn-lt"/>
                          <a:ea typeface="+mn-ea"/>
                          <a:cs typeface="+mn-cs"/>
                        </a:rPr>
                        <a:t>JSON Schema</a:t>
                      </a:r>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JSON Schema ist ein Format zur Definition der Struktur von JSON-Daten. Es ermöglicht die Validierung von JSON-Daten gegen ein vordefiniertes Schema.</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Standardisiert, weit verbreitet, unterstützt durch viele Tools und Bibliotheken</a:t>
                      </a:r>
                    </a:p>
                  </a:txBody>
                  <a:tcPr marL="68580" marR="68580" marT="34290" marB="34290"/>
                </a:tc>
                <a:tc>
                  <a:txBody>
                    <a:bodyPr/>
                    <a:lstStyle/>
                    <a:p>
                      <a:pPr marL="0" algn="l" defTabSz="914400" rtl="0" eaLnBrk="1" latinLnBrk="0" hangingPunct="1"/>
                      <a:endParaRPr lang="de-DE" sz="800" kern="1200">
                        <a:solidFill>
                          <a:schemeClr val="bg1"/>
                        </a:solidFill>
                        <a:latin typeface="+mn-lt"/>
                        <a:ea typeface="+mn-ea"/>
                        <a:cs typeface="+mn-cs"/>
                      </a:endParaRPr>
                    </a:p>
                    <a:p>
                      <a:pPr marL="0" lvl="1" algn="l" defTabSz="914400" rtl="0" eaLnBrk="1" latinLnBrk="0" hangingPunct="1"/>
                      <a:r>
                        <a:rPr lang="de-DE" sz="800" kern="1200">
                          <a:solidFill>
                            <a:schemeClr val="bg1"/>
                          </a:solidFill>
                          <a:latin typeface="+mn-lt"/>
                          <a:ea typeface="+mn-ea"/>
                          <a:cs typeface="+mn-cs"/>
                        </a:rPr>
                        <a:t>Validierung von JSON-Daten gegen vordefinierte Schemata in Web-APIs.</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902171943"/>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a:solidFill>
                            <a:schemeClr val="bg1"/>
                          </a:solidFill>
                          <a:effectLst/>
                          <a:latin typeface="+mn-lt"/>
                          <a:ea typeface="+mn-ea"/>
                          <a:cs typeface="+mn-cs"/>
                        </a:rPr>
                        <a:t>Jinja2</a:t>
                      </a: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Jinja2 ist ein Template-Engine für Python, die es ermöglicht, HTML, XML oder andere textbasierte Formate dynamisch zu generieren</a:t>
                      </a: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Flexibel, leistungsstark, unterstützt komplexe Logik innerhalb von Templates.</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algn="l" defTabSz="914400" rtl="0" eaLnBrk="1" latinLnBrk="0" hangingPunct="1"/>
                      <a:endParaRPr lang="de-DE" sz="800" kern="1200">
                        <a:solidFill>
                          <a:schemeClr val="bg1"/>
                        </a:solidFill>
                        <a:latin typeface="+mn-lt"/>
                        <a:ea typeface="+mn-ea"/>
                        <a:cs typeface="+mn-cs"/>
                      </a:endParaRPr>
                    </a:p>
                    <a:p>
                      <a:pPr marL="0" lvl="1" algn="l" defTabSz="914400" rtl="0" eaLnBrk="1" latinLnBrk="0" hangingPunct="1"/>
                      <a:r>
                        <a:rPr lang="de-DE" sz="800" kern="1200">
                          <a:solidFill>
                            <a:schemeClr val="bg1"/>
                          </a:solidFill>
                          <a:latin typeface="+mn-lt"/>
                          <a:ea typeface="+mn-ea"/>
                          <a:cs typeface="+mn-cs"/>
                        </a:rPr>
                        <a:t>Dynamische Generierung von HTML-Seiten basierend auf Benutzereingaben.</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370317251"/>
                  </a:ext>
                </a:extLst>
              </a:tr>
              <a:tr h="4114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Markdown</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Markdown</a:t>
                      </a:r>
                      <a:r>
                        <a:rPr lang="de-DE" sz="800" kern="1200">
                          <a:solidFill>
                            <a:schemeClr val="bg1"/>
                          </a:solidFill>
                          <a:latin typeface="+mn-lt"/>
                          <a:ea typeface="+mn-ea"/>
                          <a:cs typeface="+mn-cs"/>
                        </a:rPr>
                        <a:t> ist eine leichtgewichtige Markup-Sprache zur Formatierung von Text. Es wird häufig für Dokumentationen, Blogs und Foren verwendet</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Einfach zu lernen und zu verwenden, weit verbreitet, unterstützt durch viele Plattform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Schreiben von Dokumentationen für Softwareprojekte</a:t>
                      </a:r>
                    </a:p>
                  </a:txBody>
                  <a:tcPr marL="68580" marR="68580" marT="34290" marB="34290"/>
                </a:tc>
                <a:extLst>
                  <a:ext uri="{0D108BD9-81ED-4DB2-BD59-A6C34878D82A}">
                    <a16:rowId xmlns:a16="http://schemas.microsoft.com/office/drawing/2014/main" val="183023911"/>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LaTeX</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LaTeX</a:t>
                      </a:r>
                      <a:r>
                        <a:rPr lang="de-DE" sz="800" kern="1200">
                          <a:solidFill>
                            <a:schemeClr val="bg1"/>
                          </a:solidFill>
                          <a:latin typeface="+mn-lt"/>
                          <a:ea typeface="+mn-ea"/>
                          <a:cs typeface="+mn-cs"/>
                        </a:rPr>
                        <a:t> ist ein Textsatzsystem, das häufig für wissenschaftliche Arbeiten und technische Dokumentationen verwendet wird. Es ermöglicht die Erstellung von komplexen Dokumenten mit mathematischen Formeln und Referenzen</a:t>
                      </a: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Hohe Qualität des Outputs, umfangreiche Unterstützung für mathematische Notationen und Referenzen.</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Erstellung von wissenschaftlichen Artikeln und Dissertationen</a:t>
                      </a:r>
                    </a:p>
                  </a:txBody>
                  <a:tcPr marL="68580" marR="68580" marT="34290" marB="34290"/>
                </a:tc>
                <a:extLst>
                  <a:ext uri="{0D108BD9-81ED-4DB2-BD59-A6C34878D82A}">
                    <a16:rowId xmlns:a16="http://schemas.microsoft.com/office/drawing/2014/main" val="4111399972"/>
                  </a:ext>
                </a:extLst>
              </a:tr>
              <a:tr h="541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a:solidFill>
                            <a:schemeClr val="bg1"/>
                          </a:solidFill>
                          <a:effectLst/>
                          <a:latin typeface="+mn-lt"/>
                          <a:ea typeface="+mn-ea"/>
                          <a:cs typeface="+mn-cs"/>
                        </a:rPr>
                        <a:t>YAML</a:t>
                      </a:r>
                    </a:p>
                    <a:p>
                      <a:endParaRPr lang="de-DE" sz="1000" b="1">
                        <a:solidFill>
                          <a:schemeClr val="bg1"/>
                        </a:solidFill>
                      </a:endParaRPr>
                    </a:p>
                  </a:txBody>
                  <a:tcPr marL="68580" marR="68580" marT="34290" marB="3429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800" kern="1200">
                          <a:solidFill>
                            <a:schemeClr val="bg1"/>
                          </a:solidFill>
                          <a:latin typeface="+mn-lt"/>
                          <a:ea typeface="+mn-ea"/>
                          <a:cs typeface="+mn-cs"/>
                        </a:rPr>
                        <a:t>YAML (YAML </a:t>
                      </a:r>
                      <a:r>
                        <a:rPr lang="de-DE" sz="800" kern="1200" err="1">
                          <a:solidFill>
                            <a:schemeClr val="bg1"/>
                          </a:solidFill>
                          <a:latin typeface="+mn-lt"/>
                          <a:ea typeface="+mn-ea"/>
                          <a:cs typeface="+mn-cs"/>
                        </a:rPr>
                        <a:t>Ain't</a:t>
                      </a:r>
                      <a:r>
                        <a:rPr lang="de-DE" sz="800" kern="1200">
                          <a:solidFill>
                            <a:schemeClr val="bg1"/>
                          </a:solidFill>
                          <a:latin typeface="+mn-lt"/>
                          <a:ea typeface="+mn-ea"/>
                          <a:cs typeface="+mn-cs"/>
                        </a:rPr>
                        <a:t> Markup Language) ist ein menschenlesbares Datenformat, das oft in Konfigurationsdateien verwendet wird.</a:t>
                      </a:r>
                    </a:p>
                    <a:p>
                      <a:pPr marL="0" lvl="1"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Einfach zu lesen und zu schreiben, unterstützt komplexe Datenstruktur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Konfigurationsdateien für Anwendungen und Dienste</a:t>
                      </a:r>
                    </a:p>
                  </a:txBody>
                  <a:tcPr marL="68580" marR="68580" marT="34290" marB="34290"/>
                </a:tc>
                <a:extLst>
                  <a:ext uri="{0D108BD9-81ED-4DB2-BD59-A6C34878D82A}">
                    <a16:rowId xmlns:a16="http://schemas.microsoft.com/office/drawing/2014/main" val="2825363643"/>
                  </a:ext>
                </a:extLst>
              </a:tr>
            </a:tbl>
          </a:graphicData>
        </a:graphic>
      </p:graphicFrame>
    </p:spTree>
    <p:extLst>
      <p:ext uri="{BB962C8B-B14F-4D97-AF65-F5344CB8AC3E}">
        <p14:creationId xmlns:p14="http://schemas.microsoft.com/office/powerpoint/2010/main" val="10720919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ED9C3A-3E95-AED9-768C-9AA1F41FCD95}"/>
              </a:ext>
            </a:extLst>
          </p:cNvPr>
          <p:cNvSpPr>
            <a:spLocks noGrp="1"/>
          </p:cNvSpPr>
          <p:nvPr>
            <p:ph type="title"/>
          </p:nvPr>
        </p:nvSpPr>
        <p:spPr/>
        <p:txBody>
          <a:bodyPr/>
          <a:lstStyle/>
          <a:p>
            <a:r>
              <a:rPr lang="de-DE"/>
              <a:t>Möglicher System PROMPT? Was sagt ihr?</a:t>
            </a:r>
          </a:p>
        </p:txBody>
      </p:sp>
      <p:pic>
        <p:nvPicPr>
          <p:cNvPr id="5" name="Grafik 4">
            <a:extLst>
              <a:ext uri="{FF2B5EF4-FFF2-40B4-BE49-F238E27FC236}">
                <a16:creationId xmlns:a16="http://schemas.microsoft.com/office/drawing/2014/main" id="{E1F66313-6FDC-D06C-49F4-13A889623652}"/>
              </a:ext>
            </a:extLst>
          </p:cNvPr>
          <p:cNvPicPr>
            <a:picLocks noChangeAspect="1"/>
          </p:cNvPicPr>
          <p:nvPr/>
        </p:nvPicPr>
        <p:blipFill>
          <a:blip r:embed="rId2"/>
          <a:stretch>
            <a:fillRect/>
          </a:stretch>
        </p:blipFill>
        <p:spPr>
          <a:xfrm>
            <a:off x="5836754" y="5143500"/>
            <a:ext cx="5829300" cy="4248202"/>
          </a:xfrm>
          <a:prstGeom prst="rect">
            <a:avLst/>
          </a:prstGeom>
        </p:spPr>
      </p:pic>
      <p:pic>
        <p:nvPicPr>
          <p:cNvPr id="6" name="Grafik 5">
            <a:extLst>
              <a:ext uri="{FF2B5EF4-FFF2-40B4-BE49-F238E27FC236}">
                <a16:creationId xmlns:a16="http://schemas.microsoft.com/office/drawing/2014/main" id="{E7A914A8-0C23-87CE-4D2D-C8EF841E53AA}"/>
              </a:ext>
            </a:extLst>
          </p:cNvPr>
          <p:cNvPicPr>
            <a:picLocks noChangeAspect="1"/>
          </p:cNvPicPr>
          <p:nvPr/>
        </p:nvPicPr>
        <p:blipFill>
          <a:blip r:embed="rId3"/>
          <a:stretch>
            <a:fillRect/>
          </a:stretch>
        </p:blipFill>
        <p:spPr>
          <a:xfrm>
            <a:off x="-101876" y="5143500"/>
            <a:ext cx="5829300" cy="1834219"/>
          </a:xfrm>
          <a:prstGeom prst="rect">
            <a:avLst/>
          </a:prstGeom>
        </p:spPr>
      </p:pic>
      <p:graphicFrame>
        <p:nvGraphicFramePr>
          <p:cNvPr id="7" name="Tabelle 6">
            <a:extLst>
              <a:ext uri="{FF2B5EF4-FFF2-40B4-BE49-F238E27FC236}">
                <a16:creationId xmlns:a16="http://schemas.microsoft.com/office/drawing/2014/main" id="{02A6B0A6-0046-D394-4E8B-7175C222183C}"/>
              </a:ext>
            </a:extLst>
          </p:cNvPr>
          <p:cNvGraphicFramePr>
            <a:graphicFrameLocks noGrp="1"/>
          </p:cNvGraphicFramePr>
          <p:nvPr/>
        </p:nvGraphicFramePr>
        <p:xfrm>
          <a:off x="311700" y="1158467"/>
          <a:ext cx="8713031" cy="3844290"/>
        </p:xfrm>
        <a:graphic>
          <a:graphicData uri="http://schemas.openxmlformats.org/drawingml/2006/table">
            <a:tbl>
              <a:tblPr firstRow="1" bandRow="1">
                <a:tableStyleId>{5C22544A-7EE6-4342-B048-85BDC9FD1C3A}</a:tableStyleId>
              </a:tblPr>
              <a:tblGrid>
                <a:gridCol w="1079778">
                  <a:extLst>
                    <a:ext uri="{9D8B030D-6E8A-4147-A177-3AD203B41FA5}">
                      <a16:colId xmlns:a16="http://schemas.microsoft.com/office/drawing/2014/main" val="4144731473"/>
                    </a:ext>
                  </a:extLst>
                </a:gridCol>
                <a:gridCol w="7633253">
                  <a:extLst>
                    <a:ext uri="{9D8B030D-6E8A-4147-A177-3AD203B41FA5}">
                      <a16:colId xmlns:a16="http://schemas.microsoft.com/office/drawing/2014/main" val="3507910228"/>
                    </a:ext>
                  </a:extLst>
                </a:gridCol>
              </a:tblGrid>
              <a:tr h="480060">
                <a:tc>
                  <a:txBody>
                    <a:bodyPr/>
                    <a:lstStyle/>
                    <a:p>
                      <a:r>
                        <a:rPr lang="de-DE" sz="900" b="1" i="0" u="none" strike="noStrike" cap="none" err="1">
                          <a:solidFill>
                            <a:srgbClr val="FB0007"/>
                          </a:solidFill>
                          <a:effectLst/>
                          <a:latin typeface="Helvetica" pitchFamily="2" charset="0"/>
                          <a:ea typeface="+mn-ea"/>
                          <a:cs typeface="+mn-cs"/>
                          <a:sym typeface="Arial"/>
                        </a:rPr>
                        <a:t>Role</a:t>
                      </a:r>
                      <a:r>
                        <a:rPr lang="de-DE" sz="900" b="1" i="0" u="none" strike="noStrike" cap="none">
                          <a:solidFill>
                            <a:srgbClr val="FB0007"/>
                          </a:solidFill>
                          <a:effectLst/>
                          <a:latin typeface="Helvetica" pitchFamily="2" charset="0"/>
                          <a:ea typeface="+mn-ea"/>
                          <a:cs typeface="+mn-cs"/>
                          <a:sym typeface="Arial"/>
                        </a:rPr>
                        <a:t> and Go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err="1">
                          <a:solidFill>
                            <a:srgbClr val="FB0007"/>
                          </a:solidFill>
                          <a:effectLst/>
                          <a:latin typeface="Helvetica" pitchFamily="2" charset="0"/>
                        </a:rPr>
                        <a:t>Your</a:t>
                      </a:r>
                      <a:r>
                        <a:rPr lang="de-DE" sz="900">
                          <a:solidFill>
                            <a:srgbClr val="FB0007"/>
                          </a:solidFill>
                          <a:effectLst/>
                          <a:latin typeface="Helvetica" pitchFamily="2" charset="0"/>
                        </a:rPr>
                        <a:t> </a:t>
                      </a:r>
                      <a:r>
                        <a:rPr lang="de-DE" sz="900" err="1">
                          <a:solidFill>
                            <a:srgbClr val="FB0007"/>
                          </a:solidFill>
                          <a:effectLst/>
                          <a:latin typeface="Helvetica" pitchFamily="2" charset="0"/>
                        </a:rPr>
                        <a:t>name</a:t>
                      </a:r>
                      <a:r>
                        <a:rPr lang="de-DE" sz="900">
                          <a:solidFill>
                            <a:srgbClr val="FB0007"/>
                          </a:solidFill>
                          <a:effectLst/>
                          <a:latin typeface="Helvetica" pitchFamily="2" charset="0"/>
                        </a:rPr>
                        <a:t> </a:t>
                      </a:r>
                      <a:r>
                        <a:rPr lang="de-DE" sz="900" err="1">
                          <a:solidFill>
                            <a:srgbClr val="FB0007"/>
                          </a:solidFill>
                          <a:effectLst/>
                          <a:latin typeface="Helvetica" pitchFamily="2" charset="0"/>
                        </a:rPr>
                        <a:t>is</a:t>
                      </a:r>
                      <a:r>
                        <a:rPr lang="de-DE" sz="900">
                          <a:solidFill>
                            <a:srgbClr val="FB0007"/>
                          </a:solidFill>
                          <a:effectLst/>
                          <a:latin typeface="Helvetica" pitchFamily="2" charset="0"/>
                        </a:rPr>
                        <a:t> "</a:t>
                      </a:r>
                      <a:r>
                        <a:rPr lang="de-DE" sz="900" err="1">
                          <a:solidFill>
                            <a:srgbClr val="FB0007"/>
                          </a:solidFill>
                          <a:effectLst/>
                          <a:latin typeface="Helvetica" pitchFamily="2" charset="0"/>
                        </a:rPr>
                        <a:t>TutorGPT</a:t>
                      </a:r>
                      <a:r>
                        <a:rPr lang="de-DE" sz="900">
                          <a:solidFill>
                            <a:srgbClr val="FB0007"/>
                          </a:solidFill>
                          <a:effectLst/>
                          <a:latin typeface="Helvetica" pitchFamily="2" charset="0"/>
                        </a:rPr>
                        <a:t>". </a:t>
                      </a:r>
                      <a:r>
                        <a:rPr lang="de-DE" sz="900" err="1">
                          <a:solidFill>
                            <a:srgbClr val="FB0007"/>
                          </a:solidFill>
                          <a:effectLst/>
                          <a:latin typeface="Helvetica" pitchFamily="2" charset="0"/>
                        </a:rPr>
                        <a:t>You</a:t>
                      </a:r>
                      <a:r>
                        <a:rPr lang="de-DE" sz="900">
                          <a:solidFill>
                            <a:srgbClr val="FB0007"/>
                          </a:solidFill>
                          <a:effectLst/>
                          <a:latin typeface="Helvetica" pitchFamily="2" charset="0"/>
                        </a:rPr>
                        <a:t> </a:t>
                      </a:r>
                      <a:r>
                        <a:rPr lang="de-DE" sz="900" err="1">
                          <a:solidFill>
                            <a:srgbClr val="FB0007"/>
                          </a:solidFill>
                          <a:effectLst/>
                          <a:latin typeface="Helvetica" pitchFamily="2" charset="0"/>
                        </a:rPr>
                        <a:t>are</a:t>
                      </a:r>
                      <a:r>
                        <a:rPr lang="de-DE" sz="900">
                          <a:solidFill>
                            <a:srgbClr val="FB0007"/>
                          </a:solidFill>
                          <a:effectLst/>
                          <a:latin typeface="Helvetica" pitchFamily="2" charset="0"/>
                        </a:rPr>
                        <a:t> an </a:t>
                      </a:r>
                      <a:r>
                        <a:rPr lang="de-DE" sz="900" err="1">
                          <a:solidFill>
                            <a:srgbClr val="FB0007"/>
                          </a:solidFill>
                          <a:effectLst/>
                          <a:latin typeface="Helvetica" pitchFamily="2" charset="0"/>
                        </a:rPr>
                        <a:t>upbeat</a:t>
                      </a:r>
                      <a:r>
                        <a:rPr lang="de-DE" sz="900">
                          <a:solidFill>
                            <a:srgbClr val="FB0007"/>
                          </a:solidFill>
                          <a:effectLst/>
                          <a:latin typeface="Helvetica" pitchFamily="2" charset="0"/>
                        </a:rPr>
                        <a:t> and </a:t>
                      </a:r>
                      <a:r>
                        <a:rPr lang="de-DE" sz="900" err="1">
                          <a:solidFill>
                            <a:srgbClr val="FB0007"/>
                          </a:solidFill>
                          <a:effectLst/>
                          <a:latin typeface="Helvetica" pitchFamily="2" charset="0"/>
                        </a:rPr>
                        <a:t>encouraging</a:t>
                      </a:r>
                      <a:r>
                        <a:rPr lang="de-DE" sz="900">
                          <a:solidFill>
                            <a:srgbClr val="FB0007"/>
                          </a:solidFill>
                          <a:effectLst/>
                          <a:latin typeface="Helvetica" pitchFamily="2" charset="0"/>
                        </a:rPr>
                        <a:t> </a:t>
                      </a:r>
                      <a:r>
                        <a:rPr lang="de-DE" sz="900" err="1">
                          <a:solidFill>
                            <a:srgbClr val="FB0007"/>
                          </a:solidFill>
                          <a:effectLst/>
                          <a:latin typeface="Helvetica" pitchFamily="2" charset="0"/>
                        </a:rPr>
                        <a:t>tutor</a:t>
                      </a:r>
                      <a:r>
                        <a:rPr lang="de-DE" sz="900">
                          <a:solidFill>
                            <a:srgbClr val="FB0007"/>
                          </a:solidFill>
                          <a:effectLst/>
                          <a:latin typeface="Helvetica" pitchFamily="2" charset="0"/>
                        </a:rPr>
                        <a:t> </a:t>
                      </a:r>
                      <a:r>
                        <a:rPr lang="de-DE" sz="900" err="1">
                          <a:solidFill>
                            <a:srgbClr val="FB0007"/>
                          </a:solidFill>
                          <a:effectLst/>
                          <a:latin typeface="Helvetica" pitchFamily="2" charset="0"/>
                        </a:rPr>
                        <a:t>for</a:t>
                      </a:r>
                      <a:r>
                        <a:rPr lang="de-DE" sz="900">
                          <a:solidFill>
                            <a:srgbClr val="FB0007"/>
                          </a:solidFill>
                          <a:effectLst/>
                          <a:latin typeface="Helvetica" pitchFamily="2" charset="0"/>
                        </a:rPr>
                        <a:t> Distributed Systems. </a:t>
                      </a:r>
                      <a:r>
                        <a:rPr lang="de-DE" sz="900" err="1">
                          <a:solidFill>
                            <a:srgbClr val="FB0007"/>
                          </a:solidFill>
                          <a:effectLst/>
                          <a:latin typeface="Helvetica" pitchFamily="2" charset="0"/>
                        </a:rPr>
                        <a:t>You</a:t>
                      </a:r>
                      <a:r>
                        <a:rPr lang="de-DE" sz="900">
                          <a:solidFill>
                            <a:srgbClr val="FB0007"/>
                          </a:solidFill>
                          <a:effectLst/>
                          <a:latin typeface="Helvetica" pitchFamily="2" charset="0"/>
                        </a:rPr>
                        <a:t> </a:t>
                      </a:r>
                      <a:r>
                        <a:rPr lang="de-DE" sz="900" err="1">
                          <a:solidFill>
                            <a:srgbClr val="FB0007"/>
                          </a:solidFill>
                          <a:effectLst/>
                          <a:latin typeface="Helvetica" pitchFamily="2" charset="0"/>
                        </a:rPr>
                        <a:t>help</a:t>
                      </a:r>
                      <a:r>
                        <a:rPr lang="de-DE" sz="900">
                          <a:solidFill>
                            <a:srgbClr val="FB0007"/>
                          </a:solidFill>
                          <a:effectLst/>
                          <a:latin typeface="Helvetica" pitchFamily="2" charset="0"/>
                        </a:rPr>
                        <a:t> </a:t>
                      </a:r>
                      <a:r>
                        <a:rPr lang="de-DE" sz="900" err="1">
                          <a:solidFill>
                            <a:srgbClr val="FB0007"/>
                          </a:solidFill>
                          <a:effectLst/>
                          <a:latin typeface="Helvetica" pitchFamily="2" charset="0"/>
                        </a:rPr>
                        <a:t>students</a:t>
                      </a:r>
                      <a:r>
                        <a:rPr lang="de-DE" sz="900">
                          <a:solidFill>
                            <a:srgbClr val="FB0007"/>
                          </a:solidFill>
                          <a:effectLst/>
                          <a:latin typeface="Helvetica" pitchFamily="2" charset="0"/>
                        </a:rPr>
                        <a:t> </a:t>
                      </a:r>
                      <a:r>
                        <a:rPr lang="de-DE" sz="900" err="1">
                          <a:solidFill>
                            <a:srgbClr val="FB0007"/>
                          </a:solidFill>
                          <a:effectLst/>
                          <a:latin typeface="Helvetica" pitchFamily="2" charset="0"/>
                        </a:rPr>
                        <a:t>understand</a:t>
                      </a:r>
                      <a:r>
                        <a:rPr lang="de-DE" sz="900">
                          <a:solidFill>
                            <a:srgbClr val="FB0007"/>
                          </a:solidFill>
                          <a:effectLst/>
                          <a:latin typeface="Helvetica" pitchFamily="2" charset="0"/>
                        </a:rPr>
                        <a:t> </a:t>
                      </a:r>
                      <a:r>
                        <a:rPr lang="de-DE" sz="900" err="1">
                          <a:solidFill>
                            <a:srgbClr val="FB0007"/>
                          </a:solidFill>
                          <a:effectLst/>
                          <a:latin typeface="Helvetica" pitchFamily="2" charset="0"/>
                        </a:rPr>
                        <a:t>concepts</a:t>
                      </a:r>
                      <a:r>
                        <a:rPr lang="de-DE" sz="900">
                          <a:solidFill>
                            <a:srgbClr val="FB0007"/>
                          </a:solidFill>
                          <a:effectLst/>
                          <a:latin typeface="Helvetica" pitchFamily="2" charset="0"/>
                        </a:rPr>
                        <a:t> </a:t>
                      </a:r>
                      <a:r>
                        <a:rPr lang="de-DE" sz="900" err="1">
                          <a:solidFill>
                            <a:srgbClr val="FB0007"/>
                          </a:solidFill>
                          <a:effectLst/>
                          <a:latin typeface="Helvetica" pitchFamily="2" charset="0"/>
                        </a:rPr>
                        <a:t>by</a:t>
                      </a:r>
                      <a:r>
                        <a:rPr lang="de-DE" sz="900">
                          <a:solidFill>
                            <a:srgbClr val="FB0007"/>
                          </a:solidFill>
                          <a:effectLst/>
                          <a:latin typeface="Helvetica" pitchFamily="2" charset="0"/>
                        </a:rPr>
                        <a:t> </a:t>
                      </a:r>
                      <a:r>
                        <a:rPr lang="de-DE" sz="900" err="1">
                          <a:solidFill>
                            <a:srgbClr val="FB0007"/>
                          </a:solidFill>
                          <a:effectLst/>
                          <a:latin typeface="Helvetica" pitchFamily="2" charset="0"/>
                        </a:rPr>
                        <a:t>explaining</a:t>
                      </a:r>
                      <a:endParaRPr lang="de-DE" sz="900">
                        <a:solidFill>
                          <a:srgbClr val="FB0007"/>
                        </a:solidFill>
                        <a:effectLst/>
                        <a:latin typeface="Helvetica" pitchFamily="2" charset="0"/>
                      </a:endParaRPr>
                    </a:p>
                    <a:p>
                      <a:r>
                        <a:rPr lang="de-DE" sz="900" err="1">
                          <a:solidFill>
                            <a:srgbClr val="FB0007"/>
                          </a:solidFill>
                          <a:effectLst/>
                          <a:latin typeface="Helvetica" pitchFamily="2" charset="0"/>
                        </a:rPr>
                        <a:t>ideas</a:t>
                      </a:r>
                      <a:r>
                        <a:rPr lang="de-DE" sz="900">
                          <a:solidFill>
                            <a:srgbClr val="FB0007"/>
                          </a:solidFill>
                          <a:effectLst/>
                          <a:latin typeface="Helvetica" pitchFamily="2" charset="0"/>
                        </a:rPr>
                        <a:t> and </a:t>
                      </a:r>
                      <a:r>
                        <a:rPr lang="de-DE" sz="900" err="1">
                          <a:solidFill>
                            <a:srgbClr val="FB0007"/>
                          </a:solidFill>
                          <a:effectLst/>
                          <a:latin typeface="Helvetica" pitchFamily="2" charset="0"/>
                        </a:rPr>
                        <a:t>answering</a:t>
                      </a:r>
                      <a:r>
                        <a:rPr lang="de-DE" sz="900">
                          <a:solidFill>
                            <a:srgbClr val="FB0007"/>
                          </a:solidFill>
                          <a:effectLst/>
                          <a:latin typeface="Helvetica" pitchFamily="2" charset="0"/>
                        </a:rPr>
                        <a:t> </a:t>
                      </a:r>
                      <a:r>
                        <a:rPr lang="de-DE" sz="900" err="1">
                          <a:solidFill>
                            <a:srgbClr val="FB0007"/>
                          </a:solidFill>
                          <a:effectLst/>
                          <a:latin typeface="Helvetica" pitchFamily="2" charset="0"/>
                        </a:rPr>
                        <a:t>questions</a:t>
                      </a:r>
                      <a:r>
                        <a:rPr lang="de-DE" sz="900">
                          <a:solidFill>
                            <a:srgbClr val="FB0007"/>
                          </a:solidFill>
                          <a:effectLst/>
                          <a:latin typeface="Helvetica" pitchFamily="2" charset="0"/>
                        </a:rPr>
                        <a:t>. </a:t>
                      </a:r>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4285188"/>
                  </a:ext>
                </a:extLst>
              </a:tr>
              <a:tr h="480060">
                <a:tc>
                  <a:txBody>
                    <a:bodyPr/>
                    <a:lstStyle/>
                    <a:p>
                      <a:r>
                        <a:rPr lang="de-DE" sz="900" b="0" i="0" u="none" strike="noStrike" cap="none" err="1">
                          <a:solidFill>
                            <a:srgbClr val="149FEC"/>
                          </a:solidFill>
                          <a:effectLst/>
                          <a:latin typeface="Helvetica" pitchFamily="2" charset="0"/>
                          <a:ea typeface="+mn-ea"/>
                          <a:cs typeface="+mn-cs"/>
                          <a:sym typeface="Arial"/>
                        </a:rPr>
                        <a:t>Step</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by</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Step</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Instructions</a:t>
                      </a:r>
                      <a:endParaRPr lang="de-DE" sz="900" b="0" i="0" u="none" strike="noStrike" cap="none">
                        <a:solidFill>
                          <a:srgbClr val="149FEC"/>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err="1">
                          <a:solidFill>
                            <a:srgbClr val="149FEC"/>
                          </a:solidFill>
                          <a:effectLst/>
                          <a:latin typeface="Helvetica" pitchFamily="2" charset="0"/>
                        </a:rPr>
                        <a:t>You</a:t>
                      </a:r>
                      <a:r>
                        <a:rPr lang="de-DE" sz="900">
                          <a:solidFill>
                            <a:srgbClr val="149FEC"/>
                          </a:solidFill>
                          <a:effectLst/>
                          <a:latin typeface="Helvetica" pitchFamily="2" charset="0"/>
                        </a:rPr>
                        <a:t> </a:t>
                      </a:r>
                      <a:r>
                        <a:rPr lang="de-DE" sz="900" err="1">
                          <a:solidFill>
                            <a:srgbClr val="149FEC"/>
                          </a:solidFill>
                          <a:effectLst/>
                          <a:latin typeface="Helvetica" pitchFamily="2" charset="0"/>
                        </a:rPr>
                        <a:t>encourage</a:t>
                      </a:r>
                      <a:r>
                        <a:rPr lang="de-DE" sz="900">
                          <a:solidFill>
                            <a:srgbClr val="149FEC"/>
                          </a:solidFill>
                          <a:effectLst/>
                          <a:latin typeface="Helvetica" pitchFamily="2" charset="0"/>
                        </a:rPr>
                        <a:t> </a:t>
                      </a:r>
                      <a:r>
                        <a:rPr lang="de-DE" sz="900" err="1">
                          <a:solidFill>
                            <a:srgbClr val="149FEC"/>
                          </a:solidFill>
                          <a:effectLst/>
                          <a:latin typeface="Helvetica" pitchFamily="2" charset="0"/>
                        </a:rPr>
                        <a:t>interaction</a:t>
                      </a:r>
                      <a:r>
                        <a:rPr lang="de-DE" sz="900">
                          <a:solidFill>
                            <a:srgbClr val="149FEC"/>
                          </a:solidFill>
                          <a:effectLst/>
                          <a:latin typeface="Helvetica" pitchFamily="2" charset="0"/>
                        </a:rPr>
                        <a:t>, </a:t>
                      </a:r>
                      <a:r>
                        <a:rPr lang="de-DE" sz="900" err="1">
                          <a:solidFill>
                            <a:srgbClr val="149FEC"/>
                          </a:solidFill>
                          <a:effectLst/>
                          <a:latin typeface="Helvetica" pitchFamily="2" charset="0"/>
                        </a:rPr>
                        <a:t>practice</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creation</a:t>
                      </a:r>
                      <a:r>
                        <a:rPr lang="de-DE" sz="900">
                          <a:solidFill>
                            <a:srgbClr val="149FEC"/>
                          </a:solidFill>
                          <a:effectLst/>
                          <a:latin typeface="Helvetica" pitchFamily="2" charset="0"/>
                        </a:rPr>
                        <a:t> </a:t>
                      </a:r>
                      <a:r>
                        <a:rPr lang="de-DE" sz="900" err="1">
                          <a:solidFill>
                            <a:srgbClr val="149FEC"/>
                          </a:solidFill>
                          <a:effectLst/>
                          <a:latin typeface="Helvetica" pitchFamily="2" charset="0"/>
                        </a:rPr>
                        <a:t>over</a:t>
                      </a:r>
                      <a:r>
                        <a:rPr lang="de-DE" sz="900">
                          <a:solidFill>
                            <a:srgbClr val="149FEC"/>
                          </a:solidFill>
                          <a:effectLst/>
                          <a:latin typeface="Helvetica" pitchFamily="2" charset="0"/>
                        </a:rPr>
                        <a:t> passive </a:t>
                      </a:r>
                      <a:r>
                        <a:rPr lang="de-DE" sz="900" err="1">
                          <a:solidFill>
                            <a:srgbClr val="149FEC"/>
                          </a:solidFill>
                          <a:effectLst/>
                          <a:latin typeface="Helvetica" pitchFamily="2" charset="0"/>
                        </a:rPr>
                        <a:t>learning</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help</a:t>
                      </a:r>
                      <a:r>
                        <a:rPr lang="de-DE" sz="900">
                          <a:solidFill>
                            <a:srgbClr val="149FEC"/>
                          </a:solidFill>
                          <a:effectLst/>
                          <a:latin typeface="Helvetica" pitchFamily="2" charset="0"/>
                        </a:rPr>
                        <a:t> </a:t>
                      </a:r>
                      <a:r>
                        <a:rPr lang="de-DE" sz="900" err="1">
                          <a:solidFill>
                            <a:srgbClr val="149FEC"/>
                          </a:solidFill>
                          <a:effectLst/>
                          <a:latin typeface="Helvetica" pitchFamily="2" charset="0"/>
                        </a:rPr>
                        <a:t>students</a:t>
                      </a:r>
                      <a:r>
                        <a:rPr lang="de-DE" sz="900">
                          <a:solidFill>
                            <a:srgbClr val="149FEC"/>
                          </a:solidFill>
                          <a:effectLst/>
                          <a:latin typeface="Helvetica" pitchFamily="2" charset="0"/>
                        </a:rPr>
                        <a:t> </a:t>
                      </a:r>
                      <a:r>
                        <a:rPr lang="de-DE" sz="900" err="1">
                          <a:solidFill>
                            <a:srgbClr val="149FEC"/>
                          </a:solidFill>
                          <a:effectLst/>
                          <a:latin typeface="Helvetica" pitchFamily="2" charset="0"/>
                        </a:rPr>
                        <a:t>reflect</a:t>
                      </a:r>
                      <a:r>
                        <a:rPr lang="de-DE" sz="900">
                          <a:solidFill>
                            <a:srgbClr val="149FEC"/>
                          </a:solidFill>
                          <a:effectLst/>
                          <a:latin typeface="Helvetica" pitchFamily="2" charset="0"/>
                        </a:rPr>
                        <a:t> on </a:t>
                      </a:r>
                      <a:r>
                        <a:rPr lang="de-DE" sz="900" err="1">
                          <a:solidFill>
                            <a:srgbClr val="149FEC"/>
                          </a:solidFill>
                          <a:effectLst/>
                          <a:latin typeface="Helvetica" pitchFamily="2" charset="0"/>
                        </a:rPr>
                        <a:t>their</a:t>
                      </a:r>
                      <a:r>
                        <a:rPr lang="de-DE" sz="900">
                          <a:solidFill>
                            <a:srgbClr val="149FEC"/>
                          </a:solidFill>
                          <a:effectLst/>
                          <a:latin typeface="Helvetica" pitchFamily="2" charset="0"/>
                        </a:rPr>
                        <a:t> </a:t>
                      </a:r>
                      <a:r>
                        <a:rPr lang="de-DE" sz="900" err="1">
                          <a:solidFill>
                            <a:srgbClr val="149FEC"/>
                          </a:solidFill>
                          <a:effectLst/>
                          <a:latin typeface="Helvetica" pitchFamily="2" charset="0"/>
                        </a:rPr>
                        <a:t>thought</a:t>
                      </a:r>
                      <a:endParaRPr lang="de-DE" sz="900">
                        <a:solidFill>
                          <a:srgbClr val="149FEC"/>
                        </a:solidFill>
                        <a:effectLst/>
                        <a:latin typeface="Helvetica" pitchFamily="2" charset="0"/>
                      </a:endParaRPr>
                    </a:p>
                    <a:p>
                      <a:r>
                        <a:rPr lang="de-DE" sz="900" err="1">
                          <a:solidFill>
                            <a:srgbClr val="149FEC"/>
                          </a:solidFill>
                          <a:effectLst/>
                          <a:latin typeface="Helvetica" pitchFamily="2" charset="0"/>
                        </a:rPr>
                        <a:t>processes</a:t>
                      </a:r>
                      <a:r>
                        <a:rPr lang="de-DE" sz="900">
                          <a:solidFill>
                            <a:srgbClr val="149FEC"/>
                          </a:solidFill>
                          <a:effectLst/>
                          <a:latin typeface="Helvetica" pitchFamily="2" charset="0"/>
                        </a:rPr>
                        <a:t> </a:t>
                      </a:r>
                      <a:r>
                        <a:rPr lang="de-DE" sz="900" err="1">
                          <a:solidFill>
                            <a:srgbClr val="149FEC"/>
                          </a:solidFill>
                          <a:effectLst/>
                          <a:latin typeface="Helvetica" pitchFamily="2" charset="0"/>
                        </a:rPr>
                        <a:t>to</a:t>
                      </a:r>
                      <a:r>
                        <a:rPr lang="de-DE" sz="900">
                          <a:solidFill>
                            <a:srgbClr val="149FEC"/>
                          </a:solidFill>
                          <a:effectLst/>
                          <a:latin typeface="Helvetica" pitchFamily="2" charset="0"/>
                        </a:rPr>
                        <a:t> </a:t>
                      </a:r>
                      <a:r>
                        <a:rPr lang="de-DE" sz="900" err="1">
                          <a:solidFill>
                            <a:srgbClr val="149FEC"/>
                          </a:solidFill>
                          <a:effectLst/>
                          <a:latin typeface="Helvetica" pitchFamily="2" charset="0"/>
                        </a:rPr>
                        <a:t>generalize</a:t>
                      </a:r>
                      <a:r>
                        <a:rPr lang="de-DE" sz="900">
                          <a:solidFill>
                            <a:srgbClr val="149FEC"/>
                          </a:solidFill>
                          <a:effectLst/>
                          <a:latin typeface="Helvetica" pitchFamily="2" charset="0"/>
                        </a:rPr>
                        <a:t> </a:t>
                      </a:r>
                      <a:r>
                        <a:rPr lang="de-DE" sz="900" err="1">
                          <a:solidFill>
                            <a:srgbClr val="149FEC"/>
                          </a:solidFill>
                          <a:effectLst/>
                          <a:latin typeface="Helvetica" pitchFamily="2" charset="0"/>
                        </a:rPr>
                        <a:t>skills</a:t>
                      </a:r>
                      <a:r>
                        <a:rPr lang="de-DE" sz="900">
                          <a:solidFill>
                            <a:srgbClr val="149FEC"/>
                          </a:solidFill>
                          <a:effectLst/>
                          <a:latin typeface="Helvetica" pitchFamily="2" charset="0"/>
                        </a:rPr>
                        <a:t>. </a:t>
                      </a:r>
                      <a:r>
                        <a:rPr lang="de-DE" sz="900" err="1">
                          <a:solidFill>
                            <a:srgbClr val="149FEC"/>
                          </a:solidFill>
                          <a:effectLst/>
                          <a:latin typeface="Helvetica" pitchFamily="2" charset="0"/>
                        </a:rPr>
                        <a:t>You</a:t>
                      </a:r>
                      <a:r>
                        <a:rPr lang="de-DE" sz="900">
                          <a:solidFill>
                            <a:srgbClr val="149FEC"/>
                          </a:solidFill>
                          <a:effectLst/>
                          <a:latin typeface="Helvetica" pitchFamily="2" charset="0"/>
                        </a:rPr>
                        <a:t> </a:t>
                      </a:r>
                      <a:r>
                        <a:rPr lang="de-DE" sz="900" err="1">
                          <a:solidFill>
                            <a:srgbClr val="149FEC"/>
                          </a:solidFill>
                          <a:effectLst/>
                          <a:latin typeface="Helvetica" pitchFamily="2" charset="0"/>
                        </a:rPr>
                        <a:t>stimulate</a:t>
                      </a:r>
                      <a:r>
                        <a:rPr lang="de-DE" sz="900">
                          <a:solidFill>
                            <a:srgbClr val="149FEC"/>
                          </a:solidFill>
                          <a:effectLst/>
                          <a:latin typeface="Helvetica" pitchFamily="2" charset="0"/>
                        </a:rPr>
                        <a:t> </a:t>
                      </a:r>
                      <a:r>
                        <a:rPr lang="de-DE" sz="900" err="1">
                          <a:solidFill>
                            <a:srgbClr val="149FEC"/>
                          </a:solidFill>
                          <a:effectLst/>
                          <a:latin typeface="Helvetica" pitchFamily="2" charset="0"/>
                        </a:rPr>
                        <a:t>interest</a:t>
                      </a:r>
                      <a:r>
                        <a:rPr lang="de-DE" sz="900">
                          <a:solidFill>
                            <a:srgbClr val="149FEC"/>
                          </a:solidFill>
                          <a:effectLst/>
                          <a:latin typeface="Helvetica" pitchFamily="2" charset="0"/>
                        </a:rPr>
                        <a:t> in </a:t>
                      </a:r>
                      <a:r>
                        <a:rPr lang="de-DE" sz="900" err="1">
                          <a:solidFill>
                            <a:srgbClr val="149FEC"/>
                          </a:solidFill>
                          <a:effectLst/>
                          <a:latin typeface="Helvetica" pitchFamily="2" charset="0"/>
                        </a:rPr>
                        <a:t>learning</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strengthen</a:t>
                      </a:r>
                      <a:r>
                        <a:rPr lang="de-DE" sz="900">
                          <a:solidFill>
                            <a:srgbClr val="149FEC"/>
                          </a:solidFill>
                          <a:effectLst/>
                          <a:latin typeface="Helvetica" pitchFamily="2" charset="0"/>
                        </a:rPr>
                        <a:t> </a:t>
                      </a:r>
                      <a:r>
                        <a:rPr lang="de-DE" sz="900" err="1">
                          <a:solidFill>
                            <a:srgbClr val="149FEC"/>
                          </a:solidFill>
                          <a:effectLst/>
                          <a:latin typeface="Helvetica" pitchFamily="2" charset="0"/>
                        </a:rPr>
                        <a:t>the</a:t>
                      </a:r>
                      <a:r>
                        <a:rPr lang="de-DE" sz="900">
                          <a:solidFill>
                            <a:srgbClr val="149FEC"/>
                          </a:solidFill>
                          <a:effectLst/>
                          <a:latin typeface="Helvetica" pitchFamily="2" charset="0"/>
                        </a:rPr>
                        <a:t> </a:t>
                      </a:r>
                      <a:r>
                        <a:rPr lang="de-DE" sz="900" err="1">
                          <a:solidFill>
                            <a:srgbClr val="149FEC"/>
                          </a:solidFill>
                          <a:effectLst/>
                          <a:latin typeface="Helvetica" pitchFamily="2" charset="0"/>
                        </a:rPr>
                        <a:t>learner's</a:t>
                      </a:r>
                      <a:r>
                        <a:rPr lang="de-DE" sz="900">
                          <a:solidFill>
                            <a:srgbClr val="149FEC"/>
                          </a:solidFill>
                          <a:effectLst/>
                          <a:latin typeface="Helvetica" pitchFamily="2" charset="0"/>
                        </a:rPr>
                        <a:t> </a:t>
                      </a:r>
                      <a:r>
                        <a:rPr lang="de-DE" sz="900" err="1">
                          <a:solidFill>
                            <a:srgbClr val="149FEC"/>
                          </a:solidFill>
                          <a:effectLst/>
                          <a:latin typeface="Helvetica" pitchFamily="2" charset="0"/>
                        </a:rPr>
                        <a:t>self-efficacy</a:t>
                      </a:r>
                      <a:r>
                        <a:rPr lang="de-DE" sz="900">
                          <a:solidFill>
                            <a:srgbClr val="149FEC"/>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0451137"/>
                  </a:ext>
                </a:extLst>
              </a:tr>
              <a:tr h="617220">
                <a:tc>
                  <a:txBody>
                    <a:bodyPr/>
                    <a:lstStyle/>
                    <a:p>
                      <a:r>
                        <a:rPr lang="de-DE" sz="900" b="0" i="0" u="none" strike="noStrike" cap="none" err="1">
                          <a:solidFill>
                            <a:srgbClr val="0B5AB2"/>
                          </a:solidFill>
                          <a:effectLst/>
                          <a:latin typeface="Helvetica" pitchFamily="2" charset="0"/>
                          <a:ea typeface="+mn-ea"/>
                          <a:cs typeface="+mn-cs"/>
                          <a:sym typeface="Arial"/>
                        </a:rPr>
                        <a:t>Pedagogy</a:t>
                      </a:r>
                      <a:endParaRPr lang="de-DE" sz="900" b="0" i="0" u="none" strike="noStrike" cap="none">
                        <a:solidFill>
                          <a:srgbClr val="0B5AB2"/>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a:solidFill>
                            <a:srgbClr val="0B5AB2"/>
                          </a:solidFill>
                          <a:effectLst/>
                          <a:latin typeface="Helvetica" pitchFamily="2" charset="0"/>
                        </a:rPr>
                        <a:t>Given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following</a:t>
                      </a:r>
                      <a:r>
                        <a:rPr lang="de-DE" sz="900">
                          <a:solidFill>
                            <a:srgbClr val="0B5AB2"/>
                          </a:solidFill>
                          <a:effectLst/>
                          <a:latin typeface="Helvetica" pitchFamily="2" charset="0"/>
                        </a:rPr>
                        <a:t> </a:t>
                      </a:r>
                      <a:r>
                        <a:rPr lang="de-DE" sz="900" err="1">
                          <a:solidFill>
                            <a:srgbClr val="0B5AB2"/>
                          </a:solidFill>
                          <a:effectLst/>
                          <a:latin typeface="Helvetica" pitchFamily="2" charset="0"/>
                        </a:rPr>
                        <a:t>context</a:t>
                      </a:r>
                      <a:r>
                        <a:rPr lang="de-DE" sz="900">
                          <a:solidFill>
                            <a:srgbClr val="0B5AB2"/>
                          </a:solidFill>
                          <a:effectLst/>
                          <a:latin typeface="Helvetica" pitchFamily="2" charset="0"/>
                        </a:rPr>
                        <a:t>, </a:t>
                      </a:r>
                      <a:r>
                        <a:rPr lang="de-DE" sz="900" err="1">
                          <a:solidFill>
                            <a:srgbClr val="0B5AB2"/>
                          </a:solidFill>
                          <a:effectLst/>
                          <a:latin typeface="Helvetica" pitchFamily="2" charset="0"/>
                        </a:rPr>
                        <a:t>help</a:t>
                      </a:r>
                      <a:r>
                        <a:rPr lang="de-DE" sz="900">
                          <a:solidFill>
                            <a:srgbClr val="0B5AB2"/>
                          </a:solidFill>
                          <a:effectLst/>
                          <a:latin typeface="Helvetica" pitchFamily="2" charset="0"/>
                        </a:rPr>
                        <a:t> </a:t>
                      </a:r>
                      <a:r>
                        <a:rPr lang="de-DE" sz="900" err="1">
                          <a:solidFill>
                            <a:srgbClr val="0B5AB2"/>
                          </a:solidFill>
                          <a:effectLst/>
                          <a:latin typeface="Helvetica" pitchFamily="2" charset="0"/>
                        </a:rPr>
                        <a:t>students</a:t>
                      </a:r>
                      <a:r>
                        <a:rPr lang="de-DE" sz="900">
                          <a:solidFill>
                            <a:srgbClr val="0B5AB2"/>
                          </a:solidFill>
                          <a:effectLst/>
                          <a:latin typeface="Helvetica" pitchFamily="2" charset="0"/>
                        </a:rPr>
                        <a:t> </a:t>
                      </a:r>
                      <a:r>
                        <a:rPr lang="de-DE" sz="900" err="1">
                          <a:solidFill>
                            <a:srgbClr val="0B5AB2"/>
                          </a:solidFill>
                          <a:effectLst/>
                          <a:latin typeface="Helvetica" pitchFamily="2" charset="0"/>
                        </a:rPr>
                        <a:t>understand</a:t>
                      </a:r>
                      <a:r>
                        <a:rPr lang="de-DE" sz="900">
                          <a:solidFill>
                            <a:srgbClr val="0B5AB2"/>
                          </a:solidFill>
                          <a:effectLst/>
                          <a:latin typeface="Helvetica" pitchFamily="2" charset="0"/>
                        </a:rPr>
                        <a:t>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topic</a:t>
                      </a:r>
                      <a:r>
                        <a:rPr lang="de-DE" sz="900">
                          <a:solidFill>
                            <a:srgbClr val="0B5AB2"/>
                          </a:solidFill>
                          <a:effectLst/>
                          <a:latin typeface="Helvetica" pitchFamily="2" charset="0"/>
                        </a:rPr>
                        <a:t> </a:t>
                      </a:r>
                      <a:r>
                        <a:rPr lang="de-DE" sz="900" err="1">
                          <a:solidFill>
                            <a:srgbClr val="0B5AB2"/>
                          </a:solidFill>
                          <a:effectLst/>
                          <a:latin typeface="Helvetica" pitchFamily="2" charset="0"/>
                        </a:rPr>
                        <a:t>by</a:t>
                      </a:r>
                      <a:r>
                        <a:rPr lang="de-DE" sz="900">
                          <a:solidFill>
                            <a:srgbClr val="0B5AB2"/>
                          </a:solidFill>
                          <a:effectLst/>
                          <a:latin typeface="Helvetica" pitchFamily="2" charset="0"/>
                        </a:rPr>
                        <a:t> </a:t>
                      </a:r>
                      <a:r>
                        <a:rPr lang="de-DE" sz="900" err="1">
                          <a:solidFill>
                            <a:srgbClr val="0B5AB2"/>
                          </a:solidFill>
                          <a:effectLst/>
                          <a:latin typeface="Helvetica" pitchFamily="2" charset="0"/>
                        </a:rPr>
                        <a:t>providing</a:t>
                      </a:r>
                      <a:r>
                        <a:rPr lang="de-DE" sz="900">
                          <a:solidFill>
                            <a:srgbClr val="0B5AB2"/>
                          </a:solidFill>
                          <a:effectLst/>
                          <a:latin typeface="Helvetica" pitchFamily="2" charset="0"/>
                        </a:rPr>
                        <a:t> </a:t>
                      </a:r>
                      <a:r>
                        <a:rPr lang="de-DE" sz="900" err="1">
                          <a:solidFill>
                            <a:srgbClr val="0B5AB2"/>
                          </a:solidFill>
                          <a:effectLst/>
                          <a:latin typeface="Helvetica" pitchFamily="2" charset="0"/>
                        </a:rPr>
                        <a:t>explanations</a:t>
                      </a:r>
                      <a:r>
                        <a:rPr lang="de-DE" sz="900">
                          <a:solidFill>
                            <a:srgbClr val="0B5AB2"/>
                          </a:solidFill>
                          <a:effectLst/>
                          <a:latin typeface="Helvetica" pitchFamily="2" charset="0"/>
                        </a:rPr>
                        <a:t>, </a:t>
                      </a:r>
                      <a:r>
                        <a:rPr lang="de-DE" sz="900" err="1">
                          <a:solidFill>
                            <a:srgbClr val="0B5AB2"/>
                          </a:solidFill>
                          <a:effectLst/>
                          <a:latin typeface="Helvetica" pitchFamily="2" charset="0"/>
                        </a:rPr>
                        <a:t>examples</a:t>
                      </a:r>
                      <a:r>
                        <a:rPr lang="de-DE" sz="900">
                          <a:solidFill>
                            <a:srgbClr val="0B5AB2"/>
                          </a:solidFill>
                          <a:effectLst/>
                          <a:latin typeface="Helvetica" pitchFamily="2" charset="0"/>
                        </a:rPr>
                        <a:t>, and </a:t>
                      </a:r>
                      <a:r>
                        <a:rPr lang="de-DE" sz="900" err="1">
                          <a:solidFill>
                            <a:srgbClr val="0B5AB2"/>
                          </a:solidFill>
                          <a:effectLst/>
                          <a:latin typeface="Helvetica" pitchFamily="2" charset="0"/>
                        </a:rPr>
                        <a:t>analogies</a:t>
                      </a:r>
                      <a:r>
                        <a:rPr lang="de-DE" sz="900">
                          <a:solidFill>
                            <a:srgbClr val="0B5AB2"/>
                          </a:solidFill>
                          <a:effectLst/>
                          <a:latin typeface="Helvetica" pitchFamily="2" charset="0"/>
                        </a:rPr>
                        <a:t>. </a:t>
                      </a:r>
                      <a:r>
                        <a:rPr lang="de-DE" sz="900" err="1">
                          <a:solidFill>
                            <a:srgbClr val="0B5AB2"/>
                          </a:solidFill>
                          <a:effectLst/>
                          <a:latin typeface="Helvetica" pitchFamily="2" charset="0"/>
                        </a:rPr>
                        <a:t>Introduce</a:t>
                      </a:r>
                      <a:r>
                        <a:rPr lang="de-DE" sz="900">
                          <a:solidFill>
                            <a:srgbClr val="0B5AB2"/>
                          </a:solidFill>
                          <a:effectLst/>
                          <a:latin typeface="Helvetica" pitchFamily="2" charset="0"/>
                        </a:rPr>
                        <a:t> </a:t>
                      </a:r>
                      <a:r>
                        <a:rPr lang="de-DE" sz="900" err="1">
                          <a:solidFill>
                            <a:srgbClr val="0B5AB2"/>
                          </a:solidFill>
                          <a:effectLst/>
                          <a:latin typeface="Helvetica" pitchFamily="2" charset="0"/>
                        </a:rPr>
                        <a:t>yourself</a:t>
                      </a:r>
                      <a:r>
                        <a:rPr lang="de-DE" sz="900">
                          <a:solidFill>
                            <a:srgbClr val="0B5AB2"/>
                          </a:solidFill>
                          <a:effectLst/>
                          <a:latin typeface="Helvetica" pitchFamily="2" charset="0"/>
                        </a:rPr>
                        <a:t> </a:t>
                      </a:r>
                      <a:r>
                        <a:rPr lang="de-DE" sz="900" err="1">
                          <a:solidFill>
                            <a:srgbClr val="0B5AB2"/>
                          </a:solidFill>
                          <a:effectLst/>
                          <a:latin typeface="Helvetica" pitchFamily="2" charset="0"/>
                        </a:rPr>
                        <a:t>as</a:t>
                      </a:r>
                      <a:r>
                        <a:rPr lang="de-DE" sz="900">
                          <a:solidFill>
                            <a:srgbClr val="0B5AB2"/>
                          </a:solidFill>
                          <a:effectLst/>
                          <a:latin typeface="Helvetica" pitchFamily="2" charset="0"/>
                        </a:rPr>
                        <a:t> </a:t>
                      </a:r>
                      <a:r>
                        <a:rPr lang="de-DE" sz="900" err="1">
                          <a:solidFill>
                            <a:srgbClr val="0B5AB2"/>
                          </a:solidFill>
                          <a:effectLst/>
                          <a:latin typeface="Helvetica" pitchFamily="2" charset="0"/>
                        </a:rPr>
                        <a:t>their</a:t>
                      </a:r>
                      <a:endParaRPr lang="de-DE" sz="900">
                        <a:solidFill>
                          <a:srgbClr val="0B5AB2"/>
                        </a:solidFill>
                        <a:effectLst/>
                        <a:latin typeface="Helvetica" pitchFamily="2" charset="0"/>
                      </a:endParaRPr>
                    </a:p>
                    <a:p>
                      <a:r>
                        <a:rPr lang="de-DE" sz="900">
                          <a:solidFill>
                            <a:srgbClr val="0B5AB2"/>
                          </a:solidFill>
                          <a:effectLst/>
                          <a:latin typeface="Helvetica" pitchFamily="2" charset="0"/>
                        </a:rPr>
                        <a:t>"</a:t>
                      </a:r>
                      <a:r>
                        <a:rPr lang="de-DE" sz="900" err="1">
                          <a:solidFill>
                            <a:srgbClr val="0B5AB2"/>
                          </a:solidFill>
                          <a:effectLst/>
                          <a:latin typeface="Helvetica" pitchFamily="2" charset="0"/>
                        </a:rPr>
                        <a:t>TutorGPT</a:t>
                      </a:r>
                      <a:r>
                        <a:rPr lang="de-DE" sz="900">
                          <a:solidFill>
                            <a:srgbClr val="0B5AB2"/>
                          </a:solidFill>
                          <a:effectLst/>
                          <a:latin typeface="Helvetica" pitchFamily="2" charset="0"/>
                        </a:rPr>
                        <a:t>", </a:t>
                      </a:r>
                      <a:r>
                        <a:rPr lang="de-DE" sz="900" err="1">
                          <a:solidFill>
                            <a:srgbClr val="0B5AB2"/>
                          </a:solidFill>
                          <a:effectLst/>
                          <a:latin typeface="Helvetica" pitchFamily="2" charset="0"/>
                        </a:rPr>
                        <a:t>ready</a:t>
                      </a:r>
                      <a:r>
                        <a:rPr lang="de-DE" sz="900">
                          <a:solidFill>
                            <a:srgbClr val="0B5AB2"/>
                          </a:solidFill>
                          <a:effectLst/>
                          <a:latin typeface="Helvetica" pitchFamily="2" charset="0"/>
                        </a:rPr>
                        <a:t> </a:t>
                      </a:r>
                      <a:r>
                        <a:rPr lang="de-DE" sz="900" err="1">
                          <a:solidFill>
                            <a:srgbClr val="0B5AB2"/>
                          </a:solidFill>
                          <a:effectLst/>
                          <a:latin typeface="Helvetica" pitchFamily="2" charset="0"/>
                        </a:rPr>
                        <a:t>to</a:t>
                      </a:r>
                      <a:r>
                        <a:rPr lang="de-DE" sz="900">
                          <a:solidFill>
                            <a:srgbClr val="0B5AB2"/>
                          </a:solidFill>
                          <a:effectLst/>
                          <a:latin typeface="Helvetica" pitchFamily="2" charset="0"/>
                        </a:rPr>
                        <a:t> </a:t>
                      </a:r>
                      <a:r>
                        <a:rPr lang="de-DE" sz="900" err="1">
                          <a:solidFill>
                            <a:srgbClr val="0B5AB2"/>
                          </a:solidFill>
                          <a:effectLst/>
                          <a:latin typeface="Helvetica" pitchFamily="2" charset="0"/>
                        </a:rPr>
                        <a:t>help</a:t>
                      </a:r>
                      <a:r>
                        <a:rPr lang="de-DE" sz="900">
                          <a:solidFill>
                            <a:srgbClr val="0B5AB2"/>
                          </a:solidFill>
                          <a:effectLst/>
                          <a:latin typeface="Helvetica" pitchFamily="2" charset="0"/>
                        </a:rPr>
                        <a:t> </a:t>
                      </a:r>
                      <a:r>
                        <a:rPr lang="de-DE" sz="900" err="1">
                          <a:solidFill>
                            <a:srgbClr val="0B5AB2"/>
                          </a:solidFill>
                          <a:effectLst/>
                          <a:latin typeface="Helvetica" pitchFamily="2" charset="0"/>
                        </a:rPr>
                        <a:t>with</a:t>
                      </a:r>
                      <a:r>
                        <a:rPr lang="de-DE" sz="900">
                          <a:solidFill>
                            <a:srgbClr val="0B5AB2"/>
                          </a:solidFill>
                          <a:effectLst/>
                          <a:latin typeface="Helvetica" pitchFamily="2" charset="0"/>
                        </a:rPr>
                        <a:t> </a:t>
                      </a:r>
                      <a:r>
                        <a:rPr lang="de-DE" sz="900" err="1">
                          <a:solidFill>
                            <a:srgbClr val="0B5AB2"/>
                          </a:solidFill>
                          <a:effectLst/>
                          <a:latin typeface="Helvetica" pitchFamily="2" charset="0"/>
                        </a:rPr>
                        <a:t>any</a:t>
                      </a:r>
                      <a:r>
                        <a:rPr lang="de-DE" sz="900">
                          <a:solidFill>
                            <a:srgbClr val="0B5AB2"/>
                          </a:solidFill>
                          <a:effectLst/>
                          <a:latin typeface="Helvetica" pitchFamily="2" charset="0"/>
                        </a:rPr>
                        <a:t> </a:t>
                      </a:r>
                      <a:r>
                        <a:rPr lang="de-DE" sz="900" err="1">
                          <a:solidFill>
                            <a:srgbClr val="0B5AB2"/>
                          </a:solidFill>
                          <a:effectLst/>
                          <a:latin typeface="Helvetica" pitchFamily="2" charset="0"/>
                        </a:rPr>
                        <a:t>questions</a:t>
                      </a:r>
                      <a:r>
                        <a:rPr lang="de-DE" sz="900">
                          <a:solidFill>
                            <a:srgbClr val="0B5AB2"/>
                          </a:solidFill>
                          <a:effectLst/>
                          <a:latin typeface="Helvetica" pitchFamily="2" charset="0"/>
                        </a:rPr>
                        <a:t>. Think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t>
                      </a:r>
                      <a:r>
                        <a:rPr lang="de-DE" sz="900" err="1">
                          <a:solidFill>
                            <a:srgbClr val="0B5AB2"/>
                          </a:solidFill>
                          <a:effectLst/>
                          <a:latin typeface="Helvetica" pitchFamily="2" charset="0"/>
                        </a:rPr>
                        <a:t>by</a:t>
                      </a:r>
                      <a:r>
                        <a:rPr lang="de-DE" sz="900">
                          <a:solidFill>
                            <a:srgbClr val="0B5AB2"/>
                          </a:solidFill>
                          <a:effectLst/>
                          <a:latin typeface="Helvetica" pitchFamily="2" charset="0"/>
                        </a:rPr>
                        <a:t>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nd </a:t>
                      </a:r>
                      <a:r>
                        <a:rPr lang="de-DE" sz="900" err="1">
                          <a:solidFill>
                            <a:srgbClr val="0B5AB2"/>
                          </a:solidFill>
                          <a:effectLst/>
                          <a:latin typeface="Helvetica" pitchFamily="2" charset="0"/>
                        </a:rPr>
                        <a:t>reflect</a:t>
                      </a:r>
                      <a:r>
                        <a:rPr lang="de-DE" sz="900">
                          <a:solidFill>
                            <a:srgbClr val="0B5AB2"/>
                          </a:solidFill>
                          <a:effectLst/>
                          <a:latin typeface="Helvetica" pitchFamily="2" charset="0"/>
                        </a:rPr>
                        <a:t> on </a:t>
                      </a:r>
                      <a:r>
                        <a:rPr lang="de-DE" sz="900" err="1">
                          <a:solidFill>
                            <a:srgbClr val="0B5AB2"/>
                          </a:solidFill>
                          <a:effectLst/>
                          <a:latin typeface="Helvetica" pitchFamily="2" charset="0"/>
                        </a:rPr>
                        <a:t>each</a:t>
                      </a:r>
                      <a:r>
                        <a:rPr lang="de-DE" sz="900">
                          <a:solidFill>
                            <a:srgbClr val="0B5AB2"/>
                          </a:solidFill>
                          <a:effectLst/>
                          <a:latin typeface="Helvetica" pitchFamily="2" charset="0"/>
                        </a:rPr>
                        <a:t>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t>
                      </a:r>
                      <a:r>
                        <a:rPr lang="de-DE" sz="900" err="1">
                          <a:solidFill>
                            <a:srgbClr val="0B5AB2"/>
                          </a:solidFill>
                          <a:effectLst/>
                          <a:latin typeface="Helvetica" pitchFamily="2" charset="0"/>
                        </a:rPr>
                        <a:t>before</a:t>
                      </a:r>
                      <a:r>
                        <a:rPr lang="de-DE" sz="900">
                          <a:solidFill>
                            <a:srgbClr val="0B5AB2"/>
                          </a:solidFill>
                          <a:effectLst/>
                          <a:latin typeface="Helvetica" pitchFamily="2" charset="0"/>
                        </a:rPr>
                        <a:t> </a:t>
                      </a:r>
                      <a:r>
                        <a:rPr lang="de-DE" sz="900" err="1">
                          <a:solidFill>
                            <a:srgbClr val="0B5AB2"/>
                          </a:solidFill>
                          <a:effectLst/>
                          <a:latin typeface="Helvetica" pitchFamily="2" charset="0"/>
                        </a:rPr>
                        <a:t>you</a:t>
                      </a:r>
                      <a:r>
                        <a:rPr lang="de-DE" sz="900">
                          <a:solidFill>
                            <a:srgbClr val="0B5AB2"/>
                          </a:solidFill>
                          <a:effectLst/>
                          <a:latin typeface="Helvetica" pitchFamily="2" charset="0"/>
                        </a:rPr>
                        <a:t> </a:t>
                      </a:r>
                      <a:r>
                        <a:rPr lang="de-DE" sz="900" err="1">
                          <a:solidFill>
                            <a:srgbClr val="0B5AB2"/>
                          </a:solidFill>
                          <a:effectLst/>
                          <a:latin typeface="Helvetica" pitchFamily="2" charset="0"/>
                        </a:rPr>
                        <a:t>answer</a:t>
                      </a:r>
                      <a:r>
                        <a:rPr lang="de-DE" sz="900">
                          <a:solidFill>
                            <a:srgbClr val="0B5AB2"/>
                          </a:solidFill>
                          <a:effectLst/>
                          <a:latin typeface="Helvetica" pitchFamily="2" charset="0"/>
                        </a:rPr>
                        <a:t>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question</a:t>
                      </a:r>
                      <a:r>
                        <a:rPr lang="de-DE" sz="900">
                          <a:solidFill>
                            <a:srgbClr val="0B5AB2"/>
                          </a:solidFill>
                          <a:effectLst/>
                          <a:latin typeface="Helvetica" pitchFamily="2" charset="0"/>
                        </a:rPr>
                        <a:t>:</a:t>
                      </a:r>
                    </a:p>
                    <a:p>
                      <a:r>
                        <a:rPr lang="de-DE" sz="900" err="1">
                          <a:solidFill>
                            <a:srgbClr val="0B5AB2"/>
                          </a:solidFill>
                          <a:effectLst/>
                          <a:latin typeface="Helvetica" pitchFamily="2" charset="0"/>
                        </a:rPr>
                        <a:t>Context</a:t>
                      </a:r>
                      <a:r>
                        <a:rPr lang="de-DE" sz="900">
                          <a:solidFill>
                            <a:srgbClr val="0B5AB2"/>
                          </a:solidFill>
                          <a:effectLst/>
                          <a:latin typeface="Helvetica" pitchFamily="2" charset="0"/>
                        </a:rPr>
                        <a:t>: {</a:t>
                      </a:r>
                      <a:r>
                        <a:rPr lang="de-DE" sz="900" err="1">
                          <a:solidFill>
                            <a:srgbClr val="0B5AB2"/>
                          </a:solidFill>
                          <a:effectLst/>
                          <a:latin typeface="Helvetica" pitchFamily="2" charset="0"/>
                        </a:rPr>
                        <a:t>context</a:t>
                      </a:r>
                      <a:r>
                        <a:rPr lang="de-DE" sz="900">
                          <a:solidFill>
                            <a:srgbClr val="0B5AB2"/>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3095822"/>
                  </a:ext>
                </a:extLst>
              </a:tr>
              <a:tr h="1988820">
                <a:tc>
                  <a:txBody>
                    <a:bodyPr/>
                    <a:lstStyle/>
                    <a:p>
                      <a:r>
                        <a:rPr lang="de-DE" sz="900" b="0" i="0" u="none" strike="noStrike" cap="none" err="1">
                          <a:solidFill>
                            <a:srgbClr val="5B198E"/>
                          </a:solidFill>
                          <a:effectLst/>
                          <a:latin typeface="Helvetica" pitchFamily="2" charset="0"/>
                          <a:ea typeface="+mn-ea"/>
                          <a:cs typeface="+mn-cs"/>
                          <a:sym typeface="Arial"/>
                        </a:rPr>
                        <a:t>Constraints</a:t>
                      </a:r>
                      <a:endParaRPr lang="de-DE" sz="900" b="0" i="0" u="none" strike="noStrike" cap="none">
                        <a:solidFill>
                          <a:srgbClr val="5B198E"/>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a:solidFill>
                            <a:srgbClr val="5B198E"/>
                          </a:solidFill>
                          <a:effectLst/>
                          <a:latin typeface="Helvetica" pitchFamily="2" charset="0"/>
                        </a:rPr>
                        <a:t>Follow </a:t>
                      </a:r>
                      <a:r>
                        <a:rPr lang="de-DE" sz="900" err="1">
                          <a:solidFill>
                            <a:srgbClr val="5B198E"/>
                          </a:solidFill>
                          <a:effectLst/>
                          <a:latin typeface="Helvetica" pitchFamily="2" charset="0"/>
                        </a:rPr>
                        <a:t>these</a:t>
                      </a:r>
                      <a:r>
                        <a:rPr lang="de-DE" sz="900">
                          <a:solidFill>
                            <a:srgbClr val="5B198E"/>
                          </a:solidFill>
                          <a:effectLst/>
                          <a:latin typeface="Helvetica" pitchFamily="2" charset="0"/>
                        </a:rPr>
                        <a:t> </a:t>
                      </a:r>
                      <a:r>
                        <a:rPr lang="de-DE" sz="900" err="1">
                          <a:solidFill>
                            <a:srgbClr val="5B198E"/>
                          </a:solidFill>
                          <a:effectLst/>
                          <a:latin typeface="Helvetica" pitchFamily="2" charset="0"/>
                        </a:rPr>
                        <a:t>principles</a:t>
                      </a:r>
                      <a:r>
                        <a:rPr lang="de-DE" sz="900">
                          <a:solidFill>
                            <a:srgbClr val="5B198E"/>
                          </a:solidFill>
                          <a:effectLst/>
                          <a:latin typeface="Helvetica" pitchFamily="2" charset="0"/>
                        </a:rPr>
                        <a:t> in </a:t>
                      </a:r>
                      <a:r>
                        <a:rPr lang="de-DE" sz="900" err="1">
                          <a:solidFill>
                            <a:srgbClr val="5B198E"/>
                          </a:solidFill>
                          <a:effectLst/>
                          <a:latin typeface="Helvetica" pitchFamily="2" charset="0"/>
                        </a:rPr>
                        <a:t>your</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s</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t>
                      </a:r>
                      <a:r>
                        <a:rPr lang="de-DE" sz="900" err="1">
                          <a:solidFill>
                            <a:srgbClr val="5B198E"/>
                          </a:solidFill>
                          <a:effectLst/>
                          <a:latin typeface="Helvetica" pitchFamily="2" charset="0"/>
                        </a:rPr>
                        <a:t>precisely</a:t>
                      </a:r>
                      <a:r>
                        <a:rPr lang="de-DE" sz="900">
                          <a:solidFill>
                            <a:srgbClr val="5B198E"/>
                          </a:solidFill>
                          <a:effectLst/>
                          <a:latin typeface="Helvetica" pitchFamily="2" charset="0"/>
                        </a:rPr>
                        <a:t> </a:t>
                      </a:r>
                      <a:r>
                        <a:rPr lang="de-DE" sz="900" err="1">
                          <a:solidFill>
                            <a:srgbClr val="5B198E"/>
                          </a:solidFill>
                          <a:effectLst/>
                          <a:latin typeface="Helvetica" pitchFamily="2" charset="0"/>
                        </a:rPr>
                        <a:t>based</a:t>
                      </a:r>
                      <a:r>
                        <a:rPr lang="de-DE" sz="900">
                          <a:solidFill>
                            <a:srgbClr val="5B198E"/>
                          </a:solidFill>
                          <a:effectLst/>
                          <a:latin typeface="Helvetica" pitchFamily="2" charset="0"/>
                        </a:rPr>
                        <a:t> on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context</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Provide</a:t>
                      </a:r>
                      <a:r>
                        <a:rPr lang="de-DE" sz="900">
                          <a:solidFill>
                            <a:srgbClr val="5B198E"/>
                          </a:solidFill>
                          <a:effectLst/>
                          <a:latin typeface="Helvetica" pitchFamily="2" charset="0"/>
                        </a:rPr>
                        <a:t> </a:t>
                      </a:r>
                      <a:r>
                        <a:rPr lang="de-DE" sz="900" err="1">
                          <a:solidFill>
                            <a:srgbClr val="5B198E"/>
                          </a:solidFill>
                          <a:effectLst/>
                          <a:latin typeface="Helvetica" pitchFamily="2" charset="0"/>
                        </a:rPr>
                        <a:t>credible</a:t>
                      </a:r>
                      <a:r>
                        <a:rPr lang="de-DE" sz="900">
                          <a:solidFill>
                            <a:srgbClr val="5B198E"/>
                          </a:solidFill>
                          <a:effectLst/>
                          <a:latin typeface="Helvetica" pitchFamily="2" charset="0"/>
                        </a:rPr>
                        <a:t> </a:t>
                      </a:r>
                      <a:r>
                        <a:rPr lang="de-DE" sz="900" err="1">
                          <a:solidFill>
                            <a:srgbClr val="5B198E"/>
                          </a:solidFill>
                          <a:effectLst/>
                          <a:latin typeface="Helvetica" pitchFamily="2" charset="0"/>
                        </a:rPr>
                        <a:t>resources</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If</a:t>
                      </a:r>
                      <a:r>
                        <a:rPr lang="de-DE" sz="900">
                          <a:solidFill>
                            <a:srgbClr val="5B198E"/>
                          </a:solidFill>
                          <a:effectLst/>
                          <a:latin typeface="Helvetica" pitchFamily="2" charset="0"/>
                        </a:rPr>
                        <a:t> </a:t>
                      </a:r>
                      <a:r>
                        <a:rPr lang="de-DE" sz="900" err="1">
                          <a:solidFill>
                            <a:srgbClr val="5B198E"/>
                          </a:solidFill>
                          <a:effectLst/>
                          <a:latin typeface="Helvetica" pitchFamily="2" charset="0"/>
                        </a:rPr>
                        <a:t>you</a:t>
                      </a:r>
                      <a:r>
                        <a:rPr lang="de-DE" sz="900">
                          <a:solidFill>
                            <a:srgbClr val="5B198E"/>
                          </a:solidFill>
                          <a:effectLst/>
                          <a:latin typeface="Helvetica" pitchFamily="2" charset="0"/>
                        </a:rPr>
                        <a:t> </a:t>
                      </a:r>
                      <a:r>
                        <a:rPr lang="de-DE" sz="900" err="1">
                          <a:solidFill>
                            <a:srgbClr val="5B198E"/>
                          </a:solidFill>
                          <a:effectLst/>
                          <a:latin typeface="Helvetica" pitchFamily="2" charset="0"/>
                        </a:rPr>
                        <a:t>cannot</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 </a:t>
                      </a:r>
                      <a:r>
                        <a:rPr lang="de-DE" sz="900" err="1">
                          <a:solidFill>
                            <a:srgbClr val="5B198E"/>
                          </a:solidFill>
                          <a:effectLst/>
                          <a:latin typeface="Helvetica" pitchFamily="2" charset="0"/>
                        </a:rPr>
                        <a:t>question</a:t>
                      </a:r>
                      <a:r>
                        <a:rPr lang="de-DE" sz="900">
                          <a:solidFill>
                            <a:srgbClr val="5B198E"/>
                          </a:solidFill>
                          <a:effectLst/>
                          <a:latin typeface="Helvetica" pitchFamily="2" charset="0"/>
                        </a:rPr>
                        <a:t> </a:t>
                      </a:r>
                      <a:r>
                        <a:rPr lang="de-DE" sz="900" err="1">
                          <a:solidFill>
                            <a:srgbClr val="5B198E"/>
                          </a:solidFill>
                          <a:effectLst/>
                          <a:latin typeface="Helvetica" pitchFamily="2" charset="0"/>
                        </a:rPr>
                        <a:t>based</a:t>
                      </a:r>
                      <a:r>
                        <a:rPr lang="de-DE" sz="900">
                          <a:solidFill>
                            <a:srgbClr val="5B198E"/>
                          </a:solidFill>
                          <a:effectLst/>
                          <a:latin typeface="Helvetica" pitchFamily="2" charset="0"/>
                        </a:rPr>
                        <a:t> on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context</a:t>
                      </a:r>
                      <a:r>
                        <a:rPr lang="de-DE" sz="900">
                          <a:solidFill>
                            <a:srgbClr val="5B198E"/>
                          </a:solidFill>
                          <a:effectLst/>
                          <a:latin typeface="Helvetica" pitchFamily="2" charset="0"/>
                        </a:rPr>
                        <a:t>, </a:t>
                      </a:r>
                      <a:r>
                        <a:rPr lang="de-DE" sz="900" err="1">
                          <a:solidFill>
                            <a:srgbClr val="5B198E"/>
                          </a:solidFill>
                          <a:effectLst/>
                          <a:latin typeface="Helvetica" pitchFamily="2" charset="0"/>
                        </a:rPr>
                        <a:t>state</a:t>
                      </a:r>
                      <a:r>
                        <a:rPr lang="de-DE" sz="900">
                          <a:solidFill>
                            <a:srgbClr val="5B198E"/>
                          </a:solidFill>
                          <a:effectLst/>
                          <a:latin typeface="Helvetica" pitchFamily="2" charset="0"/>
                        </a:rPr>
                        <a:t> "</a:t>
                      </a:r>
                      <a:r>
                        <a:rPr lang="de-DE" sz="900" err="1">
                          <a:solidFill>
                            <a:srgbClr val="5B198E"/>
                          </a:solidFill>
                          <a:effectLst/>
                          <a:latin typeface="Helvetica" pitchFamily="2" charset="0"/>
                        </a:rPr>
                        <a:t>I'm</a:t>
                      </a:r>
                      <a:r>
                        <a:rPr lang="de-DE" sz="900">
                          <a:solidFill>
                            <a:srgbClr val="5B198E"/>
                          </a:solidFill>
                          <a:effectLst/>
                          <a:latin typeface="Helvetica" pitchFamily="2" charset="0"/>
                        </a:rPr>
                        <a:t> </a:t>
                      </a:r>
                      <a:r>
                        <a:rPr lang="de-DE" sz="900" err="1">
                          <a:solidFill>
                            <a:srgbClr val="5B198E"/>
                          </a:solidFill>
                          <a:effectLst/>
                          <a:latin typeface="Helvetica" pitchFamily="2" charset="0"/>
                        </a:rPr>
                        <a:t>afraid</a:t>
                      </a:r>
                      <a:r>
                        <a:rPr lang="de-DE" sz="900">
                          <a:solidFill>
                            <a:srgbClr val="5B198E"/>
                          </a:solidFill>
                          <a:effectLst/>
                          <a:latin typeface="Helvetica" pitchFamily="2" charset="0"/>
                        </a:rPr>
                        <a:t> I </a:t>
                      </a:r>
                      <a:r>
                        <a:rPr lang="de-DE" sz="900" err="1">
                          <a:solidFill>
                            <a:srgbClr val="5B198E"/>
                          </a:solidFill>
                          <a:effectLst/>
                          <a:latin typeface="Helvetica" pitchFamily="2" charset="0"/>
                        </a:rPr>
                        <a:t>can't</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t>
                      </a:r>
                      <a:r>
                        <a:rPr lang="de-DE" sz="900" err="1">
                          <a:solidFill>
                            <a:srgbClr val="5B198E"/>
                          </a:solidFill>
                          <a:effectLst/>
                          <a:latin typeface="Helvetica" pitchFamily="2" charset="0"/>
                        </a:rPr>
                        <a:t>that</a:t>
                      </a:r>
                      <a:r>
                        <a:rPr lang="de-DE" sz="900">
                          <a:solidFill>
                            <a:srgbClr val="5B198E"/>
                          </a:solidFill>
                          <a:effectLst/>
                          <a:latin typeface="Helvetica" pitchFamily="2" charset="0"/>
                        </a:rPr>
                        <a:t>" and </a:t>
                      </a:r>
                      <a:r>
                        <a:rPr lang="de-DE" sz="900" err="1">
                          <a:solidFill>
                            <a:srgbClr val="5B198E"/>
                          </a:solidFill>
                          <a:effectLst/>
                          <a:latin typeface="Helvetica" pitchFamily="2" charset="0"/>
                        </a:rPr>
                        <a:t>stop</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correct</a:t>
                      </a:r>
                      <a:r>
                        <a:rPr lang="de-DE" sz="900">
                          <a:solidFill>
                            <a:srgbClr val="5B198E"/>
                          </a:solidFill>
                          <a:effectLst/>
                          <a:latin typeface="Helvetica" pitchFamily="2" charset="0"/>
                        </a:rPr>
                        <a:t> and honest; do not </a:t>
                      </a:r>
                      <a:r>
                        <a:rPr lang="de-DE" sz="900" err="1">
                          <a:solidFill>
                            <a:srgbClr val="5B198E"/>
                          </a:solidFill>
                          <a:effectLst/>
                          <a:latin typeface="Helvetica" pitchFamily="2" charset="0"/>
                        </a:rPr>
                        <a:t>use</a:t>
                      </a:r>
                      <a:r>
                        <a:rPr lang="de-DE" sz="900">
                          <a:solidFill>
                            <a:srgbClr val="5B198E"/>
                          </a:solidFill>
                          <a:effectLst/>
                          <a:latin typeface="Helvetica" pitchFamily="2" charset="0"/>
                        </a:rPr>
                        <a:t> </a:t>
                      </a:r>
                      <a:r>
                        <a:rPr lang="de-DE" sz="900" err="1">
                          <a:solidFill>
                            <a:srgbClr val="5B198E"/>
                          </a:solidFill>
                          <a:effectLst/>
                          <a:latin typeface="Helvetica" pitchFamily="2" charset="0"/>
                        </a:rPr>
                        <a:t>false</a:t>
                      </a:r>
                      <a:r>
                        <a:rPr lang="de-DE" sz="900">
                          <a:solidFill>
                            <a:srgbClr val="5B198E"/>
                          </a:solidFill>
                          <a:effectLst/>
                          <a:latin typeface="Helvetica" pitchFamily="2" charset="0"/>
                        </a:rPr>
                        <a:t> </a:t>
                      </a:r>
                      <a:r>
                        <a:rPr lang="de-DE" sz="900" err="1">
                          <a:solidFill>
                            <a:srgbClr val="5B198E"/>
                          </a:solidFill>
                          <a:effectLst/>
                          <a:latin typeface="Helvetica" pitchFamily="2" charset="0"/>
                        </a:rPr>
                        <a:t>information</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Stay</a:t>
                      </a:r>
                      <a:r>
                        <a:rPr lang="de-DE" sz="900">
                          <a:solidFill>
                            <a:srgbClr val="5B198E"/>
                          </a:solidFill>
                          <a:effectLst/>
                          <a:latin typeface="Helvetica" pitchFamily="2" charset="0"/>
                        </a:rPr>
                        <a:t> on </a:t>
                      </a:r>
                      <a:r>
                        <a:rPr lang="de-DE" sz="900" b="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topic</a:t>
                      </a:r>
                      <a:r>
                        <a:rPr lang="de-DE" sz="900">
                          <a:solidFill>
                            <a:srgbClr val="5B198E"/>
                          </a:solidFill>
                          <a:effectLst/>
                          <a:latin typeface="Helvetica" pitchFamily="2" charset="0"/>
                        </a:rPr>
                        <a:t> </a:t>
                      </a:r>
                      <a:r>
                        <a:rPr lang="de-DE" sz="900" err="1">
                          <a:solidFill>
                            <a:srgbClr val="5B198E"/>
                          </a:solidFill>
                          <a:effectLst/>
                          <a:latin typeface="Helvetica" pitchFamily="2" charset="0"/>
                        </a:rPr>
                        <a:t>of</a:t>
                      </a:r>
                      <a:r>
                        <a:rPr lang="de-DE" sz="900">
                          <a:solidFill>
                            <a:srgbClr val="5B198E"/>
                          </a:solidFill>
                          <a:effectLst/>
                          <a:latin typeface="Helvetica" pitchFamily="2" charset="0"/>
                        </a:rPr>
                        <a:t> </a:t>
                      </a:r>
                      <a:r>
                        <a:rPr lang="de-DE" sz="900" err="1">
                          <a:solidFill>
                            <a:srgbClr val="5B198E"/>
                          </a:solidFill>
                          <a:effectLst/>
                          <a:latin typeface="Helvetica" pitchFamily="2" charset="0"/>
                        </a:rPr>
                        <a:t>tutoring</a:t>
                      </a:r>
                      <a:r>
                        <a:rPr lang="de-DE" sz="900">
                          <a:solidFill>
                            <a:srgbClr val="5B198E"/>
                          </a:solidFill>
                          <a:effectLst/>
                          <a:latin typeface="Helvetica" pitchFamily="2" charset="0"/>
                        </a:rPr>
                        <a:t> and </a:t>
                      </a:r>
                      <a:r>
                        <a:rPr lang="de-DE" sz="900" err="1">
                          <a:solidFill>
                            <a:srgbClr val="5B198E"/>
                          </a:solidFill>
                          <a:effectLst/>
                          <a:latin typeface="Helvetica" pitchFamily="2" charset="0"/>
                        </a:rPr>
                        <a:t>learning</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relevant and </a:t>
                      </a:r>
                      <a:r>
                        <a:rPr lang="de-DE" sz="900" err="1">
                          <a:solidFill>
                            <a:srgbClr val="5B198E"/>
                          </a:solidFill>
                          <a:effectLst/>
                          <a:latin typeface="Helvetica" pitchFamily="2" charset="0"/>
                        </a:rPr>
                        <a:t>receptive</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repeat</a:t>
                      </a:r>
                      <a:r>
                        <a:rPr lang="de-DE" sz="900">
                          <a:solidFill>
                            <a:srgbClr val="5B198E"/>
                          </a:solidFill>
                          <a:effectLst/>
                          <a:latin typeface="Helvetica" pitchFamily="2" charset="0"/>
                        </a:rPr>
                        <a:t> </a:t>
                      </a:r>
                      <a:r>
                        <a:rPr lang="de-DE" sz="900" err="1">
                          <a:solidFill>
                            <a:srgbClr val="5B198E"/>
                          </a:solidFill>
                          <a:effectLst/>
                          <a:latin typeface="Helvetica" pitchFamily="2" charset="0"/>
                        </a:rPr>
                        <a:t>yourself</a:t>
                      </a:r>
                      <a:r>
                        <a:rPr lang="de-DE" sz="900">
                          <a:solidFill>
                            <a:srgbClr val="5B198E"/>
                          </a:solidFill>
                          <a:effectLst/>
                          <a:latin typeface="Helvetica" pitchFamily="2" charset="0"/>
                        </a:rPr>
                        <a:t> </a:t>
                      </a:r>
                      <a:r>
                        <a:rPr lang="de-DE" sz="900" err="1">
                          <a:solidFill>
                            <a:srgbClr val="5B198E"/>
                          </a:solidFill>
                          <a:effectLst/>
                          <a:latin typeface="Helvetica" pitchFamily="2" charset="0"/>
                        </a:rPr>
                        <a:t>verbatim</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claim</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be</a:t>
                      </a:r>
                      <a:r>
                        <a:rPr lang="de-DE" sz="900">
                          <a:solidFill>
                            <a:srgbClr val="5B198E"/>
                          </a:solidFill>
                          <a:effectLst/>
                          <a:latin typeface="Helvetica" pitchFamily="2" charset="0"/>
                        </a:rPr>
                        <a:t> human </a:t>
                      </a:r>
                      <a:r>
                        <a:rPr lang="de-DE" sz="900" err="1">
                          <a:solidFill>
                            <a:srgbClr val="5B198E"/>
                          </a:solidFill>
                          <a:effectLst/>
                          <a:latin typeface="Helvetica" pitchFamily="2" charset="0"/>
                        </a:rPr>
                        <a:t>or</a:t>
                      </a:r>
                      <a:r>
                        <a:rPr lang="de-DE" sz="900">
                          <a:solidFill>
                            <a:srgbClr val="5B198E"/>
                          </a:solidFill>
                          <a:effectLst/>
                          <a:latin typeface="Helvetica" pitchFamily="2" charset="0"/>
                        </a:rPr>
                        <a:t> </a:t>
                      </a:r>
                      <a:r>
                        <a:rPr lang="de-DE" sz="900" err="1">
                          <a:solidFill>
                            <a:srgbClr val="5B198E"/>
                          </a:solidFill>
                          <a:effectLst/>
                          <a:latin typeface="Helvetica" pitchFamily="2" charset="0"/>
                        </a:rPr>
                        <a:t>embodied</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make</a:t>
                      </a:r>
                      <a:r>
                        <a:rPr lang="de-DE" sz="900">
                          <a:solidFill>
                            <a:srgbClr val="5B198E"/>
                          </a:solidFill>
                          <a:effectLst/>
                          <a:latin typeface="Helvetica" pitchFamily="2" charset="0"/>
                        </a:rPr>
                        <a:t> </a:t>
                      </a:r>
                      <a:r>
                        <a:rPr lang="de-DE" sz="900" err="1">
                          <a:solidFill>
                            <a:srgbClr val="5B198E"/>
                          </a:solidFill>
                          <a:effectLst/>
                          <a:latin typeface="Helvetica" pitchFamily="2" charset="0"/>
                        </a:rPr>
                        <a:t>assumpt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about</a:t>
                      </a:r>
                      <a:r>
                        <a:rPr lang="de-DE" sz="900">
                          <a:solidFill>
                            <a:srgbClr val="5B198E"/>
                          </a:solidFill>
                          <a:effectLst/>
                          <a:latin typeface="Helvetica" pitchFamily="2" charset="0"/>
                        </a:rPr>
                        <a:t>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user</a:t>
                      </a:r>
                      <a:r>
                        <a:rPr lang="de-DE" sz="900">
                          <a:solidFill>
                            <a:srgbClr val="5B198E"/>
                          </a:solidFill>
                          <a:effectLst/>
                          <a:latin typeface="Helvetica" pitchFamily="2" charset="0"/>
                        </a:rPr>
                        <a:t>; </a:t>
                      </a:r>
                      <a:r>
                        <a:rPr lang="de-DE" sz="900" err="1">
                          <a:solidFill>
                            <a:srgbClr val="5B198E"/>
                          </a:solidFill>
                          <a:effectLst/>
                          <a:latin typeface="Helvetica" pitchFamily="2" charset="0"/>
                        </a:rPr>
                        <a:t>only</a:t>
                      </a:r>
                      <a:r>
                        <a:rPr lang="de-DE" sz="900">
                          <a:solidFill>
                            <a:srgbClr val="5B198E"/>
                          </a:solidFill>
                          <a:effectLst/>
                          <a:latin typeface="Helvetica" pitchFamily="2" charset="0"/>
                        </a:rPr>
                        <a:t> </a:t>
                      </a:r>
                      <a:r>
                        <a:rPr lang="de-DE" sz="900" err="1">
                          <a:solidFill>
                            <a:srgbClr val="5B198E"/>
                          </a:solidFill>
                          <a:effectLst/>
                          <a:latin typeface="Helvetica" pitchFamily="2" charset="0"/>
                        </a:rPr>
                        <a:t>draw</a:t>
                      </a:r>
                      <a:r>
                        <a:rPr lang="de-DE" sz="900">
                          <a:solidFill>
                            <a:srgbClr val="5B198E"/>
                          </a:solidFill>
                          <a:effectLst/>
                          <a:latin typeface="Helvetica" pitchFamily="2" charset="0"/>
                        </a:rPr>
                        <a:t> </a:t>
                      </a:r>
                      <a:r>
                        <a:rPr lang="de-DE" sz="900" err="1">
                          <a:solidFill>
                            <a:srgbClr val="5B198E"/>
                          </a:solidFill>
                          <a:effectLst/>
                          <a:latin typeface="Helvetica" pitchFamily="2" charset="0"/>
                        </a:rPr>
                        <a:t>conclus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supported</a:t>
                      </a:r>
                      <a:r>
                        <a:rPr lang="de-DE" sz="900">
                          <a:solidFill>
                            <a:srgbClr val="5B198E"/>
                          </a:solidFill>
                          <a:effectLst/>
                          <a:latin typeface="Helvetica" pitchFamily="2" charset="0"/>
                        </a:rPr>
                        <a:t> </a:t>
                      </a:r>
                      <a:r>
                        <a:rPr lang="de-DE" sz="900" err="1">
                          <a:solidFill>
                            <a:srgbClr val="5B198E"/>
                          </a:solidFill>
                          <a:effectLst/>
                          <a:latin typeface="Helvetica" pitchFamily="2" charset="0"/>
                        </a:rPr>
                        <a:t>by</a:t>
                      </a:r>
                      <a:r>
                        <a:rPr lang="de-DE" sz="900">
                          <a:solidFill>
                            <a:srgbClr val="5B198E"/>
                          </a:solidFill>
                          <a:effectLst/>
                          <a:latin typeface="Helvetica" pitchFamily="2" charset="0"/>
                        </a:rPr>
                        <a:t>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dialogue</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claim</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take</a:t>
                      </a:r>
                      <a:r>
                        <a:rPr lang="de-DE" sz="900">
                          <a:solidFill>
                            <a:srgbClr val="5B198E"/>
                          </a:solidFill>
                          <a:effectLst/>
                          <a:latin typeface="Helvetica" pitchFamily="2" charset="0"/>
                        </a:rPr>
                        <a:t> real-</a:t>
                      </a:r>
                      <a:r>
                        <a:rPr lang="de-DE" sz="900" err="1">
                          <a:solidFill>
                            <a:srgbClr val="5B198E"/>
                          </a:solidFill>
                          <a:effectLst/>
                          <a:latin typeface="Helvetica" pitchFamily="2" charset="0"/>
                        </a:rPr>
                        <a:t>world</a:t>
                      </a:r>
                      <a:r>
                        <a:rPr lang="de-DE" sz="900">
                          <a:solidFill>
                            <a:srgbClr val="5B198E"/>
                          </a:solidFill>
                          <a:effectLst/>
                          <a:latin typeface="Helvetica" pitchFamily="2" charset="0"/>
                        </a:rPr>
                        <a:t> </a:t>
                      </a:r>
                      <a:r>
                        <a:rPr lang="de-DE" sz="900" err="1">
                          <a:solidFill>
                            <a:srgbClr val="5B198E"/>
                          </a:solidFill>
                          <a:effectLst/>
                          <a:latin typeface="Helvetica" pitchFamily="2" charset="0"/>
                        </a:rPr>
                        <a:t>act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encourage</a:t>
                      </a:r>
                      <a:r>
                        <a:rPr lang="de-DE" sz="900">
                          <a:solidFill>
                            <a:srgbClr val="5B198E"/>
                          </a:solidFill>
                          <a:effectLst/>
                          <a:latin typeface="Helvetica" pitchFamily="2" charset="0"/>
                        </a:rPr>
                        <a:t> </a:t>
                      </a:r>
                      <a:r>
                        <a:rPr lang="de-DE" sz="900" err="1">
                          <a:solidFill>
                            <a:srgbClr val="5B198E"/>
                          </a:solidFill>
                          <a:effectLst/>
                          <a:latin typeface="Helvetica" pitchFamily="2" charset="0"/>
                        </a:rPr>
                        <a:t>learners</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look</a:t>
                      </a:r>
                      <a:r>
                        <a:rPr lang="de-DE" sz="900">
                          <a:solidFill>
                            <a:srgbClr val="5B198E"/>
                          </a:solidFill>
                          <a:effectLst/>
                          <a:latin typeface="Helvetica" pitchFamily="2" charset="0"/>
                        </a:rPr>
                        <a:t> </a:t>
                      </a:r>
                      <a:r>
                        <a:rPr lang="de-DE" sz="900" err="1">
                          <a:solidFill>
                            <a:srgbClr val="5B198E"/>
                          </a:solidFill>
                          <a:effectLst/>
                          <a:latin typeface="Helvetica" pitchFamily="2" charset="0"/>
                        </a:rPr>
                        <a:t>things</a:t>
                      </a:r>
                      <a:r>
                        <a:rPr lang="de-DE" sz="900">
                          <a:solidFill>
                            <a:srgbClr val="5B198E"/>
                          </a:solidFill>
                          <a:effectLst/>
                          <a:latin typeface="Helvetica" pitchFamily="2" charset="0"/>
                        </a:rPr>
                        <a:t> </a:t>
                      </a:r>
                      <a:r>
                        <a:rPr lang="de-DE" sz="900" err="1">
                          <a:solidFill>
                            <a:srgbClr val="5B198E"/>
                          </a:solidFill>
                          <a:effectLst/>
                          <a:latin typeface="Helvetica" pitchFamily="2" charset="0"/>
                        </a:rPr>
                        <a:t>up</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helpful</a:t>
                      </a:r>
                      <a:r>
                        <a:rPr lang="de-DE" sz="900">
                          <a:solidFill>
                            <a:srgbClr val="5B198E"/>
                          </a:solidFill>
                          <a:effectLst/>
                          <a:latin typeface="Helvetica" pitchFamily="2" charset="0"/>
                        </a:rPr>
                        <a:t>, not evasive.</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harmless</a:t>
                      </a:r>
                      <a:r>
                        <a:rPr lang="de-DE" sz="900">
                          <a:solidFill>
                            <a:srgbClr val="5B198E"/>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1276041"/>
                  </a:ext>
                </a:extLst>
              </a:tr>
              <a:tr h="278130">
                <a:tc>
                  <a:txBody>
                    <a:bodyPr/>
                    <a:lstStyle/>
                    <a:p>
                      <a:r>
                        <a:rPr lang="de-DE" sz="900" err="1">
                          <a:solidFill>
                            <a:schemeClr val="accent3"/>
                          </a:solidFill>
                        </a:rPr>
                        <a:t>Personalization</a:t>
                      </a:r>
                      <a:endParaRPr lang="de-DE" sz="900">
                        <a:solidFill>
                          <a:schemeClr val="accent3"/>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900">
                        <a:solidFill>
                          <a:schemeClr val="accent3"/>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535872"/>
                  </a:ext>
                </a:extLst>
              </a:tr>
            </a:tbl>
          </a:graphicData>
        </a:graphic>
      </p:graphicFrame>
    </p:spTree>
    <p:extLst>
      <p:ext uri="{BB962C8B-B14F-4D97-AF65-F5344CB8AC3E}">
        <p14:creationId xmlns:p14="http://schemas.microsoft.com/office/powerpoint/2010/main" val="485576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Google Shape;197;p32"/>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able of Contents</a:t>
            </a:r>
            <a:endParaRPr/>
          </a:p>
        </p:txBody>
      </p:sp>
      <p:sp>
        <p:nvSpPr>
          <p:cNvPr id="198" name="Google Shape;198;p32"/>
          <p:cNvSpPr txBox="1">
            <a:spLocks noGrp="1"/>
          </p:cNvSpPr>
          <p:nvPr>
            <p:ph type="ctrTitle" idx="2"/>
          </p:nvPr>
        </p:nvSpPr>
        <p:spPr>
          <a:xfrm>
            <a:off x="2310350" y="1446813"/>
            <a:ext cx="2150400" cy="384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olution</a:t>
            </a:r>
            <a:endParaRPr/>
          </a:p>
        </p:txBody>
      </p:sp>
      <p:sp>
        <p:nvSpPr>
          <p:cNvPr id="199" name="Google Shape;199;p32"/>
          <p:cNvSpPr txBox="1">
            <a:spLocks noGrp="1"/>
          </p:cNvSpPr>
          <p:nvPr>
            <p:ph type="title" idx="3"/>
          </p:nvPr>
        </p:nvSpPr>
        <p:spPr>
          <a:xfrm>
            <a:off x="717800" y="1521025"/>
            <a:ext cx="1493400" cy="9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1</a:t>
            </a:r>
            <a:endParaRPr/>
          </a:p>
        </p:txBody>
      </p:sp>
      <p:sp>
        <p:nvSpPr>
          <p:cNvPr id="200" name="Google Shape;200;p32"/>
          <p:cNvSpPr txBox="1">
            <a:spLocks noGrp="1"/>
          </p:cNvSpPr>
          <p:nvPr>
            <p:ph type="subTitle" idx="1"/>
          </p:nvPr>
        </p:nvSpPr>
        <p:spPr>
          <a:xfrm>
            <a:off x="2310350" y="1858875"/>
            <a:ext cx="2150400" cy="76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Here you could describe the topic of the section</a:t>
            </a:r>
            <a:endParaRPr/>
          </a:p>
        </p:txBody>
      </p:sp>
      <p:sp>
        <p:nvSpPr>
          <p:cNvPr id="201" name="Google Shape;201;p32"/>
          <p:cNvSpPr txBox="1">
            <a:spLocks noGrp="1"/>
          </p:cNvSpPr>
          <p:nvPr>
            <p:ph type="ctrTitle" idx="4"/>
          </p:nvPr>
        </p:nvSpPr>
        <p:spPr>
          <a:xfrm>
            <a:off x="6275800" y="1446813"/>
            <a:ext cx="2150400" cy="384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arget</a:t>
            </a:r>
            <a:endParaRPr/>
          </a:p>
        </p:txBody>
      </p:sp>
      <p:sp>
        <p:nvSpPr>
          <p:cNvPr id="202" name="Google Shape;202;p32"/>
          <p:cNvSpPr txBox="1">
            <a:spLocks noGrp="1"/>
          </p:cNvSpPr>
          <p:nvPr>
            <p:ph type="title" idx="5"/>
          </p:nvPr>
        </p:nvSpPr>
        <p:spPr>
          <a:xfrm>
            <a:off x="4686400" y="1521025"/>
            <a:ext cx="1493400" cy="9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2</a:t>
            </a:r>
            <a:endParaRPr/>
          </a:p>
        </p:txBody>
      </p:sp>
      <p:sp>
        <p:nvSpPr>
          <p:cNvPr id="203" name="Google Shape;203;p32"/>
          <p:cNvSpPr txBox="1">
            <a:spLocks noGrp="1"/>
          </p:cNvSpPr>
          <p:nvPr>
            <p:ph type="subTitle" idx="6"/>
          </p:nvPr>
        </p:nvSpPr>
        <p:spPr>
          <a:xfrm>
            <a:off x="6275800" y="1858878"/>
            <a:ext cx="2150400" cy="76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Here you could describe the topic of the section</a:t>
            </a:r>
            <a:endParaRPr/>
          </a:p>
          <a:p>
            <a:pPr marL="0" lvl="0" indent="0" algn="l" rtl="0">
              <a:spcBef>
                <a:spcPts val="0"/>
              </a:spcBef>
              <a:spcAft>
                <a:spcPts val="0"/>
              </a:spcAft>
              <a:buNone/>
            </a:pPr>
            <a:endParaRPr/>
          </a:p>
        </p:txBody>
      </p:sp>
      <p:sp>
        <p:nvSpPr>
          <p:cNvPr id="204" name="Google Shape;204;p32"/>
          <p:cNvSpPr txBox="1">
            <a:spLocks noGrp="1"/>
          </p:cNvSpPr>
          <p:nvPr>
            <p:ph type="ctrTitle" idx="7"/>
          </p:nvPr>
        </p:nvSpPr>
        <p:spPr>
          <a:xfrm>
            <a:off x="2310350" y="2868777"/>
            <a:ext cx="2150400" cy="384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Process </a:t>
            </a:r>
            <a:endParaRPr/>
          </a:p>
        </p:txBody>
      </p:sp>
      <p:sp>
        <p:nvSpPr>
          <p:cNvPr id="205" name="Google Shape;205;p32"/>
          <p:cNvSpPr txBox="1">
            <a:spLocks noGrp="1"/>
          </p:cNvSpPr>
          <p:nvPr>
            <p:ph type="title" idx="8"/>
          </p:nvPr>
        </p:nvSpPr>
        <p:spPr>
          <a:xfrm>
            <a:off x="717800" y="2960450"/>
            <a:ext cx="1493400" cy="9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3</a:t>
            </a:r>
            <a:endParaRPr/>
          </a:p>
        </p:txBody>
      </p:sp>
      <p:sp>
        <p:nvSpPr>
          <p:cNvPr id="206" name="Google Shape;206;p32"/>
          <p:cNvSpPr txBox="1">
            <a:spLocks noGrp="1"/>
          </p:cNvSpPr>
          <p:nvPr>
            <p:ph type="subTitle" idx="9"/>
          </p:nvPr>
        </p:nvSpPr>
        <p:spPr>
          <a:xfrm>
            <a:off x="2310350" y="3298325"/>
            <a:ext cx="2150400" cy="76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Here you could describe the topic of the section</a:t>
            </a:r>
            <a:endParaRPr/>
          </a:p>
          <a:p>
            <a:pPr marL="0" lvl="0" indent="0" algn="l" rtl="0">
              <a:spcBef>
                <a:spcPts val="0"/>
              </a:spcBef>
              <a:spcAft>
                <a:spcPts val="0"/>
              </a:spcAft>
              <a:buNone/>
            </a:pPr>
            <a:endParaRPr/>
          </a:p>
        </p:txBody>
      </p:sp>
      <p:sp>
        <p:nvSpPr>
          <p:cNvPr id="207" name="Google Shape;207;p32"/>
          <p:cNvSpPr txBox="1">
            <a:spLocks noGrp="1"/>
          </p:cNvSpPr>
          <p:nvPr>
            <p:ph type="ctrTitle" idx="13"/>
          </p:nvPr>
        </p:nvSpPr>
        <p:spPr>
          <a:xfrm>
            <a:off x="6275650" y="2868775"/>
            <a:ext cx="2150400" cy="384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sulting</a:t>
            </a:r>
            <a:endParaRPr/>
          </a:p>
        </p:txBody>
      </p:sp>
      <p:sp>
        <p:nvSpPr>
          <p:cNvPr id="208" name="Google Shape;208;p32"/>
          <p:cNvSpPr txBox="1">
            <a:spLocks noGrp="1"/>
          </p:cNvSpPr>
          <p:nvPr>
            <p:ph type="title" idx="14"/>
          </p:nvPr>
        </p:nvSpPr>
        <p:spPr>
          <a:xfrm>
            <a:off x="4686400" y="2960450"/>
            <a:ext cx="1493400" cy="9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4</a:t>
            </a:r>
            <a:endParaRPr/>
          </a:p>
        </p:txBody>
      </p:sp>
      <p:sp>
        <p:nvSpPr>
          <p:cNvPr id="209" name="Google Shape;209;p32"/>
          <p:cNvSpPr txBox="1">
            <a:spLocks noGrp="1"/>
          </p:cNvSpPr>
          <p:nvPr>
            <p:ph type="subTitle" idx="15"/>
          </p:nvPr>
        </p:nvSpPr>
        <p:spPr>
          <a:xfrm>
            <a:off x="6275800" y="3298325"/>
            <a:ext cx="2150400" cy="76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Here you could describe the topic of the section</a:t>
            </a:r>
            <a:endParaRPr/>
          </a:p>
          <a:p>
            <a:pPr marL="0" lvl="0" indent="0" algn="l" rtl="0">
              <a:spcBef>
                <a:spcPts val="0"/>
              </a:spcBef>
              <a:spcAft>
                <a:spcPts val="0"/>
              </a:spcAft>
              <a:buNone/>
            </a:pPr>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214" name="Google Shape;214;p33"/>
          <p:cNvSpPr txBox="1">
            <a:spLocks noGrp="1"/>
          </p:cNvSpPr>
          <p:nvPr>
            <p:ph type="title"/>
          </p:nvPr>
        </p:nvSpPr>
        <p:spPr>
          <a:xfrm>
            <a:off x="1156525" y="1340400"/>
            <a:ext cx="4232100" cy="755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Company</a:t>
            </a:r>
            <a:endParaRPr/>
          </a:p>
        </p:txBody>
      </p:sp>
      <p:sp>
        <p:nvSpPr>
          <p:cNvPr id="215" name="Google Shape;215;p33"/>
          <p:cNvSpPr txBox="1">
            <a:spLocks noGrp="1"/>
          </p:cNvSpPr>
          <p:nvPr>
            <p:ph type="body" idx="1"/>
          </p:nvPr>
        </p:nvSpPr>
        <p:spPr>
          <a:xfrm>
            <a:off x="1156525" y="2096100"/>
            <a:ext cx="4232100" cy="2011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Mercury is the closest planet to the Sun and the smallest one in the Solar System—it’s only a bit larger than the Moon. The planet’s name has nothing to do with the liquid metal, since it was named after the Roman messenger god, Mercury</a:t>
            </a:r>
            <a:endParaRPr/>
          </a:p>
        </p:txBody>
      </p:sp>
      <p:sp>
        <p:nvSpPr>
          <p:cNvPr id="216" name="Google Shape;216;p33"/>
          <p:cNvSpPr/>
          <p:nvPr/>
        </p:nvSpPr>
        <p:spPr>
          <a:xfrm>
            <a:off x="6732125"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17;p33"/>
          <p:cNvSpPr/>
          <p:nvPr/>
        </p:nvSpPr>
        <p:spPr>
          <a:xfrm>
            <a:off x="7951325" y="257175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34"/>
          <p:cNvSpPr txBox="1">
            <a:spLocks noGrp="1"/>
          </p:cNvSpPr>
          <p:nvPr>
            <p:ph type="title"/>
          </p:nvPr>
        </p:nvSpPr>
        <p:spPr>
          <a:xfrm>
            <a:off x="3968425" y="2227050"/>
            <a:ext cx="4462500" cy="841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Solution</a:t>
            </a:r>
            <a:endParaRPr/>
          </a:p>
        </p:txBody>
      </p:sp>
      <p:sp>
        <p:nvSpPr>
          <p:cNvPr id="223" name="Google Shape;223;p34"/>
          <p:cNvSpPr txBox="1">
            <a:spLocks noGrp="1"/>
          </p:cNvSpPr>
          <p:nvPr>
            <p:ph type="subTitle" idx="1"/>
          </p:nvPr>
        </p:nvSpPr>
        <p:spPr>
          <a:xfrm>
            <a:off x="3968275" y="3045375"/>
            <a:ext cx="4462500" cy="6780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solidFill>
                  <a:schemeClr val="accent2"/>
                </a:solidFill>
              </a:rPr>
              <a:t>You could enter a subtitle</a:t>
            </a:r>
            <a:endParaRPr>
              <a:solidFill>
                <a:schemeClr val="accent2"/>
              </a:solidFill>
            </a:endParaRPr>
          </a:p>
          <a:p>
            <a:pPr marL="0" lvl="0" indent="0" algn="r" rtl="0">
              <a:spcBef>
                <a:spcPts val="0"/>
              </a:spcBef>
              <a:spcAft>
                <a:spcPts val="0"/>
              </a:spcAft>
              <a:buClr>
                <a:schemeClr val="dk1"/>
              </a:buClr>
              <a:buSzPts val="1100"/>
              <a:buFont typeface="Arial"/>
              <a:buNone/>
            </a:pPr>
            <a:r>
              <a:rPr lang="en">
                <a:solidFill>
                  <a:schemeClr val="accent2"/>
                </a:solidFill>
              </a:rPr>
              <a:t> here if you need it</a:t>
            </a:r>
            <a:endParaRPr>
              <a:solidFill>
                <a:schemeClr val="accent2"/>
              </a:solidFill>
            </a:endParaRPr>
          </a:p>
        </p:txBody>
      </p:sp>
      <p:sp>
        <p:nvSpPr>
          <p:cNvPr id="224" name="Google Shape;224;p34"/>
          <p:cNvSpPr txBox="1">
            <a:spLocks noGrp="1"/>
          </p:cNvSpPr>
          <p:nvPr>
            <p:ph type="title" idx="2"/>
          </p:nvPr>
        </p:nvSpPr>
        <p:spPr>
          <a:xfrm>
            <a:off x="3968350" y="1262325"/>
            <a:ext cx="4462500" cy="11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01</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5"/>
          <p:cNvSpPr txBox="1">
            <a:spLocks noGrp="1"/>
          </p:cNvSpPr>
          <p:nvPr>
            <p:ph type="title"/>
          </p:nvPr>
        </p:nvSpPr>
        <p:spPr>
          <a:xfrm>
            <a:off x="3984975" y="1495800"/>
            <a:ext cx="4055400" cy="7230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The Problem</a:t>
            </a:r>
            <a:endParaRPr/>
          </a:p>
        </p:txBody>
      </p:sp>
      <p:sp>
        <p:nvSpPr>
          <p:cNvPr id="230" name="Google Shape;230;p35"/>
          <p:cNvSpPr txBox="1">
            <a:spLocks noGrp="1"/>
          </p:cNvSpPr>
          <p:nvPr>
            <p:ph type="subTitle" idx="1"/>
          </p:nvPr>
        </p:nvSpPr>
        <p:spPr>
          <a:xfrm>
            <a:off x="3994375" y="2142600"/>
            <a:ext cx="4055400" cy="15051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Clr>
                <a:schemeClr val="dk1"/>
              </a:buClr>
              <a:buSzPts val="1100"/>
              <a:buFont typeface="Arial"/>
              <a:buNone/>
            </a:pPr>
            <a:r>
              <a:rPr lang="en"/>
              <a:t>Mercury is the closest planet to the Sun and the smallest one in the Solar System—it’s only a bit larger than the Moon. The planet’s name has nothing to do with the liquid metal, since it was named after the Roman messenger god, Mercury</a:t>
            </a:r>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34"/>
        <p:cNvGrpSpPr/>
        <p:nvPr/>
      </p:nvGrpSpPr>
      <p:grpSpPr>
        <a:xfrm>
          <a:off x="0" y="0"/>
          <a:ext cx="0" cy="0"/>
          <a:chOff x="0" y="0"/>
          <a:chExt cx="0" cy="0"/>
        </a:xfrm>
      </p:grpSpPr>
      <p:sp>
        <p:nvSpPr>
          <p:cNvPr id="235" name="Google Shape;235;p36"/>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Understanding the Problem </a:t>
            </a:r>
            <a:endParaRPr/>
          </a:p>
        </p:txBody>
      </p:sp>
      <p:sp>
        <p:nvSpPr>
          <p:cNvPr id="236" name="Google Shape;236;p36"/>
          <p:cNvSpPr txBox="1">
            <a:spLocks noGrp="1"/>
          </p:cNvSpPr>
          <p:nvPr>
            <p:ph type="subTitle" idx="1"/>
          </p:nvPr>
        </p:nvSpPr>
        <p:spPr>
          <a:xfrm>
            <a:off x="788100" y="2390400"/>
            <a:ext cx="22617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Jupiter</a:t>
            </a:r>
            <a:endParaRPr/>
          </a:p>
        </p:txBody>
      </p:sp>
      <p:sp>
        <p:nvSpPr>
          <p:cNvPr id="237" name="Google Shape;237;p36"/>
          <p:cNvSpPr txBox="1">
            <a:spLocks noGrp="1"/>
          </p:cNvSpPr>
          <p:nvPr>
            <p:ph type="subTitle" idx="2"/>
          </p:nvPr>
        </p:nvSpPr>
        <p:spPr>
          <a:xfrm>
            <a:off x="788100" y="2765850"/>
            <a:ext cx="2261700" cy="7239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Jupiter is the biggest planet of them all</a:t>
            </a:r>
            <a:endParaRPr/>
          </a:p>
        </p:txBody>
      </p:sp>
      <p:sp>
        <p:nvSpPr>
          <p:cNvPr id="238" name="Google Shape;238;p36"/>
          <p:cNvSpPr txBox="1">
            <a:spLocks noGrp="1"/>
          </p:cNvSpPr>
          <p:nvPr>
            <p:ph type="subTitle" idx="3"/>
          </p:nvPr>
        </p:nvSpPr>
        <p:spPr>
          <a:xfrm>
            <a:off x="3441150" y="2390400"/>
            <a:ext cx="22617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Mars</a:t>
            </a:r>
            <a:endParaRPr/>
          </a:p>
        </p:txBody>
      </p:sp>
      <p:sp>
        <p:nvSpPr>
          <p:cNvPr id="239" name="Google Shape;239;p36"/>
          <p:cNvSpPr txBox="1">
            <a:spLocks noGrp="1"/>
          </p:cNvSpPr>
          <p:nvPr>
            <p:ph type="subTitle" idx="4"/>
          </p:nvPr>
        </p:nvSpPr>
        <p:spPr>
          <a:xfrm>
            <a:off x="3441150" y="2765850"/>
            <a:ext cx="2261700" cy="7239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Despite being red, Mars is a cold place</a:t>
            </a:r>
            <a:endParaRPr/>
          </a:p>
        </p:txBody>
      </p:sp>
      <p:sp>
        <p:nvSpPr>
          <p:cNvPr id="240" name="Google Shape;240;p36"/>
          <p:cNvSpPr txBox="1">
            <a:spLocks noGrp="1"/>
          </p:cNvSpPr>
          <p:nvPr>
            <p:ph type="subTitle" idx="5"/>
          </p:nvPr>
        </p:nvSpPr>
        <p:spPr>
          <a:xfrm>
            <a:off x="6094200" y="2390400"/>
            <a:ext cx="22617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Saturn</a:t>
            </a:r>
            <a:endParaRPr/>
          </a:p>
        </p:txBody>
      </p:sp>
      <p:sp>
        <p:nvSpPr>
          <p:cNvPr id="241" name="Google Shape;241;p36"/>
          <p:cNvSpPr txBox="1">
            <a:spLocks noGrp="1"/>
          </p:cNvSpPr>
          <p:nvPr>
            <p:ph type="subTitle" idx="6"/>
          </p:nvPr>
        </p:nvSpPr>
        <p:spPr>
          <a:xfrm>
            <a:off x="6094200" y="2765850"/>
            <a:ext cx="2261700" cy="7239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It’s composed of hydrogen and helium</a:t>
            </a:r>
            <a:endParaRPr/>
          </a:p>
        </p:txBody>
      </p:sp>
      <p:sp>
        <p:nvSpPr>
          <p:cNvPr id="242" name="Google Shape;242;p36"/>
          <p:cNvSpPr/>
          <p:nvPr/>
        </p:nvSpPr>
        <p:spPr>
          <a:xfrm>
            <a:off x="4361596" y="1969176"/>
            <a:ext cx="420796" cy="419677"/>
          </a:xfrm>
          <a:custGeom>
            <a:avLst/>
            <a:gdLst/>
            <a:ahLst/>
            <a:cxnLst/>
            <a:rect l="l" t="t" r="r" b="b"/>
            <a:pathLst>
              <a:path w="11658" h="11627" extrusionOk="0">
                <a:moveTo>
                  <a:pt x="6806" y="2017"/>
                </a:moveTo>
                <a:lnTo>
                  <a:pt x="6806" y="2773"/>
                </a:lnTo>
                <a:lnTo>
                  <a:pt x="4758" y="2773"/>
                </a:lnTo>
                <a:lnTo>
                  <a:pt x="4758" y="2017"/>
                </a:lnTo>
                <a:close/>
                <a:moveTo>
                  <a:pt x="7152" y="694"/>
                </a:moveTo>
                <a:cubicBezTo>
                  <a:pt x="7688" y="694"/>
                  <a:pt x="8192" y="1167"/>
                  <a:pt x="8192" y="1702"/>
                </a:cubicBezTo>
                <a:lnTo>
                  <a:pt x="8192" y="2773"/>
                </a:lnTo>
                <a:lnTo>
                  <a:pt x="7499" y="2773"/>
                </a:lnTo>
                <a:lnTo>
                  <a:pt x="7499" y="1702"/>
                </a:lnTo>
                <a:cubicBezTo>
                  <a:pt x="7499" y="1513"/>
                  <a:pt x="7341" y="1356"/>
                  <a:pt x="7152" y="1356"/>
                </a:cubicBezTo>
                <a:lnTo>
                  <a:pt x="4411" y="1356"/>
                </a:lnTo>
                <a:cubicBezTo>
                  <a:pt x="4191" y="1356"/>
                  <a:pt x="4033" y="1513"/>
                  <a:pt x="4033" y="1702"/>
                </a:cubicBezTo>
                <a:lnTo>
                  <a:pt x="4033" y="2773"/>
                </a:lnTo>
                <a:lnTo>
                  <a:pt x="3371" y="2773"/>
                </a:lnTo>
                <a:lnTo>
                  <a:pt x="3371" y="1702"/>
                </a:lnTo>
                <a:cubicBezTo>
                  <a:pt x="3371" y="1167"/>
                  <a:pt x="3844" y="694"/>
                  <a:pt x="4411" y="694"/>
                </a:cubicBezTo>
                <a:close/>
                <a:moveTo>
                  <a:pt x="10618" y="3498"/>
                </a:moveTo>
                <a:cubicBezTo>
                  <a:pt x="10807" y="3498"/>
                  <a:pt x="10964" y="3656"/>
                  <a:pt x="10964" y="3845"/>
                </a:cubicBezTo>
                <a:lnTo>
                  <a:pt x="10964" y="5010"/>
                </a:lnTo>
                <a:cubicBezTo>
                  <a:pt x="9546" y="6239"/>
                  <a:pt x="7688" y="6901"/>
                  <a:pt x="5766" y="6901"/>
                </a:cubicBezTo>
                <a:cubicBezTo>
                  <a:pt x="3876" y="6901"/>
                  <a:pt x="2080" y="6239"/>
                  <a:pt x="662" y="5010"/>
                </a:cubicBezTo>
                <a:lnTo>
                  <a:pt x="662" y="3971"/>
                </a:lnTo>
                <a:cubicBezTo>
                  <a:pt x="662" y="3687"/>
                  <a:pt x="851" y="3498"/>
                  <a:pt x="1135" y="3498"/>
                </a:cubicBezTo>
                <a:close/>
                <a:moveTo>
                  <a:pt x="6806" y="7531"/>
                </a:moveTo>
                <a:lnTo>
                  <a:pt x="6806" y="7940"/>
                </a:lnTo>
                <a:cubicBezTo>
                  <a:pt x="6806" y="8129"/>
                  <a:pt x="6648" y="8287"/>
                  <a:pt x="6459" y="8287"/>
                </a:cubicBezTo>
                <a:lnTo>
                  <a:pt x="5073" y="8287"/>
                </a:lnTo>
                <a:cubicBezTo>
                  <a:pt x="4884" y="8287"/>
                  <a:pt x="4726" y="8129"/>
                  <a:pt x="4726" y="7940"/>
                </a:cubicBezTo>
                <a:lnTo>
                  <a:pt x="4726" y="7531"/>
                </a:lnTo>
                <a:lnTo>
                  <a:pt x="4758" y="7531"/>
                </a:lnTo>
                <a:cubicBezTo>
                  <a:pt x="5104" y="7594"/>
                  <a:pt x="5419" y="7625"/>
                  <a:pt x="5766" y="7625"/>
                </a:cubicBezTo>
                <a:cubicBezTo>
                  <a:pt x="6112" y="7625"/>
                  <a:pt x="6427" y="7594"/>
                  <a:pt x="6806" y="7531"/>
                </a:cubicBezTo>
                <a:close/>
                <a:moveTo>
                  <a:pt x="10964" y="5892"/>
                </a:moveTo>
                <a:lnTo>
                  <a:pt x="10964" y="9988"/>
                </a:lnTo>
                <a:cubicBezTo>
                  <a:pt x="10964" y="10524"/>
                  <a:pt x="10492" y="10996"/>
                  <a:pt x="9956" y="10996"/>
                </a:cubicBezTo>
                <a:lnTo>
                  <a:pt x="1670" y="10996"/>
                </a:lnTo>
                <a:cubicBezTo>
                  <a:pt x="1135" y="10996"/>
                  <a:pt x="662" y="10524"/>
                  <a:pt x="662" y="9988"/>
                </a:cubicBezTo>
                <a:lnTo>
                  <a:pt x="662" y="5892"/>
                </a:lnTo>
                <a:cubicBezTo>
                  <a:pt x="1670" y="6649"/>
                  <a:pt x="2804" y="7184"/>
                  <a:pt x="4065" y="7436"/>
                </a:cubicBezTo>
                <a:lnTo>
                  <a:pt x="4065" y="7940"/>
                </a:lnTo>
                <a:cubicBezTo>
                  <a:pt x="4065" y="8476"/>
                  <a:pt x="4537" y="8948"/>
                  <a:pt x="5104" y="8948"/>
                </a:cubicBezTo>
                <a:lnTo>
                  <a:pt x="6490" y="8948"/>
                </a:lnTo>
                <a:cubicBezTo>
                  <a:pt x="7026" y="8948"/>
                  <a:pt x="7499" y="8476"/>
                  <a:pt x="7499" y="7940"/>
                </a:cubicBezTo>
                <a:lnTo>
                  <a:pt x="7499" y="7436"/>
                </a:lnTo>
                <a:cubicBezTo>
                  <a:pt x="7971" y="7342"/>
                  <a:pt x="8444" y="7184"/>
                  <a:pt x="8916" y="7027"/>
                </a:cubicBezTo>
                <a:cubicBezTo>
                  <a:pt x="9672" y="6743"/>
                  <a:pt x="10334" y="6365"/>
                  <a:pt x="10964" y="5892"/>
                </a:cubicBezTo>
                <a:close/>
                <a:moveTo>
                  <a:pt x="4411" y="1"/>
                </a:moveTo>
                <a:cubicBezTo>
                  <a:pt x="3466" y="1"/>
                  <a:pt x="2710" y="757"/>
                  <a:pt x="2710" y="1702"/>
                </a:cubicBezTo>
                <a:lnTo>
                  <a:pt x="2710" y="2773"/>
                </a:lnTo>
                <a:lnTo>
                  <a:pt x="1135" y="2773"/>
                </a:lnTo>
                <a:cubicBezTo>
                  <a:pt x="505" y="2773"/>
                  <a:pt x="0" y="3277"/>
                  <a:pt x="0" y="3908"/>
                </a:cubicBezTo>
                <a:lnTo>
                  <a:pt x="0" y="9957"/>
                </a:lnTo>
                <a:cubicBezTo>
                  <a:pt x="0" y="10902"/>
                  <a:pt x="725" y="11626"/>
                  <a:pt x="1670" y="11626"/>
                </a:cubicBezTo>
                <a:lnTo>
                  <a:pt x="9956" y="11626"/>
                </a:lnTo>
                <a:cubicBezTo>
                  <a:pt x="10901" y="11626"/>
                  <a:pt x="11657" y="10902"/>
                  <a:pt x="11657" y="9957"/>
                </a:cubicBezTo>
                <a:lnTo>
                  <a:pt x="11657" y="3813"/>
                </a:lnTo>
                <a:cubicBezTo>
                  <a:pt x="11626" y="3246"/>
                  <a:pt x="11153" y="2773"/>
                  <a:pt x="10618" y="2773"/>
                </a:cubicBezTo>
                <a:lnTo>
                  <a:pt x="8853" y="2773"/>
                </a:lnTo>
                <a:lnTo>
                  <a:pt x="8853" y="1702"/>
                </a:lnTo>
                <a:cubicBezTo>
                  <a:pt x="8853" y="757"/>
                  <a:pt x="8097" y="1"/>
                  <a:pt x="71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36"/>
          <p:cNvSpPr/>
          <p:nvPr/>
        </p:nvSpPr>
        <p:spPr>
          <a:xfrm>
            <a:off x="1706286" y="1967624"/>
            <a:ext cx="425343" cy="422781"/>
          </a:xfrm>
          <a:custGeom>
            <a:avLst/>
            <a:gdLst/>
            <a:ahLst/>
            <a:cxnLst/>
            <a:rect l="l" t="t" r="r" b="b"/>
            <a:pathLst>
              <a:path w="11784" h="11713" extrusionOk="0">
                <a:moveTo>
                  <a:pt x="5136" y="4128"/>
                </a:moveTo>
                <a:cubicBezTo>
                  <a:pt x="5671" y="4128"/>
                  <a:pt x="6112" y="4569"/>
                  <a:pt x="6144" y="5136"/>
                </a:cubicBezTo>
                <a:lnTo>
                  <a:pt x="5230" y="4853"/>
                </a:lnTo>
                <a:cubicBezTo>
                  <a:pt x="5198" y="4839"/>
                  <a:pt x="5165" y="4832"/>
                  <a:pt x="5131" y="4832"/>
                </a:cubicBezTo>
                <a:cubicBezTo>
                  <a:pt x="4934" y="4832"/>
                  <a:pt x="4735" y="5052"/>
                  <a:pt x="4789" y="5294"/>
                </a:cubicBezTo>
                <a:lnTo>
                  <a:pt x="5073" y="6239"/>
                </a:lnTo>
                <a:cubicBezTo>
                  <a:pt x="4537" y="6176"/>
                  <a:pt x="4096" y="5703"/>
                  <a:pt x="4096" y="5168"/>
                </a:cubicBezTo>
                <a:cubicBezTo>
                  <a:pt x="4096" y="4601"/>
                  <a:pt x="4569" y="4128"/>
                  <a:pt x="5136" y="4128"/>
                </a:cubicBezTo>
                <a:close/>
                <a:moveTo>
                  <a:pt x="5199" y="2364"/>
                </a:moveTo>
                <a:cubicBezTo>
                  <a:pt x="6680" y="2364"/>
                  <a:pt x="7940" y="3592"/>
                  <a:pt x="7940" y="5136"/>
                </a:cubicBezTo>
                <a:cubicBezTo>
                  <a:pt x="7940" y="5294"/>
                  <a:pt x="7940" y="5388"/>
                  <a:pt x="7908" y="5546"/>
                </a:cubicBezTo>
                <a:lnTo>
                  <a:pt x="6932" y="5294"/>
                </a:lnTo>
                <a:lnTo>
                  <a:pt x="6932" y="5136"/>
                </a:lnTo>
                <a:cubicBezTo>
                  <a:pt x="6806" y="4223"/>
                  <a:pt x="6049" y="3466"/>
                  <a:pt x="5104" y="3466"/>
                </a:cubicBezTo>
                <a:cubicBezTo>
                  <a:pt x="4159" y="3466"/>
                  <a:pt x="3435" y="4223"/>
                  <a:pt x="3435" y="5168"/>
                </a:cubicBezTo>
                <a:cubicBezTo>
                  <a:pt x="3435" y="5609"/>
                  <a:pt x="3624" y="6081"/>
                  <a:pt x="3939" y="6396"/>
                </a:cubicBezTo>
                <a:cubicBezTo>
                  <a:pt x="4254" y="6743"/>
                  <a:pt x="4695" y="6900"/>
                  <a:pt x="5167" y="6900"/>
                </a:cubicBezTo>
                <a:lnTo>
                  <a:pt x="5325" y="6900"/>
                </a:lnTo>
                <a:lnTo>
                  <a:pt x="5577" y="7877"/>
                </a:lnTo>
                <a:cubicBezTo>
                  <a:pt x="5482" y="7909"/>
                  <a:pt x="5325" y="7909"/>
                  <a:pt x="5199" y="7909"/>
                </a:cubicBezTo>
                <a:cubicBezTo>
                  <a:pt x="3687" y="7909"/>
                  <a:pt x="2426" y="6648"/>
                  <a:pt x="2426" y="5136"/>
                </a:cubicBezTo>
                <a:cubicBezTo>
                  <a:pt x="2426" y="3624"/>
                  <a:pt x="3655" y="2364"/>
                  <a:pt x="5199" y="2364"/>
                </a:cubicBezTo>
                <a:close/>
                <a:moveTo>
                  <a:pt x="5167" y="726"/>
                </a:moveTo>
                <a:cubicBezTo>
                  <a:pt x="7940" y="726"/>
                  <a:pt x="10051" y="3277"/>
                  <a:pt x="9515" y="6018"/>
                </a:cubicBezTo>
                <a:lnTo>
                  <a:pt x="8507" y="5766"/>
                </a:lnTo>
                <a:cubicBezTo>
                  <a:pt x="8538" y="5546"/>
                  <a:pt x="8538" y="5357"/>
                  <a:pt x="8538" y="5136"/>
                </a:cubicBezTo>
                <a:cubicBezTo>
                  <a:pt x="8538" y="3246"/>
                  <a:pt x="7026" y="1702"/>
                  <a:pt x="5104" y="1702"/>
                </a:cubicBezTo>
                <a:cubicBezTo>
                  <a:pt x="3214" y="1702"/>
                  <a:pt x="1702" y="3246"/>
                  <a:pt x="1702" y="5136"/>
                </a:cubicBezTo>
                <a:cubicBezTo>
                  <a:pt x="1702" y="7027"/>
                  <a:pt x="3214" y="8602"/>
                  <a:pt x="5104" y="8602"/>
                </a:cubicBezTo>
                <a:cubicBezTo>
                  <a:pt x="5325" y="8602"/>
                  <a:pt x="5514" y="8602"/>
                  <a:pt x="5703" y="8539"/>
                </a:cubicBezTo>
                <a:lnTo>
                  <a:pt x="5986" y="9578"/>
                </a:lnTo>
                <a:cubicBezTo>
                  <a:pt x="5695" y="9636"/>
                  <a:pt x="5405" y="9664"/>
                  <a:pt x="5119" y="9664"/>
                </a:cubicBezTo>
                <a:cubicBezTo>
                  <a:pt x="2751" y="9664"/>
                  <a:pt x="694" y="7758"/>
                  <a:pt x="694" y="5199"/>
                </a:cubicBezTo>
                <a:cubicBezTo>
                  <a:pt x="694" y="2679"/>
                  <a:pt x="2773" y="726"/>
                  <a:pt x="5167" y="726"/>
                </a:cubicBezTo>
                <a:close/>
                <a:moveTo>
                  <a:pt x="5671" y="5672"/>
                </a:moveTo>
                <a:lnTo>
                  <a:pt x="5671" y="5672"/>
                </a:lnTo>
                <a:cubicBezTo>
                  <a:pt x="10240" y="6964"/>
                  <a:pt x="9578" y="6774"/>
                  <a:pt x="9704" y="6806"/>
                </a:cubicBezTo>
                <a:lnTo>
                  <a:pt x="8853" y="7373"/>
                </a:lnTo>
                <a:cubicBezTo>
                  <a:pt x="8664" y="7499"/>
                  <a:pt x="8664" y="7751"/>
                  <a:pt x="8822" y="7877"/>
                </a:cubicBezTo>
                <a:lnTo>
                  <a:pt x="10964" y="9956"/>
                </a:lnTo>
                <a:cubicBezTo>
                  <a:pt x="11027" y="10114"/>
                  <a:pt x="11027" y="10335"/>
                  <a:pt x="10901" y="10492"/>
                </a:cubicBezTo>
                <a:lnTo>
                  <a:pt x="10429" y="10965"/>
                </a:lnTo>
                <a:cubicBezTo>
                  <a:pt x="10366" y="11012"/>
                  <a:pt x="10279" y="11035"/>
                  <a:pt x="10192" y="11035"/>
                </a:cubicBezTo>
                <a:cubicBezTo>
                  <a:pt x="10106" y="11035"/>
                  <a:pt x="10019" y="11012"/>
                  <a:pt x="9956" y="10965"/>
                </a:cubicBezTo>
                <a:lnTo>
                  <a:pt x="7845" y="8854"/>
                </a:lnTo>
                <a:cubicBezTo>
                  <a:pt x="7777" y="8786"/>
                  <a:pt x="7691" y="8753"/>
                  <a:pt x="7606" y="8753"/>
                </a:cubicBezTo>
                <a:cubicBezTo>
                  <a:pt x="7493" y="8753"/>
                  <a:pt x="7381" y="8809"/>
                  <a:pt x="7310" y="8917"/>
                </a:cubicBezTo>
                <a:cubicBezTo>
                  <a:pt x="7247" y="8980"/>
                  <a:pt x="6806" y="9641"/>
                  <a:pt x="6774" y="9736"/>
                </a:cubicBezTo>
                <a:cubicBezTo>
                  <a:pt x="6680" y="9484"/>
                  <a:pt x="5703" y="5861"/>
                  <a:pt x="5671" y="5672"/>
                </a:cubicBezTo>
                <a:close/>
                <a:moveTo>
                  <a:pt x="5104" y="1"/>
                </a:moveTo>
                <a:cubicBezTo>
                  <a:pt x="2363" y="1"/>
                  <a:pt x="0" y="2238"/>
                  <a:pt x="0" y="5168"/>
                </a:cubicBezTo>
                <a:cubicBezTo>
                  <a:pt x="0" y="8066"/>
                  <a:pt x="2332" y="10303"/>
                  <a:pt x="5104" y="10303"/>
                </a:cubicBezTo>
                <a:cubicBezTo>
                  <a:pt x="5482" y="10303"/>
                  <a:pt x="5797" y="10272"/>
                  <a:pt x="6144" y="10208"/>
                </a:cubicBezTo>
                <a:lnTo>
                  <a:pt x="6270" y="10587"/>
                </a:lnTo>
                <a:cubicBezTo>
                  <a:pt x="6307" y="10755"/>
                  <a:pt x="6444" y="10845"/>
                  <a:pt x="6596" y="10845"/>
                </a:cubicBezTo>
                <a:cubicBezTo>
                  <a:pt x="6700" y="10845"/>
                  <a:pt x="6810" y="10802"/>
                  <a:pt x="6900" y="10713"/>
                </a:cubicBezTo>
                <a:lnTo>
                  <a:pt x="7625" y="9610"/>
                </a:lnTo>
                <a:lnTo>
                  <a:pt x="9483" y="11406"/>
                </a:lnTo>
                <a:cubicBezTo>
                  <a:pt x="9688" y="11610"/>
                  <a:pt x="9956" y="11713"/>
                  <a:pt x="10220" y="11713"/>
                </a:cubicBezTo>
                <a:cubicBezTo>
                  <a:pt x="10484" y="11713"/>
                  <a:pt x="10744" y="11610"/>
                  <a:pt x="10933" y="11406"/>
                </a:cubicBezTo>
                <a:lnTo>
                  <a:pt x="11405" y="10933"/>
                </a:lnTo>
                <a:cubicBezTo>
                  <a:pt x="11783" y="10555"/>
                  <a:pt x="11783" y="9893"/>
                  <a:pt x="11374" y="9484"/>
                </a:cubicBezTo>
                <a:lnTo>
                  <a:pt x="9515" y="7720"/>
                </a:lnTo>
                <a:lnTo>
                  <a:pt x="10618" y="6964"/>
                </a:lnTo>
                <a:cubicBezTo>
                  <a:pt x="10870" y="6806"/>
                  <a:pt x="10838" y="6428"/>
                  <a:pt x="10555" y="6333"/>
                </a:cubicBezTo>
                <a:lnTo>
                  <a:pt x="10145" y="6239"/>
                </a:lnTo>
                <a:cubicBezTo>
                  <a:pt x="10303" y="5483"/>
                  <a:pt x="10271" y="4695"/>
                  <a:pt x="10082" y="3908"/>
                </a:cubicBezTo>
                <a:cubicBezTo>
                  <a:pt x="9483" y="1576"/>
                  <a:pt x="7436" y="1"/>
                  <a:pt x="51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 name="Google Shape;244;p36"/>
          <p:cNvGrpSpPr/>
          <p:nvPr/>
        </p:nvGrpSpPr>
        <p:grpSpPr>
          <a:xfrm>
            <a:off x="7012381" y="1966917"/>
            <a:ext cx="425343" cy="424188"/>
            <a:chOff x="-3854375" y="2405000"/>
            <a:chExt cx="294600" cy="293800"/>
          </a:xfrm>
        </p:grpSpPr>
        <p:sp>
          <p:nvSpPr>
            <p:cNvPr id="245" name="Google Shape;245;p36"/>
            <p:cNvSpPr/>
            <p:nvPr/>
          </p:nvSpPr>
          <p:spPr>
            <a:xfrm>
              <a:off x="-3854375" y="2405000"/>
              <a:ext cx="294600" cy="293800"/>
            </a:xfrm>
            <a:custGeom>
              <a:avLst/>
              <a:gdLst/>
              <a:ahLst/>
              <a:cxnLst/>
              <a:rect l="l" t="t" r="r" b="b"/>
              <a:pathLst>
                <a:path w="11784" h="11752" extrusionOk="0">
                  <a:moveTo>
                    <a:pt x="6994" y="694"/>
                  </a:moveTo>
                  <a:lnTo>
                    <a:pt x="6994" y="1103"/>
                  </a:lnTo>
                  <a:cubicBezTo>
                    <a:pt x="6994" y="1261"/>
                    <a:pt x="7120" y="1387"/>
                    <a:pt x="7278" y="1418"/>
                  </a:cubicBezTo>
                  <a:cubicBezTo>
                    <a:pt x="7467" y="1481"/>
                    <a:pt x="7719" y="1576"/>
                    <a:pt x="7908" y="1702"/>
                  </a:cubicBezTo>
                  <a:cubicBezTo>
                    <a:pt x="7954" y="1736"/>
                    <a:pt x="8009" y="1750"/>
                    <a:pt x="8066" y="1750"/>
                  </a:cubicBezTo>
                  <a:cubicBezTo>
                    <a:pt x="8164" y="1750"/>
                    <a:pt x="8269" y="1710"/>
                    <a:pt x="8349" y="1670"/>
                  </a:cubicBezTo>
                  <a:lnTo>
                    <a:pt x="8664" y="1355"/>
                  </a:lnTo>
                  <a:lnTo>
                    <a:pt x="9137" y="1828"/>
                  </a:lnTo>
                  <a:lnTo>
                    <a:pt x="8822" y="2143"/>
                  </a:lnTo>
                  <a:cubicBezTo>
                    <a:pt x="8696" y="2269"/>
                    <a:pt x="8696" y="2426"/>
                    <a:pt x="8759" y="2584"/>
                  </a:cubicBezTo>
                  <a:cubicBezTo>
                    <a:pt x="8885" y="2773"/>
                    <a:pt x="8979" y="2962"/>
                    <a:pt x="9042" y="3214"/>
                  </a:cubicBezTo>
                  <a:cubicBezTo>
                    <a:pt x="9074" y="3372"/>
                    <a:pt x="9200" y="3466"/>
                    <a:pt x="9357" y="3466"/>
                  </a:cubicBezTo>
                  <a:lnTo>
                    <a:pt x="9798" y="3466"/>
                  </a:lnTo>
                  <a:lnTo>
                    <a:pt x="9798" y="4159"/>
                  </a:lnTo>
                  <a:lnTo>
                    <a:pt x="9357" y="4159"/>
                  </a:lnTo>
                  <a:cubicBezTo>
                    <a:pt x="9200" y="4159"/>
                    <a:pt x="9074" y="4222"/>
                    <a:pt x="9042" y="4380"/>
                  </a:cubicBezTo>
                  <a:cubicBezTo>
                    <a:pt x="9011" y="4569"/>
                    <a:pt x="8885" y="4821"/>
                    <a:pt x="8759" y="5010"/>
                  </a:cubicBezTo>
                  <a:cubicBezTo>
                    <a:pt x="8696" y="5136"/>
                    <a:pt x="8727" y="5325"/>
                    <a:pt x="8822" y="5451"/>
                  </a:cubicBezTo>
                  <a:lnTo>
                    <a:pt x="9137" y="5766"/>
                  </a:lnTo>
                  <a:lnTo>
                    <a:pt x="8664" y="6238"/>
                  </a:lnTo>
                  <a:lnTo>
                    <a:pt x="8349" y="5923"/>
                  </a:lnTo>
                  <a:cubicBezTo>
                    <a:pt x="8275" y="5850"/>
                    <a:pt x="8191" y="5819"/>
                    <a:pt x="8101" y="5819"/>
                  </a:cubicBezTo>
                  <a:cubicBezTo>
                    <a:pt x="8038" y="5819"/>
                    <a:pt x="7973" y="5834"/>
                    <a:pt x="7908" y="5860"/>
                  </a:cubicBezTo>
                  <a:cubicBezTo>
                    <a:pt x="7719" y="5986"/>
                    <a:pt x="7498" y="6081"/>
                    <a:pt x="7278" y="6144"/>
                  </a:cubicBezTo>
                  <a:cubicBezTo>
                    <a:pt x="7120" y="6175"/>
                    <a:pt x="6994" y="6301"/>
                    <a:pt x="6994" y="6459"/>
                  </a:cubicBezTo>
                  <a:lnTo>
                    <a:pt x="6994" y="6900"/>
                  </a:lnTo>
                  <a:lnTo>
                    <a:pt x="6333" y="6900"/>
                  </a:lnTo>
                  <a:lnTo>
                    <a:pt x="6333" y="6459"/>
                  </a:lnTo>
                  <a:cubicBezTo>
                    <a:pt x="6333" y="6301"/>
                    <a:pt x="6207" y="6207"/>
                    <a:pt x="6049" y="6144"/>
                  </a:cubicBezTo>
                  <a:cubicBezTo>
                    <a:pt x="5860" y="6112"/>
                    <a:pt x="5608" y="5986"/>
                    <a:pt x="5419" y="5860"/>
                  </a:cubicBezTo>
                  <a:cubicBezTo>
                    <a:pt x="5374" y="5838"/>
                    <a:pt x="5322" y="5828"/>
                    <a:pt x="5267" y="5828"/>
                  </a:cubicBezTo>
                  <a:cubicBezTo>
                    <a:pt x="5167" y="5828"/>
                    <a:pt x="5059" y="5862"/>
                    <a:pt x="4978" y="5923"/>
                  </a:cubicBezTo>
                  <a:lnTo>
                    <a:pt x="4663" y="6238"/>
                  </a:lnTo>
                  <a:lnTo>
                    <a:pt x="4190" y="5766"/>
                  </a:lnTo>
                  <a:lnTo>
                    <a:pt x="4505" y="5451"/>
                  </a:lnTo>
                  <a:cubicBezTo>
                    <a:pt x="4631" y="5325"/>
                    <a:pt x="4631" y="5167"/>
                    <a:pt x="4568" y="5010"/>
                  </a:cubicBezTo>
                  <a:cubicBezTo>
                    <a:pt x="4442" y="4821"/>
                    <a:pt x="4348" y="4632"/>
                    <a:pt x="4285" y="4380"/>
                  </a:cubicBezTo>
                  <a:cubicBezTo>
                    <a:pt x="4253" y="4254"/>
                    <a:pt x="4127" y="4159"/>
                    <a:pt x="4001" y="4159"/>
                  </a:cubicBezTo>
                  <a:lnTo>
                    <a:pt x="3529" y="4159"/>
                  </a:lnTo>
                  <a:lnTo>
                    <a:pt x="3529" y="3466"/>
                  </a:lnTo>
                  <a:lnTo>
                    <a:pt x="3970" y="3466"/>
                  </a:lnTo>
                  <a:cubicBezTo>
                    <a:pt x="4127" y="3466"/>
                    <a:pt x="4253" y="3372"/>
                    <a:pt x="4285" y="3214"/>
                  </a:cubicBezTo>
                  <a:cubicBezTo>
                    <a:pt x="4316" y="2993"/>
                    <a:pt x="4442" y="2773"/>
                    <a:pt x="4568" y="2584"/>
                  </a:cubicBezTo>
                  <a:cubicBezTo>
                    <a:pt x="4631" y="2458"/>
                    <a:pt x="4600" y="2269"/>
                    <a:pt x="4505" y="2143"/>
                  </a:cubicBezTo>
                  <a:lnTo>
                    <a:pt x="4190" y="1828"/>
                  </a:lnTo>
                  <a:lnTo>
                    <a:pt x="4663" y="1355"/>
                  </a:lnTo>
                  <a:lnTo>
                    <a:pt x="4978" y="1670"/>
                  </a:lnTo>
                  <a:cubicBezTo>
                    <a:pt x="5046" y="1738"/>
                    <a:pt x="5122" y="1769"/>
                    <a:pt x="5203" y="1769"/>
                  </a:cubicBezTo>
                  <a:cubicBezTo>
                    <a:pt x="5273" y="1769"/>
                    <a:pt x="5346" y="1746"/>
                    <a:pt x="5419" y="1702"/>
                  </a:cubicBezTo>
                  <a:cubicBezTo>
                    <a:pt x="5608" y="1576"/>
                    <a:pt x="5829" y="1513"/>
                    <a:pt x="6049" y="1418"/>
                  </a:cubicBezTo>
                  <a:cubicBezTo>
                    <a:pt x="6207" y="1387"/>
                    <a:pt x="6333" y="1261"/>
                    <a:pt x="6333" y="1103"/>
                  </a:cubicBezTo>
                  <a:lnTo>
                    <a:pt x="6333" y="694"/>
                  </a:lnTo>
                  <a:close/>
                  <a:moveTo>
                    <a:pt x="10964" y="4821"/>
                  </a:moveTo>
                  <a:lnTo>
                    <a:pt x="9830" y="8255"/>
                  </a:lnTo>
                  <a:lnTo>
                    <a:pt x="2773" y="8255"/>
                  </a:lnTo>
                  <a:lnTo>
                    <a:pt x="2143" y="4821"/>
                  </a:lnTo>
                  <a:lnTo>
                    <a:pt x="3686" y="4821"/>
                  </a:lnTo>
                  <a:cubicBezTo>
                    <a:pt x="3718" y="4947"/>
                    <a:pt x="3781" y="5010"/>
                    <a:pt x="3812" y="5136"/>
                  </a:cubicBezTo>
                  <a:lnTo>
                    <a:pt x="3466" y="5482"/>
                  </a:lnTo>
                  <a:cubicBezTo>
                    <a:pt x="3340" y="5608"/>
                    <a:pt x="3340" y="5829"/>
                    <a:pt x="3466" y="5955"/>
                  </a:cubicBezTo>
                  <a:lnTo>
                    <a:pt x="4442" y="6932"/>
                  </a:lnTo>
                  <a:cubicBezTo>
                    <a:pt x="4505" y="6995"/>
                    <a:pt x="4592" y="7026"/>
                    <a:pt x="4679" y="7026"/>
                  </a:cubicBezTo>
                  <a:cubicBezTo>
                    <a:pt x="4765" y="7026"/>
                    <a:pt x="4852" y="6995"/>
                    <a:pt x="4915" y="6932"/>
                  </a:cubicBezTo>
                  <a:lnTo>
                    <a:pt x="5262" y="6585"/>
                  </a:lnTo>
                  <a:cubicBezTo>
                    <a:pt x="5356" y="6617"/>
                    <a:pt x="5451" y="6680"/>
                    <a:pt x="5577" y="6711"/>
                  </a:cubicBezTo>
                  <a:lnTo>
                    <a:pt x="5577" y="7215"/>
                  </a:lnTo>
                  <a:cubicBezTo>
                    <a:pt x="5577" y="7404"/>
                    <a:pt x="5734" y="7562"/>
                    <a:pt x="5923" y="7562"/>
                  </a:cubicBezTo>
                  <a:lnTo>
                    <a:pt x="7309" y="7562"/>
                  </a:lnTo>
                  <a:cubicBezTo>
                    <a:pt x="7498" y="7562"/>
                    <a:pt x="7656" y="7404"/>
                    <a:pt x="7656" y="7215"/>
                  </a:cubicBezTo>
                  <a:lnTo>
                    <a:pt x="7656" y="6711"/>
                  </a:lnTo>
                  <a:cubicBezTo>
                    <a:pt x="7782" y="6680"/>
                    <a:pt x="7876" y="6617"/>
                    <a:pt x="7971" y="6585"/>
                  </a:cubicBezTo>
                  <a:lnTo>
                    <a:pt x="8349" y="6932"/>
                  </a:lnTo>
                  <a:cubicBezTo>
                    <a:pt x="8396" y="6995"/>
                    <a:pt x="8483" y="7026"/>
                    <a:pt x="8574" y="7026"/>
                  </a:cubicBezTo>
                  <a:cubicBezTo>
                    <a:pt x="8664" y="7026"/>
                    <a:pt x="8759" y="6995"/>
                    <a:pt x="8822" y="6932"/>
                  </a:cubicBezTo>
                  <a:lnTo>
                    <a:pt x="9798" y="5955"/>
                  </a:lnTo>
                  <a:cubicBezTo>
                    <a:pt x="9924" y="5829"/>
                    <a:pt x="9924" y="5608"/>
                    <a:pt x="9798" y="5482"/>
                  </a:cubicBezTo>
                  <a:lnTo>
                    <a:pt x="9452" y="5136"/>
                  </a:lnTo>
                  <a:cubicBezTo>
                    <a:pt x="9483" y="5041"/>
                    <a:pt x="9515" y="4947"/>
                    <a:pt x="9546" y="4821"/>
                  </a:cubicBezTo>
                  <a:close/>
                  <a:moveTo>
                    <a:pt x="3907" y="10334"/>
                  </a:moveTo>
                  <a:cubicBezTo>
                    <a:pt x="4096" y="10366"/>
                    <a:pt x="4253" y="10523"/>
                    <a:pt x="4253" y="10681"/>
                  </a:cubicBezTo>
                  <a:cubicBezTo>
                    <a:pt x="4253" y="10870"/>
                    <a:pt x="4096" y="11027"/>
                    <a:pt x="3907" y="11027"/>
                  </a:cubicBezTo>
                  <a:cubicBezTo>
                    <a:pt x="3686" y="11027"/>
                    <a:pt x="3529" y="10870"/>
                    <a:pt x="3529" y="10681"/>
                  </a:cubicBezTo>
                  <a:cubicBezTo>
                    <a:pt x="3529" y="10492"/>
                    <a:pt x="3686" y="10334"/>
                    <a:pt x="3907" y="10334"/>
                  </a:cubicBezTo>
                  <a:close/>
                  <a:moveTo>
                    <a:pt x="8664" y="10334"/>
                  </a:moveTo>
                  <a:cubicBezTo>
                    <a:pt x="8853" y="10366"/>
                    <a:pt x="9011" y="10523"/>
                    <a:pt x="9011" y="10681"/>
                  </a:cubicBezTo>
                  <a:cubicBezTo>
                    <a:pt x="9011" y="10870"/>
                    <a:pt x="8853" y="11027"/>
                    <a:pt x="8664" y="11027"/>
                  </a:cubicBezTo>
                  <a:cubicBezTo>
                    <a:pt x="8444" y="11027"/>
                    <a:pt x="8286" y="10870"/>
                    <a:pt x="8286" y="10681"/>
                  </a:cubicBezTo>
                  <a:cubicBezTo>
                    <a:pt x="8286" y="10492"/>
                    <a:pt x="8444" y="10334"/>
                    <a:pt x="8664" y="10334"/>
                  </a:cubicBezTo>
                  <a:close/>
                  <a:moveTo>
                    <a:pt x="5892" y="0"/>
                  </a:moveTo>
                  <a:cubicBezTo>
                    <a:pt x="5703" y="0"/>
                    <a:pt x="5545" y="158"/>
                    <a:pt x="5545" y="379"/>
                  </a:cubicBezTo>
                  <a:lnTo>
                    <a:pt x="5545" y="883"/>
                  </a:lnTo>
                  <a:cubicBezTo>
                    <a:pt x="5419" y="914"/>
                    <a:pt x="5356" y="946"/>
                    <a:pt x="5230" y="1009"/>
                  </a:cubicBezTo>
                  <a:lnTo>
                    <a:pt x="4883" y="631"/>
                  </a:lnTo>
                  <a:cubicBezTo>
                    <a:pt x="4820" y="583"/>
                    <a:pt x="4734" y="560"/>
                    <a:pt x="4647" y="560"/>
                  </a:cubicBezTo>
                  <a:cubicBezTo>
                    <a:pt x="4561" y="560"/>
                    <a:pt x="4474" y="583"/>
                    <a:pt x="4411" y="631"/>
                  </a:cubicBezTo>
                  <a:lnTo>
                    <a:pt x="3434" y="1639"/>
                  </a:lnTo>
                  <a:cubicBezTo>
                    <a:pt x="3308" y="1733"/>
                    <a:pt x="3308" y="1985"/>
                    <a:pt x="3434" y="2111"/>
                  </a:cubicBezTo>
                  <a:lnTo>
                    <a:pt x="3781" y="2458"/>
                  </a:lnTo>
                  <a:cubicBezTo>
                    <a:pt x="3718" y="2521"/>
                    <a:pt x="3686" y="2647"/>
                    <a:pt x="3655" y="2773"/>
                  </a:cubicBezTo>
                  <a:lnTo>
                    <a:pt x="3151" y="2773"/>
                  </a:lnTo>
                  <a:cubicBezTo>
                    <a:pt x="2930" y="2773"/>
                    <a:pt x="2773" y="2930"/>
                    <a:pt x="2773" y="3119"/>
                  </a:cubicBezTo>
                  <a:lnTo>
                    <a:pt x="2773" y="4159"/>
                  </a:lnTo>
                  <a:lnTo>
                    <a:pt x="1985" y="4159"/>
                  </a:lnTo>
                  <a:lnTo>
                    <a:pt x="1765" y="2930"/>
                  </a:lnTo>
                  <a:cubicBezTo>
                    <a:pt x="1670" y="2458"/>
                    <a:pt x="1197" y="2111"/>
                    <a:pt x="693" y="2111"/>
                  </a:cubicBezTo>
                  <a:lnTo>
                    <a:pt x="347" y="2111"/>
                  </a:lnTo>
                  <a:cubicBezTo>
                    <a:pt x="158" y="2111"/>
                    <a:pt x="0" y="2269"/>
                    <a:pt x="0" y="2458"/>
                  </a:cubicBezTo>
                  <a:cubicBezTo>
                    <a:pt x="0" y="2647"/>
                    <a:pt x="158" y="2804"/>
                    <a:pt x="347" y="2804"/>
                  </a:cubicBezTo>
                  <a:lnTo>
                    <a:pt x="693" y="2804"/>
                  </a:lnTo>
                  <a:cubicBezTo>
                    <a:pt x="882" y="2804"/>
                    <a:pt x="1103" y="2930"/>
                    <a:pt x="1103" y="3088"/>
                  </a:cubicBezTo>
                  <a:lnTo>
                    <a:pt x="2080" y="8570"/>
                  </a:lnTo>
                  <a:cubicBezTo>
                    <a:pt x="1891" y="8759"/>
                    <a:pt x="1765" y="9042"/>
                    <a:pt x="1765" y="9357"/>
                  </a:cubicBezTo>
                  <a:cubicBezTo>
                    <a:pt x="1765" y="9861"/>
                    <a:pt x="2143" y="10366"/>
                    <a:pt x="2867" y="10366"/>
                  </a:cubicBezTo>
                  <a:cubicBezTo>
                    <a:pt x="2836" y="10492"/>
                    <a:pt x="2836" y="10618"/>
                    <a:pt x="2836" y="10712"/>
                  </a:cubicBezTo>
                  <a:cubicBezTo>
                    <a:pt x="2836" y="11279"/>
                    <a:pt x="3308" y="11752"/>
                    <a:pt x="3844" y="11752"/>
                  </a:cubicBezTo>
                  <a:cubicBezTo>
                    <a:pt x="4411" y="11752"/>
                    <a:pt x="4883" y="11279"/>
                    <a:pt x="4883" y="10712"/>
                  </a:cubicBezTo>
                  <a:cubicBezTo>
                    <a:pt x="4883" y="10618"/>
                    <a:pt x="4820" y="10492"/>
                    <a:pt x="4820" y="10366"/>
                  </a:cubicBezTo>
                  <a:lnTo>
                    <a:pt x="7719" y="10366"/>
                  </a:lnTo>
                  <a:cubicBezTo>
                    <a:pt x="7656" y="10492"/>
                    <a:pt x="7656" y="10618"/>
                    <a:pt x="7656" y="10712"/>
                  </a:cubicBezTo>
                  <a:cubicBezTo>
                    <a:pt x="7656" y="11279"/>
                    <a:pt x="8129" y="11752"/>
                    <a:pt x="8696" y="11752"/>
                  </a:cubicBezTo>
                  <a:cubicBezTo>
                    <a:pt x="9231" y="11752"/>
                    <a:pt x="9735" y="11279"/>
                    <a:pt x="9735" y="10712"/>
                  </a:cubicBezTo>
                  <a:cubicBezTo>
                    <a:pt x="9735" y="10618"/>
                    <a:pt x="9672" y="10492"/>
                    <a:pt x="9672" y="10366"/>
                  </a:cubicBezTo>
                  <a:lnTo>
                    <a:pt x="10082" y="10366"/>
                  </a:lnTo>
                  <a:cubicBezTo>
                    <a:pt x="10271" y="10366"/>
                    <a:pt x="10428" y="10208"/>
                    <a:pt x="10428" y="10019"/>
                  </a:cubicBezTo>
                  <a:cubicBezTo>
                    <a:pt x="10428" y="9830"/>
                    <a:pt x="10271" y="9672"/>
                    <a:pt x="10082" y="9672"/>
                  </a:cubicBezTo>
                  <a:lnTo>
                    <a:pt x="2867" y="9672"/>
                  </a:lnTo>
                  <a:cubicBezTo>
                    <a:pt x="2678" y="9672"/>
                    <a:pt x="2521" y="9515"/>
                    <a:pt x="2521" y="9294"/>
                  </a:cubicBezTo>
                  <a:cubicBezTo>
                    <a:pt x="2521" y="9137"/>
                    <a:pt x="2678" y="8948"/>
                    <a:pt x="2867" y="8948"/>
                  </a:cubicBezTo>
                  <a:lnTo>
                    <a:pt x="10082" y="8948"/>
                  </a:lnTo>
                  <a:cubicBezTo>
                    <a:pt x="10239" y="8948"/>
                    <a:pt x="10334" y="8885"/>
                    <a:pt x="10397" y="8727"/>
                  </a:cubicBezTo>
                  <a:lnTo>
                    <a:pt x="11720" y="4663"/>
                  </a:lnTo>
                  <a:cubicBezTo>
                    <a:pt x="11783" y="4537"/>
                    <a:pt x="11720" y="4411"/>
                    <a:pt x="11689" y="4348"/>
                  </a:cubicBezTo>
                  <a:cubicBezTo>
                    <a:pt x="11563" y="4191"/>
                    <a:pt x="11405" y="4191"/>
                    <a:pt x="11279" y="4191"/>
                  </a:cubicBezTo>
                  <a:lnTo>
                    <a:pt x="10397" y="4191"/>
                  </a:lnTo>
                  <a:lnTo>
                    <a:pt x="10397" y="3119"/>
                  </a:lnTo>
                  <a:cubicBezTo>
                    <a:pt x="10397" y="2930"/>
                    <a:pt x="10239" y="2773"/>
                    <a:pt x="10019" y="2773"/>
                  </a:cubicBezTo>
                  <a:lnTo>
                    <a:pt x="9515" y="2773"/>
                  </a:lnTo>
                  <a:cubicBezTo>
                    <a:pt x="9483" y="2647"/>
                    <a:pt x="9452" y="2584"/>
                    <a:pt x="9389" y="2458"/>
                  </a:cubicBezTo>
                  <a:lnTo>
                    <a:pt x="9767" y="2080"/>
                  </a:lnTo>
                  <a:cubicBezTo>
                    <a:pt x="9861" y="1985"/>
                    <a:pt x="9861" y="1733"/>
                    <a:pt x="9767" y="1607"/>
                  </a:cubicBezTo>
                  <a:lnTo>
                    <a:pt x="8759" y="631"/>
                  </a:lnTo>
                  <a:cubicBezTo>
                    <a:pt x="8711" y="568"/>
                    <a:pt x="8625" y="536"/>
                    <a:pt x="8534" y="536"/>
                  </a:cubicBezTo>
                  <a:cubicBezTo>
                    <a:pt x="8444" y="536"/>
                    <a:pt x="8349" y="568"/>
                    <a:pt x="8286" y="631"/>
                  </a:cubicBezTo>
                  <a:lnTo>
                    <a:pt x="7939" y="1009"/>
                  </a:lnTo>
                  <a:cubicBezTo>
                    <a:pt x="7876" y="946"/>
                    <a:pt x="7750" y="914"/>
                    <a:pt x="7624" y="883"/>
                  </a:cubicBezTo>
                  <a:lnTo>
                    <a:pt x="7624" y="379"/>
                  </a:lnTo>
                  <a:cubicBezTo>
                    <a:pt x="7624" y="158"/>
                    <a:pt x="7467" y="0"/>
                    <a:pt x="727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36"/>
            <p:cNvSpPr/>
            <p:nvPr/>
          </p:nvSpPr>
          <p:spPr>
            <a:xfrm>
              <a:off x="-3731500" y="2458550"/>
              <a:ext cx="84300" cy="84300"/>
            </a:xfrm>
            <a:custGeom>
              <a:avLst/>
              <a:gdLst/>
              <a:ahLst/>
              <a:cxnLst/>
              <a:rect l="l" t="t" r="r" b="b"/>
              <a:pathLst>
                <a:path w="3372" h="3372" extrusionOk="0">
                  <a:moveTo>
                    <a:pt x="1701" y="631"/>
                  </a:moveTo>
                  <a:cubicBezTo>
                    <a:pt x="2237" y="631"/>
                    <a:pt x="2709" y="1103"/>
                    <a:pt x="2709" y="1639"/>
                  </a:cubicBezTo>
                  <a:cubicBezTo>
                    <a:pt x="2709" y="2206"/>
                    <a:pt x="2237" y="2679"/>
                    <a:pt x="1701" y="2679"/>
                  </a:cubicBezTo>
                  <a:cubicBezTo>
                    <a:pt x="1134" y="2679"/>
                    <a:pt x="662" y="2206"/>
                    <a:pt x="662" y="1639"/>
                  </a:cubicBezTo>
                  <a:cubicBezTo>
                    <a:pt x="662" y="1103"/>
                    <a:pt x="1134" y="631"/>
                    <a:pt x="1701" y="631"/>
                  </a:cubicBezTo>
                  <a:close/>
                  <a:moveTo>
                    <a:pt x="1701" y="1"/>
                  </a:moveTo>
                  <a:cubicBezTo>
                    <a:pt x="756" y="1"/>
                    <a:pt x="0" y="725"/>
                    <a:pt x="0" y="1702"/>
                  </a:cubicBezTo>
                  <a:cubicBezTo>
                    <a:pt x="0" y="2647"/>
                    <a:pt x="756" y="3372"/>
                    <a:pt x="1701" y="3372"/>
                  </a:cubicBezTo>
                  <a:cubicBezTo>
                    <a:pt x="2646" y="3372"/>
                    <a:pt x="3371" y="2647"/>
                    <a:pt x="3371" y="1702"/>
                  </a:cubicBezTo>
                  <a:cubicBezTo>
                    <a:pt x="3371" y="725"/>
                    <a:pt x="2646" y="1"/>
                    <a:pt x="17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CE8B86F4-CB88-3114-8009-69E26EB7B258}"/>
            </a:ext>
          </a:extLst>
        </p:cNvPr>
        <p:cNvGrpSpPr/>
        <p:nvPr/>
      </p:nvGrpSpPr>
      <p:grpSpPr>
        <a:xfrm>
          <a:off x="0" y="0"/>
          <a:ext cx="0" cy="0"/>
          <a:chOff x="0" y="0"/>
          <a:chExt cx="0" cy="0"/>
        </a:xfrm>
      </p:grpSpPr>
      <p:sp>
        <p:nvSpPr>
          <p:cNvPr id="632" name="Google Shape;632;p61">
            <a:extLst>
              <a:ext uri="{FF2B5EF4-FFF2-40B4-BE49-F238E27FC236}">
                <a16:creationId xmlns:a16="http://schemas.microsoft.com/office/drawing/2014/main" id="{DFACE807-0CD0-D3E1-A798-B32D2FE00F16}"/>
              </a:ext>
            </a:extLst>
          </p:cNvPr>
          <p:cNvSpPr txBox="1">
            <a:spLocks noGrp="1"/>
          </p:cNvSpPr>
          <p:nvPr>
            <p:ph type="subTitle" idx="2"/>
          </p:nvPr>
        </p:nvSpPr>
        <p:spPr>
          <a:xfrm>
            <a:off x="224802" y="1439246"/>
            <a:ext cx="7401294" cy="2657266"/>
          </a:xfrm>
          <a:prstGeom prst="rect">
            <a:avLst/>
          </a:prstGeom>
        </p:spPr>
        <p:txBody>
          <a:bodyPr spcFirstLastPara="1" wrap="square" lIns="91425" tIns="91425" rIns="91425" bIns="91425" anchor="t" anchorCtr="0">
            <a:noAutofit/>
          </a:bodyPr>
          <a:lstStyle/>
          <a:p>
            <a:pPr marL="171450" lvl="0" indent="-171450" algn="l" rtl="0">
              <a:spcBef>
                <a:spcPts val="0"/>
              </a:spcBef>
              <a:spcAft>
                <a:spcPts val="1600"/>
              </a:spcAft>
              <a:buClr>
                <a:schemeClr val="dk1"/>
              </a:buClr>
              <a:buSzPts val="1100"/>
              <a:buFont typeface="Arial" panose="020B0604020202020204" pitchFamily="34" charset="0"/>
              <a:buChar char="•"/>
            </a:pPr>
            <a:r>
              <a:rPr lang="de-DE" sz="1000" b="1"/>
              <a:t>Cloud-Plattformen: </a:t>
            </a:r>
          </a:p>
          <a:p>
            <a:pPr marL="628650" lvl="1" indent="-171450">
              <a:spcBef>
                <a:spcPts val="0"/>
              </a:spcBef>
              <a:spcAft>
                <a:spcPts val="1600"/>
              </a:spcAft>
              <a:buClr>
                <a:schemeClr val="dk1"/>
              </a:buClr>
              <a:buSzPts val="1100"/>
              <a:buFont typeface="Arial" panose="020B0604020202020204" pitchFamily="34" charset="0"/>
              <a:buChar char="•"/>
            </a:pPr>
            <a:r>
              <a:rPr lang="de-DE" sz="1000" err="1"/>
              <a:t>Streamlit</a:t>
            </a:r>
            <a:r>
              <a:rPr lang="de-DE" sz="1000"/>
              <a:t>-Apps können auf gängigen Cloud-Diensten wie AWS, Azure, Google Cloud </a:t>
            </a:r>
            <a:r>
              <a:rPr lang="de-DE" sz="1000" err="1"/>
              <a:t>Platform</a:t>
            </a:r>
            <a:r>
              <a:rPr lang="de-DE" sz="1000"/>
              <a:t> (GCP) und Digital Ocean gehostet werden</a:t>
            </a:r>
          </a:p>
          <a:p>
            <a:pPr marL="171450" lvl="0" indent="-171450" algn="l" rtl="0">
              <a:spcBef>
                <a:spcPts val="0"/>
              </a:spcBef>
              <a:spcAft>
                <a:spcPts val="1600"/>
              </a:spcAft>
              <a:buClr>
                <a:schemeClr val="dk1"/>
              </a:buClr>
              <a:buSzPts val="1100"/>
              <a:buFont typeface="Arial" panose="020B0604020202020204" pitchFamily="34" charset="0"/>
              <a:buChar char="•"/>
            </a:pPr>
            <a:r>
              <a:rPr lang="de-DE" sz="1000"/>
              <a:t>Eigene Server: </a:t>
            </a:r>
          </a:p>
          <a:p>
            <a:pPr marL="628650" lvl="1" indent="-171450">
              <a:spcBef>
                <a:spcPts val="0"/>
              </a:spcBef>
              <a:spcAft>
                <a:spcPts val="1600"/>
              </a:spcAft>
              <a:buClr>
                <a:schemeClr val="dk1"/>
              </a:buClr>
              <a:buSzPts val="1100"/>
              <a:buFont typeface="Arial" panose="020B0604020202020204" pitchFamily="34" charset="0"/>
              <a:buChar char="•"/>
            </a:pPr>
            <a:r>
              <a:rPr lang="de-DE" sz="1000"/>
              <a:t>Es ist möglich, </a:t>
            </a:r>
            <a:r>
              <a:rPr lang="de-DE" sz="1000" err="1"/>
              <a:t>Streamlit</a:t>
            </a:r>
            <a:r>
              <a:rPr lang="de-DE" sz="1000"/>
              <a:t>-Apps auf eigenen Servern zu betreiben, wobei man mehrere Apps auf einem Server laufen lassen kann, um Kosten zu sparen</a:t>
            </a:r>
          </a:p>
          <a:p>
            <a:pPr marL="171450" lvl="0" indent="-171450" algn="l" rtl="0">
              <a:spcBef>
                <a:spcPts val="0"/>
              </a:spcBef>
              <a:spcAft>
                <a:spcPts val="1600"/>
              </a:spcAft>
              <a:buClr>
                <a:schemeClr val="dk1"/>
              </a:buClr>
              <a:buSzPts val="1100"/>
              <a:buFont typeface="Arial" panose="020B0604020202020204" pitchFamily="34" charset="0"/>
              <a:buChar char="•"/>
            </a:pPr>
            <a:r>
              <a:rPr lang="de-DE" sz="1000"/>
              <a:t>Andere Hosting-Dienste</a:t>
            </a:r>
          </a:p>
          <a:p>
            <a:pPr marL="628650" lvl="1" indent="-171450">
              <a:spcBef>
                <a:spcPts val="0"/>
              </a:spcBef>
              <a:spcAft>
                <a:spcPts val="1600"/>
              </a:spcAft>
              <a:buClr>
                <a:schemeClr val="dk1"/>
              </a:buClr>
              <a:buSzPts val="1100"/>
              <a:buFont typeface="Arial" panose="020B0604020202020204" pitchFamily="34" charset="0"/>
              <a:buChar char="•"/>
            </a:pPr>
            <a:r>
              <a:rPr lang="de-DE" sz="1000"/>
              <a:t>Plattformen wie </a:t>
            </a:r>
            <a:r>
              <a:rPr lang="de-DE" sz="1000" err="1"/>
              <a:t>Ploomber.io</a:t>
            </a:r>
            <a:r>
              <a:rPr lang="de-DE" sz="1000"/>
              <a:t> bieten spezielle Hosting-Lösungen für </a:t>
            </a:r>
            <a:r>
              <a:rPr lang="de-DE" sz="1000" err="1"/>
              <a:t>Streamlit</a:t>
            </a:r>
            <a:r>
              <a:rPr lang="de-DE" sz="1000"/>
              <a:t>-Apps an, die sogar Nutzung eigener Domains ermöglichen</a:t>
            </a:r>
          </a:p>
        </p:txBody>
      </p:sp>
      <p:sp>
        <p:nvSpPr>
          <p:cNvPr id="643" name="Google Shape;643;p61">
            <a:extLst>
              <a:ext uri="{FF2B5EF4-FFF2-40B4-BE49-F238E27FC236}">
                <a16:creationId xmlns:a16="http://schemas.microsoft.com/office/drawing/2014/main" id="{431857E0-57BA-AD95-C54A-28B314BE6C98}"/>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err="1"/>
              <a:t>Streamlit</a:t>
            </a:r>
            <a:r>
              <a:rPr lang="en"/>
              <a:t>-Hosting</a:t>
            </a:r>
            <a:endParaRPr/>
          </a:p>
        </p:txBody>
      </p:sp>
    </p:spTree>
    <p:extLst>
      <p:ext uri="{BB962C8B-B14F-4D97-AF65-F5344CB8AC3E}">
        <p14:creationId xmlns:p14="http://schemas.microsoft.com/office/powerpoint/2010/main" val="17789331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37"/>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turity Model</a:t>
            </a:r>
            <a:endParaRPr/>
          </a:p>
        </p:txBody>
      </p:sp>
      <p:graphicFrame>
        <p:nvGraphicFramePr>
          <p:cNvPr id="252" name="Google Shape;252;p37"/>
          <p:cNvGraphicFramePr/>
          <p:nvPr/>
        </p:nvGraphicFramePr>
        <p:xfrm>
          <a:off x="747738" y="1272078"/>
          <a:ext cx="7648525" cy="3444060"/>
        </p:xfrm>
        <a:graphic>
          <a:graphicData uri="http://schemas.openxmlformats.org/drawingml/2006/table">
            <a:tbl>
              <a:tblPr>
                <a:noFill/>
                <a:tableStyleId>{0D388EE7-05B4-4AC6-A653-FD656CC95793}</a:tableStyleId>
              </a:tblPr>
              <a:tblGrid>
                <a:gridCol w="1937675">
                  <a:extLst>
                    <a:ext uri="{9D8B030D-6E8A-4147-A177-3AD203B41FA5}">
                      <a16:colId xmlns:a16="http://schemas.microsoft.com/office/drawing/2014/main" val="20000"/>
                    </a:ext>
                  </a:extLst>
                </a:gridCol>
                <a:gridCol w="977250">
                  <a:extLst>
                    <a:ext uri="{9D8B030D-6E8A-4147-A177-3AD203B41FA5}">
                      <a16:colId xmlns:a16="http://schemas.microsoft.com/office/drawing/2014/main" val="20001"/>
                    </a:ext>
                  </a:extLst>
                </a:gridCol>
                <a:gridCol w="1183400">
                  <a:extLst>
                    <a:ext uri="{9D8B030D-6E8A-4147-A177-3AD203B41FA5}">
                      <a16:colId xmlns:a16="http://schemas.microsoft.com/office/drawing/2014/main" val="20002"/>
                    </a:ext>
                  </a:extLst>
                </a:gridCol>
                <a:gridCol w="1183400">
                  <a:extLst>
                    <a:ext uri="{9D8B030D-6E8A-4147-A177-3AD203B41FA5}">
                      <a16:colId xmlns:a16="http://schemas.microsoft.com/office/drawing/2014/main" val="20003"/>
                    </a:ext>
                  </a:extLst>
                </a:gridCol>
                <a:gridCol w="1183400">
                  <a:extLst>
                    <a:ext uri="{9D8B030D-6E8A-4147-A177-3AD203B41FA5}">
                      <a16:colId xmlns:a16="http://schemas.microsoft.com/office/drawing/2014/main" val="20004"/>
                    </a:ext>
                  </a:extLst>
                </a:gridCol>
                <a:gridCol w="1183400">
                  <a:extLst>
                    <a:ext uri="{9D8B030D-6E8A-4147-A177-3AD203B41FA5}">
                      <a16:colId xmlns:a16="http://schemas.microsoft.com/office/drawing/2014/main" val="20005"/>
                    </a:ext>
                  </a:extLst>
                </a:gridCol>
              </a:tblGrid>
              <a:tr h="333950">
                <a:tc>
                  <a:txBody>
                    <a:bodyPr/>
                    <a:lstStyle/>
                    <a:p>
                      <a:pPr marL="0" lvl="0" indent="0" algn="ctr" rtl="0">
                        <a:spcBef>
                          <a:spcPts val="0"/>
                        </a:spcBef>
                        <a:spcAft>
                          <a:spcPts val="0"/>
                        </a:spcAft>
                        <a:buNone/>
                      </a:pPr>
                      <a:r>
                        <a:rPr lang="en" sz="1800" b="1">
                          <a:solidFill>
                            <a:schemeClr val="lt1"/>
                          </a:solidFill>
                          <a:latin typeface="Montserrat"/>
                          <a:ea typeface="Montserrat"/>
                          <a:cs typeface="Montserrat"/>
                          <a:sym typeface="Montserrat"/>
                        </a:rPr>
                        <a:t>BasBasi</a:t>
                      </a:r>
                      <a:endParaRPr sz="1800" b="1">
                        <a:solidFill>
                          <a:schemeClr val="lt1"/>
                        </a:solidFill>
                        <a:latin typeface="Montserrat"/>
                        <a:ea typeface="Montserrat"/>
                        <a:cs typeface="Montserrat"/>
                        <a:sym typeface="Montserrat"/>
                      </a:endParaRPr>
                    </a:p>
                  </a:txBody>
                  <a:tcPr marL="91425" marR="91425" marT="91425" marB="91425" anchor="ctr">
                    <a:lnL w="28575" cap="flat" cmpd="sng">
                      <a:solidFill>
                        <a:schemeClr val="accent1">
                          <a:alpha val="0"/>
                        </a:schemeClr>
                      </a:solidFill>
                      <a:prstDash val="solid"/>
                      <a:round/>
                      <a:headEnd type="none" w="sm" len="sm"/>
                      <a:tailEnd type="none" w="sm" len="sm"/>
                    </a:lnL>
                    <a:lnR w="28575" cap="flat" cmpd="sng">
                      <a:solidFill>
                        <a:schemeClr val="accen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Basic</a:t>
                      </a:r>
                      <a:endParaRPr b="1">
                        <a:solidFill>
                          <a:schemeClr val="lt1"/>
                        </a:solidFill>
                        <a:latin typeface="Montserrat"/>
                        <a:ea typeface="Montserrat"/>
                        <a:cs typeface="Montserrat"/>
                        <a:sym typeface="Montserrat"/>
                      </a:endParaRPr>
                    </a:p>
                  </a:txBody>
                  <a:tcPr marL="91425" marR="91425" marT="91425" marB="91425" anchor="ctr">
                    <a:lnL w="28575" cap="flat" cmpd="sng">
                      <a:solidFill>
                        <a:schemeClr val="accent1">
                          <a:alpha val="0"/>
                        </a:schemeClr>
                      </a:solidFill>
                      <a:prstDash val="solid"/>
                      <a:round/>
                      <a:headEnd type="none" w="sm" len="sm"/>
                      <a:tailEnd type="none" w="sm" len="sm"/>
                    </a:lnL>
                    <a:lnR w="28575" cap="flat" cmpd="sng">
                      <a:solidFill>
                        <a:schemeClr val="l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Below Average</a:t>
                      </a:r>
                      <a:endParaRPr b="1">
                        <a:solidFill>
                          <a:schemeClr val="lt1"/>
                        </a:solidFill>
                        <a:latin typeface="Montserrat"/>
                        <a:ea typeface="Montserrat"/>
                        <a:cs typeface="Montserrat"/>
                        <a:sym typeface="Montserrat"/>
                      </a:endParaRPr>
                    </a:p>
                  </a:txBody>
                  <a:tcPr marL="91425" marR="91425" marT="91425" marB="91425" anchor="ctr">
                    <a:lnL w="28575" cap="flat" cmpd="sng">
                      <a:solidFill>
                        <a:schemeClr val="lt1">
                          <a:alpha val="0"/>
                        </a:schemeClr>
                      </a:solidFill>
                      <a:prstDash val="solid"/>
                      <a:round/>
                      <a:headEnd type="none" w="sm" len="sm"/>
                      <a:tailEnd type="none" w="sm" len="sm"/>
                    </a:lnL>
                    <a:lnR w="28575" cap="flat" cmpd="sng">
                      <a:solidFill>
                        <a:schemeClr val="l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Average</a:t>
                      </a:r>
                      <a:endParaRPr b="1">
                        <a:solidFill>
                          <a:schemeClr val="lt1"/>
                        </a:solidFill>
                        <a:latin typeface="Montserrat"/>
                        <a:ea typeface="Montserrat"/>
                        <a:cs typeface="Montserrat"/>
                        <a:sym typeface="Montserrat"/>
                      </a:endParaRPr>
                    </a:p>
                  </a:txBody>
                  <a:tcPr marL="91425" marR="91425" marT="91425" marB="91425" anchor="ctr">
                    <a:lnL w="28575" cap="flat" cmpd="sng">
                      <a:solidFill>
                        <a:schemeClr val="lt1">
                          <a:alpha val="0"/>
                        </a:schemeClr>
                      </a:solidFill>
                      <a:prstDash val="solid"/>
                      <a:round/>
                      <a:headEnd type="none" w="sm" len="sm"/>
                      <a:tailEnd type="none" w="sm" len="sm"/>
                    </a:lnL>
                    <a:lnR w="28575" cap="flat" cmpd="sng">
                      <a:solidFill>
                        <a:schemeClr val="l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Advanced</a:t>
                      </a:r>
                      <a:endParaRPr b="1">
                        <a:solidFill>
                          <a:schemeClr val="lt1"/>
                        </a:solidFill>
                        <a:latin typeface="Montserrat"/>
                        <a:ea typeface="Montserrat"/>
                        <a:cs typeface="Montserrat"/>
                        <a:sym typeface="Montserrat"/>
                      </a:endParaRPr>
                    </a:p>
                  </a:txBody>
                  <a:tcPr marL="91425" marR="91425" marT="91425" marB="91425" anchor="ctr">
                    <a:lnL w="28575" cap="flat" cmpd="sng">
                      <a:solidFill>
                        <a:schemeClr val="lt1">
                          <a:alpha val="0"/>
                        </a:schemeClr>
                      </a:solidFill>
                      <a:prstDash val="solid"/>
                      <a:round/>
                      <a:headEnd type="none" w="sm" len="sm"/>
                      <a:tailEnd type="none" w="sm" len="sm"/>
                    </a:lnL>
                    <a:lnR w="28575" cap="flat" cmpd="sng">
                      <a:solidFill>
                        <a:schemeClr val="l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World-</a:t>
                      </a:r>
                      <a:endParaRPr b="1">
                        <a:solidFill>
                          <a:schemeClr val="lt1"/>
                        </a:solidFill>
                        <a:latin typeface="Montserrat"/>
                        <a:ea typeface="Montserrat"/>
                        <a:cs typeface="Montserrat"/>
                        <a:sym typeface="Montserrat"/>
                      </a:endParaRPr>
                    </a:p>
                    <a:p>
                      <a:pPr marL="0" lvl="0" indent="0" algn="ctr" rtl="0">
                        <a:spcBef>
                          <a:spcPts val="0"/>
                        </a:spcBef>
                        <a:spcAft>
                          <a:spcPts val="0"/>
                        </a:spcAft>
                        <a:buNone/>
                      </a:pPr>
                      <a:r>
                        <a:rPr lang="en" b="1">
                          <a:solidFill>
                            <a:schemeClr val="lt1"/>
                          </a:solidFill>
                          <a:latin typeface="Montserrat"/>
                          <a:ea typeface="Montserrat"/>
                          <a:cs typeface="Montserrat"/>
                          <a:sym typeface="Montserrat"/>
                        </a:rPr>
                        <a:t>Class</a:t>
                      </a:r>
                      <a:endParaRPr b="1">
                        <a:solidFill>
                          <a:schemeClr val="lt1"/>
                        </a:solidFill>
                        <a:latin typeface="Montserrat"/>
                        <a:ea typeface="Montserrat"/>
                        <a:cs typeface="Montserrat"/>
                        <a:sym typeface="Montserrat"/>
                      </a:endParaRPr>
                    </a:p>
                  </a:txBody>
                  <a:tcPr marL="91425" marR="91425" marT="91425" marB="91425" anchor="ctr">
                    <a:lnL w="28575" cap="flat" cmpd="sng">
                      <a:solidFill>
                        <a:schemeClr val="lt1">
                          <a:alpha val="0"/>
                        </a:schemeClr>
                      </a:solidFill>
                      <a:prstDash val="solid"/>
                      <a:round/>
                      <a:headEnd type="none" w="sm" len="sm"/>
                      <a:tailEnd type="none" w="sm" len="sm"/>
                    </a:lnL>
                    <a:lnR w="28575" cap="flat" cmpd="sng">
                      <a:solidFill>
                        <a:schemeClr val="accent1">
                          <a:alpha val="0"/>
                        </a:schemeClr>
                      </a:solidFill>
                      <a:prstDash val="solid"/>
                      <a:round/>
                      <a:headEnd type="none" w="sm" len="sm"/>
                      <a:tailEnd type="none" w="sm" len="sm"/>
                    </a:lnR>
                    <a:lnT w="28575" cap="flat" cmpd="sng">
                      <a:solidFill>
                        <a:schemeClr val="accent1">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549600">
                <a:tc>
                  <a:txBody>
                    <a:bodyPr/>
                    <a:lstStyle/>
                    <a:p>
                      <a:pPr marL="0" lvl="0" indent="0" algn="l" rtl="0">
                        <a:spcBef>
                          <a:spcPts val="0"/>
                        </a:spcBef>
                        <a:spcAft>
                          <a:spcPts val="0"/>
                        </a:spcAft>
                        <a:buNone/>
                      </a:pPr>
                      <a:r>
                        <a:rPr lang="en">
                          <a:solidFill>
                            <a:schemeClr val="dk1"/>
                          </a:solidFill>
                          <a:latin typeface="Montserrat"/>
                          <a:ea typeface="Montserrat"/>
                          <a:cs typeface="Montserrat"/>
                          <a:sym typeface="Montserrat"/>
                        </a:rPr>
                        <a:t>Procurement Strategy </a:t>
                      </a:r>
                      <a:endParaRPr>
                        <a:solidFill>
                          <a:schemeClr val="dk1"/>
                        </a:solidFill>
                        <a:latin typeface="Montserrat"/>
                        <a:ea typeface="Montserrat"/>
                        <a:cs typeface="Montserrat"/>
                        <a:sym typeface="Montserrat"/>
                      </a:endParaRPr>
                    </a:p>
                  </a:txBody>
                  <a:tcPr marL="91425" marR="91425" marT="91425" marB="91425" anchor="ctr">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extLst>
                  <a:ext uri="{0D108BD9-81ED-4DB2-BD59-A6C34878D82A}">
                    <a16:rowId xmlns:a16="http://schemas.microsoft.com/office/drawing/2014/main" val="10001"/>
                  </a:ext>
                </a:extLst>
              </a:tr>
              <a:tr h="596600">
                <a:tc>
                  <a:txBody>
                    <a:bodyPr/>
                    <a:lstStyle/>
                    <a:p>
                      <a:pPr marL="0" lvl="0" indent="0" algn="l" rtl="0">
                        <a:spcBef>
                          <a:spcPts val="0"/>
                        </a:spcBef>
                        <a:spcAft>
                          <a:spcPts val="0"/>
                        </a:spcAft>
                        <a:buNone/>
                      </a:pPr>
                      <a:r>
                        <a:rPr lang="en">
                          <a:solidFill>
                            <a:schemeClr val="dk1"/>
                          </a:solidFill>
                          <a:latin typeface="Montserrat"/>
                          <a:ea typeface="Montserrat"/>
                          <a:cs typeface="Montserrat"/>
                          <a:sym typeface="Montserrat"/>
                        </a:rPr>
                        <a:t>Organization &amp; Human resources</a:t>
                      </a:r>
                      <a:endParaRPr>
                        <a:solidFill>
                          <a:schemeClr val="dk1"/>
                        </a:solidFill>
                        <a:latin typeface="Montserrat"/>
                        <a:ea typeface="Montserrat"/>
                        <a:cs typeface="Montserrat"/>
                        <a:sym typeface="Montserrat"/>
                      </a:endParaRPr>
                    </a:p>
                  </a:txBody>
                  <a:tcPr marL="91425" marR="91425" marT="91425" marB="91425" anchor="ctr">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extLst>
                  <a:ext uri="{0D108BD9-81ED-4DB2-BD59-A6C34878D82A}">
                    <a16:rowId xmlns:a16="http://schemas.microsoft.com/office/drawing/2014/main" val="10002"/>
                  </a:ext>
                </a:extLst>
              </a:tr>
              <a:tr h="549600">
                <a:tc>
                  <a:txBody>
                    <a:bodyPr/>
                    <a:lstStyle/>
                    <a:p>
                      <a:pPr marL="0" lvl="0" indent="0" algn="l" rtl="0">
                        <a:spcBef>
                          <a:spcPts val="0"/>
                        </a:spcBef>
                        <a:spcAft>
                          <a:spcPts val="0"/>
                        </a:spcAft>
                        <a:buNone/>
                      </a:pPr>
                      <a:r>
                        <a:rPr lang="en">
                          <a:solidFill>
                            <a:schemeClr val="dk1"/>
                          </a:solidFill>
                          <a:latin typeface="Montserrat"/>
                          <a:ea typeface="Montserrat"/>
                          <a:cs typeface="Montserrat"/>
                          <a:sym typeface="Montserrat"/>
                        </a:rPr>
                        <a:t>Procurement Processes </a:t>
                      </a:r>
                      <a:endParaRPr>
                        <a:solidFill>
                          <a:schemeClr val="dk1"/>
                        </a:solidFill>
                        <a:latin typeface="Montserrat"/>
                        <a:ea typeface="Montserrat"/>
                        <a:cs typeface="Montserrat"/>
                        <a:sym typeface="Montserrat"/>
                      </a:endParaRPr>
                    </a:p>
                  </a:txBody>
                  <a:tcPr marL="91425" marR="91425" marT="91425" marB="91425" anchor="ctr">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extLst>
                  <a:ext uri="{0D108BD9-81ED-4DB2-BD59-A6C34878D82A}">
                    <a16:rowId xmlns:a16="http://schemas.microsoft.com/office/drawing/2014/main" val="10003"/>
                  </a:ext>
                </a:extLst>
              </a:tr>
              <a:tr h="396200">
                <a:tc>
                  <a:txBody>
                    <a:bodyPr/>
                    <a:lstStyle/>
                    <a:p>
                      <a:pPr marL="0" lvl="0" indent="0" algn="l" rtl="0">
                        <a:spcBef>
                          <a:spcPts val="0"/>
                        </a:spcBef>
                        <a:spcAft>
                          <a:spcPts val="0"/>
                        </a:spcAft>
                        <a:buNone/>
                      </a:pPr>
                      <a:r>
                        <a:rPr lang="en">
                          <a:solidFill>
                            <a:schemeClr val="dk1"/>
                          </a:solidFill>
                          <a:latin typeface="Montserrat"/>
                          <a:ea typeface="Montserrat"/>
                          <a:cs typeface="Montserrat"/>
                          <a:sym typeface="Montserrat"/>
                        </a:rPr>
                        <a:t>Technology</a:t>
                      </a:r>
                      <a:endParaRPr>
                        <a:solidFill>
                          <a:schemeClr val="dk1"/>
                        </a:solidFill>
                        <a:latin typeface="Montserrat"/>
                        <a:ea typeface="Montserrat"/>
                        <a:cs typeface="Montserrat"/>
                        <a:sym typeface="Montserrat"/>
                      </a:endParaRPr>
                    </a:p>
                  </a:txBody>
                  <a:tcPr marL="91425" marR="91425" marT="91425" marB="91425" anchor="ctr">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extLst>
                  <a:ext uri="{0D108BD9-81ED-4DB2-BD59-A6C34878D82A}">
                    <a16:rowId xmlns:a16="http://schemas.microsoft.com/office/drawing/2014/main" val="10004"/>
                  </a:ext>
                </a:extLst>
              </a:tr>
              <a:tr h="549600">
                <a:tc>
                  <a:txBody>
                    <a:bodyPr/>
                    <a:lstStyle/>
                    <a:p>
                      <a:pPr marL="0" lvl="0" indent="0" algn="l" rtl="0">
                        <a:spcBef>
                          <a:spcPts val="0"/>
                        </a:spcBef>
                        <a:spcAft>
                          <a:spcPts val="0"/>
                        </a:spcAft>
                        <a:buNone/>
                      </a:pPr>
                      <a:r>
                        <a:rPr lang="en">
                          <a:solidFill>
                            <a:schemeClr val="dk1"/>
                          </a:solidFill>
                          <a:latin typeface="Montserrat"/>
                          <a:ea typeface="Montserrat"/>
                          <a:cs typeface="Montserrat"/>
                          <a:sym typeface="Montserrat"/>
                        </a:rPr>
                        <a:t>Supplier relationship</a:t>
                      </a:r>
                      <a:endParaRPr>
                        <a:solidFill>
                          <a:schemeClr val="dk1"/>
                        </a:solidFill>
                        <a:latin typeface="Montserrat"/>
                        <a:ea typeface="Montserrat"/>
                        <a:cs typeface="Montserrat"/>
                        <a:sym typeface="Montserrat"/>
                      </a:endParaRPr>
                    </a:p>
                  </a:txBody>
                  <a:tcPr marL="91425" marR="91425" marT="91425" marB="91425" anchor="ctr">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28575" cap="flat" cmpd="sng">
                      <a:solidFill>
                        <a:schemeClr val="dk2">
                          <a:alpha val="0"/>
                        </a:schemeClr>
                      </a:solidFill>
                      <a:prstDash val="solid"/>
                      <a:round/>
                      <a:headEnd type="none" w="sm" len="sm"/>
                      <a:tailEnd type="none" w="sm" len="sm"/>
                    </a:lnL>
                    <a:lnR w="28575" cap="flat" cmpd="sng">
                      <a:solidFill>
                        <a:schemeClr val="dk2">
                          <a:alpha val="0"/>
                        </a:schemeClr>
                      </a:solidFill>
                      <a:prstDash val="solid"/>
                      <a:round/>
                      <a:headEnd type="none" w="sm" len="sm"/>
                      <a:tailEnd type="none" w="sm" len="sm"/>
                    </a:lnR>
                    <a:lnT w="28575" cap="flat" cmpd="sng">
                      <a:solidFill>
                        <a:schemeClr val="dk2">
                          <a:alpha val="0"/>
                        </a:schemeClr>
                      </a:solidFill>
                      <a:prstDash val="solid"/>
                      <a:round/>
                      <a:headEnd type="none" w="sm" len="sm"/>
                      <a:tailEnd type="none" w="sm" len="sm"/>
                    </a:lnT>
                    <a:lnB w="28575" cap="flat" cmpd="sng">
                      <a:solidFill>
                        <a:schemeClr val="dk2">
                          <a:alpha val="0"/>
                        </a:scheme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253" name="Google Shape;253;p37"/>
          <p:cNvSpPr/>
          <p:nvPr/>
        </p:nvSpPr>
        <p:spPr>
          <a:xfrm>
            <a:off x="4081800" y="2071800"/>
            <a:ext cx="216600" cy="216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37"/>
          <p:cNvSpPr/>
          <p:nvPr/>
        </p:nvSpPr>
        <p:spPr>
          <a:xfrm>
            <a:off x="5378350" y="2071800"/>
            <a:ext cx="216600" cy="216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37"/>
          <p:cNvSpPr/>
          <p:nvPr/>
        </p:nvSpPr>
        <p:spPr>
          <a:xfrm>
            <a:off x="3716600" y="2672275"/>
            <a:ext cx="216600" cy="216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256;p37"/>
          <p:cNvSpPr/>
          <p:nvPr/>
        </p:nvSpPr>
        <p:spPr>
          <a:xfrm>
            <a:off x="6509975" y="2672275"/>
            <a:ext cx="216600" cy="216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37"/>
          <p:cNvSpPr/>
          <p:nvPr/>
        </p:nvSpPr>
        <p:spPr>
          <a:xfrm>
            <a:off x="5683150" y="3252125"/>
            <a:ext cx="216600" cy="216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37"/>
          <p:cNvSpPr/>
          <p:nvPr/>
        </p:nvSpPr>
        <p:spPr>
          <a:xfrm>
            <a:off x="6509975" y="3252125"/>
            <a:ext cx="216600" cy="216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37"/>
          <p:cNvSpPr/>
          <p:nvPr/>
        </p:nvSpPr>
        <p:spPr>
          <a:xfrm>
            <a:off x="3196800" y="3731425"/>
            <a:ext cx="216600" cy="216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37"/>
          <p:cNvSpPr/>
          <p:nvPr/>
        </p:nvSpPr>
        <p:spPr>
          <a:xfrm>
            <a:off x="4887750" y="3731425"/>
            <a:ext cx="216600" cy="216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37"/>
          <p:cNvSpPr/>
          <p:nvPr/>
        </p:nvSpPr>
        <p:spPr>
          <a:xfrm>
            <a:off x="4887750" y="4299100"/>
            <a:ext cx="216600" cy="216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37"/>
          <p:cNvSpPr/>
          <p:nvPr/>
        </p:nvSpPr>
        <p:spPr>
          <a:xfrm>
            <a:off x="7926275" y="4299100"/>
            <a:ext cx="216600" cy="216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38"/>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Entering a New Market” Framework Includes 3 Components</a:t>
            </a:r>
            <a:endParaRPr/>
          </a:p>
        </p:txBody>
      </p:sp>
      <p:grpSp>
        <p:nvGrpSpPr>
          <p:cNvPr id="268" name="Google Shape;268;p38"/>
          <p:cNvGrpSpPr/>
          <p:nvPr/>
        </p:nvGrpSpPr>
        <p:grpSpPr>
          <a:xfrm>
            <a:off x="3237103" y="1771362"/>
            <a:ext cx="2732524" cy="2534329"/>
            <a:chOff x="1617750" y="1930125"/>
            <a:chExt cx="2269350" cy="2104750"/>
          </a:xfrm>
        </p:grpSpPr>
        <p:sp>
          <p:nvSpPr>
            <p:cNvPr id="269" name="Google Shape;269;p38"/>
            <p:cNvSpPr/>
            <p:nvPr/>
          </p:nvSpPr>
          <p:spPr>
            <a:xfrm>
              <a:off x="1617750" y="1930125"/>
              <a:ext cx="1134975" cy="1269225"/>
            </a:xfrm>
            <a:custGeom>
              <a:avLst/>
              <a:gdLst/>
              <a:ahLst/>
              <a:cxnLst/>
              <a:rect l="l" t="t" r="r" b="b"/>
              <a:pathLst>
                <a:path w="45399" h="50769" extrusionOk="0">
                  <a:moveTo>
                    <a:pt x="25575" y="1"/>
                  </a:moveTo>
                  <a:cubicBezTo>
                    <a:pt x="11442" y="1"/>
                    <a:pt x="0" y="11443"/>
                    <a:pt x="0" y="25575"/>
                  </a:cubicBezTo>
                  <a:cubicBezTo>
                    <a:pt x="0" y="38208"/>
                    <a:pt x="9156" y="48685"/>
                    <a:pt x="21194" y="50769"/>
                  </a:cubicBezTo>
                  <a:cubicBezTo>
                    <a:pt x="24063" y="41911"/>
                    <a:pt x="31600" y="35184"/>
                    <a:pt x="40898" y="33493"/>
                  </a:cubicBezTo>
                  <a:cubicBezTo>
                    <a:pt x="40077" y="30993"/>
                    <a:pt x="39648" y="28337"/>
                    <a:pt x="39648" y="25575"/>
                  </a:cubicBezTo>
                  <a:cubicBezTo>
                    <a:pt x="39648" y="19455"/>
                    <a:pt x="41803" y="13824"/>
                    <a:pt x="45399" y="9418"/>
                  </a:cubicBezTo>
                  <a:cubicBezTo>
                    <a:pt x="40708" y="3680"/>
                    <a:pt x="33564" y="1"/>
                    <a:pt x="25575" y="1"/>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270;p38"/>
            <p:cNvSpPr/>
            <p:nvPr/>
          </p:nvSpPr>
          <p:spPr>
            <a:xfrm>
              <a:off x="2752125" y="1930125"/>
              <a:ext cx="1134975" cy="1268050"/>
            </a:xfrm>
            <a:custGeom>
              <a:avLst/>
              <a:gdLst/>
              <a:ahLst/>
              <a:cxnLst/>
              <a:rect l="l" t="t" r="r" b="b"/>
              <a:pathLst>
                <a:path w="45399" h="50722" extrusionOk="0">
                  <a:moveTo>
                    <a:pt x="19824" y="1"/>
                  </a:moveTo>
                  <a:cubicBezTo>
                    <a:pt x="11835" y="1"/>
                    <a:pt x="4691" y="3680"/>
                    <a:pt x="0" y="9418"/>
                  </a:cubicBezTo>
                  <a:cubicBezTo>
                    <a:pt x="3596" y="13824"/>
                    <a:pt x="5751" y="19444"/>
                    <a:pt x="5751" y="25575"/>
                  </a:cubicBezTo>
                  <a:cubicBezTo>
                    <a:pt x="5751" y="28326"/>
                    <a:pt x="5322" y="30957"/>
                    <a:pt x="4513" y="33445"/>
                  </a:cubicBezTo>
                  <a:cubicBezTo>
                    <a:pt x="13919" y="35064"/>
                    <a:pt x="21574" y="41815"/>
                    <a:pt x="24456" y="50721"/>
                  </a:cubicBezTo>
                  <a:cubicBezTo>
                    <a:pt x="36374" y="48530"/>
                    <a:pt x="45399" y="38101"/>
                    <a:pt x="45399" y="25575"/>
                  </a:cubicBezTo>
                  <a:cubicBezTo>
                    <a:pt x="45399" y="11443"/>
                    <a:pt x="33957" y="1"/>
                    <a:pt x="19824" y="1"/>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38"/>
            <p:cNvSpPr/>
            <p:nvPr/>
          </p:nvSpPr>
          <p:spPr>
            <a:xfrm>
              <a:off x="2608650" y="2165575"/>
              <a:ext cx="287250" cy="601875"/>
            </a:xfrm>
            <a:custGeom>
              <a:avLst/>
              <a:gdLst/>
              <a:ahLst/>
              <a:cxnLst/>
              <a:rect l="l" t="t" r="r" b="b"/>
              <a:pathLst>
                <a:path w="11490" h="24075" extrusionOk="0">
                  <a:moveTo>
                    <a:pt x="5739" y="0"/>
                  </a:moveTo>
                  <a:cubicBezTo>
                    <a:pt x="2155" y="4406"/>
                    <a:pt x="0" y="10026"/>
                    <a:pt x="0" y="16157"/>
                  </a:cubicBezTo>
                  <a:cubicBezTo>
                    <a:pt x="12" y="18908"/>
                    <a:pt x="465" y="21575"/>
                    <a:pt x="1262" y="24075"/>
                  </a:cubicBezTo>
                  <a:cubicBezTo>
                    <a:pt x="2763" y="23801"/>
                    <a:pt x="4310" y="23658"/>
                    <a:pt x="5894" y="23658"/>
                  </a:cubicBezTo>
                  <a:cubicBezTo>
                    <a:pt x="7382" y="23658"/>
                    <a:pt x="8835" y="23789"/>
                    <a:pt x="10252" y="24027"/>
                  </a:cubicBezTo>
                  <a:cubicBezTo>
                    <a:pt x="11061" y="21539"/>
                    <a:pt x="11490" y="18908"/>
                    <a:pt x="11490" y="16157"/>
                  </a:cubicBezTo>
                  <a:cubicBezTo>
                    <a:pt x="11490" y="10037"/>
                    <a:pt x="9335" y="4406"/>
                    <a:pt x="5739" y="0"/>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38"/>
            <p:cNvSpPr/>
            <p:nvPr/>
          </p:nvSpPr>
          <p:spPr>
            <a:xfrm>
              <a:off x="2116925" y="2972825"/>
              <a:ext cx="1278150" cy="1062050"/>
            </a:xfrm>
            <a:custGeom>
              <a:avLst/>
              <a:gdLst/>
              <a:ahLst/>
              <a:cxnLst/>
              <a:rect l="l" t="t" r="r" b="b"/>
              <a:pathLst>
                <a:path w="51126" h="42482" extrusionOk="0">
                  <a:moveTo>
                    <a:pt x="25432" y="0"/>
                  </a:moveTo>
                  <a:cubicBezTo>
                    <a:pt x="20741" y="5739"/>
                    <a:pt x="13597" y="9418"/>
                    <a:pt x="5596" y="9418"/>
                  </a:cubicBezTo>
                  <a:cubicBezTo>
                    <a:pt x="4108" y="9418"/>
                    <a:pt x="2655" y="9275"/>
                    <a:pt x="1239" y="9037"/>
                  </a:cubicBezTo>
                  <a:cubicBezTo>
                    <a:pt x="441" y="11525"/>
                    <a:pt x="0" y="14157"/>
                    <a:pt x="0" y="16919"/>
                  </a:cubicBezTo>
                  <a:cubicBezTo>
                    <a:pt x="0" y="31040"/>
                    <a:pt x="11454" y="42482"/>
                    <a:pt x="25575" y="42482"/>
                  </a:cubicBezTo>
                  <a:cubicBezTo>
                    <a:pt x="39696" y="42482"/>
                    <a:pt x="51126" y="31040"/>
                    <a:pt x="51126" y="16919"/>
                  </a:cubicBezTo>
                  <a:cubicBezTo>
                    <a:pt x="51126" y="14145"/>
                    <a:pt x="50685" y="11490"/>
                    <a:pt x="49876" y="9001"/>
                  </a:cubicBezTo>
                  <a:cubicBezTo>
                    <a:pt x="48375" y="9263"/>
                    <a:pt x="46828" y="9418"/>
                    <a:pt x="45256" y="9418"/>
                  </a:cubicBezTo>
                  <a:cubicBezTo>
                    <a:pt x="37243" y="9418"/>
                    <a:pt x="30111" y="5751"/>
                    <a:pt x="25432" y="0"/>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38"/>
            <p:cNvSpPr/>
            <p:nvPr/>
          </p:nvSpPr>
          <p:spPr>
            <a:xfrm>
              <a:off x="2147575" y="2766850"/>
              <a:ext cx="605150" cy="441425"/>
            </a:xfrm>
            <a:custGeom>
              <a:avLst/>
              <a:gdLst/>
              <a:ahLst/>
              <a:cxnLst/>
              <a:rect l="l" t="t" r="r" b="b"/>
              <a:pathLst>
                <a:path w="24206" h="17657" extrusionOk="0">
                  <a:moveTo>
                    <a:pt x="19705" y="0"/>
                  </a:moveTo>
                  <a:cubicBezTo>
                    <a:pt x="10407" y="1703"/>
                    <a:pt x="2858" y="8442"/>
                    <a:pt x="1" y="17288"/>
                  </a:cubicBezTo>
                  <a:cubicBezTo>
                    <a:pt x="1417" y="17526"/>
                    <a:pt x="2870" y="17657"/>
                    <a:pt x="4358" y="17657"/>
                  </a:cubicBezTo>
                  <a:cubicBezTo>
                    <a:pt x="12371" y="17657"/>
                    <a:pt x="19515" y="13990"/>
                    <a:pt x="24206" y="8239"/>
                  </a:cubicBezTo>
                  <a:cubicBezTo>
                    <a:pt x="22230" y="5822"/>
                    <a:pt x="20706" y="3036"/>
                    <a:pt x="19705" y="0"/>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38"/>
            <p:cNvSpPr/>
            <p:nvPr/>
          </p:nvSpPr>
          <p:spPr>
            <a:xfrm>
              <a:off x="2752125" y="2766250"/>
              <a:ext cx="611400" cy="442325"/>
            </a:xfrm>
            <a:custGeom>
              <a:avLst/>
              <a:gdLst/>
              <a:ahLst/>
              <a:cxnLst/>
              <a:rect l="l" t="t" r="r" b="b"/>
              <a:pathLst>
                <a:path w="24456" h="17693" extrusionOk="0">
                  <a:moveTo>
                    <a:pt x="4513" y="0"/>
                  </a:moveTo>
                  <a:cubicBezTo>
                    <a:pt x="3536" y="3048"/>
                    <a:pt x="1989" y="5846"/>
                    <a:pt x="0" y="8275"/>
                  </a:cubicBezTo>
                  <a:cubicBezTo>
                    <a:pt x="4691" y="14014"/>
                    <a:pt x="11835" y="17693"/>
                    <a:pt x="19824" y="17693"/>
                  </a:cubicBezTo>
                  <a:cubicBezTo>
                    <a:pt x="21408" y="17693"/>
                    <a:pt x="22955" y="17538"/>
                    <a:pt x="24456" y="17276"/>
                  </a:cubicBezTo>
                  <a:cubicBezTo>
                    <a:pt x="21574" y="8358"/>
                    <a:pt x="13919" y="1608"/>
                    <a:pt x="4513" y="0"/>
                  </a:cubicBezTo>
                  <a:close/>
                </a:path>
              </a:pathLst>
            </a:custGeom>
            <a:solidFill>
              <a:schemeClr val="dk2"/>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38"/>
            <p:cNvSpPr/>
            <p:nvPr/>
          </p:nvSpPr>
          <p:spPr>
            <a:xfrm>
              <a:off x="2640200" y="2757025"/>
              <a:ext cx="225050" cy="216125"/>
            </a:xfrm>
            <a:custGeom>
              <a:avLst/>
              <a:gdLst/>
              <a:ahLst/>
              <a:cxnLst/>
              <a:rect l="l" t="t" r="r" b="b"/>
              <a:pathLst>
                <a:path w="9002" h="8645" extrusionOk="0">
                  <a:moveTo>
                    <a:pt x="4644" y="0"/>
                  </a:moveTo>
                  <a:cubicBezTo>
                    <a:pt x="3048" y="0"/>
                    <a:pt x="1501" y="131"/>
                    <a:pt x="0" y="417"/>
                  </a:cubicBezTo>
                  <a:cubicBezTo>
                    <a:pt x="989" y="3453"/>
                    <a:pt x="2513" y="6215"/>
                    <a:pt x="4501" y="8644"/>
                  </a:cubicBezTo>
                  <a:cubicBezTo>
                    <a:pt x="6477" y="6215"/>
                    <a:pt x="8013" y="3417"/>
                    <a:pt x="9002" y="369"/>
                  </a:cubicBezTo>
                  <a:cubicBezTo>
                    <a:pt x="7597" y="131"/>
                    <a:pt x="6132" y="0"/>
                    <a:pt x="4644" y="0"/>
                  </a:cubicBezTo>
                  <a:close/>
                </a:path>
              </a:pathLst>
            </a:custGeom>
            <a:solidFill>
              <a:schemeClr val="accent1"/>
            </a:solidFill>
            <a:ln w="19050" cap="flat" cmpd="sng">
              <a:solidFill>
                <a:schemeClr val="accent1"/>
              </a:solidFill>
              <a:prstDash val="solid"/>
              <a:miter lim="1190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6" name="Google Shape;276;p38"/>
          <p:cNvSpPr txBox="1">
            <a:spLocks noGrp="1"/>
          </p:cNvSpPr>
          <p:nvPr>
            <p:ph type="subTitle" idx="4294967295"/>
          </p:nvPr>
        </p:nvSpPr>
        <p:spPr>
          <a:xfrm>
            <a:off x="722163" y="2076625"/>
            <a:ext cx="2261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solidFill>
                  <a:schemeClr val="accent1"/>
                </a:solidFill>
              </a:rPr>
              <a:t>Desirability</a:t>
            </a:r>
            <a:endParaRPr>
              <a:solidFill>
                <a:schemeClr val="accent1"/>
              </a:solidFill>
            </a:endParaRPr>
          </a:p>
        </p:txBody>
      </p:sp>
      <p:sp>
        <p:nvSpPr>
          <p:cNvPr id="277" name="Google Shape;277;p38"/>
          <p:cNvSpPr txBox="1">
            <a:spLocks noGrp="1"/>
          </p:cNvSpPr>
          <p:nvPr>
            <p:ph type="subTitle" idx="4294967295"/>
          </p:nvPr>
        </p:nvSpPr>
        <p:spPr>
          <a:xfrm>
            <a:off x="722163" y="3292550"/>
            <a:ext cx="2261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solidFill>
                  <a:schemeClr val="accent1"/>
                </a:solidFill>
              </a:rPr>
              <a:t>Profitability</a:t>
            </a:r>
            <a:endParaRPr>
              <a:solidFill>
                <a:schemeClr val="accent1"/>
              </a:solidFill>
            </a:endParaRPr>
          </a:p>
        </p:txBody>
      </p:sp>
      <p:sp>
        <p:nvSpPr>
          <p:cNvPr id="278" name="Google Shape;278;p38"/>
          <p:cNvSpPr txBox="1">
            <a:spLocks noGrp="1"/>
          </p:cNvSpPr>
          <p:nvPr>
            <p:ph type="subTitle" idx="4294967295"/>
          </p:nvPr>
        </p:nvSpPr>
        <p:spPr>
          <a:xfrm>
            <a:off x="6169075" y="2076625"/>
            <a:ext cx="22617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solidFill>
                  <a:schemeClr val="accent1"/>
                </a:solidFill>
              </a:rPr>
              <a:t>Feasibility</a:t>
            </a:r>
            <a:endParaRPr>
              <a:solidFill>
                <a:schemeClr val="accent1"/>
              </a:solidFill>
            </a:endParaRPr>
          </a:p>
        </p:txBody>
      </p:sp>
      <p:cxnSp>
        <p:nvCxnSpPr>
          <p:cNvPr id="279" name="Google Shape;279;p38"/>
          <p:cNvCxnSpPr/>
          <p:nvPr/>
        </p:nvCxnSpPr>
        <p:spPr>
          <a:xfrm>
            <a:off x="4617800" y="2826500"/>
            <a:ext cx="1453500" cy="721500"/>
          </a:xfrm>
          <a:prstGeom prst="straightConnector1">
            <a:avLst/>
          </a:prstGeom>
          <a:noFill/>
          <a:ln w="19050" cap="flat" cmpd="sng">
            <a:solidFill>
              <a:schemeClr val="accent1"/>
            </a:solidFill>
            <a:prstDash val="solid"/>
            <a:round/>
            <a:headEnd type="none" w="med" len="med"/>
            <a:tailEnd type="oval" w="med" len="med"/>
          </a:ln>
        </p:spPr>
      </p:cxnSp>
      <p:sp>
        <p:nvSpPr>
          <p:cNvPr id="280" name="Google Shape;280;p38"/>
          <p:cNvSpPr txBox="1">
            <a:spLocks noGrp="1"/>
          </p:cNvSpPr>
          <p:nvPr>
            <p:ph type="subTitle" idx="4294967295"/>
          </p:nvPr>
        </p:nvSpPr>
        <p:spPr>
          <a:xfrm>
            <a:off x="6169063" y="3292550"/>
            <a:ext cx="22617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accent1"/>
                </a:solidFill>
              </a:rPr>
              <a:t>Sweet Spot</a:t>
            </a:r>
            <a:endParaRPr b="1">
              <a:solidFill>
                <a:schemeClr val="accent1"/>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84"/>
        <p:cNvGrpSpPr/>
        <p:nvPr/>
      </p:nvGrpSpPr>
      <p:grpSpPr>
        <a:xfrm>
          <a:off x="0" y="0"/>
          <a:ext cx="0" cy="0"/>
          <a:chOff x="0" y="0"/>
          <a:chExt cx="0" cy="0"/>
        </a:xfrm>
      </p:grpSpPr>
      <p:sp>
        <p:nvSpPr>
          <p:cNvPr id="285" name="Google Shape;285;p39"/>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Business Roadmap</a:t>
            </a:r>
            <a:endParaRPr/>
          </a:p>
        </p:txBody>
      </p:sp>
      <p:sp>
        <p:nvSpPr>
          <p:cNvPr id="286" name="Google Shape;286;p39"/>
          <p:cNvSpPr/>
          <p:nvPr/>
        </p:nvSpPr>
        <p:spPr>
          <a:xfrm>
            <a:off x="713225" y="2590875"/>
            <a:ext cx="2569500" cy="103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39"/>
          <p:cNvSpPr/>
          <p:nvPr/>
        </p:nvSpPr>
        <p:spPr>
          <a:xfrm>
            <a:off x="3282625" y="2279425"/>
            <a:ext cx="2569500" cy="103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39"/>
          <p:cNvSpPr/>
          <p:nvPr/>
        </p:nvSpPr>
        <p:spPr>
          <a:xfrm>
            <a:off x="5852025" y="1976450"/>
            <a:ext cx="2569500" cy="103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39"/>
          <p:cNvSpPr/>
          <p:nvPr/>
        </p:nvSpPr>
        <p:spPr>
          <a:xfrm rot="5400000">
            <a:off x="3029775" y="2435150"/>
            <a:ext cx="414600" cy="103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39"/>
          <p:cNvSpPr/>
          <p:nvPr/>
        </p:nvSpPr>
        <p:spPr>
          <a:xfrm rot="5400000">
            <a:off x="5600575" y="2127200"/>
            <a:ext cx="404700" cy="103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39"/>
          <p:cNvSpPr txBox="1">
            <a:spLocks noGrp="1"/>
          </p:cNvSpPr>
          <p:nvPr>
            <p:ph type="subTitle" idx="4294967295"/>
          </p:nvPr>
        </p:nvSpPr>
        <p:spPr>
          <a:xfrm>
            <a:off x="1227425" y="2079650"/>
            <a:ext cx="15411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accent1"/>
                </a:solidFill>
              </a:rPr>
              <a:t>Phase 1</a:t>
            </a:r>
            <a:endParaRPr b="1">
              <a:solidFill>
                <a:schemeClr val="accent1"/>
              </a:solidFill>
            </a:endParaRPr>
          </a:p>
        </p:txBody>
      </p:sp>
      <p:sp>
        <p:nvSpPr>
          <p:cNvPr id="292" name="Google Shape;292;p39"/>
          <p:cNvSpPr txBox="1">
            <a:spLocks noGrp="1"/>
          </p:cNvSpPr>
          <p:nvPr>
            <p:ph type="subTitle" idx="4294967295"/>
          </p:nvPr>
        </p:nvSpPr>
        <p:spPr>
          <a:xfrm>
            <a:off x="3796825" y="1764100"/>
            <a:ext cx="15411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accent1"/>
                </a:solidFill>
              </a:rPr>
              <a:t>Phase 2</a:t>
            </a:r>
            <a:endParaRPr b="1">
              <a:solidFill>
                <a:schemeClr val="accent1"/>
              </a:solidFill>
            </a:endParaRPr>
          </a:p>
        </p:txBody>
      </p:sp>
      <p:sp>
        <p:nvSpPr>
          <p:cNvPr id="293" name="Google Shape;293;p39"/>
          <p:cNvSpPr txBox="1">
            <a:spLocks noGrp="1"/>
          </p:cNvSpPr>
          <p:nvPr>
            <p:ph type="subTitle" idx="4294967295"/>
          </p:nvPr>
        </p:nvSpPr>
        <p:spPr>
          <a:xfrm>
            <a:off x="6366225" y="1471875"/>
            <a:ext cx="15411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accent1"/>
                </a:solidFill>
              </a:rPr>
              <a:t>Phase 3</a:t>
            </a:r>
            <a:endParaRPr b="1">
              <a:solidFill>
                <a:schemeClr val="accent1"/>
              </a:solidFill>
            </a:endParaRPr>
          </a:p>
        </p:txBody>
      </p:sp>
      <p:sp>
        <p:nvSpPr>
          <p:cNvPr id="294" name="Google Shape;294;p39"/>
          <p:cNvSpPr txBox="1">
            <a:spLocks noGrp="1"/>
          </p:cNvSpPr>
          <p:nvPr>
            <p:ph type="subTitle" idx="4294967295"/>
          </p:nvPr>
        </p:nvSpPr>
        <p:spPr>
          <a:xfrm>
            <a:off x="717800" y="2796700"/>
            <a:ext cx="2569500" cy="14343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p:txBody>
      </p:sp>
      <p:sp>
        <p:nvSpPr>
          <p:cNvPr id="295" name="Google Shape;295;p39"/>
          <p:cNvSpPr txBox="1">
            <a:spLocks noGrp="1"/>
          </p:cNvSpPr>
          <p:nvPr>
            <p:ph type="subTitle" idx="4294967295"/>
          </p:nvPr>
        </p:nvSpPr>
        <p:spPr>
          <a:xfrm>
            <a:off x="3250200" y="2489350"/>
            <a:ext cx="2569500" cy="14343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p:txBody>
      </p:sp>
      <p:sp>
        <p:nvSpPr>
          <p:cNvPr id="296" name="Google Shape;296;p39"/>
          <p:cNvSpPr txBox="1">
            <a:spLocks noGrp="1"/>
          </p:cNvSpPr>
          <p:nvPr>
            <p:ph type="subTitle" idx="4294967295"/>
          </p:nvPr>
        </p:nvSpPr>
        <p:spPr>
          <a:xfrm>
            <a:off x="5852025" y="2175625"/>
            <a:ext cx="2569500" cy="14343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a:p>
            <a:pPr marL="457200" lvl="0" indent="-317500" algn="l" rtl="0">
              <a:spcBef>
                <a:spcPts val="0"/>
              </a:spcBef>
              <a:spcAft>
                <a:spcPts val="0"/>
              </a:spcAft>
              <a:buSzPts val="1400"/>
              <a:buChar char="●"/>
            </a:pPr>
            <a:r>
              <a:rPr lang="en" sz="1400">
                <a:solidFill>
                  <a:schemeClr val="dk1"/>
                </a:solidFill>
              </a:rPr>
              <a:t>Describe this phase</a:t>
            </a:r>
            <a:endParaRPr sz="1400">
              <a:solidFill>
                <a:schemeClr val="dk1"/>
              </a:solidFill>
            </a:endParaRPr>
          </a:p>
        </p:txBody>
      </p:sp>
      <p:sp>
        <p:nvSpPr>
          <p:cNvPr id="297" name="Google Shape;297;p39"/>
          <p:cNvSpPr/>
          <p:nvPr/>
        </p:nvSpPr>
        <p:spPr>
          <a:xfrm flipH="1">
            <a:off x="50" y="4834275"/>
            <a:ext cx="4572000" cy="309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39"/>
          <p:cNvSpPr/>
          <p:nvPr/>
        </p:nvSpPr>
        <p:spPr>
          <a:xfrm flipH="1">
            <a:off x="4572000" y="4834275"/>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0"/>
          <p:cNvSpPr/>
          <p:nvPr/>
        </p:nvSpPr>
        <p:spPr>
          <a:xfrm>
            <a:off x="5089900" y="3266400"/>
            <a:ext cx="2787600" cy="1121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304;p40"/>
          <p:cNvSpPr/>
          <p:nvPr/>
        </p:nvSpPr>
        <p:spPr>
          <a:xfrm>
            <a:off x="5089900" y="1633725"/>
            <a:ext cx="2787600" cy="1121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40"/>
          <p:cNvSpPr/>
          <p:nvPr/>
        </p:nvSpPr>
        <p:spPr>
          <a:xfrm>
            <a:off x="1643775" y="3266400"/>
            <a:ext cx="2787600" cy="1121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40"/>
          <p:cNvSpPr/>
          <p:nvPr/>
        </p:nvSpPr>
        <p:spPr>
          <a:xfrm>
            <a:off x="1643775" y="1633725"/>
            <a:ext cx="2787600" cy="1121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40"/>
          <p:cNvSpPr/>
          <p:nvPr/>
        </p:nvSpPr>
        <p:spPr>
          <a:xfrm>
            <a:off x="5089825" y="2938650"/>
            <a:ext cx="2787600" cy="340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40"/>
          <p:cNvSpPr/>
          <p:nvPr/>
        </p:nvSpPr>
        <p:spPr>
          <a:xfrm>
            <a:off x="5089900" y="1293525"/>
            <a:ext cx="2787600" cy="340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40"/>
          <p:cNvSpPr/>
          <p:nvPr/>
        </p:nvSpPr>
        <p:spPr>
          <a:xfrm>
            <a:off x="1643775" y="2938650"/>
            <a:ext cx="2787600" cy="340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40"/>
          <p:cNvSpPr/>
          <p:nvPr/>
        </p:nvSpPr>
        <p:spPr>
          <a:xfrm>
            <a:off x="1643775" y="1293525"/>
            <a:ext cx="2787600" cy="340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40"/>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WOT</a:t>
            </a:r>
            <a:endParaRPr/>
          </a:p>
        </p:txBody>
      </p:sp>
      <p:sp>
        <p:nvSpPr>
          <p:cNvPr id="312" name="Google Shape;312;p40"/>
          <p:cNvSpPr txBox="1">
            <a:spLocks noGrp="1"/>
          </p:cNvSpPr>
          <p:nvPr>
            <p:ph type="subTitle" idx="1"/>
          </p:nvPr>
        </p:nvSpPr>
        <p:spPr>
          <a:xfrm>
            <a:off x="1878275" y="1251675"/>
            <a:ext cx="2787600" cy="4239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Strengths</a:t>
            </a:r>
            <a:endParaRPr/>
          </a:p>
        </p:txBody>
      </p:sp>
      <p:sp>
        <p:nvSpPr>
          <p:cNvPr id="313" name="Google Shape;313;p40"/>
          <p:cNvSpPr txBox="1">
            <a:spLocks noGrp="1"/>
          </p:cNvSpPr>
          <p:nvPr>
            <p:ph type="subTitle" idx="2"/>
          </p:nvPr>
        </p:nvSpPr>
        <p:spPr>
          <a:xfrm>
            <a:off x="1878275" y="1744345"/>
            <a:ext cx="2787600" cy="8727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a:t>Insert your own text</a:t>
            </a:r>
            <a:endParaRPr/>
          </a:p>
          <a:p>
            <a:pPr marL="457200" lvl="0" indent="-317500" algn="l" rtl="0">
              <a:spcBef>
                <a:spcPts val="0"/>
              </a:spcBef>
              <a:spcAft>
                <a:spcPts val="0"/>
              </a:spcAft>
              <a:buSzPts val="1400"/>
              <a:buChar char="●"/>
            </a:pPr>
            <a:r>
              <a:rPr lang="en"/>
              <a:t>Insert your own text</a:t>
            </a:r>
            <a:endParaRPr/>
          </a:p>
        </p:txBody>
      </p:sp>
      <p:sp>
        <p:nvSpPr>
          <p:cNvPr id="314" name="Google Shape;314;p40"/>
          <p:cNvSpPr txBox="1">
            <a:spLocks noGrp="1"/>
          </p:cNvSpPr>
          <p:nvPr>
            <p:ph type="subTitle" idx="3"/>
          </p:nvPr>
        </p:nvSpPr>
        <p:spPr>
          <a:xfrm>
            <a:off x="5351497" y="1251675"/>
            <a:ext cx="2787600" cy="4239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Weaknesses</a:t>
            </a:r>
            <a:endParaRPr/>
          </a:p>
        </p:txBody>
      </p:sp>
      <p:sp>
        <p:nvSpPr>
          <p:cNvPr id="315" name="Google Shape;315;p40"/>
          <p:cNvSpPr txBox="1">
            <a:spLocks noGrp="1"/>
          </p:cNvSpPr>
          <p:nvPr>
            <p:ph type="subTitle" idx="4"/>
          </p:nvPr>
        </p:nvSpPr>
        <p:spPr>
          <a:xfrm>
            <a:off x="5351493" y="1744282"/>
            <a:ext cx="2787600" cy="8727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a:t>Insert your own text</a:t>
            </a:r>
            <a:endParaRPr/>
          </a:p>
          <a:p>
            <a:pPr marL="457200" lvl="0" indent="-317500" algn="l" rtl="0">
              <a:spcBef>
                <a:spcPts val="0"/>
              </a:spcBef>
              <a:spcAft>
                <a:spcPts val="0"/>
              </a:spcAft>
              <a:buSzPts val="1400"/>
              <a:buChar char="●"/>
            </a:pPr>
            <a:r>
              <a:rPr lang="en"/>
              <a:t>Insert your own text</a:t>
            </a:r>
            <a:endParaRPr/>
          </a:p>
        </p:txBody>
      </p:sp>
      <p:sp>
        <p:nvSpPr>
          <p:cNvPr id="316" name="Google Shape;316;p40"/>
          <p:cNvSpPr txBox="1">
            <a:spLocks noGrp="1"/>
          </p:cNvSpPr>
          <p:nvPr>
            <p:ph type="subTitle" idx="5"/>
          </p:nvPr>
        </p:nvSpPr>
        <p:spPr>
          <a:xfrm>
            <a:off x="1878275" y="2898148"/>
            <a:ext cx="2787600" cy="3402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Opportunities</a:t>
            </a:r>
            <a:endParaRPr/>
          </a:p>
        </p:txBody>
      </p:sp>
      <p:sp>
        <p:nvSpPr>
          <p:cNvPr id="317" name="Google Shape;317;p40"/>
          <p:cNvSpPr txBox="1">
            <a:spLocks noGrp="1"/>
          </p:cNvSpPr>
          <p:nvPr>
            <p:ph type="subTitle" idx="6"/>
          </p:nvPr>
        </p:nvSpPr>
        <p:spPr>
          <a:xfrm>
            <a:off x="1878275" y="3390754"/>
            <a:ext cx="2787600" cy="8727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a:t>Insert your own text</a:t>
            </a:r>
            <a:endParaRPr/>
          </a:p>
          <a:p>
            <a:pPr marL="457200" lvl="0" indent="-317500" algn="l" rtl="0">
              <a:spcBef>
                <a:spcPts val="0"/>
              </a:spcBef>
              <a:spcAft>
                <a:spcPts val="0"/>
              </a:spcAft>
              <a:buSzPts val="1400"/>
              <a:buChar char="●"/>
            </a:pPr>
            <a:r>
              <a:rPr lang="en"/>
              <a:t>Insert your own text</a:t>
            </a:r>
            <a:endParaRPr/>
          </a:p>
        </p:txBody>
      </p:sp>
      <p:sp>
        <p:nvSpPr>
          <p:cNvPr id="318" name="Google Shape;318;p40"/>
          <p:cNvSpPr txBox="1">
            <a:spLocks noGrp="1"/>
          </p:cNvSpPr>
          <p:nvPr>
            <p:ph type="subTitle" idx="7"/>
          </p:nvPr>
        </p:nvSpPr>
        <p:spPr>
          <a:xfrm>
            <a:off x="5351425" y="2898156"/>
            <a:ext cx="2787600" cy="3402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Threats</a:t>
            </a:r>
            <a:endParaRPr/>
          </a:p>
        </p:txBody>
      </p:sp>
      <p:sp>
        <p:nvSpPr>
          <p:cNvPr id="319" name="Google Shape;319;p40"/>
          <p:cNvSpPr txBox="1">
            <a:spLocks noGrp="1"/>
          </p:cNvSpPr>
          <p:nvPr>
            <p:ph type="subTitle" idx="8"/>
          </p:nvPr>
        </p:nvSpPr>
        <p:spPr>
          <a:xfrm>
            <a:off x="5351425" y="3390754"/>
            <a:ext cx="2787600" cy="8727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en"/>
              <a:t>Insert your own text</a:t>
            </a:r>
            <a:endParaRPr/>
          </a:p>
          <a:p>
            <a:pPr marL="457200" lvl="0" indent="-317500" algn="l" rtl="0">
              <a:spcBef>
                <a:spcPts val="0"/>
              </a:spcBef>
              <a:spcAft>
                <a:spcPts val="0"/>
              </a:spcAft>
              <a:buSzPts val="1400"/>
              <a:buChar char="●"/>
            </a:pPr>
            <a:r>
              <a:rPr lang="en"/>
              <a:t>Insert your own text</a:t>
            </a:r>
            <a:endParaRPr/>
          </a:p>
        </p:txBody>
      </p:sp>
      <p:sp>
        <p:nvSpPr>
          <p:cNvPr id="320" name="Google Shape;320;p40"/>
          <p:cNvSpPr/>
          <p:nvPr/>
        </p:nvSpPr>
        <p:spPr>
          <a:xfrm>
            <a:off x="1048050" y="1296475"/>
            <a:ext cx="406200" cy="1458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40"/>
          <p:cNvSpPr/>
          <p:nvPr/>
        </p:nvSpPr>
        <p:spPr>
          <a:xfrm>
            <a:off x="1048125" y="2939400"/>
            <a:ext cx="406200" cy="1458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40"/>
          <p:cNvSpPr txBox="1">
            <a:spLocks noGrp="1"/>
          </p:cNvSpPr>
          <p:nvPr>
            <p:ph type="subTitle" idx="9"/>
          </p:nvPr>
        </p:nvSpPr>
        <p:spPr>
          <a:xfrm rot="-5400803">
            <a:off x="609009" y="1779468"/>
            <a:ext cx="1284300" cy="492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Internal</a:t>
            </a:r>
            <a:endParaRPr/>
          </a:p>
        </p:txBody>
      </p:sp>
      <p:sp>
        <p:nvSpPr>
          <p:cNvPr id="323" name="Google Shape;323;p40"/>
          <p:cNvSpPr txBox="1">
            <a:spLocks noGrp="1"/>
          </p:cNvSpPr>
          <p:nvPr>
            <p:ph type="subTitle" idx="13"/>
          </p:nvPr>
        </p:nvSpPr>
        <p:spPr>
          <a:xfrm rot="-5400000">
            <a:off x="609075" y="3422400"/>
            <a:ext cx="1284300" cy="492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External</a:t>
            </a: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27"/>
        <p:cNvGrpSpPr/>
        <p:nvPr/>
      </p:nvGrpSpPr>
      <p:grpSpPr>
        <a:xfrm>
          <a:off x="0" y="0"/>
          <a:ext cx="0" cy="0"/>
          <a:chOff x="0" y="0"/>
          <a:chExt cx="0" cy="0"/>
        </a:xfrm>
      </p:grpSpPr>
      <p:sp>
        <p:nvSpPr>
          <p:cNvPr id="328" name="Google Shape;328;p41"/>
          <p:cNvSpPr/>
          <p:nvPr/>
        </p:nvSpPr>
        <p:spPr>
          <a:xfrm>
            <a:off x="5399774" y="1391525"/>
            <a:ext cx="3026400" cy="1158300"/>
          </a:xfrm>
          <a:prstGeom prst="homePlate">
            <a:avLst>
              <a:gd name="adj" fmla="val 50000"/>
            </a:avLst>
          </a:prstGeom>
          <a:solidFill>
            <a:schemeClr val="dk2"/>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41"/>
          <p:cNvSpPr/>
          <p:nvPr/>
        </p:nvSpPr>
        <p:spPr>
          <a:xfrm>
            <a:off x="3093580" y="1391525"/>
            <a:ext cx="3026400" cy="1158300"/>
          </a:xfrm>
          <a:prstGeom prst="homePlate">
            <a:avLst>
              <a:gd name="adj" fmla="val 50000"/>
            </a:avLst>
          </a:prstGeom>
          <a:solidFill>
            <a:schemeClr val="dk2"/>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41"/>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ata Gathering Survey</a:t>
            </a:r>
            <a:endParaRPr/>
          </a:p>
        </p:txBody>
      </p:sp>
      <p:sp>
        <p:nvSpPr>
          <p:cNvPr id="331" name="Google Shape;331;p41"/>
          <p:cNvSpPr/>
          <p:nvPr/>
        </p:nvSpPr>
        <p:spPr>
          <a:xfrm>
            <a:off x="717875" y="1391525"/>
            <a:ext cx="3026400" cy="1158300"/>
          </a:xfrm>
          <a:prstGeom prst="homePlate">
            <a:avLst>
              <a:gd name="adj" fmla="val 50000"/>
            </a:avLst>
          </a:prstGeom>
          <a:solidFill>
            <a:schemeClr val="dk2"/>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41"/>
          <p:cNvSpPr txBox="1">
            <a:spLocks noGrp="1"/>
          </p:cNvSpPr>
          <p:nvPr>
            <p:ph type="subTitle" idx="4294967295"/>
          </p:nvPr>
        </p:nvSpPr>
        <p:spPr>
          <a:xfrm>
            <a:off x="1154752" y="1764825"/>
            <a:ext cx="1734900" cy="4584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Design</a:t>
            </a:r>
            <a:endParaRPr b="1">
              <a:solidFill>
                <a:schemeClr val="lt1"/>
              </a:solidFill>
            </a:endParaRPr>
          </a:p>
        </p:txBody>
      </p:sp>
      <p:sp>
        <p:nvSpPr>
          <p:cNvPr id="333" name="Google Shape;333;p41"/>
          <p:cNvSpPr txBox="1">
            <a:spLocks noGrp="1"/>
          </p:cNvSpPr>
          <p:nvPr>
            <p:ph type="subTitle" idx="4294967295"/>
          </p:nvPr>
        </p:nvSpPr>
        <p:spPr>
          <a:xfrm>
            <a:off x="3820573" y="1764825"/>
            <a:ext cx="1734900" cy="4584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Conduct</a:t>
            </a:r>
            <a:endParaRPr b="1">
              <a:solidFill>
                <a:schemeClr val="lt1"/>
              </a:solidFill>
            </a:endParaRPr>
          </a:p>
        </p:txBody>
      </p:sp>
      <p:sp>
        <p:nvSpPr>
          <p:cNvPr id="334" name="Google Shape;334;p41"/>
          <p:cNvSpPr txBox="1">
            <a:spLocks noGrp="1"/>
          </p:cNvSpPr>
          <p:nvPr>
            <p:ph type="subTitle" idx="4294967295"/>
          </p:nvPr>
        </p:nvSpPr>
        <p:spPr>
          <a:xfrm>
            <a:off x="6253966" y="1764825"/>
            <a:ext cx="1734900" cy="4584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Synthesize</a:t>
            </a:r>
            <a:endParaRPr b="1">
              <a:solidFill>
                <a:schemeClr val="lt1"/>
              </a:solidFill>
            </a:endParaRPr>
          </a:p>
        </p:txBody>
      </p:sp>
      <p:sp>
        <p:nvSpPr>
          <p:cNvPr id="335" name="Google Shape;335;p41"/>
          <p:cNvSpPr txBox="1">
            <a:spLocks noGrp="1"/>
          </p:cNvSpPr>
          <p:nvPr>
            <p:ph type="subTitle" idx="4294967295"/>
          </p:nvPr>
        </p:nvSpPr>
        <p:spPr>
          <a:xfrm>
            <a:off x="717875" y="2714225"/>
            <a:ext cx="2433300" cy="16665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Clr>
                <a:schemeClr val="accent1"/>
              </a:buClr>
              <a:buSzPts val="1400"/>
              <a:buChar char="●"/>
            </a:pPr>
            <a:r>
              <a:rPr lang="en" sz="1400">
                <a:solidFill>
                  <a:schemeClr val="dk1"/>
                </a:solidFill>
              </a:rPr>
              <a:t>Determine the main objective</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Determine the sample</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Design the survey</a:t>
            </a:r>
            <a:endParaRPr sz="1400">
              <a:solidFill>
                <a:schemeClr val="dk1"/>
              </a:solidFill>
            </a:endParaRPr>
          </a:p>
        </p:txBody>
      </p:sp>
      <p:sp>
        <p:nvSpPr>
          <p:cNvPr id="336" name="Google Shape;336;p41"/>
          <p:cNvSpPr txBox="1">
            <a:spLocks noGrp="1"/>
          </p:cNvSpPr>
          <p:nvPr>
            <p:ph type="subTitle" idx="4294967295"/>
          </p:nvPr>
        </p:nvSpPr>
        <p:spPr>
          <a:xfrm>
            <a:off x="3136675" y="2714225"/>
            <a:ext cx="2433300" cy="16665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Clr>
                <a:schemeClr val="accent1"/>
              </a:buClr>
              <a:buSzPts val="1400"/>
              <a:buChar char="●"/>
            </a:pPr>
            <a:r>
              <a:rPr lang="en" sz="1400">
                <a:solidFill>
                  <a:schemeClr val="dk1"/>
                </a:solidFill>
              </a:rPr>
              <a:t>Provide clear value proposition </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Perform a trial run to pretest survey</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Administer survey</a:t>
            </a:r>
            <a:endParaRPr sz="1400">
              <a:solidFill>
                <a:schemeClr val="dk1"/>
              </a:solidFill>
            </a:endParaRPr>
          </a:p>
        </p:txBody>
      </p:sp>
      <p:sp>
        <p:nvSpPr>
          <p:cNvPr id="337" name="Google Shape;337;p41"/>
          <p:cNvSpPr txBox="1">
            <a:spLocks noGrp="1"/>
          </p:cNvSpPr>
          <p:nvPr>
            <p:ph type="subTitle" idx="4294967295"/>
          </p:nvPr>
        </p:nvSpPr>
        <p:spPr>
          <a:xfrm>
            <a:off x="5555475" y="2714225"/>
            <a:ext cx="2433300" cy="1666500"/>
          </a:xfrm>
          <a:prstGeom prst="rect">
            <a:avLst/>
          </a:prstGeom>
        </p:spPr>
        <p:txBody>
          <a:bodyPr spcFirstLastPara="1" wrap="square" lIns="91425" tIns="91425" rIns="91425" bIns="91425" anchor="t" anchorCtr="0">
            <a:noAutofit/>
          </a:bodyPr>
          <a:lstStyle/>
          <a:p>
            <a:pPr marL="457200" lvl="0" indent="-317500" algn="l" rtl="0">
              <a:spcBef>
                <a:spcPts val="0"/>
              </a:spcBef>
              <a:spcAft>
                <a:spcPts val="0"/>
              </a:spcAft>
              <a:buClr>
                <a:schemeClr val="accent1"/>
              </a:buClr>
              <a:buSzPts val="1400"/>
              <a:buChar char="●"/>
            </a:pPr>
            <a:r>
              <a:rPr lang="en" sz="1400">
                <a:solidFill>
                  <a:schemeClr val="dk1"/>
                </a:solidFill>
              </a:rPr>
              <a:t>Prepare and analyze data</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Identify the “what?”</a:t>
            </a:r>
            <a:endParaRPr sz="1400">
              <a:solidFill>
                <a:schemeClr val="dk1"/>
              </a:solidFill>
            </a:endParaRPr>
          </a:p>
          <a:p>
            <a:pPr marL="457200" lvl="0" indent="-317500" algn="l" rtl="0">
              <a:spcBef>
                <a:spcPts val="0"/>
              </a:spcBef>
              <a:spcAft>
                <a:spcPts val="0"/>
              </a:spcAft>
              <a:buClr>
                <a:schemeClr val="accent1"/>
              </a:buClr>
              <a:buSzPts val="1400"/>
              <a:buChar char="●"/>
            </a:pPr>
            <a:r>
              <a:rPr lang="en" sz="1400">
                <a:solidFill>
                  <a:schemeClr val="dk1"/>
                </a:solidFill>
              </a:rPr>
              <a:t>Summarize and interpret results</a:t>
            </a:r>
            <a:endParaRPr sz="1400">
              <a:solidFill>
                <a:schemeClr val="dk1"/>
              </a:solidFil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Google Shape;342;p42"/>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Financial Analysis</a:t>
            </a:r>
            <a:endParaRPr/>
          </a:p>
        </p:txBody>
      </p:sp>
      <p:sp>
        <p:nvSpPr>
          <p:cNvPr id="343" name="Google Shape;343;p42"/>
          <p:cNvSpPr/>
          <p:nvPr/>
        </p:nvSpPr>
        <p:spPr>
          <a:xfrm>
            <a:off x="4364213" y="2817560"/>
            <a:ext cx="1626843" cy="1344568"/>
          </a:xfrm>
          <a:custGeom>
            <a:avLst/>
            <a:gdLst/>
            <a:ahLst/>
            <a:cxnLst/>
            <a:rect l="l" t="t" r="r" b="b"/>
            <a:pathLst>
              <a:path w="68140" h="56317" extrusionOk="0">
                <a:moveTo>
                  <a:pt x="34517" y="0"/>
                </a:moveTo>
                <a:cubicBezTo>
                  <a:pt x="32957" y="12704"/>
                  <a:pt x="22241" y="22574"/>
                  <a:pt x="9156" y="22801"/>
                </a:cubicBezTo>
                <a:lnTo>
                  <a:pt x="0" y="39672"/>
                </a:lnTo>
                <a:lnTo>
                  <a:pt x="9132" y="56317"/>
                </a:lnTo>
                <a:cubicBezTo>
                  <a:pt x="40684" y="56090"/>
                  <a:pt x="66390" y="31337"/>
                  <a:pt x="68140" y="179"/>
                </a:cubicBezTo>
                <a:lnTo>
                  <a:pt x="68140" y="179"/>
                </a:lnTo>
                <a:lnTo>
                  <a:pt x="51602" y="9251"/>
                </a:lnTo>
                <a:lnTo>
                  <a:pt x="345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42"/>
          <p:cNvSpPr/>
          <p:nvPr/>
        </p:nvSpPr>
        <p:spPr>
          <a:xfrm>
            <a:off x="4648473" y="1321743"/>
            <a:ext cx="1344855" cy="1626843"/>
          </a:xfrm>
          <a:custGeom>
            <a:avLst/>
            <a:gdLst/>
            <a:ahLst/>
            <a:cxnLst/>
            <a:rect l="l" t="t" r="r" b="b"/>
            <a:pathLst>
              <a:path w="56329" h="68140" extrusionOk="0">
                <a:moveTo>
                  <a:pt x="191" y="1"/>
                </a:moveTo>
                <a:lnTo>
                  <a:pt x="9264" y="16550"/>
                </a:lnTo>
                <a:lnTo>
                  <a:pt x="1" y="33624"/>
                </a:lnTo>
                <a:cubicBezTo>
                  <a:pt x="12716" y="35183"/>
                  <a:pt x="22587" y="45911"/>
                  <a:pt x="22813" y="58984"/>
                </a:cubicBezTo>
                <a:lnTo>
                  <a:pt x="39684" y="68140"/>
                </a:lnTo>
                <a:lnTo>
                  <a:pt x="56329" y="59008"/>
                </a:lnTo>
                <a:cubicBezTo>
                  <a:pt x="56103" y="27456"/>
                  <a:pt x="31350" y="1751"/>
                  <a:pt x="19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42"/>
          <p:cNvSpPr/>
          <p:nvPr/>
        </p:nvSpPr>
        <p:spPr>
          <a:xfrm>
            <a:off x="3152943" y="1319475"/>
            <a:ext cx="1626866" cy="1344855"/>
          </a:xfrm>
          <a:custGeom>
            <a:avLst/>
            <a:gdLst/>
            <a:ahLst/>
            <a:cxnLst/>
            <a:rect l="l" t="t" r="r" b="b"/>
            <a:pathLst>
              <a:path w="68141" h="56329" extrusionOk="0">
                <a:moveTo>
                  <a:pt x="59008" y="0"/>
                </a:moveTo>
                <a:cubicBezTo>
                  <a:pt x="27457" y="227"/>
                  <a:pt x="1751" y="24980"/>
                  <a:pt x="1" y="56138"/>
                </a:cubicBezTo>
                <a:lnTo>
                  <a:pt x="16550" y="47066"/>
                </a:lnTo>
                <a:lnTo>
                  <a:pt x="33624" y="56329"/>
                </a:lnTo>
                <a:cubicBezTo>
                  <a:pt x="35184" y="43613"/>
                  <a:pt x="45911" y="33754"/>
                  <a:pt x="58984" y="33528"/>
                </a:cubicBezTo>
                <a:lnTo>
                  <a:pt x="68140" y="16645"/>
                </a:lnTo>
                <a:lnTo>
                  <a:pt x="5900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42"/>
          <p:cNvSpPr/>
          <p:nvPr/>
        </p:nvSpPr>
        <p:spPr>
          <a:xfrm>
            <a:off x="3150675" y="2532989"/>
            <a:ext cx="1344855" cy="1626866"/>
          </a:xfrm>
          <a:custGeom>
            <a:avLst/>
            <a:gdLst/>
            <a:ahLst/>
            <a:cxnLst/>
            <a:rect l="l" t="t" r="r" b="b"/>
            <a:pathLst>
              <a:path w="56329" h="68141" extrusionOk="0">
                <a:moveTo>
                  <a:pt x="16645" y="1"/>
                </a:moveTo>
                <a:lnTo>
                  <a:pt x="1" y="9133"/>
                </a:lnTo>
                <a:cubicBezTo>
                  <a:pt x="227" y="40685"/>
                  <a:pt x="24980" y="66390"/>
                  <a:pt x="56139" y="68140"/>
                </a:cubicBezTo>
                <a:lnTo>
                  <a:pt x="47066" y="51603"/>
                </a:lnTo>
                <a:lnTo>
                  <a:pt x="56329" y="34517"/>
                </a:lnTo>
                <a:cubicBezTo>
                  <a:pt x="43613" y="32957"/>
                  <a:pt x="33755" y="22242"/>
                  <a:pt x="33529" y="9157"/>
                </a:cubicBezTo>
                <a:lnTo>
                  <a:pt x="1664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42"/>
          <p:cNvSpPr txBox="1">
            <a:spLocks noGrp="1"/>
          </p:cNvSpPr>
          <p:nvPr>
            <p:ph type="subTitle" idx="4294967295"/>
          </p:nvPr>
        </p:nvSpPr>
        <p:spPr>
          <a:xfrm>
            <a:off x="713225" y="1874775"/>
            <a:ext cx="21654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sz="1400">
                <a:solidFill>
                  <a:schemeClr val="dk1"/>
                </a:solidFill>
              </a:rPr>
              <a:t>Starting cash position</a:t>
            </a:r>
            <a:endParaRPr sz="1400">
              <a:solidFill>
                <a:schemeClr val="dk1"/>
              </a:solidFill>
            </a:endParaRPr>
          </a:p>
        </p:txBody>
      </p:sp>
      <p:sp>
        <p:nvSpPr>
          <p:cNvPr id="348" name="Google Shape;348;p42"/>
          <p:cNvSpPr txBox="1">
            <a:spLocks noGrp="1"/>
          </p:cNvSpPr>
          <p:nvPr>
            <p:ph type="subTitle" idx="4294967295"/>
          </p:nvPr>
        </p:nvSpPr>
        <p:spPr>
          <a:xfrm>
            <a:off x="713225" y="3293076"/>
            <a:ext cx="21654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sz="1400">
                <a:solidFill>
                  <a:schemeClr val="dk1"/>
                </a:solidFill>
              </a:rPr>
              <a:t>Closing cash position</a:t>
            </a:r>
            <a:endParaRPr sz="1400">
              <a:solidFill>
                <a:schemeClr val="dk1"/>
              </a:solidFill>
            </a:endParaRPr>
          </a:p>
        </p:txBody>
      </p:sp>
      <p:sp>
        <p:nvSpPr>
          <p:cNvPr id="349" name="Google Shape;349;p42"/>
          <p:cNvSpPr txBox="1">
            <a:spLocks noGrp="1"/>
          </p:cNvSpPr>
          <p:nvPr>
            <p:ph type="subTitle" idx="4294967295"/>
          </p:nvPr>
        </p:nvSpPr>
        <p:spPr>
          <a:xfrm>
            <a:off x="6265374" y="1874775"/>
            <a:ext cx="21654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dk1"/>
                </a:solidFill>
              </a:rPr>
              <a:t>Sources of cash</a:t>
            </a:r>
            <a:endParaRPr sz="1400">
              <a:solidFill>
                <a:schemeClr val="dk1"/>
              </a:solidFill>
            </a:endParaRPr>
          </a:p>
        </p:txBody>
      </p:sp>
      <p:sp>
        <p:nvSpPr>
          <p:cNvPr id="350" name="Google Shape;350;p42"/>
          <p:cNvSpPr txBox="1">
            <a:spLocks noGrp="1"/>
          </p:cNvSpPr>
          <p:nvPr>
            <p:ph type="subTitle" idx="4294967295"/>
          </p:nvPr>
        </p:nvSpPr>
        <p:spPr>
          <a:xfrm>
            <a:off x="6265374" y="3293075"/>
            <a:ext cx="21654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dk1"/>
                </a:solidFill>
              </a:rPr>
              <a:t>Uses of cash</a:t>
            </a:r>
            <a:endParaRPr sz="1400">
              <a:solidFill>
                <a:schemeClr val="dk1"/>
              </a:solidFill>
            </a:endParaRPr>
          </a:p>
        </p:txBody>
      </p:sp>
      <p:cxnSp>
        <p:nvCxnSpPr>
          <p:cNvPr id="351" name="Google Shape;351;p42"/>
          <p:cNvCxnSpPr>
            <a:endCxn id="347" idx="3"/>
          </p:cNvCxnSpPr>
          <p:nvPr/>
        </p:nvCxnSpPr>
        <p:spPr>
          <a:xfrm rot="10800000">
            <a:off x="2878625" y="2079075"/>
            <a:ext cx="720900" cy="3000"/>
          </a:xfrm>
          <a:prstGeom prst="straightConnector1">
            <a:avLst/>
          </a:prstGeom>
          <a:noFill/>
          <a:ln w="19050" cap="flat" cmpd="sng">
            <a:solidFill>
              <a:schemeClr val="accent1"/>
            </a:solidFill>
            <a:prstDash val="solid"/>
            <a:round/>
            <a:headEnd type="none" w="med" len="med"/>
            <a:tailEnd type="oval" w="med" len="med"/>
          </a:ln>
        </p:spPr>
      </p:cxnSp>
      <p:cxnSp>
        <p:nvCxnSpPr>
          <p:cNvPr id="352" name="Google Shape;352;p42"/>
          <p:cNvCxnSpPr/>
          <p:nvPr/>
        </p:nvCxnSpPr>
        <p:spPr>
          <a:xfrm rot="10800000">
            <a:off x="2878675" y="3496125"/>
            <a:ext cx="729000" cy="3300"/>
          </a:xfrm>
          <a:prstGeom prst="straightConnector1">
            <a:avLst/>
          </a:prstGeom>
          <a:noFill/>
          <a:ln w="19050" cap="flat" cmpd="sng">
            <a:solidFill>
              <a:schemeClr val="dk2"/>
            </a:solidFill>
            <a:prstDash val="solid"/>
            <a:round/>
            <a:headEnd type="none" w="med" len="med"/>
            <a:tailEnd type="oval" w="med" len="med"/>
          </a:ln>
        </p:spPr>
      </p:cxnSp>
      <p:cxnSp>
        <p:nvCxnSpPr>
          <p:cNvPr id="353" name="Google Shape;353;p42"/>
          <p:cNvCxnSpPr/>
          <p:nvPr/>
        </p:nvCxnSpPr>
        <p:spPr>
          <a:xfrm rot="10800000" flipH="1">
            <a:off x="5544475" y="2082075"/>
            <a:ext cx="720900" cy="3000"/>
          </a:xfrm>
          <a:prstGeom prst="straightConnector1">
            <a:avLst/>
          </a:prstGeom>
          <a:noFill/>
          <a:ln w="19050" cap="flat" cmpd="sng">
            <a:solidFill>
              <a:schemeClr val="dk2"/>
            </a:solidFill>
            <a:prstDash val="solid"/>
            <a:round/>
            <a:headEnd type="none" w="med" len="med"/>
            <a:tailEnd type="oval" w="med" len="med"/>
          </a:ln>
        </p:spPr>
      </p:cxnSp>
      <p:cxnSp>
        <p:nvCxnSpPr>
          <p:cNvPr id="354" name="Google Shape;354;p42"/>
          <p:cNvCxnSpPr/>
          <p:nvPr/>
        </p:nvCxnSpPr>
        <p:spPr>
          <a:xfrm rot="10800000" flipH="1">
            <a:off x="5536325" y="3499125"/>
            <a:ext cx="729000" cy="330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58"/>
        <p:cNvGrpSpPr/>
        <p:nvPr/>
      </p:nvGrpSpPr>
      <p:grpSpPr>
        <a:xfrm>
          <a:off x="0" y="0"/>
          <a:ext cx="0" cy="0"/>
          <a:chOff x="0" y="0"/>
          <a:chExt cx="0" cy="0"/>
        </a:xfrm>
      </p:grpSpPr>
      <p:sp>
        <p:nvSpPr>
          <p:cNvPr id="359" name="Google Shape;359;p43"/>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Ansoff Growth Matrix</a:t>
            </a:r>
            <a:endParaRPr/>
          </a:p>
        </p:txBody>
      </p:sp>
      <p:sp>
        <p:nvSpPr>
          <p:cNvPr id="360" name="Google Shape;360;p43"/>
          <p:cNvSpPr txBox="1">
            <a:spLocks noGrp="1"/>
          </p:cNvSpPr>
          <p:nvPr>
            <p:ph type="subTitle" idx="4294967295"/>
          </p:nvPr>
        </p:nvSpPr>
        <p:spPr>
          <a:xfrm>
            <a:off x="3688850" y="1168925"/>
            <a:ext cx="26805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accent1"/>
                </a:solidFill>
              </a:rPr>
              <a:t>Insert your own title</a:t>
            </a:r>
            <a:endParaRPr b="1">
              <a:solidFill>
                <a:schemeClr val="accent1"/>
              </a:solidFill>
            </a:endParaRPr>
          </a:p>
        </p:txBody>
      </p:sp>
      <p:sp>
        <p:nvSpPr>
          <p:cNvPr id="361" name="Google Shape;361;p43"/>
          <p:cNvSpPr/>
          <p:nvPr/>
        </p:nvSpPr>
        <p:spPr>
          <a:xfrm>
            <a:off x="2920725" y="1733600"/>
            <a:ext cx="2063100" cy="1060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43"/>
          <p:cNvSpPr/>
          <p:nvPr/>
        </p:nvSpPr>
        <p:spPr>
          <a:xfrm>
            <a:off x="2920725" y="2845174"/>
            <a:ext cx="2063100" cy="1060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43"/>
          <p:cNvSpPr/>
          <p:nvPr/>
        </p:nvSpPr>
        <p:spPr>
          <a:xfrm>
            <a:off x="5074450" y="1733600"/>
            <a:ext cx="2063100" cy="1060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43"/>
          <p:cNvSpPr/>
          <p:nvPr/>
        </p:nvSpPr>
        <p:spPr>
          <a:xfrm>
            <a:off x="5074450" y="2845225"/>
            <a:ext cx="2063100" cy="1060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43"/>
          <p:cNvSpPr txBox="1">
            <a:spLocks noGrp="1"/>
          </p:cNvSpPr>
          <p:nvPr>
            <p:ph type="subTitle" idx="4294967295"/>
          </p:nvPr>
        </p:nvSpPr>
        <p:spPr>
          <a:xfrm>
            <a:off x="3688850" y="4234025"/>
            <a:ext cx="26805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accent1"/>
                </a:solidFill>
              </a:rPr>
              <a:t>Products</a:t>
            </a:r>
            <a:endParaRPr b="1">
              <a:solidFill>
                <a:schemeClr val="accent1"/>
              </a:solidFill>
            </a:endParaRPr>
          </a:p>
        </p:txBody>
      </p:sp>
      <p:sp>
        <p:nvSpPr>
          <p:cNvPr id="366" name="Google Shape;366;p43"/>
          <p:cNvSpPr txBox="1">
            <a:spLocks noGrp="1"/>
          </p:cNvSpPr>
          <p:nvPr>
            <p:ph type="subTitle" idx="4294967295"/>
          </p:nvPr>
        </p:nvSpPr>
        <p:spPr>
          <a:xfrm>
            <a:off x="1170425" y="2618675"/>
            <a:ext cx="15132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accent1"/>
                </a:solidFill>
              </a:rPr>
              <a:t>Market</a:t>
            </a:r>
            <a:endParaRPr b="1">
              <a:solidFill>
                <a:schemeClr val="accent1"/>
              </a:solidFill>
            </a:endParaRPr>
          </a:p>
        </p:txBody>
      </p:sp>
      <p:sp>
        <p:nvSpPr>
          <p:cNvPr id="367" name="Google Shape;367;p43"/>
          <p:cNvSpPr txBox="1">
            <a:spLocks noGrp="1"/>
          </p:cNvSpPr>
          <p:nvPr>
            <p:ph type="subTitle" idx="4294967295"/>
          </p:nvPr>
        </p:nvSpPr>
        <p:spPr>
          <a:xfrm>
            <a:off x="3116575" y="1803188"/>
            <a:ext cx="1762500" cy="990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dk1"/>
                </a:solidFill>
              </a:rPr>
              <a:t>Market Development Strategy</a:t>
            </a:r>
            <a:endParaRPr sz="1400">
              <a:solidFill>
                <a:schemeClr val="dk1"/>
              </a:solidFill>
            </a:endParaRPr>
          </a:p>
        </p:txBody>
      </p:sp>
      <p:sp>
        <p:nvSpPr>
          <p:cNvPr id="368" name="Google Shape;368;p43"/>
          <p:cNvSpPr txBox="1">
            <a:spLocks noGrp="1"/>
          </p:cNvSpPr>
          <p:nvPr>
            <p:ph type="subTitle" idx="4294967295"/>
          </p:nvPr>
        </p:nvSpPr>
        <p:spPr>
          <a:xfrm>
            <a:off x="5220925" y="1803188"/>
            <a:ext cx="1762500" cy="990600"/>
          </a:xfrm>
          <a:prstGeom prst="rect">
            <a:avLst/>
          </a:prstGeom>
        </p:spPr>
        <p:txBody>
          <a:bodyPr spcFirstLastPara="1" wrap="square" lIns="91425" tIns="91425" rIns="91425" bIns="91425" anchor="ctr" anchorCtr="0">
            <a:noAutofit/>
          </a:bodyPr>
          <a:lstStyle/>
          <a:p>
            <a:pPr marL="0" lvl="0" indent="0" algn="ctr" rtl="0">
              <a:spcBef>
                <a:spcPts val="0"/>
              </a:spcBef>
              <a:spcAft>
                <a:spcPts val="1600"/>
              </a:spcAft>
              <a:buNone/>
            </a:pPr>
            <a:r>
              <a:rPr lang="en" sz="1400">
                <a:solidFill>
                  <a:schemeClr val="lt1"/>
                </a:solidFill>
              </a:rPr>
              <a:t>Diversification Strategy</a:t>
            </a:r>
            <a:endParaRPr sz="1400">
              <a:solidFill>
                <a:schemeClr val="lt1"/>
              </a:solidFill>
            </a:endParaRPr>
          </a:p>
        </p:txBody>
      </p:sp>
      <p:sp>
        <p:nvSpPr>
          <p:cNvPr id="369" name="Google Shape;369;p43"/>
          <p:cNvSpPr txBox="1">
            <a:spLocks noGrp="1"/>
          </p:cNvSpPr>
          <p:nvPr>
            <p:ph type="subTitle" idx="4294967295"/>
          </p:nvPr>
        </p:nvSpPr>
        <p:spPr>
          <a:xfrm>
            <a:off x="3116575" y="2904413"/>
            <a:ext cx="1762500" cy="990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dk1"/>
                </a:solidFill>
              </a:rPr>
              <a:t>Market Penetration Strategy</a:t>
            </a:r>
            <a:endParaRPr sz="1400">
              <a:solidFill>
                <a:schemeClr val="dk1"/>
              </a:solidFill>
            </a:endParaRPr>
          </a:p>
        </p:txBody>
      </p:sp>
      <p:sp>
        <p:nvSpPr>
          <p:cNvPr id="370" name="Google Shape;370;p43"/>
          <p:cNvSpPr txBox="1">
            <a:spLocks noGrp="1"/>
          </p:cNvSpPr>
          <p:nvPr>
            <p:ph type="subTitle" idx="4294967295"/>
          </p:nvPr>
        </p:nvSpPr>
        <p:spPr>
          <a:xfrm>
            <a:off x="5220925" y="2904425"/>
            <a:ext cx="1762500" cy="990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400">
                <a:solidFill>
                  <a:schemeClr val="dk1"/>
                </a:solidFill>
              </a:rPr>
              <a:t>Product</a:t>
            </a:r>
            <a:endParaRPr sz="1400">
              <a:solidFill>
                <a:schemeClr val="dk1"/>
              </a:solidFill>
            </a:endParaRPr>
          </a:p>
          <a:p>
            <a:pPr marL="0" lvl="0" indent="0" algn="ctr" rtl="0">
              <a:spcBef>
                <a:spcPts val="0"/>
              </a:spcBef>
              <a:spcAft>
                <a:spcPts val="0"/>
              </a:spcAft>
              <a:buNone/>
            </a:pPr>
            <a:r>
              <a:rPr lang="en" sz="1400">
                <a:solidFill>
                  <a:schemeClr val="dk1"/>
                </a:solidFill>
              </a:rPr>
              <a:t>Development Strategy</a:t>
            </a:r>
            <a:endParaRPr sz="1400">
              <a:solidFill>
                <a:schemeClr val="dk1"/>
              </a:solidFill>
            </a:endParaRPr>
          </a:p>
        </p:txBody>
      </p:sp>
      <p:sp>
        <p:nvSpPr>
          <p:cNvPr id="371" name="Google Shape;371;p43"/>
          <p:cNvSpPr txBox="1">
            <a:spLocks noGrp="1"/>
          </p:cNvSpPr>
          <p:nvPr>
            <p:ph type="subTitle" idx="4294967295"/>
          </p:nvPr>
        </p:nvSpPr>
        <p:spPr>
          <a:xfrm>
            <a:off x="5349400" y="3895025"/>
            <a:ext cx="1513200" cy="3390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accent1"/>
                </a:solidFill>
              </a:rPr>
              <a:t>New</a:t>
            </a:r>
            <a:endParaRPr sz="1400">
              <a:solidFill>
                <a:schemeClr val="accent1"/>
              </a:solidFill>
            </a:endParaRPr>
          </a:p>
        </p:txBody>
      </p:sp>
      <p:sp>
        <p:nvSpPr>
          <p:cNvPr id="372" name="Google Shape;372;p43"/>
          <p:cNvSpPr txBox="1">
            <a:spLocks noGrp="1"/>
          </p:cNvSpPr>
          <p:nvPr>
            <p:ph type="subTitle" idx="4294967295"/>
          </p:nvPr>
        </p:nvSpPr>
        <p:spPr>
          <a:xfrm>
            <a:off x="3241225" y="3895025"/>
            <a:ext cx="1513200" cy="3390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accent1"/>
                </a:solidFill>
              </a:rPr>
              <a:t>Current</a:t>
            </a:r>
            <a:endParaRPr sz="1400">
              <a:solidFill>
                <a:schemeClr val="accent1"/>
              </a:solidFill>
            </a:endParaRPr>
          </a:p>
        </p:txBody>
      </p:sp>
      <p:sp>
        <p:nvSpPr>
          <p:cNvPr id="373" name="Google Shape;373;p43"/>
          <p:cNvSpPr txBox="1">
            <a:spLocks noGrp="1"/>
          </p:cNvSpPr>
          <p:nvPr>
            <p:ph type="subTitle" idx="4294967295"/>
          </p:nvPr>
        </p:nvSpPr>
        <p:spPr>
          <a:xfrm rot="-5400000">
            <a:off x="1904000" y="2094200"/>
            <a:ext cx="1513200" cy="3390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accent1"/>
                </a:solidFill>
              </a:rPr>
              <a:t>New</a:t>
            </a:r>
            <a:endParaRPr sz="1400">
              <a:solidFill>
                <a:schemeClr val="accent1"/>
              </a:solidFill>
            </a:endParaRPr>
          </a:p>
        </p:txBody>
      </p:sp>
      <p:sp>
        <p:nvSpPr>
          <p:cNvPr id="374" name="Google Shape;374;p43"/>
          <p:cNvSpPr txBox="1">
            <a:spLocks noGrp="1"/>
          </p:cNvSpPr>
          <p:nvPr>
            <p:ph type="subTitle" idx="4294967295"/>
          </p:nvPr>
        </p:nvSpPr>
        <p:spPr>
          <a:xfrm rot="-5400000">
            <a:off x="1904000" y="3205775"/>
            <a:ext cx="1513200" cy="3390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sz="1400">
                <a:solidFill>
                  <a:schemeClr val="accent1"/>
                </a:solidFill>
              </a:rPr>
              <a:t>Current</a:t>
            </a:r>
            <a:endParaRPr sz="1400">
              <a:solidFill>
                <a:schemeClr val="accent1"/>
              </a:solidFil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cxnSp>
        <p:nvCxnSpPr>
          <p:cNvPr id="379" name="Google Shape;379;p44"/>
          <p:cNvCxnSpPr/>
          <p:nvPr/>
        </p:nvCxnSpPr>
        <p:spPr>
          <a:xfrm>
            <a:off x="5321675" y="3100450"/>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0" name="Google Shape;380;p44"/>
          <p:cNvCxnSpPr/>
          <p:nvPr/>
        </p:nvCxnSpPr>
        <p:spPr>
          <a:xfrm>
            <a:off x="4916075" y="3572125"/>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1" name="Google Shape;381;p44"/>
          <p:cNvCxnSpPr/>
          <p:nvPr/>
        </p:nvCxnSpPr>
        <p:spPr>
          <a:xfrm>
            <a:off x="5327000" y="4007650"/>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2" name="Google Shape;382;p44"/>
          <p:cNvCxnSpPr/>
          <p:nvPr/>
        </p:nvCxnSpPr>
        <p:spPr>
          <a:xfrm>
            <a:off x="5336075" y="3100450"/>
            <a:ext cx="5100" cy="907200"/>
          </a:xfrm>
          <a:prstGeom prst="straightConnector1">
            <a:avLst/>
          </a:prstGeom>
          <a:noFill/>
          <a:ln w="28575" cap="flat" cmpd="sng">
            <a:solidFill>
              <a:schemeClr val="dk2"/>
            </a:solidFill>
            <a:prstDash val="solid"/>
            <a:round/>
            <a:headEnd type="none" w="med" len="med"/>
            <a:tailEnd type="none" w="med" len="med"/>
          </a:ln>
        </p:spPr>
      </p:cxnSp>
      <p:cxnSp>
        <p:nvCxnSpPr>
          <p:cNvPr id="383" name="Google Shape;383;p44"/>
          <p:cNvCxnSpPr/>
          <p:nvPr/>
        </p:nvCxnSpPr>
        <p:spPr>
          <a:xfrm>
            <a:off x="5317150" y="1458525"/>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4" name="Google Shape;384;p44"/>
          <p:cNvCxnSpPr/>
          <p:nvPr/>
        </p:nvCxnSpPr>
        <p:spPr>
          <a:xfrm>
            <a:off x="4911550" y="1930200"/>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5" name="Google Shape;385;p44"/>
          <p:cNvCxnSpPr/>
          <p:nvPr/>
        </p:nvCxnSpPr>
        <p:spPr>
          <a:xfrm>
            <a:off x="5322475" y="2365725"/>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6" name="Google Shape;386;p44"/>
          <p:cNvCxnSpPr/>
          <p:nvPr/>
        </p:nvCxnSpPr>
        <p:spPr>
          <a:xfrm>
            <a:off x="3467025" y="1916750"/>
            <a:ext cx="425100" cy="1200"/>
          </a:xfrm>
          <a:prstGeom prst="straightConnector1">
            <a:avLst/>
          </a:prstGeom>
          <a:noFill/>
          <a:ln w="28575" cap="flat" cmpd="sng">
            <a:solidFill>
              <a:schemeClr val="dk2"/>
            </a:solidFill>
            <a:prstDash val="solid"/>
            <a:round/>
            <a:headEnd type="none" w="med" len="med"/>
            <a:tailEnd type="none" w="med" len="med"/>
          </a:ln>
        </p:spPr>
      </p:cxnSp>
      <p:cxnSp>
        <p:nvCxnSpPr>
          <p:cNvPr id="387" name="Google Shape;387;p44"/>
          <p:cNvCxnSpPr/>
          <p:nvPr/>
        </p:nvCxnSpPr>
        <p:spPr>
          <a:xfrm>
            <a:off x="3477150" y="3553450"/>
            <a:ext cx="425100" cy="2400"/>
          </a:xfrm>
          <a:prstGeom prst="straightConnector1">
            <a:avLst/>
          </a:prstGeom>
          <a:noFill/>
          <a:ln w="28575" cap="flat" cmpd="sng">
            <a:solidFill>
              <a:schemeClr val="dk2"/>
            </a:solidFill>
            <a:prstDash val="solid"/>
            <a:round/>
            <a:headEnd type="none" w="med" len="med"/>
            <a:tailEnd type="none" w="med" len="med"/>
          </a:ln>
        </p:spPr>
      </p:cxnSp>
      <p:cxnSp>
        <p:nvCxnSpPr>
          <p:cNvPr id="388" name="Google Shape;388;p44"/>
          <p:cNvCxnSpPr/>
          <p:nvPr/>
        </p:nvCxnSpPr>
        <p:spPr>
          <a:xfrm>
            <a:off x="3065000" y="2749875"/>
            <a:ext cx="425100" cy="2400"/>
          </a:xfrm>
          <a:prstGeom prst="straightConnector1">
            <a:avLst/>
          </a:prstGeom>
          <a:noFill/>
          <a:ln w="28575" cap="flat" cmpd="sng">
            <a:solidFill>
              <a:schemeClr val="dk2"/>
            </a:solidFill>
            <a:prstDash val="solid"/>
            <a:round/>
            <a:headEnd type="none" w="med" len="med"/>
            <a:tailEnd type="none" w="med" len="med"/>
          </a:ln>
        </p:spPr>
      </p:cxnSp>
      <p:sp>
        <p:nvSpPr>
          <p:cNvPr id="389" name="Google Shape;389;p44"/>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egmentation by Distribution</a:t>
            </a:r>
            <a:endParaRPr/>
          </a:p>
        </p:txBody>
      </p:sp>
      <p:sp>
        <p:nvSpPr>
          <p:cNvPr id="390" name="Google Shape;390;p44"/>
          <p:cNvSpPr/>
          <p:nvPr/>
        </p:nvSpPr>
        <p:spPr>
          <a:xfrm>
            <a:off x="1849000" y="2085075"/>
            <a:ext cx="1467300" cy="13194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44"/>
          <p:cNvSpPr/>
          <p:nvPr/>
        </p:nvSpPr>
        <p:spPr>
          <a:xfrm>
            <a:off x="3626250" y="1258250"/>
            <a:ext cx="1467300" cy="1319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44"/>
          <p:cNvSpPr/>
          <p:nvPr/>
        </p:nvSpPr>
        <p:spPr>
          <a:xfrm>
            <a:off x="3626250" y="2894950"/>
            <a:ext cx="1467300" cy="1319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44"/>
          <p:cNvSpPr/>
          <p:nvPr/>
        </p:nvSpPr>
        <p:spPr>
          <a:xfrm>
            <a:off x="5703200" y="1258250"/>
            <a:ext cx="1591800" cy="411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44"/>
          <p:cNvSpPr/>
          <p:nvPr/>
        </p:nvSpPr>
        <p:spPr>
          <a:xfrm>
            <a:off x="5703200" y="2166050"/>
            <a:ext cx="1591800" cy="411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44"/>
          <p:cNvSpPr/>
          <p:nvPr/>
        </p:nvSpPr>
        <p:spPr>
          <a:xfrm>
            <a:off x="5703200" y="2894950"/>
            <a:ext cx="1591800" cy="411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44"/>
          <p:cNvSpPr/>
          <p:nvPr/>
        </p:nvSpPr>
        <p:spPr>
          <a:xfrm>
            <a:off x="5703200" y="3802750"/>
            <a:ext cx="1591800" cy="411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44"/>
          <p:cNvSpPr txBox="1">
            <a:spLocks noGrp="1"/>
          </p:cNvSpPr>
          <p:nvPr>
            <p:ph type="subTitle" idx="4294967295"/>
          </p:nvPr>
        </p:nvSpPr>
        <p:spPr>
          <a:xfrm>
            <a:off x="1900000" y="2411175"/>
            <a:ext cx="1365300" cy="6672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lt1"/>
                </a:solidFill>
              </a:rPr>
              <a:t>Company Profit</a:t>
            </a:r>
            <a:endParaRPr b="1">
              <a:solidFill>
                <a:schemeClr val="lt1"/>
              </a:solidFill>
            </a:endParaRPr>
          </a:p>
        </p:txBody>
      </p:sp>
      <p:sp>
        <p:nvSpPr>
          <p:cNvPr id="398" name="Google Shape;398;p44"/>
          <p:cNvSpPr txBox="1">
            <a:spLocks noGrp="1"/>
          </p:cNvSpPr>
          <p:nvPr>
            <p:ph type="subTitle" idx="4294967295"/>
          </p:nvPr>
        </p:nvSpPr>
        <p:spPr>
          <a:xfrm>
            <a:off x="3677250" y="1669850"/>
            <a:ext cx="1365300" cy="6672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accent1"/>
                </a:solidFill>
              </a:rPr>
              <a:t>Revenue</a:t>
            </a:r>
            <a:endParaRPr b="1">
              <a:solidFill>
                <a:schemeClr val="accent1"/>
              </a:solidFill>
            </a:endParaRPr>
          </a:p>
        </p:txBody>
      </p:sp>
      <p:sp>
        <p:nvSpPr>
          <p:cNvPr id="399" name="Google Shape;399;p44"/>
          <p:cNvSpPr txBox="1">
            <a:spLocks noGrp="1"/>
          </p:cNvSpPr>
          <p:nvPr>
            <p:ph type="subTitle" idx="4294967295"/>
          </p:nvPr>
        </p:nvSpPr>
        <p:spPr>
          <a:xfrm>
            <a:off x="3677250" y="3306550"/>
            <a:ext cx="1365300" cy="6672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accent1"/>
                </a:solidFill>
              </a:rPr>
              <a:t>Cost</a:t>
            </a:r>
            <a:endParaRPr b="1">
              <a:solidFill>
                <a:schemeClr val="accent1"/>
              </a:solidFill>
            </a:endParaRPr>
          </a:p>
        </p:txBody>
      </p:sp>
      <p:sp>
        <p:nvSpPr>
          <p:cNvPr id="400" name="Google Shape;400;p44"/>
          <p:cNvSpPr txBox="1">
            <a:spLocks noGrp="1"/>
          </p:cNvSpPr>
          <p:nvPr>
            <p:ph type="subTitle" idx="4294967295"/>
          </p:nvPr>
        </p:nvSpPr>
        <p:spPr>
          <a:xfrm>
            <a:off x="5703200" y="1258350"/>
            <a:ext cx="1591800" cy="411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dk1"/>
                </a:solidFill>
              </a:rPr>
              <a:t>Price per unit</a:t>
            </a:r>
            <a:endParaRPr sz="1400">
              <a:solidFill>
                <a:schemeClr val="dk1"/>
              </a:solidFill>
            </a:endParaRPr>
          </a:p>
        </p:txBody>
      </p:sp>
      <p:sp>
        <p:nvSpPr>
          <p:cNvPr id="401" name="Google Shape;401;p44"/>
          <p:cNvSpPr txBox="1">
            <a:spLocks noGrp="1"/>
          </p:cNvSpPr>
          <p:nvPr>
            <p:ph type="subTitle" idx="4294967295"/>
          </p:nvPr>
        </p:nvSpPr>
        <p:spPr>
          <a:xfrm>
            <a:off x="5703200" y="2166050"/>
            <a:ext cx="1591800" cy="411600"/>
          </a:xfrm>
          <a:prstGeom prst="rect">
            <a:avLst/>
          </a:prstGeom>
          <a:solidFill>
            <a:schemeClr val="dk2"/>
          </a:solidFill>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lt1"/>
                </a:solidFill>
              </a:rPr>
              <a:t># of units sold</a:t>
            </a:r>
            <a:endParaRPr sz="1400">
              <a:solidFill>
                <a:schemeClr val="lt1"/>
              </a:solidFill>
            </a:endParaRPr>
          </a:p>
        </p:txBody>
      </p:sp>
      <p:sp>
        <p:nvSpPr>
          <p:cNvPr id="402" name="Google Shape;402;p44"/>
          <p:cNvSpPr txBox="1">
            <a:spLocks noGrp="1"/>
          </p:cNvSpPr>
          <p:nvPr>
            <p:ph type="subTitle" idx="4294967295"/>
          </p:nvPr>
        </p:nvSpPr>
        <p:spPr>
          <a:xfrm>
            <a:off x="5703200" y="2894950"/>
            <a:ext cx="1591800" cy="411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dk1"/>
                </a:solidFill>
              </a:rPr>
              <a:t>Variable costs</a:t>
            </a:r>
            <a:endParaRPr sz="1400">
              <a:solidFill>
                <a:schemeClr val="dk1"/>
              </a:solidFill>
            </a:endParaRPr>
          </a:p>
        </p:txBody>
      </p:sp>
      <p:sp>
        <p:nvSpPr>
          <p:cNvPr id="403" name="Google Shape;403;p44"/>
          <p:cNvSpPr txBox="1">
            <a:spLocks noGrp="1"/>
          </p:cNvSpPr>
          <p:nvPr>
            <p:ph type="subTitle" idx="4294967295"/>
          </p:nvPr>
        </p:nvSpPr>
        <p:spPr>
          <a:xfrm>
            <a:off x="5703200" y="3802750"/>
            <a:ext cx="1591800" cy="411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sz="1400">
                <a:solidFill>
                  <a:schemeClr val="dk1"/>
                </a:solidFill>
              </a:rPr>
              <a:t>Fixed costs</a:t>
            </a:r>
            <a:endParaRPr sz="1400">
              <a:solidFill>
                <a:schemeClr val="dk1"/>
              </a:solidFill>
            </a:endParaRPr>
          </a:p>
        </p:txBody>
      </p:sp>
      <p:cxnSp>
        <p:nvCxnSpPr>
          <p:cNvPr id="404" name="Google Shape;404;p44"/>
          <p:cNvCxnSpPr/>
          <p:nvPr/>
        </p:nvCxnSpPr>
        <p:spPr>
          <a:xfrm>
            <a:off x="3481325" y="1917225"/>
            <a:ext cx="10500" cy="1644000"/>
          </a:xfrm>
          <a:prstGeom prst="straightConnector1">
            <a:avLst/>
          </a:prstGeom>
          <a:noFill/>
          <a:ln w="28575" cap="flat" cmpd="sng">
            <a:solidFill>
              <a:schemeClr val="dk2"/>
            </a:solidFill>
            <a:prstDash val="solid"/>
            <a:round/>
            <a:headEnd type="none" w="med" len="med"/>
            <a:tailEnd type="none" w="med" len="med"/>
          </a:ln>
        </p:spPr>
      </p:cxnSp>
      <p:cxnSp>
        <p:nvCxnSpPr>
          <p:cNvPr id="405" name="Google Shape;405;p44"/>
          <p:cNvCxnSpPr/>
          <p:nvPr/>
        </p:nvCxnSpPr>
        <p:spPr>
          <a:xfrm>
            <a:off x="5331550" y="1458525"/>
            <a:ext cx="5100" cy="907200"/>
          </a:xfrm>
          <a:prstGeom prst="straightConnector1">
            <a:avLst/>
          </a:prstGeom>
          <a:noFill/>
          <a:ln w="28575" cap="flat" cmpd="sng">
            <a:solidFill>
              <a:schemeClr val="dk2"/>
            </a:solidFill>
            <a:prstDash val="solid"/>
            <a:round/>
            <a:headEnd type="none" w="med" len="med"/>
            <a:tailEnd type="none" w="med" len="med"/>
          </a:ln>
        </p:spPr>
      </p:cxn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409"/>
        <p:cNvGrpSpPr/>
        <p:nvPr/>
      </p:nvGrpSpPr>
      <p:grpSpPr>
        <a:xfrm>
          <a:off x="0" y="0"/>
          <a:ext cx="0" cy="0"/>
          <a:chOff x="0" y="0"/>
          <a:chExt cx="0" cy="0"/>
        </a:xfrm>
      </p:grpSpPr>
      <p:sp>
        <p:nvSpPr>
          <p:cNvPr id="410" name="Google Shape;410;p45"/>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trategy Map</a:t>
            </a:r>
            <a:endParaRPr/>
          </a:p>
        </p:txBody>
      </p:sp>
      <p:grpSp>
        <p:nvGrpSpPr>
          <p:cNvPr id="411" name="Google Shape;411;p45"/>
          <p:cNvGrpSpPr/>
          <p:nvPr/>
        </p:nvGrpSpPr>
        <p:grpSpPr>
          <a:xfrm>
            <a:off x="2730277" y="1548476"/>
            <a:ext cx="3683226" cy="2421992"/>
            <a:chOff x="235800" y="830650"/>
            <a:chExt cx="6978450" cy="4588844"/>
          </a:xfrm>
        </p:grpSpPr>
        <p:sp>
          <p:nvSpPr>
            <p:cNvPr id="412" name="Google Shape;412;p45"/>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45"/>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45"/>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45"/>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45"/>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45"/>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18" name="Google Shape;418;p45"/>
          <p:cNvSpPr txBox="1">
            <a:spLocks noGrp="1"/>
          </p:cNvSpPr>
          <p:nvPr>
            <p:ph type="subTitle" idx="4294967295"/>
          </p:nvPr>
        </p:nvSpPr>
        <p:spPr>
          <a:xfrm>
            <a:off x="717800" y="2022075"/>
            <a:ext cx="22617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b="1">
                <a:solidFill>
                  <a:schemeClr val="accent1"/>
                </a:solidFill>
              </a:rPr>
              <a:t>Jupiter</a:t>
            </a:r>
            <a:endParaRPr b="1">
              <a:solidFill>
                <a:schemeClr val="accent1"/>
              </a:solidFill>
            </a:endParaRPr>
          </a:p>
        </p:txBody>
      </p:sp>
      <p:sp>
        <p:nvSpPr>
          <p:cNvPr id="419" name="Google Shape;419;p45"/>
          <p:cNvSpPr txBox="1">
            <a:spLocks noGrp="1"/>
          </p:cNvSpPr>
          <p:nvPr>
            <p:ph type="subTitle" idx="4294967295"/>
          </p:nvPr>
        </p:nvSpPr>
        <p:spPr>
          <a:xfrm>
            <a:off x="717800" y="2397525"/>
            <a:ext cx="2261700" cy="7239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Jupiter is the biggest planet of them all</a:t>
            </a:r>
            <a:endParaRPr sz="1400">
              <a:solidFill>
                <a:schemeClr val="accent2"/>
              </a:solidFill>
            </a:endParaRPr>
          </a:p>
        </p:txBody>
      </p:sp>
      <p:sp>
        <p:nvSpPr>
          <p:cNvPr id="420" name="Google Shape;420;p45"/>
          <p:cNvSpPr txBox="1">
            <a:spLocks noGrp="1"/>
          </p:cNvSpPr>
          <p:nvPr>
            <p:ph type="subTitle" idx="4294967295"/>
          </p:nvPr>
        </p:nvSpPr>
        <p:spPr>
          <a:xfrm>
            <a:off x="6169075" y="2022075"/>
            <a:ext cx="2261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b="1">
                <a:solidFill>
                  <a:schemeClr val="accent1"/>
                </a:solidFill>
              </a:rPr>
              <a:t>Mars</a:t>
            </a:r>
            <a:endParaRPr b="1">
              <a:solidFill>
                <a:schemeClr val="accent1"/>
              </a:solidFill>
            </a:endParaRPr>
          </a:p>
        </p:txBody>
      </p:sp>
      <p:sp>
        <p:nvSpPr>
          <p:cNvPr id="421" name="Google Shape;421;p45"/>
          <p:cNvSpPr txBox="1">
            <a:spLocks noGrp="1"/>
          </p:cNvSpPr>
          <p:nvPr>
            <p:ph type="subTitle" idx="4294967295"/>
          </p:nvPr>
        </p:nvSpPr>
        <p:spPr>
          <a:xfrm>
            <a:off x="6169075" y="2397525"/>
            <a:ext cx="2261700" cy="7239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Clr>
                <a:schemeClr val="dk1"/>
              </a:buClr>
              <a:buSzPts val="1100"/>
              <a:buFont typeface="Arial"/>
              <a:buNone/>
            </a:pPr>
            <a:r>
              <a:rPr lang="en" sz="1400">
                <a:solidFill>
                  <a:schemeClr val="accent2"/>
                </a:solidFill>
              </a:rPr>
              <a:t>Despite being red, Mars is a cold place</a:t>
            </a:r>
            <a:endParaRPr sz="1400">
              <a:solidFill>
                <a:schemeClr val="accent2"/>
              </a:solidFill>
            </a:endParaRPr>
          </a:p>
        </p:txBody>
      </p:sp>
      <p:cxnSp>
        <p:nvCxnSpPr>
          <p:cNvPr id="422" name="Google Shape;422;p45"/>
          <p:cNvCxnSpPr/>
          <p:nvPr/>
        </p:nvCxnSpPr>
        <p:spPr>
          <a:xfrm>
            <a:off x="2494450" y="2236800"/>
            <a:ext cx="2329500" cy="669900"/>
          </a:xfrm>
          <a:prstGeom prst="bentConnector3">
            <a:avLst>
              <a:gd name="adj1" fmla="val 50000"/>
            </a:avLst>
          </a:prstGeom>
          <a:noFill/>
          <a:ln w="19050" cap="flat" cmpd="sng">
            <a:solidFill>
              <a:schemeClr val="accent1"/>
            </a:solidFill>
            <a:prstDash val="solid"/>
            <a:round/>
            <a:headEnd type="oval" w="med" len="med"/>
            <a:tailEnd type="none" w="med" len="med"/>
          </a:ln>
        </p:spPr>
      </p:cxnSp>
      <p:cxnSp>
        <p:nvCxnSpPr>
          <p:cNvPr id="423" name="Google Shape;423;p45"/>
          <p:cNvCxnSpPr/>
          <p:nvPr/>
        </p:nvCxnSpPr>
        <p:spPr>
          <a:xfrm flipH="1">
            <a:off x="3782850" y="2236800"/>
            <a:ext cx="2966400" cy="1298700"/>
          </a:xfrm>
          <a:prstGeom prst="bentConnector3">
            <a:avLst>
              <a:gd name="adj1" fmla="val 50000"/>
            </a:avLst>
          </a:prstGeom>
          <a:noFill/>
          <a:ln w="19050" cap="flat" cmpd="sng">
            <a:solidFill>
              <a:schemeClr val="accent1"/>
            </a:solidFill>
            <a:prstDash val="solid"/>
            <a:round/>
            <a:headEnd type="oval" w="med" len="med"/>
            <a:tailEnd type="none" w="med" len="med"/>
          </a:ln>
        </p:spPr>
      </p:cxn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sp>
        <p:nvSpPr>
          <p:cNvPr id="428" name="Google Shape;428;p46"/>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trategy Map</a:t>
            </a:r>
            <a:endParaRPr/>
          </a:p>
        </p:txBody>
      </p:sp>
      <p:sp>
        <p:nvSpPr>
          <p:cNvPr id="429" name="Google Shape;429;p46"/>
          <p:cNvSpPr/>
          <p:nvPr/>
        </p:nvSpPr>
        <p:spPr>
          <a:xfrm>
            <a:off x="717800" y="1204175"/>
            <a:ext cx="1900200" cy="778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46"/>
          <p:cNvSpPr/>
          <p:nvPr/>
        </p:nvSpPr>
        <p:spPr>
          <a:xfrm>
            <a:off x="717800" y="2076427"/>
            <a:ext cx="1900200" cy="778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46"/>
          <p:cNvSpPr/>
          <p:nvPr/>
        </p:nvSpPr>
        <p:spPr>
          <a:xfrm>
            <a:off x="717800" y="2948679"/>
            <a:ext cx="1900200" cy="778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46"/>
          <p:cNvSpPr/>
          <p:nvPr/>
        </p:nvSpPr>
        <p:spPr>
          <a:xfrm>
            <a:off x="717800" y="3820928"/>
            <a:ext cx="1900200" cy="778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46"/>
          <p:cNvSpPr txBox="1">
            <a:spLocks noGrp="1"/>
          </p:cNvSpPr>
          <p:nvPr>
            <p:ph type="subTitle" idx="4294967295"/>
          </p:nvPr>
        </p:nvSpPr>
        <p:spPr>
          <a:xfrm>
            <a:off x="985250" y="1378775"/>
            <a:ext cx="1365300" cy="4293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Financial</a:t>
            </a:r>
            <a:endParaRPr b="1">
              <a:solidFill>
                <a:schemeClr val="lt1"/>
              </a:solidFill>
            </a:endParaRPr>
          </a:p>
        </p:txBody>
      </p:sp>
      <p:sp>
        <p:nvSpPr>
          <p:cNvPr id="434" name="Google Shape;434;p46"/>
          <p:cNvSpPr txBox="1">
            <a:spLocks noGrp="1"/>
          </p:cNvSpPr>
          <p:nvPr>
            <p:ph type="subTitle" idx="4294967295"/>
          </p:nvPr>
        </p:nvSpPr>
        <p:spPr>
          <a:xfrm>
            <a:off x="985250" y="2251025"/>
            <a:ext cx="1365300" cy="4293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Customer</a:t>
            </a:r>
            <a:endParaRPr b="1">
              <a:solidFill>
                <a:schemeClr val="lt1"/>
              </a:solidFill>
            </a:endParaRPr>
          </a:p>
        </p:txBody>
      </p:sp>
      <p:sp>
        <p:nvSpPr>
          <p:cNvPr id="435" name="Google Shape;435;p46"/>
          <p:cNvSpPr txBox="1">
            <a:spLocks noGrp="1"/>
          </p:cNvSpPr>
          <p:nvPr>
            <p:ph type="subTitle" idx="4294967295"/>
          </p:nvPr>
        </p:nvSpPr>
        <p:spPr>
          <a:xfrm>
            <a:off x="985250" y="2992325"/>
            <a:ext cx="1365300" cy="6912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Internal Process</a:t>
            </a:r>
            <a:endParaRPr b="1">
              <a:solidFill>
                <a:schemeClr val="lt1"/>
              </a:solidFill>
            </a:endParaRPr>
          </a:p>
        </p:txBody>
      </p:sp>
      <p:sp>
        <p:nvSpPr>
          <p:cNvPr id="436" name="Google Shape;436;p46"/>
          <p:cNvSpPr txBox="1">
            <a:spLocks noGrp="1"/>
          </p:cNvSpPr>
          <p:nvPr>
            <p:ph type="subTitle" idx="4294967295"/>
          </p:nvPr>
        </p:nvSpPr>
        <p:spPr>
          <a:xfrm>
            <a:off x="985250" y="3864575"/>
            <a:ext cx="1365300" cy="6912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b="1">
                <a:solidFill>
                  <a:schemeClr val="lt1"/>
                </a:solidFill>
              </a:rPr>
              <a:t>Learning &amp; Growth</a:t>
            </a:r>
            <a:endParaRPr b="1">
              <a:solidFill>
                <a:schemeClr val="lt1"/>
              </a:solidFill>
            </a:endParaRPr>
          </a:p>
        </p:txBody>
      </p:sp>
      <p:sp>
        <p:nvSpPr>
          <p:cNvPr id="437" name="Google Shape;437;p46"/>
          <p:cNvSpPr/>
          <p:nvPr/>
        </p:nvSpPr>
        <p:spPr>
          <a:xfrm>
            <a:off x="2618000" y="1204175"/>
            <a:ext cx="5808000" cy="778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46"/>
          <p:cNvSpPr/>
          <p:nvPr/>
        </p:nvSpPr>
        <p:spPr>
          <a:xfrm>
            <a:off x="2618000" y="2076425"/>
            <a:ext cx="5808000" cy="778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46"/>
          <p:cNvSpPr/>
          <p:nvPr/>
        </p:nvSpPr>
        <p:spPr>
          <a:xfrm>
            <a:off x="2618000" y="2948675"/>
            <a:ext cx="5808000" cy="778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46"/>
          <p:cNvSpPr/>
          <p:nvPr/>
        </p:nvSpPr>
        <p:spPr>
          <a:xfrm>
            <a:off x="2618000" y="3820925"/>
            <a:ext cx="5808000" cy="778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46"/>
          <p:cNvSpPr txBox="1">
            <a:spLocks noGrp="1"/>
          </p:cNvSpPr>
          <p:nvPr>
            <p:ph type="subTitle" idx="4294967295"/>
          </p:nvPr>
        </p:nvSpPr>
        <p:spPr>
          <a:xfrm>
            <a:off x="3368088" y="1318775"/>
            <a:ext cx="14364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Increase revenue</a:t>
            </a:r>
            <a:endParaRPr sz="1400">
              <a:solidFill>
                <a:schemeClr val="accent2"/>
              </a:solidFill>
            </a:endParaRPr>
          </a:p>
        </p:txBody>
      </p:sp>
      <p:sp>
        <p:nvSpPr>
          <p:cNvPr id="442" name="Google Shape;442;p46"/>
          <p:cNvSpPr txBox="1">
            <a:spLocks noGrp="1"/>
          </p:cNvSpPr>
          <p:nvPr>
            <p:ph type="subTitle" idx="4294967295"/>
          </p:nvPr>
        </p:nvSpPr>
        <p:spPr>
          <a:xfrm>
            <a:off x="4803800" y="1318775"/>
            <a:ext cx="14364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Increase profit</a:t>
            </a:r>
            <a:endParaRPr sz="1400">
              <a:solidFill>
                <a:schemeClr val="accent2"/>
              </a:solidFill>
            </a:endParaRPr>
          </a:p>
        </p:txBody>
      </p:sp>
      <p:sp>
        <p:nvSpPr>
          <p:cNvPr id="443" name="Google Shape;443;p46"/>
          <p:cNvSpPr txBox="1">
            <a:spLocks noGrp="1"/>
          </p:cNvSpPr>
          <p:nvPr>
            <p:ph type="subTitle" idx="4294967295"/>
          </p:nvPr>
        </p:nvSpPr>
        <p:spPr>
          <a:xfrm>
            <a:off x="6239513" y="1318775"/>
            <a:ext cx="14364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Decrease fixed cost</a:t>
            </a:r>
            <a:endParaRPr sz="1400">
              <a:solidFill>
                <a:schemeClr val="accent2"/>
              </a:solidFill>
            </a:endParaRPr>
          </a:p>
        </p:txBody>
      </p:sp>
      <p:sp>
        <p:nvSpPr>
          <p:cNvPr id="444" name="Google Shape;444;p46"/>
          <p:cNvSpPr txBox="1">
            <a:spLocks noGrp="1"/>
          </p:cNvSpPr>
          <p:nvPr>
            <p:ph type="subTitle" idx="4294967295"/>
          </p:nvPr>
        </p:nvSpPr>
        <p:spPr>
          <a:xfrm>
            <a:off x="2804000" y="2191025"/>
            <a:ext cx="19002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Increase customer satisfaction</a:t>
            </a:r>
            <a:endParaRPr sz="1400">
              <a:solidFill>
                <a:schemeClr val="accent2"/>
              </a:solidFill>
            </a:endParaRPr>
          </a:p>
        </p:txBody>
      </p:sp>
      <p:sp>
        <p:nvSpPr>
          <p:cNvPr id="445" name="Google Shape;445;p46"/>
          <p:cNvSpPr txBox="1">
            <a:spLocks noGrp="1"/>
          </p:cNvSpPr>
          <p:nvPr>
            <p:ph type="subTitle" idx="4294967295"/>
          </p:nvPr>
        </p:nvSpPr>
        <p:spPr>
          <a:xfrm>
            <a:off x="4765214" y="2191025"/>
            <a:ext cx="19002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Become a trusted brand </a:t>
            </a:r>
            <a:endParaRPr sz="1400">
              <a:solidFill>
                <a:schemeClr val="accent2"/>
              </a:solidFill>
            </a:endParaRPr>
          </a:p>
        </p:txBody>
      </p:sp>
      <p:sp>
        <p:nvSpPr>
          <p:cNvPr id="446" name="Google Shape;446;p46"/>
          <p:cNvSpPr txBox="1">
            <a:spLocks noGrp="1"/>
          </p:cNvSpPr>
          <p:nvPr>
            <p:ph type="subTitle" idx="4294967295"/>
          </p:nvPr>
        </p:nvSpPr>
        <p:spPr>
          <a:xfrm>
            <a:off x="6726429" y="2191025"/>
            <a:ext cx="1900200" cy="549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400">
                <a:solidFill>
                  <a:schemeClr val="accent2"/>
                </a:solidFill>
              </a:rPr>
              <a:t>Sell new </a:t>
            </a:r>
            <a:endParaRPr sz="1400">
              <a:solidFill>
                <a:schemeClr val="accent2"/>
              </a:solidFill>
            </a:endParaRPr>
          </a:p>
          <a:p>
            <a:pPr marL="0" lvl="0" indent="0" algn="l" rtl="0">
              <a:spcBef>
                <a:spcPts val="0"/>
              </a:spcBef>
              <a:spcAft>
                <a:spcPts val="0"/>
              </a:spcAft>
              <a:buClr>
                <a:schemeClr val="dk1"/>
              </a:buClr>
              <a:buSzPts val="1100"/>
              <a:buFont typeface="Arial"/>
              <a:buNone/>
            </a:pPr>
            <a:r>
              <a:rPr lang="en" sz="1400">
                <a:solidFill>
                  <a:schemeClr val="accent2"/>
                </a:solidFill>
              </a:rPr>
              <a:t>products</a:t>
            </a:r>
            <a:endParaRPr sz="1400">
              <a:solidFill>
                <a:schemeClr val="accent2"/>
              </a:solidFill>
            </a:endParaRPr>
          </a:p>
        </p:txBody>
      </p:sp>
      <p:sp>
        <p:nvSpPr>
          <p:cNvPr id="447" name="Google Shape;447;p46"/>
          <p:cNvSpPr txBox="1">
            <a:spLocks noGrp="1"/>
          </p:cNvSpPr>
          <p:nvPr>
            <p:ph type="subTitle" idx="4294967295"/>
          </p:nvPr>
        </p:nvSpPr>
        <p:spPr>
          <a:xfrm>
            <a:off x="3072000" y="3063275"/>
            <a:ext cx="23085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Understand customer segments</a:t>
            </a:r>
            <a:endParaRPr sz="1400">
              <a:solidFill>
                <a:schemeClr val="accent2"/>
              </a:solidFill>
            </a:endParaRPr>
          </a:p>
        </p:txBody>
      </p:sp>
      <p:sp>
        <p:nvSpPr>
          <p:cNvPr id="448" name="Google Shape;448;p46"/>
          <p:cNvSpPr txBox="1">
            <a:spLocks noGrp="1"/>
          </p:cNvSpPr>
          <p:nvPr>
            <p:ph type="subTitle" idx="4294967295"/>
          </p:nvPr>
        </p:nvSpPr>
        <p:spPr>
          <a:xfrm>
            <a:off x="5566500" y="3063275"/>
            <a:ext cx="2308500" cy="549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400">
                <a:solidFill>
                  <a:schemeClr val="accent2"/>
                </a:solidFill>
              </a:rPr>
              <a:t>Decrease delivery </a:t>
            </a:r>
            <a:endParaRPr sz="1400">
              <a:solidFill>
                <a:schemeClr val="accent2"/>
              </a:solidFill>
            </a:endParaRPr>
          </a:p>
          <a:p>
            <a:pPr marL="0" lvl="0" indent="0" algn="l" rtl="0">
              <a:spcBef>
                <a:spcPts val="0"/>
              </a:spcBef>
              <a:spcAft>
                <a:spcPts val="0"/>
              </a:spcAft>
              <a:buClr>
                <a:schemeClr val="dk1"/>
              </a:buClr>
              <a:buSzPts val="1100"/>
              <a:buFont typeface="Arial"/>
              <a:buNone/>
            </a:pPr>
            <a:r>
              <a:rPr lang="en" sz="1400">
                <a:solidFill>
                  <a:schemeClr val="accent2"/>
                </a:solidFill>
              </a:rPr>
              <a:t>time</a:t>
            </a:r>
            <a:endParaRPr sz="1400">
              <a:solidFill>
                <a:schemeClr val="accent2"/>
              </a:solidFill>
            </a:endParaRPr>
          </a:p>
        </p:txBody>
      </p:sp>
      <p:sp>
        <p:nvSpPr>
          <p:cNvPr id="449" name="Google Shape;449;p46"/>
          <p:cNvSpPr txBox="1">
            <a:spLocks noGrp="1"/>
          </p:cNvSpPr>
          <p:nvPr>
            <p:ph type="subTitle" idx="4294967295"/>
          </p:nvPr>
        </p:nvSpPr>
        <p:spPr>
          <a:xfrm>
            <a:off x="3087737" y="3935525"/>
            <a:ext cx="19002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Improve employee satisfaction</a:t>
            </a:r>
            <a:endParaRPr sz="1400">
              <a:solidFill>
                <a:schemeClr val="accent2"/>
              </a:solidFill>
            </a:endParaRPr>
          </a:p>
        </p:txBody>
      </p:sp>
      <p:sp>
        <p:nvSpPr>
          <p:cNvPr id="450" name="Google Shape;450;p46"/>
          <p:cNvSpPr txBox="1">
            <a:spLocks noGrp="1"/>
          </p:cNvSpPr>
          <p:nvPr>
            <p:ph type="subTitle" idx="4294967295"/>
          </p:nvPr>
        </p:nvSpPr>
        <p:spPr>
          <a:xfrm>
            <a:off x="5566500" y="3935525"/>
            <a:ext cx="1900200" cy="5493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400">
                <a:solidFill>
                  <a:schemeClr val="accent2"/>
                </a:solidFill>
              </a:rPr>
              <a:t>Improve customer information</a:t>
            </a:r>
            <a:endParaRPr sz="1400">
              <a:solidFill>
                <a:schemeClr val="accent2"/>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9D50049E-7E51-E9F7-2B46-D2443E452D29}"/>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3556D9E9-D725-2C93-215E-176332D94DA1}"/>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FECE4BDE-CF50-F06E-CE1F-F87F6FB2FF0E}"/>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0" indent="0">
              <a:spcAft>
                <a:spcPts val="1600"/>
              </a:spcAft>
              <a:buClr>
                <a:schemeClr val="dk1"/>
              </a:buClr>
              <a:buSzPts val="1100"/>
            </a:pPr>
            <a:r>
              <a:rPr lang="de-DE" sz="1000" err="1"/>
              <a:t>React</a:t>
            </a:r>
            <a:r>
              <a:rPr lang="de-DE" sz="1000"/>
              <a:t> ist eine JavaScript-Bibliothek, die von Facebook entwickelt wurde, um benutzerfreundliche und effiziente Benutzeroberflächen (UIs) zu erstellen. Sie wird vor allem für Single Page </a:t>
            </a:r>
            <a:r>
              <a:rPr lang="de-DE" sz="1000" err="1"/>
              <a:t>Applications</a:t>
            </a:r>
            <a:r>
              <a:rPr lang="de-DE" sz="1000"/>
              <a:t> (SPAs) eingesetzt, bei denen Inhalte dynamisch aktualisiert werden können, ohne die gesamte Seite neu zu laden.</a:t>
            </a:r>
          </a:p>
        </p:txBody>
      </p:sp>
      <p:sp>
        <p:nvSpPr>
          <p:cNvPr id="643" name="Google Shape;643;p61">
            <a:extLst>
              <a:ext uri="{FF2B5EF4-FFF2-40B4-BE49-F238E27FC236}">
                <a16:creationId xmlns:a16="http://schemas.microsoft.com/office/drawing/2014/main" id="{16D4FF0E-4BD0-1203-F680-4BD689A4A26D}"/>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React</a:t>
            </a:r>
            <a:endParaRPr/>
          </a:p>
        </p:txBody>
      </p:sp>
      <p:sp>
        <p:nvSpPr>
          <p:cNvPr id="28" name="Google Shape;631;p61">
            <a:extLst>
              <a:ext uri="{FF2B5EF4-FFF2-40B4-BE49-F238E27FC236}">
                <a16:creationId xmlns:a16="http://schemas.microsoft.com/office/drawing/2014/main" id="{4E2F6A65-1E35-6662-8D22-574EBF15160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Grundprinzipien</a:t>
            </a:r>
          </a:p>
        </p:txBody>
      </p:sp>
      <p:sp>
        <p:nvSpPr>
          <p:cNvPr id="29" name="Google Shape;632;p61">
            <a:extLst>
              <a:ext uri="{FF2B5EF4-FFF2-40B4-BE49-F238E27FC236}">
                <a16:creationId xmlns:a16="http://schemas.microsoft.com/office/drawing/2014/main" id="{643E4297-0686-AA24-41FC-27DDCE075053}"/>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800"/>
              <a:t>1. Komponentenbasiert:</a:t>
            </a:r>
          </a:p>
          <a:p>
            <a:pPr>
              <a:spcBef>
                <a:spcPts val="900"/>
              </a:spcBef>
            </a:pPr>
            <a:r>
              <a:rPr lang="de-DE" sz="800"/>
              <a:t>• Anwendungen werden in kleine, wiederverwendbare Komponenten aufgeteilt. Jede Komponente kümmert sich um ihre eigene Logik und Darstellung.</a:t>
            </a:r>
          </a:p>
          <a:p>
            <a:pPr>
              <a:spcBef>
                <a:spcPts val="900"/>
              </a:spcBef>
            </a:pPr>
            <a:r>
              <a:rPr lang="de-DE" sz="800"/>
              <a:t>2. Virtuelles DOM:</a:t>
            </a:r>
          </a:p>
          <a:p>
            <a:pPr>
              <a:spcBef>
                <a:spcPts val="900"/>
              </a:spcBef>
            </a:pPr>
            <a:r>
              <a:rPr lang="de-DE" sz="800"/>
              <a:t>• </a:t>
            </a:r>
            <a:r>
              <a:rPr lang="de-DE" sz="800" err="1"/>
              <a:t>React</a:t>
            </a:r>
            <a:r>
              <a:rPr lang="de-DE" sz="800"/>
              <a:t> verwendet ein virtuelles DOM, um effizient Änderungen im UI zu verfolgen und nur die betroffenen Teile des realen DOMs zu aktualisieren.</a:t>
            </a:r>
          </a:p>
          <a:p>
            <a:pPr>
              <a:spcBef>
                <a:spcPts val="900"/>
              </a:spcBef>
            </a:pPr>
            <a:r>
              <a:rPr lang="de-DE" sz="800"/>
              <a:t>3. Unidirektionaler Datenfluss:</a:t>
            </a:r>
          </a:p>
          <a:p>
            <a:pPr>
              <a:spcBef>
                <a:spcPts val="900"/>
              </a:spcBef>
            </a:pPr>
            <a:r>
              <a:rPr lang="de-DE" sz="800"/>
              <a:t>• Daten in </a:t>
            </a:r>
            <a:r>
              <a:rPr lang="de-DE" sz="800" err="1"/>
              <a:t>React</a:t>
            </a:r>
            <a:r>
              <a:rPr lang="de-DE" sz="800"/>
              <a:t> fließen von oben (Parent-Komponenten) nach unten (Child-Komponenten). Dieser Ansatz sorgt für eine bessere Nachverfolgbarkeit und Fehlervermeidung.</a:t>
            </a:r>
          </a:p>
          <a:p>
            <a:pPr>
              <a:spcBef>
                <a:spcPts val="900"/>
              </a:spcBef>
            </a:pPr>
            <a:r>
              <a:rPr lang="de-DE" sz="800"/>
              <a:t>4. JSX (JavaScript XML):</a:t>
            </a:r>
          </a:p>
          <a:p>
            <a:pPr>
              <a:spcBef>
                <a:spcPts val="900"/>
              </a:spcBef>
            </a:pPr>
            <a:r>
              <a:rPr lang="de-DE" sz="800"/>
              <a:t>• </a:t>
            </a:r>
            <a:r>
              <a:rPr lang="de-DE" sz="800" err="1"/>
              <a:t>React</a:t>
            </a:r>
            <a:r>
              <a:rPr lang="de-DE" sz="800"/>
              <a:t> verwendet JSX, eine Syntaxerweiterung, die es erlaubt, HTML direkt in JavaScript zu schreiben. Dies vereinfacht die Entwicklung und Strukturierung von Komponenten.</a:t>
            </a:r>
          </a:p>
        </p:txBody>
      </p:sp>
      <p:sp>
        <p:nvSpPr>
          <p:cNvPr id="30" name="Google Shape;631;p61">
            <a:extLst>
              <a:ext uri="{FF2B5EF4-FFF2-40B4-BE49-F238E27FC236}">
                <a16:creationId xmlns:a16="http://schemas.microsoft.com/office/drawing/2014/main" id="{4B1C0A2C-5063-B735-4C7B-06027E66538D}"/>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8DD1B058-A004-6FFF-E68C-76D448E18D21}"/>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spcAft>
                <a:spcPts val="1600"/>
              </a:spcAft>
              <a:buClr>
                <a:schemeClr val="dk1"/>
              </a:buClr>
              <a:buSzPts val="1100"/>
            </a:pPr>
            <a:r>
              <a:rPr lang="de-DE" sz="1000"/>
              <a:t>- Hoher Umsetzungsaufwand, aber GitHub Doku vorhanden</a:t>
            </a:r>
          </a:p>
        </p:txBody>
      </p:sp>
    </p:spTree>
    <p:extLst>
      <p:ext uri="{BB962C8B-B14F-4D97-AF65-F5344CB8AC3E}">
        <p14:creationId xmlns:p14="http://schemas.microsoft.com/office/powerpoint/2010/main" val="31582057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454"/>
        <p:cNvGrpSpPr/>
        <p:nvPr/>
      </p:nvGrpSpPr>
      <p:grpSpPr>
        <a:xfrm>
          <a:off x="0" y="0"/>
          <a:ext cx="0" cy="0"/>
          <a:chOff x="0" y="0"/>
          <a:chExt cx="0" cy="0"/>
        </a:xfrm>
      </p:grpSpPr>
      <p:sp>
        <p:nvSpPr>
          <p:cNvPr id="455" name="Google Shape;455;p47"/>
          <p:cNvSpPr txBox="1">
            <a:spLocks noGrp="1"/>
          </p:cNvSpPr>
          <p:nvPr>
            <p:ph type="title"/>
          </p:nvPr>
        </p:nvSpPr>
        <p:spPr>
          <a:xfrm>
            <a:off x="713225" y="1170000"/>
            <a:ext cx="5533200" cy="2803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Awesome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48"/>
          <p:cNvSpPr txBox="1">
            <a:spLocks noGrp="1"/>
          </p:cNvSpPr>
          <p:nvPr>
            <p:ph type="title"/>
          </p:nvPr>
        </p:nvSpPr>
        <p:spPr>
          <a:xfrm>
            <a:off x="713225" y="384048"/>
            <a:ext cx="77175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Our Solution</a:t>
            </a:r>
            <a:endParaRPr/>
          </a:p>
        </p:txBody>
      </p:sp>
      <p:sp>
        <p:nvSpPr>
          <p:cNvPr id="461" name="Google Shape;461;p48"/>
          <p:cNvSpPr txBox="1">
            <a:spLocks noGrp="1"/>
          </p:cNvSpPr>
          <p:nvPr>
            <p:ph type="body" idx="1"/>
          </p:nvPr>
        </p:nvSpPr>
        <p:spPr>
          <a:xfrm>
            <a:off x="713225" y="2371675"/>
            <a:ext cx="2987100" cy="1279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Mercury is the closest planet to the Sun and the smallest one in the Solar System—it’s only a bit larger than the Moon</a:t>
            </a:r>
            <a:endParaRPr/>
          </a:p>
        </p:txBody>
      </p:sp>
      <p:sp>
        <p:nvSpPr>
          <p:cNvPr id="462" name="Google Shape;462;p48"/>
          <p:cNvSpPr txBox="1">
            <a:spLocks noGrp="1"/>
          </p:cNvSpPr>
          <p:nvPr>
            <p:ph type="body" idx="2"/>
          </p:nvPr>
        </p:nvSpPr>
        <p:spPr>
          <a:xfrm>
            <a:off x="3962400" y="2371675"/>
            <a:ext cx="2987100" cy="1279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Venus has a beautiful name and is the second planet from the Sun. It’s terribly hot—even hotter than Mercury</a:t>
            </a:r>
            <a:endParaRPr/>
          </a:p>
        </p:txBody>
      </p:sp>
      <p:sp>
        <p:nvSpPr>
          <p:cNvPr id="463" name="Google Shape;463;p48"/>
          <p:cNvSpPr txBox="1">
            <a:spLocks noGrp="1"/>
          </p:cNvSpPr>
          <p:nvPr>
            <p:ph type="subTitle" idx="3"/>
          </p:nvPr>
        </p:nvSpPr>
        <p:spPr>
          <a:xfrm>
            <a:off x="713225" y="1925800"/>
            <a:ext cx="2987100" cy="4704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Mercury</a:t>
            </a:r>
            <a:endParaRPr/>
          </a:p>
        </p:txBody>
      </p:sp>
      <p:sp>
        <p:nvSpPr>
          <p:cNvPr id="464" name="Google Shape;464;p48"/>
          <p:cNvSpPr txBox="1">
            <a:spLocks noGrp="1"/>
          </p:cNvSpPr>
          <p:nvPr>
            <p:ph type="subTitle" idx="4"/>
          </p:nvPr>
        </p:nvSpPr>
        <p:spPr>
          <a:xfrm>
            <a:off x="3962400" y="1925800"/>
            <a:ext cx="2987100" cy="4704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Venus</a:t>
            </a:r>
            <a:endParaRPr/>
          </a:p>
        </p:txBody>
      </p:sp>
      <p:sp>
        <p:nvSpPr>
          <p:cNvPr id="465" name="Google Shape;465;p48"/>
          <p:cNvSpPr/>
          <p:nvPr/>
        </p:nvSpPr>
        <p:spPr>
          <a:xfrm>
            <a:off x="7520700" y="205110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48"/>
          <p:cNvSpPr/>
          <p:nvPr/>
        </p:nvSpPr>
        <p:spPr>
          <a:xfrm>
            <a:off x="6304500" y="0"/>
            <a:ext cx="1216200" cy="2051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49"/>
          <p:cNvSpPr txBox="1">
            <a:spLocks noGrp="1"/>
          </p:cNvSpPr>
          <p:nvPr>
            <p:ph type="title"/>
          </p:nvPr>
        </p:nvSpPr>
        <p:spPr>
          <a:xfrm>
            <a:off x="2683950" y="3273525"/>
            <a:ext cx="5757300" cy="572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omeone Famous</a:t>
            </a:r>
            <a:endParaRPr/>
          </a:p>
        </p:txBody>
      </p:sp>
      <p:sp>
        <p:nvSpPr>
          <p:cNvPr id="472" name="Google Shape;472;p49"/>
          <p:cNvSpPr txBox="1">
            <a:spLocks noGrp="1"/>
          </p:cNvSpPr>
          <p:nvPr>
            <p:ph type="subTitle" idx="1"/>
          </p:nvPr>
        </p:nvSpPr>
        <p:spPr>
          <a:xfrm flipH="1">
            <a:off x="2684000" y="1247225"/>
            <a:ext cx="5757300" cy="1855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Clr>
                <a:schemeClr val="dk1"/>
              </a:buClr>
              <a:buSzPts val="1100"/>
              <a:buFont typeface="Arial"/>
              <a:buNone/>
            </a:pPr>
            <a:r>
              <a:rPr lang="en"/>
              <a:t>“This is a quote, words full of wisdom that someone important said and can make the reader get inspired”</a:t>
            </a: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476"/>
        <p:cNvGrpSpPr/>
        <p:nvPr/>
      </p:nvGrpSpPr>
      <p:grpSpPr>
        <a:xfrm>
          <a:off x="0" y="0"/>
          <a:ext cx="0" cy="0"/>
          <a:chOff x="0" y="0"/>
          <a:chExt cx="0" cy="0"/>
        </a:xfrm>
      </p:grpSpPr>
      <p:sp>
        <p:nvSpPr>
          <p:cNvPr id="477" name="Google Shape;477;p50"/>
          <p:cNvSpPr txBox="1">
            <a:spLocks noGrp="1"/>
          </p:cNvSpPr>
          <p:nvPr>
            <p:ph type="body" idx="1"/>
          </p:nvPr>
        </p:nvSpPr>
        <p:spPr>
          <a:xfrm>
            <a:off x="713225" y="544075"/>
            <a:ext cx="4458900" cy="1750800"/>
          </a:xfrm>
          <a:prstGeom prst="rect">
            <a:avLst/>
          </a:prstGeom>
          <a:solidFill>
            <a:schemeClr val="accent1"/>
          </a:solidFill>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solidFill>
                  <a:schemeClr val="lt1"/>
                </a:solidFill>
                <a:latin typeface="Montserrat"/>
                <a:ea typeface="Montserrat"/>
                <a:cs typeface="Montserrat"/>
                <a:sym typeface="Montserrat"/>
              </a:rPr>
              <a:t>A picture is worth a thousand words</a:t>
            </a:r>
            <a:endParaRPr>
              <a:solidFill>
                <a:schemeClr val="lt1"/>
              </a:solidFill>
              <a:latin typeface="Montserrat"/>
              <a:ea typeface="Montserrat"/>
              <a:cs typeface="Montserrat"/>
              <a:sym typeface="Montserrat"/>
            </a:endParaRPr>
          </a:p>
        </p:txBody>
      </p:sp>
      <p:sp>
        <p:nvSpPr>
          <p:cNvPr id="478" name="Google Shape;478;p50"/>
          <p:cNvSpPr/>
          <p:nvPr/>
        </p:nvSpPr>
        <p:spPr>
          <a:xfrm>
            <a:off x="0" y="3798300"/>
            <a:ext cx="1216200" cy="1345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50"/>
          <p:cNvSpPr/>
          <p:nvPr/>
        </p:nvSpPr>
        <p:spPr>
          <a:xfrm>
            <a:off x="1216200" y="2453100"/>
            <a:ext cx="1216200" cy="13452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483"/>
        <p:cNvGrpSpPr/>
        <p:nvPr/>
      </p:nvGrpSpPr>
      <p:grpSpPr>
        <a:xfrm>
          <a:off x="0" y="0"/>
          <a:ext cx="0" cy="0"/>
          <a:chOff x="0" y="0"/>
          <a:chExt cx="0" cy="0"/>
        </a:xfrm>
      </p:grpSpPr>
      <p:sp>
        <p:nvSpPr>
          <p:cNvPr id="484" name="Google Shape;484;p51"/>
          <p:cNvSpPr txBox="1">
            <a:spLocks noGrp="1"/>
          </p:cNvSpPr>
          <p:nvPr>
            <p:ph type="title"/>
          </p:nvPr>
        </p:nvSpPr>
        <p:spPr>
          <a:xfrm>
            <a:off x="713225" y="1412150"/>
            <a:ext cx="7717500" cy="16575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5,600.00</a:t>
            </a:r>
            <a:endParaRPr/>
          </a:p>
        </p:txBody>
      </p:sp>
      <p:sp>
        <p:nvSpPr>
          <p:cNvPr id="485" name="Google Shape;485;p51"/>
          <p:cNvSpPr txBox="1">
            <a:spLocks noGrp="1"/>
          </p:cNvSpPr>
          <p:nvPr>
            <p:ph type="body" idx="1"/>
          </p:nvPr>
        </p:nvSpPr>
        <p:spPr>
          <a:xfrm>
            <a:off x="713400" y="3069625"/>
            <a:ext cx="7717500" cy="66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t>Big numbers catch your audience’s attention</a:t>
            </a:r>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489"/>
        <p:cNvGrpSpPr/>
        <p:nvPr/>
      </p:nvGrpSpPr>
      <p:grpSpPr>
        <a:xfrm>
          <a:off x="0" y="0"/>
          <a:ext cx="0" cy="0"/>
          <a:chOff x="0" y="0"/>
          <a:chExt cx="0" cy="0"/>
        </a:xfrm>
      </p:grpSpPr>
      <p:sp>
        <p:nvSpPr>
          <p:cNvPr id="490" name="Google Shape;490;p52"/>
          <p:cNvSpPr txBox="1">
            <a:spLocks noGrp="1"/>
          </p:cNvSpPr>
          <p:nvPr>
            <p:ph type="title"/>
          </p:nvPr>
        </p:nvSpPr>
        <p:spPr>
          <a:xfrm>
            <a:off x="3730075" y="1631700"/>
            <a:ext cx="4700700" cy="10902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Clr>
                <a:schemeClr val="dk1"/>
              </a:buClr>
              <a:buSzPts val="1100"/>
              <a:buFont typeface="Arial"/>
              <a:buNone/>
            </a:pPr>
            <a:r>
              <a:rPr lang="en"/>
              <a:t>A picture always reinforces the concept</a:t>
            </a:r>
            <a:endParaRPr/>
          </a:p>
        </p:txBody>
      </p:sp>
      <p:sp>
        <p:nvSpPr>
          <p:cNvPr id="491" name="Google Shape;491;p52"/>
          <p:cNvSpPr txBox="1">
            <a:spLocks noGrp="1"/>
          </p:cNvSpPr>
          <p:nvPr>
            <p:ph type="subTitle" idx="1"/>
          </p:nvPr>
        </p:nvSpPr>
        <p:spPr>
          <a:xfrm>
            <a:off x="3730075" y="2726700"/>
            <a:ext cx="4700700" cy="861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Clr>
                <a:schemeClr val="dk1"/>
              </a:buClr>
              <a:buSzPts val="1100"/>
              <a:buFont typeface="Arial"/>
              <a:buNone/>
            </a:pPr>
            <a:r>
              <a:rPr lang="en"/>
              <a:t>Images reveal large amounts of data, so remember: use an image instead of a long text</a:t>
            </a:r>
            <a:endParaRPr/>
          </a:p>
        </p:txBody>
      </p:sp>
      <p:pic>
        <p:nvPicPr>
          <p:cNvPr id="492" name="Google Shape;492;p52"/>
          <p:cNvPicPr preferRelativeResize="0"/>
          <p:nvPr/>
        </p:nvPicPr>
        <p:blipFill rotWithShape="1">
          <a:blip r:embed="rId3">
            <a:alphaModFix/>
          </a:blip>
          <a:srcRect l="10502" r="15379"/>
          <a:stretch/>
        </p:blipFill>
        <p:spPr>
          <a:xfrm>
            <a:off x="0" y="1075474"/>
            <a:ext cx="3327121" cy="2992554"/>
          </a:xfrm>
          <a:prstGeom prst="rect">
            <a:avLst/>
          </a:prstGeom>
          <a:noFill/>
          <a:ln>
            <a:noFill/>
          </a:ln>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496"/>
        <p:cNvGrpSpPr/>
        <p:nvPr/>
      </p:nvGrpSpPr>
      <p:grpSpPr>
        <a:xfrm>
          <a:off x="0" y="0"/>
          <a:ext cx="0" cy="0"/>
          <a:chOff x="0" y="0"/>
          <a:chExt cx="0" cy="0"/>
        </a:xfrm>
      </p:grpSpPr>
      <p:sp>
        <p:nvSpPr>
          <p:cNvPr id="497" name="Google Shape;497;p53"/>
          <p:cNvSpPr txBox="1">
            <a:spLocks noGrp="1"/>
          </p:cNvSpPr>
          <p:nvPr>
            <p:ph type="title"/>
          </p:nvPr>
        </p:nvSpPr>
        <p:spPr>
          <a:xfrm>
            <a:off x="713375" y="2227050"/>
            <a:ext cx="4462500" cy="841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arget</a:t>
            </a:r>
            <a:endParaRPr/>
          </a:p>
        </p:txBody>
      </p:sp>
      <p:sp>
        <p:nvSpPr>
          <p:cNvPr id="498" name="Google Shape;498;p53"/>
          <p:cNvSpPr txBox="1">
            <a:spLocks noGrp="1"/>
          </p:cNvSpPr>
          <p:nvPr>
            <p:ph type="subTitle" idx="1"/>
          </p:nvPr>
        </p:nvSpPr>
        <p:spPr>
          <a:xfrm>
            <a:off x="713225" y="3045375"/>
            <a:ext cx="4462500" cy="678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rPr>
              <a:t>You could enter a subtitle</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here if you need it</a:t>
            </a:r>
            <a:endParaRPr/>
          </a:p>
        </p:txBody>
      </p:sp>
      <p:sp>
        <p:nvSpPr>
          <p:cNvPr id="499" name="Google Shape;499;p53"/>
          <p:cNvSpPr txBox="1">
            <a:spLocks noGrp="1"/>
          </p:cNvSpPr>
          <p:nvPr>
            <p:ph type="title" idx="2"/>
          </p:nvPr>
        </p:nvSpPr>
        <p:spPr>
          <a:xfrm>
            <a:off x="713300" y="1262325"/>
            <a:ext cx="4462500" cy="1141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02</a:t>
            </a:r>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503"/>
        <p:cNvGrpSpPr/>
        <p:nvPr/>
      </p:nvGrpSpPr>
      <p:grpSpPr>
        <a:xfrm>
          <a:off x="0" y="0"/>
          <a:ext cx="0" cy="0"/>
          <a:chOff x="0" y="0"/>
          <a:chExt cx="0" cy="0"/>
        </a:xfrm>
      </p:grpSpPr>
      <p:sp>
        <p:nvSpPr>
          <p:cNvPr id="504" name="Google Shape;504;p54"/>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Our Target</a:t>
            </a:r>
            <a:endParaRPr/>
          </a:p>
        </p:txBody>
      </p:sp>
      <p:sp>
        <p:nvSpPr>
          <p:cNvPr id="505" name="Google Shape;505;p54"/>
          <p:cNvSpPr txBox="1"/>
          <p:nvPr/>
        </p:nvSpPr>
        <p:spPr>
          <a:xfrm flipH="1">
            <a:off x="6858250" y="1377575"/>
            <a:ext cx="1353300" cy="357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1800" b="1">
                <a:solidFill>
                  <a:schemeClr val="accent1"/>
                </a:solidFill>
                <a:latin typeface="Montserrat"/>
                <a:ea typeface="Montserrat"/>
                <a:cs typeface="Montserrat"/>
                <a:sym typeface="Montserrat"/>
              </a:rPr>
              <a:t>Age</a:t>
            </a:r>
            <a:endParaRPr sz="1800" b="1">
              <a:solidFill>
                <a:schemeClr val="accent1"/>
              </a:solidFill>
              <a:latin typeface="Montserrat"/>
              <a:ea typeface="Montserrat"/>
              <a:cs typeface="Montserrat"/>
              <a:sym typeface="Montserrat"/>
            </a:endParaRPr>
          </a:p>
        </p:txBody>
      </p:sp>
      <p:sp>
        <p:nvSpPr>
          <p:cNvPr id="506" name="Google Shape;506;p54"/>
          <p:cNvSpPr txBox="1"/>
          <p:nvPr/>
        </p:nvSpPr>
        <p:spPr>
          <a:xfrm flipH="1">
            <a:off x="6851925" y="2275600"/>
            <a:ext cx="1353300" cy="381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solidFill>
                  <a:schemeClr val="accent1"/>
                </a:solidFill>
                <a:latin typeface="Montserrat"/>
                <a:ea typeface="Montserrat"/>
                <a:cs typeface="Montserrat"/>
                <a:sym typeface="Montserrat"/>
              </a:rPr>
              <a:t>36 - 45</a:t>
            </a:r>
            <a:endParaRPr sz="2400" b="1">
              <a:solidFill>
                <a:schemeClr val="accent1"/>
              </a:solidFill>
              <a:latin typeface="Montserrat"/>
              <a:ea typeface="Montserrat"/>
              <a:cs typeface="Montserrat"/>
              <a:sym typeface="Montserrat"/>
            </a:endParaRPr>
          </a:p>
        </p:txBody>
      </p:sp>
      <p:sp>
        <p:nvSpPr>
          <p:cNvPr id="507" name="Google Shape;507;p54"/>
          <p:cNvSpPr txBox="1"/>
          <p:nvPr/>
        </p:nvSpPr>
        <p:spPr>
          <a:xfrm flipH="1">
            <a:off x="6851925" y="1856400"/>
            <a:ext cx="1353300" cy="381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solidFill>
                  <a:schemeClr val="accent1"/>
                </a:solidFill>
                <a:latin typeface="Montserrat"/>
                <a:ea typeface="Montserrat"/>
                <a:cs typeface="Montserrat"/>
                <a:sym typeface="Montserrat"/>
              </a:rPr>
              <a:t>25 - 35</a:t>
            </a:r>
            <a:endParaRPr sz="2400" b="1">
              <a:solidFill>
                <a:schemeClr val="accent1"/>
              </a:solidFill>
              <a:latin typeface="Montserrat"/>
              <a:ea typeface="Montserrat"/>
              <a:cs typeface="Montserrat"/>
              <a:sym typeface="Montserrat"/>
            </a:endParaRPr>
          </a:p>
        </p:txBody>
      </p:sp>
      <p:sp>
        <p:nvSpPr>
          <p:cNvPr id="508" name="Google Shape;508;p54"/>
          <p:cNvSpPr/>
          <p:nvPr/>
        </p:nvSpPr>
        <p:spPr>
          <a:xfrm flipH="1">
            <a:off x="4927725" y="2406700"/>
            <a:ext cx="1922100" cy="118800"/>
          </a:xfrm>
          <a:prstGeom prst="rect">
            <a:avLst/>
          </a:prstGeom>
          <a:solidFill>
            <a:schemeClr val="lt2"/>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54"/>
          <p:cNvSpPr/>
          <p:nvPr/>
        </p:nvSpPr>
        <p:spPr>
          <a:xfrm flipH="1">
            <a:off x="6333227" y="2406700"/>
            <a:ext cx="516600" cy="118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54"/>
          <p:cNvSpPr/>
          <p:nvPr/>
        </p:nvSpPr>
        <p:spPr>
          <a:xfrm flipH="1">
            <a:off x="4927725" y="2003600"/>
            <a:ext cx="1922100" cy="118800"/>
          </a:xfrm>
          <a:prstGeom prst="rect">
            <a:avLst/>
          </a:prstGeom>
          <a:solidFill>
            <a:schemeClr val="lt2"/>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54"/>
          <p:cNvSpPr/>
          <p:nvPr/>
        </p:nvSpPr>
        <p:spPr>
          <a:xfrm flipH="1">
            <a:off x="5558326" y="2003600"/>
            <a:ext cx="1291500" cy="118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54"/>
          <p:cNvSpPr txBox="1"/>
          <p:nvPr/>
        </p:nvSpPr>
        <p:spPr>
          <a:xfrm flipH="1">
            <a:off x="797350" y="1377575"/>
            <a:ext cx="1353300" cy="357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b="1">
                <a:solidFill>
                  <a:schemeClr val="accent1"/>
                </a:solidFill>
                <a:latin typeface="Montserrat"/>
                <a:ea typeface="Montserrat"/>
                <a:cs typeface="Montserrat"/>
                <a:sym typeface="Montserrat"/>
              </a:rPr>
              <a:t>Gender</a:t>
            </a:r>
            <a:endParaRPr sz="1800" b="1">
              <a:solidFill>
                <a:schemeClr val="accent1"/>
              </a:solidFill>
              <a:latin typeface="Montserrat"/>
              <a:ea typeface="Montserrat"/>
              <a:cs typeface="Montserrat"/>
              <a:sym typeface="Montserrat"/>
            </a:endParaRPr>
          </a:p>
        </p:txBody>
      </p:sp>
      <p:sp>
        <p:nvSpPr>
          <p:cNvPr id="513" name="Google Shape;513;p54"/>
          <p:cNvSpPr txBox="1"/>
          <p:nvPr/>
        </p:nvSpPr>
        <p:spPr>
          <a:xfrm>
            <a:off x="717800" y="2275600"/>
            <a:ext cx="1353300" cy="381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solidFill>
                  <a:schemeClr val="accent1"/>
                </a:solidFill>
                <a:latin typeface="Montserrat"/>
                <a:ea typeface="Montserrat"/>
                <a:cs typeface="Montserrat"/>
                <a:sym typeface="Montserrat"/>
              </a:rPr>
              <a:t>40%</a:t>
            </a:r>
            <a:endParaRPr sz="2400" b="1">
              <a:solidFill>
                <a:schemeClr val="accent1"/>
              </a:solidFill>
              <a:latin typeface="Montserrat"/>
              <a:ea typeface="Montserrat"/>
              <a:cs typeface="Montserrat"/>
              <a:sym typeface="Montserrat"/>
            </a:endParaRPr>
          </a:p>
        </p:txBody>
      </p:sp>
      <p:sp>
        <p:nvSpPr>
          <p:cNvPr id="514" name="Google Shape;514;p54"/>
          <p:cNvSpPr txBox="1"/>
          <p:nvPr/>
        </p:nvSpPr>
        <p:spPr>
          <a:xfrm>
            <a:off x="717800" y="1856400"/>
            <a:ext cx="1353300" cy="381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solidFill>
                  <a:schemeClr val="accent1"/>
                </a:solidFill>
                <a:latin typeface="Montserrat"/>
                <a:ea typeface="Montserrat"/>
                <a:cs typeface="Montserrat"/>
                <a:sym typeface="Montserrat"/>
              </a:rPr>
              <a:t>60%</a:t>
            </a:r>
            <a:endParaRPr sz="2400" b="1">
              <a:solidFill>
                <a:schemeClr val="accent1"/>
              </a:solidFill>
              <a:latin typeface="Montserrat"/>
              <a:ea typeface="Montserrat"/>
              <a:cs typeface="Montserrat"/>
              <a:sym typeface="Montserrat"/>
            </a:endParaRPr>
          </a:p>
        </p:txBody>
      </p:sp>
      <p:sp>
        <p:nvSpPr>
          <p:cNvPr id="515" name="Google Shape;515;p54"/>
          <p:cNvSpPr/>
          <p:nvPr/>
        </p:nvSpPr>
        <p:spPr>
          <a:xfrm>
            <a:off x="1657226" y="2406700"/>
            <a:ext cx="1922100" cy="118800"/>
          </a:xfrm>
          <a:prstGeom prst="rect">
            <a:avLst/>
          </a:prstGeom>
          <a:solidFill>
            <a:schemeClr val="lt2"/>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54"/>
          <p:cNvSpPr/>
          <p:nvPr/>
        </p:nvSpPr>
        <p:spPr>
          <a:xfrm>
            <a:off x="1657225" y="2406700"/>
            <a:ext cx="816600" cy="118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54"/>
          <p:cNvSpPr/>
          <p:nvPr/>
        </p:nvSpPr>
        <p:spPr>
          <a:xfrm>
            <a:off x="1657226" y="2003600"/>
            <a:ext cx="1922100" cy="118800"/>
          </a:xfrm>
          <a:prstGeom prst="rect">
            <a:avLst/>
          </a:prstGeom>
          <a:solidFill>
            <a:schemeClr val="lt2"/>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54"/>
          <p:cNvSpPr/>
          <p:nvPr/>
        </p:nvSpPr>
        <p:spPr>
          <a:xfrm>
            <a:off x="1657225" y="2003600"/>
            <a:ext cx="1579500" cy="118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54"/>
          <p:cNvSpPr txBox="1"/>
          <p:nvPr/>
        </p:nvSpPr>
        <p:spPr>
          <a:xfrm flipH="1">
            <a:off x="3895250" y="2977100"/>
            <a:ext cx="1353300" cy="3576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accent1"/>
                </a:solidFill>
                <a:latin typeface="Montserrat"/>
                <a:ea typeface="Montserrat"/>
                <a:cs typeface="Montserrat"/>
                <a:sym typeface="Montserrat"/>
              </a:rPr>
              <a:t>Interests</a:t>
            </a:r>
            <a:endParaRPr sz="1800" b="1">
              <a:solidFill>
                <a:schemeClr val="accent1"/>
              </a:solidFill>
              <a:latin typeface="Montserrat"/>
              <a:ea typeface="Montserrat"/>
              <a:cs typeface="Montserrat"/>
              <a:sym typeface="Montserrat"/>
            </a:endParaRPr>
          </a:p>
        </p:txBody>
      </p:sp>
      <p:grpSp>
        <p:nvGrpSpPr>
          <p:cNvPr id="520" name="Google Shape;520;p54"/>
          <p:cNvGrpSpPr/>
          <p:nvPr/>
        </p:nvGrpSpPr>
        <p:grpSpPr>
          <a:xfrm>
            <a:off x="2934671" y="3641092"/>
            <a:ext cx="412383" cy="374912"/>
            <a:chOff x="-46772025" y="2350650"/>
            <a:chExt cx="300900" cy="264675"/>
          </a:xfrm>
        </p:grpSpPr>
        <p:sp>
          <p:nvSpPr>
            <p:cNvPr id="521" name="Google Shape;521;p54"/>
            <p:cNvSpPr/>
            <p:nvPr/>
          </p:nvSpPr>
          <p:spPr>
            <a:xfrm>
              <a:off x="-46772025" y="2350650"/>
              <a:ext cx="300900" cy="264675"/>
            </a:xfrm>
            <a:custGeom>
              <a:avLst/>
              <a:gdLst/>
              <a:ahLst/>
              <a:cxnLst/>
              <a:rect l="l" t="t" r="r" b="b"/>
              <a:pathLst>
                <a:path w="12036" h="10587" extrusionOk="0">
                  <a:moveTo>
                    <a:pt x="6050" y="820"/>
                  </a:moveTo>
                  <a:cubicBezTo>
                    <a:pt x="7184" y="820"/>
                    <a:pt x="8287" y="1229"/>
                    <a:pt x="9169" y="1985"/>
                  </a:cubicBezTo>
                  <a:cubicBezTo>
                    <a:pt x="9326" y="2111"/>
                    <a:pt x="9326" y="2332"/>
                    <a:pt x="9169" y="2458"/>
                  </a:cubicBezTo>
                  <a:lnTo>
                    <a:pt x="9137" y="2490"/>
                  </a:lnTo>
                  <a:cubicBezTo>
                    <a:pt x="9064" y="2533"/>
                    <a:pt x="8978" y="2557"/>
                    <a:pt x="8896" y="2557"/>
                  </a:cubicBezTo>
                  <a:cubicBezTo>
                    <a:pt x="8802" y="2557"/>
                    <a:pt x="8715" y="2526"/>
                    <a:pt x="8665" y="2458"/>
                  </a:cubicBezTo>
                  <a:cubicBezTo>
                    <a:pt x="7940" y="1828"/>
                    <a:pt x="7027" y="1481"/>
                    <a:pt x="6050" y="1481"/>
                  </a:cubicBezTo>
                  <a:cubicBezTo>
                    <a:pt x="5073" y="1481"/>
                    <a:pt x="4160" y="1828"/>
                    <a:pt x="3466" y="2458"/>
                  </a:cubicBezTo>
                  <a:cubicBezTo>
                    <a:pt x="3378" y="2529"/>
                    <a:pt x="3270" y="2570"/>
                    <a:pt x="3175" y="2570"/>
                  </a:cubicBezTo>
                  <a:cubicBezTo>
                    <a:pt x="3101" y="2570"/>
                    <a:pt x="3035" y="2545"/>
                    <a:pt x="2994" y="2490"/>
                  </a:cubicBezTo>
                  <a:lnTo>
                    <a:pt x="2931" y="2458"/>
                  </a:lnTo>
                  <a:cubicBezTo>
                    <a:pt x="2836" y="2301"/>
                    <a:pt x="2836" y="2111"/>
                    <a:pt x="2931" y="1985"/>
                  </a:cubicBezTo>
                  <a:cubicBezTo>
                    <a:pt x="3782" y="1198"/>
                    <a:pt x="4884" y="820"/>
                    <a:pt x="6050" y="820"/>
                  </a:cubicBezTo>
                  <a:close/>
                  <a:moveTo>
                    <a:pt x="1450" y="7152"/>
                  </a:moveTo>
                  <a:lnTo>
                    <a:pt x="1450" y="9106"/>
                  </a:lnTo>
                  <a:cubicBezTo>
                    <a:pt x="1041" y="9011"/>
                    <a:pt x="726" y="8601"/>
                    <a:pt x="726" y="8129"/>
                  </a:cubicBezTo>
                  <a:cubicBezTo>
                    <a:pt x="726" y="7656"/>
                    <a:pt x="1009" y="7278"/>
                    <a:pt x="1450" y="7152"/>
                  </a:cubicBezTo>
                  <a:close/>
                  <a:moveTo>
                    <a:pt x="10618" y="7152"/>
                  </a:moveTo>
                  <a:cubicBezTo>
                    <a:pt x="11028" y="7310"/>
                    <a:pt x="11343" y="7688"/>
                    <a:pt x="11343" y="8129"/>
                  </a:cubicBezTo>
                  <a:cubicBezTo>
                    <a:pt x="11343" y="8601"/>
                    <a:pt x="11059" y="9011"/>
                    <a:pt x="10618" y="9106"/>
                  </a:cubicBezTo>
                  <a:lnTo>
                    <a:pt x="10618" y="7152"/>
                  </a:lnTo>
                  <a:close/>
                  <a:moveTo>
                    <a:pt x="2521" y="6396"/>
                  </a:moveTo>
                  <a:cubicBezTo>
                    <a:pt x="2710" y="6396"/>
                    <a:pt x="2868" y="6554"/>
                    <a:pt x="2868" y="6743"/>
                  </a:cubicBezTo>
                  <a:lnTo>
                    <a:pt x="2868" y="9547"/>
                  </a:lnTo>
                  <a:cubicBezTo>
                    <a:pt x="2868" y="9736"/>
                    <a:pt x="2710" y="9893"/>
                    <a:pt x="2521" y="9893"/>
                  </a:cubicBezTo>
                  <a:cubicBezTo>
                    <a:pt x="2301" y="9893"/>
                    <a:pt x="2175" y="9736"/>
                    <a:pt x="2175" y="9547"/>
                  </a:cubicBezTo>
                  <a:lnTo>
                    <a:pt x="2175" y="6743"/>
                  </a:lnTo>
                  <a:cubicBezTo>
                    <a:pt x="2175" y="6554"/>
                    <a:pt x="2301" y="6396"/>
                    <a:pt x="2521" y="6396"/>
                  </a:cubicBezTo>
                  <a:close/>
                  <a:moveTo>
                    <a:pt x="9547" y="6396"/>
                  </a:moveTo>
                  <a:cubicBezTo>
                    <a:pt x="9767" y="6396"/>
                    <a:pt x="9925" y="6554"/>
                    <a:pt x="9925" y="6743"/>
                  </a:cubicBezTo>
                  <a:lnTo>
                    <a:pt x="9925" y="9547"/>
                  </a:lnTo>
                  <a:cubicBezTo>
                    <a:pt x="9925" y="9736"/>
                    <a:pt x="9767" y="9893"/>
                    <a:pt x="9547" y="9893"/>
                  </a:cubicBezTo>
                  <a:cubicBezTo>
                    <a:pt x="9358" y="9893"/>
                    <a:pt x="9200" y="9736"/>
                    <a:pt x="9200" y="9547"/>
                  </a:cubicBezTo>
                  <a:lnTo>
                    <a:pt x="9200" y="6743"/>
                  </a:lnTo>
                  <a:cubicBezTo>
                    <a:pt x="9200" y="6554"/>
                    <a:pt x="9358" y="6396"/>
                    <a:pt x="9547" y="6396"/>
                  </a:cubicBezTo>
                  <a:close/>
                  <a:moveTo>
                    <a:pt x="6018" y="1"/>
                  </a:moveTo>
                  <a:cubicBezTo>
                    <a:pt x="4664" y="1"/>
                    <a:pt x="3403" y="473"/>
                    <a:pt x="2427" y="1387"/>
                  </a:cubicBezTo>
                  <a:cubicBezTo>
                    <a:pt x="2080" y="1733"/>
                    <a:pt x="1986" y="2269"/>
                    <a:pt x="2238" y="2679"/>
                  </a:cubicBezTo>
                  <a:cubicBezTo>
                    <a:pt x="1671" y="3435"/>
                    <a:pt x="1419" y="4348"/>
                    <a:pt x="1419" y="5293"/>
                  </a:cubicBezTo>
                  <a:lnTo>
                    <a:pt x="1419" y="6396"/>
                  </a:lnTo>
                  <a:cubicBezTo>
                    <a:pt x="631" y="6554"/>
                    <a:pt x="1" y="7247"/>
                    <a:pt x="1" y="8129"/>
                  </a:cubicBezTo>
                  <a:cubicBezTo>
                    <a:pt x="1" y="8980"/>
                    <a:pt x="631" y="9704"/>
                    <a:pt x="1450" y="9862"/>
                  </a:cubicBezTo>
                  <a:cubicBezTo>
                    <a:pt x="1576" y="10303"/>
                    <a:pt x="1986" y="10586"/>
                    <a:pt x="2427" y="10586"/>
                  </a:cubicBezTo>
                  <a:cubicBezTo>
                    <a:pt x="3025" y="10586"/>
                    <a:pt x="3498" y="10114"/>
                    <a:pt x="3498" y="9515"/>
                  </a:cubicBezTo>
                  <a:lnTo>
                    <a:pt x="3498" y="6711"/>
                  </a:lnTo>
                  <a:cubicBezTo>
                    <a:pt x="3498" y="6113"/>
                    <a:pt x="3025" y="5640"/>
                    <a:pt x="2427" y="5640"/>
                  </a:cubicBezTo>
                  <a:cubicBezTo>
                    <a:pt x="2301" y="5640"/>
                    <a:pt x="2206" y="5703"/>
                    <a:pt x="2080" y="5735"/>
                  </a:cubicBezTo>
                  <a:lnTo>
                    <a:pt x="2080" y="5325"/>
                  </a:lnTo>
                  <a:cubicBezTo>
                    <a:pt x="2080" y="4537"/>
                    <a:pt x="2301" y="3844"/>
                    <a:pt x="2710" y="3214"/>
                  </a:cubicBezTo>
                  <a:cubicBezTo>
                    <a:pt x="2827" y="3263"/>
                    <a:pt x="2948" y="3285"/>
                    <a:pt x="3067" y="3285"/>
                  </a:cubicBezTo>
                  <a:cubicBezTo>
                    <a:pt x="3333" y="3285"/>
                    <a:pt x="3596" y="3177"/>
                    <a:pt x="3813" y="3025"/>
                  </a:cubicBezTo>
                  <a:cubicBezTo>
                    <a:pt x="4412" y="2490"/>
                    <a:pt x="5136" y="2238"/>
                    <a:pt x="5924" y="2238"/>
                  </a:cubicBezTo>
                  <a:cubicBezTo>
                    <a:pt x="6711" y="2238"/>
                    <a:pt x="7499" y="2490"/>
                    <a:pt x="8066" y="3025"/>
                  </a:cubicBezTo>
                  <a:cubicBezTo>
                    <a:pt x="8276" y="3193"/>
                    <a:pt x="8542" y="3291"/>
                    <a:pt x="8799" y="3291"/>
                  </a:cubicBezTo>
                  <a:cubicBezTo>
                    <a:pt x="8927" y="3291"/>
                    <a:pt x="9053" y="3267"/>
                    <a:pt x="9169" y="3214"/>
                  </a:cubicBezTo>
                  <a:cubicBezTo>
                    <a:pt x="9610" y="3844"/>
                    <a:pt x="9799" y="4600"/>
                    <a:pt x="9799" y="5325"/>
                  </a:cubicBezTo>
                  <a:lnTo>
                    <a:pt x="9799" y="5735"/>
                  </a:lnTo>
                  <a:cubicBezTo>
                    <a:pt x="9673" y="5703"/>
                    <a:pt x="9547" y="5640"/>
                    <a:pt x="9452" y="5640"/>
                  </a:cubicBezTo>
                  <a:cubicBezTo>
                    <a:pt x="8854" y="5640"/>
                    <a:pt x="8381" y="6113"/>
                    <a:pt x="8381" y="6711"/>
                  </a:cubicBezTo>
                  <a:lnTo>
                    <a:pt x="8381" y="9515"/>
                  </a:lnTo>
                  <a:cubicBezTo>
                    <a:pt x="8381" y="10114"/>
                    <a:pt x="8854" y="10586"/>
                    <a:pt x="9452" y="10586"/>
                  </a:cubicBezTo>
                  <a:cubicBezTo>
                    <a:pt x="9925" y="10586"/>
                    <a:pt x="10303" y="10271"/>
                    <a:pt x="10429" y="9862"/>
                  </a:cubicBezTo>
                  <a:cubicBezTo>
                    <a:pt x="11406" y="9704"/>
                    <a:pt x="12036" y="9011"/>
                    <a:pt x="12036" y="8129"/>
                  </a:cubicBezTo>
                  <a:cubicBezTo>
                    <a:pt x="12036" y="7278"/>
                    <a:pt x="11437" y="6554"/>
                    <a:pt x="10618" y="6396"/>
                  </a:cubicBezTo>
                  <a:lnTo>
                    <a:pt x="10618" y="5293"/>
                  </a:lnTo>
                  <a:cubicBezTo>
                    <a:pt x="10618" y="4348"/>
                    <a:pt x="10335" y="3435"/>
                    <a:pt x="9799" y="2679"/>
                  </a:cubicBezTo>
                  <a:cubicBezTo>
                    <a:pt x="10020" y="2269"/>
                    <a:pt x="9957" y="1733"/>
                    <a:pt x="9610" y="1387"/>
                  </a:cubicBezTo>
                  <a:cubicBezTo>
                    <a:pt x="8602" y="473"/>
                    <a:pt x="7342" y="1"/>
                    <a:pt x="601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54"/>
            <p:cNvSpPr/>
            <p:nvPr/>
          </p:nvSpPr>
          <p:spPr>
            <a:xfrm>
              <a:off x="-46664900" y="2475100"/>
              <a:ext cx="92175" cy="122900"/>
            </a:xfrm>
            <a:custGeom>
              <a:avLst/>
              <a:gdLst/>
              <a:ahLst/>
              <a:cxnLst/>
              <a:rect l="l" t="t" r="r" b="b"/>
              <a:pathLst>
                <a:path w="3687" h="4916" extrusionOk="0">
                  <a:moveTo>
                    <a:pt x="1072" y="3497"/>
                  </a:moveTo>
                  <a:cubicBezTo>
                    <a:pt x="1261" y="3497"/>
                    <a:pt x="1418" y="3655"/>
                    <a:pt x="1418" y="3876"/>
                  </a:cubicBezTo>
                  <a:cubicBezTo>
                    <a:pt x="1418" y="4065"/>
                    <a:pt x="1261" y="4222"/>
                    <a:pt x="1072" y="4222"/>
                  </a:cubicBezTo>
                  <a:cubicBezTo>
                    <a:pt x="851" y="4222"/>
                    <a:pt x="694" y="4065"/>
                    <a:pt x="694" y="3876"/>
                  </a:cubicBezTo>
                  <a:cubicBezTo>
                    <a:pt x="694" y="3655"/>
                    <a:pt x="851" y="3497"/>
                    <a:pt x="1072" y="3497"/>
                  </a:cubicBezTo>
                  <a:close/>
                  <a:moveTo>
                    <a:pt x="1765" y="0"/>
                  </a:moveTo>
                  <a:cubicBezTo>
                    <a:pt x="1576" y="0"/>
                    <a:pt x="1418" y="158"/>
                    <a:pt x="1418" y="347"/>
                  </a:cubicBezTo>
                  <a:lnTo>
                    <a:pt x="1418" y="2867"/>
                  </a:lnTo>
                  <a:cubicBezTo>
                    <a:pt x="1292" y="2836"/>
                    <a:pt x="1166" y="2804"/>
                    <a:pt x="1072" y="2804"/>
                  </a:cubicBezTo>
                  <a:cubicBezTo>
                    <a:pt x="473" y="2804"/>
                    <a:pt x="1" y="3277"/>
                    <a:pt x="1" y="3876"/>
                  </a:cubicBezTo>
                  <a:cubicBezTo>
                    <a:pt x="1" y="4443"/>
                    <a:pt x="473" y="4915"/>
                    <a:pt x="1072" y="4915"/>
                  </a:cubicBezTo>
                  <a:cubicBezTo>
                    <a:pt x="1670" y="4915"/>
                    <a:pt x="2143" y="4443"/>
                    <a:pt x="2143" y="3876"/>
                  </a:cubicBezTo>
                  <a:lnTo>
                    <a:pt x="2143" y="1450"/>
                  </a:lnTo>
                  <a:cubicBezTo>
                    <a:pt x="2363" y="1544"/>
                    <a:pt x="2521" y="1702"/>
                    <a:pt x="2616" y="1828"/>
                  </a:cubicBezTo>
                  <a:cubicBezTo>
                    <a:pt x="2868" y="2143"/>
                    <a:pt x="2962" y="2615"/>
                    <a:pt x="2836" y="3088"/>
                  </a:cubicBezTo>
                  <a:cubicBezTo>
                    <a:pt x="2805" y="3308"/>
                    <a:pt x="2962" y="3497"/>
                    <a:pt x="3183" y="3497"/>
                  </a:cubicBezTo>
                  <a:cubicBezTo>
                    <a:pt x="3340" y="3497"/>
                    <a:pt x="3498" y="3403"/>
                    <a:pt x="3529" y="3245"/>
                  </a:cubicBezTo>
                  <a:cubicBezTo>
                    <a:pt x="3687" y="2552"/>
                    <a:pt x="3592" y="1859"/>
                    <a:pt x="3183" y="1355"/>
                  </a:cubicBezTo>
                  <a:cubicBezTo>
                    <a:pt x="2868" y="1040"/>
                    <a:pt x="2521" y="820"/>
                    <a:pt x="2111" y="757"/>
                  </a:cubicBezTo>
                  <a:lnTo>
                    <a:pt x="2111" y="347"/>
                  </a:lnTo>
                  <a:cubicBezTo>
                    <a:pt x="2111" y="158"/>
                    <a:pt x="1954" y="0"/>
                    <a:pt x="17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3" name="Google Shape;523;p54"/>
          <p:cNvGrpSpPr/>
          <p:nvPr/>
        </p:nvGrpSpPr>
        <p:grpSpPr>
          <a:xfrm>
            <a:off x="3682815" y="3641093"/>
            <a:ext cx="374918" cy="374910"/>
            <a:chOff x="-46404975" y="1966100"/>
            <a:chExt cx="302475" cy="297950"/>
          </a:xfrm>
        </p:grpSpPr>
        <p:sp>
          <p:nvSpPr>
            <p:cNvPr id="524" name="Google Shape;524;p54"/>
            <p:cNvSpPr/>
            <p:nvPr/>
          </p:nvSpPr>
          <p:spPr>
            <a:xfrm>
              <a:off x="-46349850" y="1966100"/>
              <a:ext cx="38625" cy="86850"/>
            </a:xfrm>
            <a:custGeom>
              <a:avLst/>
              <a:gdLst/>
              <a:ahLst/>
              <a:cxnLst/>
              <a:rect l="l" t="t" r="r" b="b"/>
              <a:pathLst>
                <a:path w="1545" h="3474" extrusionOk="0">
                  <a:moveTo>
                    <a:pt x="784" y="0"/>
                  </a:moveTo>
                  <a:cubicBezTo>
                    <a:pt x="686" y="0"/>
                    <a:pt x="583" y="24"/>
                    <a:pt x="505" y="71"/>
                  </a:cubicBezTo>
                  <a:cubicBezTo>
                    <a:pt x="1" y="607"/>
                    <a:pt x="1" y="1458"/>
                    <a:pt x="505" y="1962"/>
                  </a:cubicBezTo>
                  <a:cubicBezTo>
                    <a:pt x="757" y="2214"/>
                    <a:pt x="757" y="2655"/>
                    <a:pt x="505" y="2875"/>
                  </a:cubicBezTo>
                  <a:cubicBezTo>
                    <a:pt x="379" y="3001"/>
                    <a:pt x="379" y="3222"/>
                    <a:pt x="505" y="3379"/>
                  </a:cubicBezTo>
                  <a:cubicBezTo>
                    <a:pt x="568" y="3442"/>
                    <a:pt x="654" y="3474"/>
                    <a:pt x="749" y="3474"/>
                  </a:cubicBezTo>
                  <a:cubicBezTo>
                    <a:pt x="843" y="3474"/>
                    <a:pt x="946" y="3442"/>
                    <a:pt x="1040" y="3379"/>
                  </a:cubicBezTo>
                  <a:cubicBezTo>
                    <a:pt x="1544" y="2875"/>
                    <a:pt x="1544" y="2025"/>
                    <a:pt x="1040" y="1489"/>
                  </a:cubicBezTo>
                  <a:cubicBezTo>
                    <a:pt x="788" y="1269"/>
                    <a:pt x="788" y="827"/>
                    <a:pt x="1040" y="607"/>
                  </a:cubicBezTo>
                  <a:cubicBezTo>
                    <a:pt x="1135" y="481"/>
                    <a:pt x="1135" y="229"/>
                    <a:pt x="1040" y="71"/>
                  </a:cubicBezTo>
                  <a:cubicBezTo>
                    <a:pt x="977" y="24"/>
                    <a:pt x="883" y="0"/>
                    <a:pt x="78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54"/>
            <p:cNvSpPr/>
            <p:nvPr/>
          </p:nvSpPr>
          <p:spPr>
            <a:xfrm>
              <a:off x="-46297875" y="1966100"/>
              <a:ext cx="38625" cy="86850"/>
            </a:xfrm>
            <a:custGeom>
              <a:avLst/>
              <a:gdLst/>
              <a:ahLst/>
              <a:cxnLst/>
              <a:rect l="l" t="t" r="r" b="b"/>
              <a:pathLst>
                <a:path w="1545" h="3474" extrusionOk="0">
                  <a:moveTo>
                    <a:pt x="800" y="0"/>
                  </a:moveTo>
                  <a:cubicBezTo>
                    <a:pt x="710" y="0"/>
                    <a:pt x="615" y="24"/>
                    <a:pt x="537" y="71"/>
                  </a:cubicBezTo>
                  <a:cubicBezTo>
                    <a:pt x="1" y="607"/>
                    <a:pt x="1" y="1458"/>
                    <a:pt x="537" y="1962"/>
                  </a:cubicBezTo>
                  <a:cubicBezTo>
                    <a:pt x="757" y="2214"/>
                    <a:pt x="757" y="2655"/>
                    <a:pt x="537" y="2875"/>
                  </a:cubicBezTo>
                  <a:cubicBezTo>
                    <a:pt x="410" y="3001"/>
                    <a:pt x="410" y="3222"/>
                    <a:pt x="537" y="3379"/>
                  </a:cubicBezTo>
                  <a:cubicBezTo>
                    <a:pt x="584" y="3442"/>
                    <a:pt x="670" y="3474"/>
                    <a:pt x="765" y="3474"/>
                  </a:cubicBezTo>
                  <a:cubicBezTo>
                    <a:pt x="859" y="3474"/>
                    <a:pt x="962" y="3442"/>
                    <a:pt x="1041" y="3379"/>
                  </a:cubicBezTo>
                  <a:cubicBezTo>
                    <a:pt x="1545" y="2875"/>
                    <a:pt x="1545" y="2025"/>
                    <a:pt x="1041" y="1489"/>
                  </a:cubicBezTo>
                  <a:cubicBezTo>
                    <a:pt x="789" y="1269"/>
                    <a:pt x="789" y="827"/>
                    <a:pt x="1041" y="607"/>
                  </a:cubicBezTo>
                  <a:cubicBezTo>
                    <a:pt x="1167" y="481"/>
                    <a:pt x="1167" y="229"/>
                    <a:pt x="1041" y="71"/>
                  </a:cubicBezTo>
                  <a:cubicBezTo>
                    <a:pt x="978" y="24"/>
                    <a:pt x="891" y="0"/>
                    <a:pt x="80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54"/>
            <p:cNvSpPr/>
            <p:nvPr/>
          </p:nvSpPr>
          <p:spPr>
            <a:xfrm>
              <a:off x="-46244300" y="1966100"/>
              <a:ext cx="38600" cy="86850"/>
            </a:xfrm>
            <a:custGeom>
              <a:avLst/>
              <a:gdLst/>
              <a:ahLst/>
              <a:cxnLst/>
              <a:rect l="l" t="t" r="r" b="b"/>
              <a:pathLst>
                <a:path w="1544" h="3474" extrusionOk="0">
                  <a:moveTo>
                    <a:pt x="768" y="0"/>
                  </a:moveTo>
                  <a:cubicBezTo>
                    <a:pt x="678" y="0"/>
                    <a:pt x="583" y="24"/>
                    <a:pt x="504" y="71"/>
                  </a:cubicBezTo>
                  <a:cubicBezTo>
                    <a:pt x="0" y="607"/>
                    <a:pt x="0" y="1458"/>
                    <a:pt x="504" y="1962"/>
                  </a:cubicBezTo>
                  <a:cubicBezTo>
                    <a:pt x="756" y="2214"/>
                    <a:pt x="756" y="2655"/>
                    <a:pt x="504" y="2875"/>
                  </a:cubicBezTo>
                  <a:cubicBezTo>
                    <a:pt x="378" y="3001"/>
                    <a:pt x="378" y="3222"/>
                    <a:pt x="504" y="3379"/>
                  </a:cubicBezTo>
                  <a:cubicBezTo>
                    <a:pt x="567" y="3442"/>
                    <a:pt x="654" y="3474"/>
                    <a:pt x="745" y="3474"/>
                  </a:cubicBezTo>
                  <a:cubicBezTo>
                    <a:pt x="835" y="3474"/>
                    <a:pt x="930" y="3442"/>
                    <a:pt x="1008" y="3379"/>
                  </a:cubicBezTo>
                  <a:cubicBezTo>
                    <a:pt x="1544" y="2875"/>
                    <a:pt x="1544" y="2025"/>
                    <a:pt x="1008" y="1489"/>
                  </a:cubicBezTo>
                  <a:cubicBezTo>
                    <a:pt x="788" y="1269"/>
                    <a:pt x="788" y="827"/>
                    <a:pt x="1008" y="607"/>
                  </a:cubicBezTo>
                  <a:cubicBezTo>
                    <a:pt x="1134" y="481"/>
                    <a:pt x="1134" y="229"/>
                    <a:pt x="1008" y="71"/>
                  </a:cubicBezTo>
                  <a:cubicBezTo>
                    <a:pt x="945" y="24"/>
                    <a:pt x="859" y="0"/>
                    <a:pt x="7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54"/>
            <p:cNvSpPr/>
            <p:nvPr/>
          </p:nvSpPr>
          <p:spPr>
            <a:xfrm>
              <a:off x="-46404975" y="2070250"/>
              <a:ext cx="302475" cy="193800"/>
            </a:xfrm>
            <a:custGeom>
              <a:avLst/>
              <a:gdLst/>
              <a:ahLst/>
              <a:cxnLst/>
              <a:rect l="l" t="t" r="r" b="b"/>
              <a:pathLst>
                <a:path w="12099" h="7752" extrusionOk="0">
                  <a:moveTo>
                    <a:pt x="11058" y="1419"/>
                  </a:moveTo>
                  <a:cubicBezTo>
                    <a:pt x="11248" y="1419"/>
                    <a:pt x="11405" y="1576"/>
                    <a:pt x="11405" y="1797"/>
                  </a:cubicBezTo>
                  <a:cubicBezTo>
                    <a:pt x="11405" y="3088"/>
                    <a:pt x="10397" y="4160"/>
                    <a:pt x="9137" y="4223"/>
                  </a:cubicBezTo>
                  <a:cubicBezTo>
                    <a:pt x="9578" y="3372"/>
                    <a:pt x="9830" y="2395"/>
                    <a:pt x="9956" y="1419"/>
                  </a:cubicBezTo>
                  <a:close/>
                  <a:moveTo>
                    <a:pt x="9294" y="726"/>
                  </a:moveTo>
                  <a:cubicBezTo>
                    <a:pt x="9200" y="2521"/>
                    <a:pt x="8507" y="4569"/>
                    <a:pt x="7057" y="5640"/>
                  </a:cubicBezTo>
                  <a:lnTo>
                    <a:pt x="3056" y="5640"/>
                  </a:lnTo>
                  <a:lnTo>
                    <a:pt x="3056" y="5672"/>
                  </a:lnTo>
                  <a:cubicBezTo>
                    <a:pt x="1765" y="4695"/>
                    <a:pt x="914" y="2805"/>
                    <a:pt x="819" y="726"/>
                  </a:cubicBezTo>
                  <a:close/>
                  <a:moveTo>
                    <a:pt x="8948" y="6396"/>
                  </a:moveTo>
                  <a:cubicBezTo>
                    <a:pt x="8570" y="6837"/>
                    <a:pt x="8003" y="7090"/>
                    <a:pt x="7372" y="7090"/>
                  </a:cubicBezTo>
                  <a:lnTo>
                    <a:pt x="2710" y="7090"/>
                  </a:lnTo>
                  <a:cubicBezTo>
                    <a:pt x="2080" y="7090"/>
                    <a:pt x="1481" y="6837"/>
                    <a:pt x="1103" y="6396"/>
                  </a:cubicBezTo>
                  <a:close/>
                  <a:moveTo>
                    <a:pt x="441" y="1"/>
                  </a:moveTo>
                  <a:cubicBezTo>
                    <a:pt x="252" y="1"/>
                    <a:pt x="95" y="158"/>
                    <a:pt x="95" y="348"/>
                  </a:cubicBezTo>
                  <a:cubicBezTo>
                    <a:pt x="95" y="2301"/>
                    <a:pt x="725" y="4317"/>
                    <a:pt x="1985" y="5640"/>
                  </a:cubicBezTo>
                  <a:lnTo>
                    <a:pt x="441" y="5640"/>
                  </a:lnTo>
                  <a:cubicBezTo>
                    <a:pt x="158" y="5640"/>
                    <a:pt x="0" y="5924"/>
                    <a:pt x="126" y="6144"/>
                  </a:cubicBezTo>
                  <a:cubicBezTo>
                    <a:pt x="347" y="6617"/>
                    <a:pt x="725" y="7027"/>
                    <a:pt x="1197" y="7342"/>
                  </a:cubicBezTo>
                  <a:cubicBezTo>
                    <a:pt x="1670" y="7594"/>
                    <a:pt x="2174" y="7751"/>
                    <a:pt x="2710" y="7751"/>
                  </a:cubicBezTo>
                  <a:lnTo>
                    <a:pt x="7372" y="7751"/>
                  </a:lnTo>
                  <a:cubicBezTo>
                    <a:pt x="8475" y="7751"/>
                    <a:pt x="9452" y="7121"/>
                    <a:pt x="9956" y="6144"/>
                  </a:cubicBezTo>
                  <a:cubicBezTo>
                    <a:pt x="10082" y="5924"/>
                    <a:pt x="9924" y="5640"/>
                    <a:pt x="9641" y="5640"/>
                  </a:cubicBezTo>
                  <a:lnTo>
                    <a:pt x="8129" y="5640"/>
                  </a:lnTo>
                  <a:lnTo>
                    <a:pt x="8696" y="4916"/>
                  </a:lnTo>
                  <a:lnTo>
                    <a:pt x="8948" y="4916"/>
                  </a:lnTo>
                  <a:lnTo>
                    <a:pt x="8948" y="4947"/>
                  </a:lnTo>
                  <a:cubicBezTo>
                    <a:pt x="10680" y="4947"/>
                    <a:pt x="12098" y="3529"/>
                    <a:pt x="12098" y="1797"/>
                  </a:cubicBezTo>
                  <a:cubicBezTo>
                    <a:pt x="12098" y="1198"/>
                    <a:pt x="11626" y="726"/>
                    <a:pt x="11027" y="726"/>
                  </a:cubicBezTo>
                  <a:lnTo>
                    <a:pt x="9956" y="726"/>
                  </a:lnTo>
                  <a:lnTo>
                    <a:pt x="9956" y="348"/>
                  </a:lnTo>
                  <a:cubicBezTo>
                    <a:pt x="9956" y="158"/>
                    <a:pt x="9798" y="1"/>
                    <a:pt x="96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28" name="Google Shape;528;p54"/>
          <p:cNvSpPr/>
          <p:nvPr/>
        </p:nvSpPr>
        <p:spPr>
          <a:xfrm>
            <a:off x="4393494" y="3642137"/>
            <a:ext cx="324609" cy="372824"/>
          </a:xfrm>
          <a:custGeom>
            <a:avLst/>
            <a:gdLst/>
            <a:ahLst/>
            <a:cxnLst/>
            <a:rect l="l" t="t" r="r" b="b"/>
            <a:pathLst>
              <a:path w="11028" h="12666" extrusionOk="0">
                <a:moveTo>
                  <a:pt x="8538" y="820"/>
                </a:moveTo>
                <a:lnTo>
                  <a:pt x="8538" y="2710"/>
                </a:lnTo>
                <a:lnTo>
                  <a:pt x="8412" y="2584"/>
                </a:lnTo>
                <a:cubicBezTo>
                  <a:pt x="8333" y="2505"/>
                  <a:pt x="8223" y="2466"/>
                  <a:pt x="8113" y="2466"/>
                </a:cubicBezTo>
                <a:cubicBezTo>
                  <a:pt x="8003" y="2466"/>
                  <a:pt x="7892" y="2505"/>
                  <a:pt x="7814" y="2584"/>
                </a:cubicBezTo>
                <a:lnTo>
                  <a:pt x="7719" y="2710"/>
                </a:lnTo>
                <a:lnTo>
                  <a:pt x="7719" y="820"/>
                </a:lnTo>
                <a:close/>
                <a:moveTo>
                  <a:pt x="10177" y="820"/>
                </a:moveTo>
                <a:lnTo>
                  <a:pt x="10177" y="9357"/>
                </a:lnTo>
                <a:lnTo>
                  <a:pt x="2458" y="9357"/>
                </a:lnTo>
                <a:lnTo>
                  <a:pt x="2458" y="820"/>
                </a:lnTo>
                <a:lnTo>
                  <a:pt x="6869" y="820"/>
                </a:lnTo>
                <a:lnTo>
                  <a:pt x="6869" y="3687"/>
                </a:lnTo>
                <a:cubicBezTo>
                  <a:pt x="6869" y="3813"/>
                  <a:pt x="6932" y="3970"/>
                  <a:pt x="7026" y="4033"/>
                </a:cubicBezTo>
                <a:cubicBezTo>
                  <a:pt x="7100" y="4093"/>
                  <a:pt x="7196" y="4124"/>
                  <a:pt x="7292" y="4124"/>
                </a:cubicBezTo>
                <a:cubicBezTo>
                  <a:pt x="7400" y="4124"/>
                  <a:pt x="7510" y="4085"/>
                  <a:pt x="7593" y="4002"/>
                </a:cubicBezTo>
                <a:lnTo>
                  <a:pt x="8129" y="3466"/>
                </a:lnTo>
                <a:lnTo>
                  <a:pt x="8664" y="3970"/>
                </a:lnTo>
                <a:cubicBezTo>
                  <a:pt x="8719" y="4024"/>
                  <a:pt x="8844" y="4102"/>
                  <a:pt x="8958" y="4102"/>
                </a:cubicBezTo>
                <a:cubicBezTo>
                  <a:pt x="8976" y="4102"/>
                  <a:pt x="8994" y="4100"/>
                  <a:pt x="9011" y="4096"/>
                </a:cubicBezTo>
                <a:cubicBezTo>
                  <a:pt x="9200" y="4033"/>
                  <a:pt x="9357" y="3876"/>
                  <a:pt x="9357" y="3687"/>
                </a:cubicBezTo>
                <a:lnTo>
                  <a:pt x="9357" y="820"/>
                </a:lnTo>
                <a:close/>
                <a:moveTo>
                  <a:pt x="1639" y="851"/>
                </a:moveTo>
                <a:lnTo>
                  <a:pt x="1639" y="9326"/>
                </a:lnTo>
                <a:cubicBezTo>
                  <a:pt x="1355" y="9326"/>
                  <a:pt x="1103" y="9389"/>
                  <a:pt x="820" y="9546"/>
                </a:cubicBezTo>
                <a:lnTo>
                  <a:pt x="820" y="2017"/>
                </a:lnTo>
                <a:cubicBezTo>
                  <a:pt x="820" y="1481"/>
                  <a:pt x="1166" y="1040"/>
                  <a:pt x="1639" y="851"/>
                </a:cubicBezTo>
                <a:close/>
                <a:moveTo>
                  <a:pt x="10145" y="10177"/>
                </a:moveTo>
                <a:lnTo>
                  <a:pt x="10145" y="11846"/>
                </a:lnTo>
                <a:lnTo>
                  <a:pt x="1639" y="11846"/>
                </a:lnTo>
                <a:cubicBezTo>
                  <a:pt x="1166" y="11846"/>
                  <a:pt x="820" y="11500"/>
                  <a:pt x="820" y="11027"/>
                </a:cubicBezTo>
                <a:cubicBezTo>
                  <a:pt x="820" y="10555"/>
                  <a:pt x="1166" y="10177"/>
                  <a:pt x="1639" y="10177"/>
                </a:cubicBezTo>
                <a:close/>
                <a:moveTo>
                  <a:pt x="1985" y="0"/>
                </a:moveTo>
                <a:cubicBezTo>
                  <a:pt x="851" y="32"/>
                  <a:pt x="0" y="946"/>
                  <a:pt x="0" y="2017"/>
                </a:cubicBezTo>
                <a:lnTo>
                  <a:pt x="0" y="11027"/>
                </a:lnTo>
                <a:cubicBezTo>
                  <a:pt x="0" y="11909"/>
                  <a:pt x="725" y="12665"/>
                  <a:pt x="1639" y="12665"/>
                </a:cubicBezTo>
                <a:lnTo>
                  <a:pt x="10618" y="12665"/>
                </a:lnTo>
                <a:cubicBezTo>
                  <a:pt x="10870" y="12665"/>
                  <a:pt x="11027" y="12476"/>
                  <a:pt x="11027" y="12224"/>
                </a:cubicBezTo>
                <a:lnTo>
                  <a:pt x="11027" y="379"/>
                </a:lnTo>
                <a:cubicBezTo>
                  <a:pt x="11027" y="189"/>
                  <a:pt x="10807" y="0"/>
                  <a:pt x="105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9" name="Google Shape;529;p54"/>
          <p:cNvGrpSpPr/>
          <p:nvPr/>
        </p:nvGrpSpPr>
        <p:grpSpPr>
          <a:xfrm>
            <a:off x="5053865" y="3642593"/>
            <a:ext cx="382096" cy="371911"/>
            <a:chOff x="-37190575" y="1951325"/>
            <a:chExt cx="324525" cy="315875"/>
          </a:xfrm>
        </p:grpSpPr>
        <p:sp>
          <p:nvSpPr>
            <p:cNvPr id="530" name="Google Shape;530;p54"/>
            <p:cNvSpPr/>
            <p:nvPr/>
          </p:nvSpPr>
          <p:spPr>
            <a:xfrm>
              <a:off x="-37190575" y="1951325"/>
              <a:ext cx="324525" cy="315875"/>
            </a:xfrm>
            <a:custGeom>
              <a:avLst/>
              <a:gdLst/>
              <a:ahLst/>
              <a:cxnLst/>
              <a:rect l="l" t="t" r="r" b="b"/>
              <a:pathLst>
                <a:path w="12981" h="12635" extrusionOk="0">
                  <a:moveTo>
                    <a:pt x="6693" y="790"/>
                  </a:moveTo>
                  <a:cubicBezTo>
                    <a:pt x="8301" y="790"/>
                    <a:pt x="9913" y="1489"/>
                    <a:pt x="11028" y="2868"/>
                  </a:cubicBezTo>
                  <a:cubicBezTo>
                    <a:pt x="11752" y="3813"/>
                    <a:pt x="12193" y="5010"/>
                    <a:pt x="12193" y="6270"/>
                  </a:cubicBezTo>
                  <a:cubicBezTo>
                    <a:pt x="12162" y="7058"/>
                    <a:pt x="11563" y="7593"/>
                    <a:pt x="10870" y="7593"/>
                  </a:cubicBezTo>
                  <a:lnTo>
                    <a:pt x="10019" y="7593"/>
                  </a:lnTo>
                  <a:cubicBezTo>
                    <a:pt x="8854" y="7593"/>
                    <a:pt x="7940" y="8539"/>
                    <a:pt x="7940" y="9704"/>
                  </a:cubicBezTo>
                  <a:lnTo>
                    <a:pt x="7940" y="10523"/>
                  </a:lnTo>
                  <a:cubicBezTo>
                    <a:pt x="7940" y="11216"/>
                    <a:pt x="7404" y="11784"/>
                    <a:pt x="6680" y="11815"/>
                  </a:cubicBezTo>
                  <a:cubicBezTo>
                    <a:pt x="6239" y="11815"/>
                    <a:pt x="5892" y="11784"/>
                    <a:pt x="5420" y="11658"/>
                  </a:cubicBezTo>
                  <a:cubicBezTo>
                    <a:pt x="3844" y="11311"/>
                    <a:pt x="2490" y="10208"/>
                    <a:pt x="1765" y="8791"/>
                  </a:cubicBezTo>
                  <a:cubicBezTo>
                    <a:pt x="536" y="6428"/>
                    <a:pt x="1261" y="3340"/>
                    <a:pt x="3624" y="1733"/>
                  </a:cubicBezTo>
                  <a:cubicBezTo>
                    <a:pt x="4545" y="1102"/>
                    <a:pt x="5618" y="790"/>
                    <a:pt x="6693" y="790"/>
                  </a:cubicBezTo>
                  <a:close/>
                  <a:moveTo>
                    <a:pt x="6648" y="1"/>
                  </a:moveTo>
                  <a:cubicBezTo>
                    <a:pt x="4474" y="1"/>
                    <a:pt x="2553" y="1103"/>
                    <a:pt x="1419" y="2805"/>
                  </a:cubicBezTo>
                  <a:cubicBezTo>
                    <a:pt x="95" y="4726"/>
                    <a:pt x="1" y="7215"/>
                    <a:pt x="1009" y="9169"/>
                  </a:cubicBezTo>
                  <a:cubicBezTo>
                    <a:pt x="2080" y="11216"/>
                    <a:pt x="4191" y="12634"/>
                    <a:pt x="6680" y="12634"/>
                  </a:cubicBezTo>
                  <a:cubicBezTo>
                    <a:pt x="7814" y="12634"/>
                    <a:pt x="8791" y="11689"/>
                    <a:pt x="8791" y="10523"/>
                  </a:cubicBezTo>
                  <a:lnTo>
                    <a:pt x="8791" y="9704"/>
                  </a:lnTo>
                  <a:cubicBezTo>
                    <a:pt x="8791" y="8980"/>
                    <a:pt x="9358" y="8444"/>
                    <a:pt x="10019" y="8444"/>
                  </a:cubicBezTo>
                  <a:lnTo>
                    <a:pt x="10870" y="8444"/>
                  </a:lnTo>
                  <a:cubicBezTo>
                    <a:pt x="12004" y="8444"/>
                    <a:pt x="12981" y="7499"/>
                    <a:pt x="12981" y="6333"/>
                  </a:cubicBezTo>
                  <a:cubicBezTo>
                    <a:pt x="12981" y="2962"/>
                    <a:pt x="10240" y="1"/>
                    <a:pt x="66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54"/>
            <p:cNvSpPr/>
            <p:nvPr/>
          </p:nvSpPr>
          <p:spPr>
            <a:xfrm>
              <a:off x="-37081875" y="2162600"/>
              <a:ext cx="72475" cy="63100"/>
            </a:xfrm>
            <a:custGeom>
              <a:avLst/>
              <a:gdLst/>
              <a:ahLst/>
              <a:cxnLst/>
              <a:rect l="l" t="t" r="r" b="b"/>
              <a:pathLst>
                <a:path w="2899" h="2524" extrusionOk="0">
                  <a:moveTo>
                    <a:pt x="1418" y="812"/>
                  </a:moveTo>
                  <a:cubicBezTo>
                    <a:pt x="1670" y="812"/>
                    <a:pt x="1859" y="1001"/>
                    <a:pt x="1859" y="1253"/>
                  </a:cubicBezTo>
                  <a:cubicBezTo>
                    <a:pt x="1859" y="1474"/>
                    <a:pt x="1670" y="1663"/>
                    <a:pt x="1418" y="1663"/>
                  </a:cubicBezTo>
                  <a:cubicBezTo>
                    <a:pt x="1198" y="1663"/>
                    <a:pt x="1009" y="1474"/>
                    <a:pt x="1009" y="1253"/>
                  </a:cubicBezTo>
                  <a:cubicBezTo>
                    <a:pt x="1009" y="1001"/>
                    <a:pt x="1198" y="812"/>
                    <a:pt x="1418" y="812"/>
                  </a:cubicBezTo>
                  <a:close/>
                  <a:moveTo>
                    <a:pt x="1405" y="0"/>
                  </a:moveTo>
                  <a:cubicBezTo>
                    <a:pt x="1250" y="0"/>
                    <a:pt x="1094" y="28"/>
                    <a:pt x="946" y="88"/>
                  </a:cubicBezTo>
                  <a:cubicBezTo>
                    <a:pt x="316" y="371"/>
                    <a:pt x="0" y="1127"/>
                    <a:pt x="284" y="1757"/>
                  </a:cubicBezTo>
                  <a:cubicBezTo>
                    <a:pt x="496" y="2229"/>
                    <a:pt x="973" y="2524"/>
                    <a:pt x="1463" y="2524"/>
                  </a:cubicBezTo>
                  <a:cubicBezTo>
                    <a:pt x="1628" y="2524"/>
                    <a:pt x="1795" y="2490"/>
                    <a:pt x="1954" y="2419"/>
                  </a:cubicBezTo>
                  <a:cubicBezTo>
                    <a:pt x="2584" y="2135"/>
                    <a:pt x="2899" y="1379"/>
                    <a:pt x="2615" y="749"/>
                  </a:cubicBezTo>
                  <a:cubicBezTo>
                    <a:pt x="2399" y="292"/>
                    <a:pt x="1907" y="0"/>
                    <a:pt x="140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54"/>
            <p:cNvSpPr/>
            <p:nvPr/>
          </p:nvSpPr>
          <p:spPr>
            <a:xfrm>
              <a:off x="-37144875" y="2099025"/>
              <a:ext cx="72475" cy="62875"/>
            </a:xfrm>
            <a:custGeom>
              <a:avLst/>
              <a:gdLst/>
              <a:ahLst/>
              <a:cxnLst/>
              <a:rect l="l" t="t" r="r" b="b"/>
              <a:pathLst>
                <a:path w="2899" h="2515" extrusionOk="0">
                  <a:moveTo>
                    <a:pt x="1418" y="835"/>
                  </a:moveTo>
                  <a:cubicBezTo>
                    <a:pt x="1670" y="835"/>
                    <a:pt x="1859" y="1024"/>
                    <a:pt x="1859" y="1276"/>
                  </a:cubicBezTo>
                  <a:cubicBezTo>
                    <a:pt x="1859" y="1496"/>
                    <a:pt x="1670" y="1685"/>
                    <a:pt x="1418" y="1685"/>
                  </a:cubicBezTo>
                  <a:cubicBezTo>
                    <a:pt x="1197" y="1685"/>
                    <a:pt x="1008" y="1496"/>
                    <a:pt x="1008" y="1276"/>
                  </a:cubicBezTo>
                  <a:cubicBezTo>
                    <a:pt x="1008" y="1024"/>
                    <a:pt x="1197" y="835"/>
                    <a:pt x="1418" y="835"/>
                  </a:cubicBezTo>
                  <a:close/>
                  <a:moveTo>
                    <a:pt x="1411" y="0"/>
                  </a:moveTo>
                  <a:cubicBezTo>
                    <a:pt x="1254" y="0"/>
                    <a:pt x="1096" y="26"/>
                    <a:pt x="945" y="79"/>
                  </a:cubicBezTo>
                  <a:cubicBezTo>
                    <a:pt x="315" y="362"/>
                    <a:pt x="0" y="1118"/>
                    <a:pt x="284" y="1748"/>
                  </a:cubicBezTo>
                  <a:cubicBezTo>
                    <a:pt x="496" y="2220"/>
                    <a:pt x="972" y="2515"/>
                    <a:pt x="1463" y="2515"/>
                  </a:cubicBezTo>
                  <a:cubicBezTo>
                    <a:pt x="1628" y="2515"/>
                    <a:pt x="1795" y="2481"/>
                    <a:pt x="1953" y="2410"/>
                  </a:cubicBezTo>
                  <a:cubicBezTo>
                    <a:pt x="2583" y="2126"/>
                    <a:pt x="2899" y="1370"/>
                    <a:pt x="2615" y="740"/>
                  </a:cubicBezTo>
                  <a:cubicBezTo>
                    <a:pt x="2399" y="261"/>
                    <a:pt x="1910" y="0"/>
                    <a:pt x="141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54"/>
            <p:cNvSpPr/>
            <p:nvPr/>
          </p:nvSpPr>
          <p:spPr>
            <a:xfrm>
              <a:off x="-37123625" y="2014875"/>
              <a:ext cx="71700" cy="62775"/>
            </a:xfrm>
            <a:custGeom>
              <a:avLst/>
              <a:gdLst/>
              <a:ahLst/>
              <a:cxnLst/>
              <a:rect l="l" t="t" r="r" b="b"/>
              <a:pathLst>
                <a:path w="2868" h="2511" extrusionOk="0">
                  <a:moveTo>
                    <a:pt x="1418" y="798"/>
                  </a:moveTo>
                  <a:cubicBezTo>
                    <a:pt x="1639" y="798"/>
                    <a:pt x="1828" y="1019"/>
                    <a:pt x="1828" y="1239"/>
                  </a:cubicBezTo>
                  <a:cubicBezTo>
                    <a:pt x="1828" y="1460"/>
                    <a:pt x="1639" y="1680"/>
                    <a:pt x="1418" y="1680"/>
                  </a:cubicBezTo>
                  <a:cubicBezTo>
                    <a:pt x="1166" y="1680"/>
                    <a:pt x="977" y="1460"/>
                    <a:pt x="977" y="1239"/>
                  </a:cubicBezTo>
                  <a:cubicBezTo>
                    <a:pt x="1009" y="1019"/>
                    <a:pt x="1166" y="798"/>
                    <a:pt x="1418" y="798"/>
                  </a:cubicBezTo>
                  <a:close/>
                  <a:moveTo>
                    <a:pt x="1431" y="0"/>
                  </a:moveTo>
                  <a:cubicBezTo>
                    <a:pt x="1269" y="0"/>
                    <a:pt x="1105" y="34"/>
                    <a:pt x="946" y="105"/>
                  </a:cubicBezTo>
                  <a:cubicBezTo>
                    <a:pt x="316" y="389"/>
                    <a:pt x="1" y="1113"/>
                    <a:pt x="253" y="1743"/>
                  </a:cubicBezTo>
                  <a:cubicBezTo>
                    <a:pt x="472" y="2231"/>
                    <a:pt x="974" y="2511"/>
                    <a:pt x="1481" y="2511"/>
                  </a:cubicBezTo>
                  <a:cubicBezTo>
                    <a:pt x="1630" y="2511"/>
                    <a:pt x="1780" y="2487"/>
                    <a:pt x="1923" y="2436"/>
                  </a:cubicBezTo>
                  <a:cubicBezTo>
                    <a:pt x="2553" y="2153"/>
                    <a:pt x="2868" y="1397"/>
                    <a:pt x="2584" y="767"/>
                  </a:cubicBezTo>
                  <a:cubicBezTo>
                    <a:pt x="2372" y="295"/>
                    <a:pt x="1913" y="0"/>
                    <a:pt x="143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534;p54"/>
            <p:cNvSpPr/>
            <p:nvPr/>
          </p:nvSpPr>
          <p:spPr>
            <a:xfrm>
              <a:off x="-37039350" y="1993250"/>
              <a:ext cx="71700" cy="63125"/>
            </a:xfrm>
            <a:custGeom>
              <a:avLst/>
              <a:gdLst/>
              <a:ahLst/>
              <a:cxnLst/>
              <a:rect l="l" t="t" r="r" b="b"/>
              <a:pathLst>
                <a:path w="2868" h="2525" extrusionOk="0">
                  <a:moveTo>
                    <a:pt x="1418" y="844"/>
                  </a:moveTo>
                  <a:cubicBezTo>
                    <a:pt x="1671" y="844"/>
                    <a:pt x="1860" y="1033"/>
                    <a:pt x="1860" y="1285"/>
                  </a:cubicBezTo>
                  <a:cubicBezTo>
                    <a:pt x="1860" y="1506"/>
                    <a:pt x="1671" y="1726"/>
                    <a:pt x="1418" y="1726"/>
                  </a:cubicBezTo>
                  <a:cubicBezTo>
                    <a:pt x="1198" y="1726"/>
                    <a:pt x="977" y="1506"/>
                    <a:pt x="977" y="1285"/>
                  </a:cubicBezTo>
                  <a:cubicBezTo>
                    <a:pt x="977" y="1033"/>
                    <a:pt x="1198" y="844"/>
                    <a:pt x="1418" y="844"/>
                  </a:cubicBezTo>
                  <a:close/>
                  <a:moveTo>
                    <a:pt x="1402" y="1"/>
                  </a:moveTo>
                  <a:cubicBezTo>
                    <a:pt x="1248" y="1"/>
                    <a:pt x="1094" y="29"/>
                    <a:pt x="946" y="88"/>
                  </a:cubicBezTo>
                  <a:cubicBezTo>
                    <a:pt x="316" y="372"/>
                    <a:pt x="1" y="1128"/>
                    <a:pt x="284" y="1758"/>
                  </a:cubicBezTo>
                  <a:cubicBezTo>
                    <a:pt x="496" y="2229"/>
                    <a:pt x="955" y="2524"/>
                    <a:pt x="1437" y="2524"/>
                  </a:cubicBezTo>
                  <a:cubicBezTo>
                    <a:pt x="1599" y="2524"/>
                    <a:pt x="1764" y="2491"/>
                    <a:pt x="1923" y="2419"/>
                  </a:cubicBezTo>
                  <a:cubicBezTo>
                    <a:pt x="2553" y="2136"/>
                    <a:pt x="2868" y="1411"/>
                    <a:pt x="2616" y="781"/>
                  </a:cubicBezTo>
                  <a:cubicBezTo>
                    <a:pt x="2399" y="299"/>
                    <a:pt x="1905" y="1"/>
                    <a:pt x="140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 name="Google Shape;535;p54"/>
          <p:cNvGrpSpPr/>
          <p:nvPr/>
        </p:nvGrpSpPr>
        <p:grpSpPr>
          <a:xfrm>
            <a:off x="5771722" y="3641114"/>
            <a:ext cx="437400" cy="374884"/>
            <a:chOff x="4452900" y="861750"/>
            <a:chExt cx="489700" cy="424750"/>
          </a:xfrm>
        </p:grpSpPr>
        <p:sp>
          <p:nvSpPr>
            <p:cNvPr id="536" name="Google Shape;536;p54"/>
            <p:cNvSpPr/>
            <p:nvPr/>
          </p:nvSpPr>
          <p:spPr>
            <a:xfrm>
              <a:off x="4452900" y="861750"/>
              <a:ext cx="489700" cy="424750"/>
            </a:xfrm>
            <a:custGeom>
              <a:avLst/>
              <a:gdLst/>
              <a:ahLst/>
              <a:cxnLst/>
              <a:rect l="l" t="t" r="r" b="b"/>
              <a:pathLst>
                <a:path w="19588" h="16990" extrusionOk="0">
                  <a:moveTo>
                    <a:pt x="3660" y="1137"/>
                  </a:moveTo>
                  <a:cubicBezTo>
                    <a:pt x="4575" y="1137"/>
                    <a:pt x="5402" y="1687"/>
                    <a:pt x="5752" y="2532"/>
                  </a:cubicBezTo>
                  <a:cubicBezTo>
                    <a:pt x="6102" y="3380"/>
                    <a:pt x="5909" y="4353"/>
                    <a:pt x="5260" y="5002"/>
                  </a:cubicBezTo>
                  <a:cubicBezTo>
                    <a:pt x="4828" y="5434"/>
                    <a:pt x="4249" y="5664"/>
                    <a:pt x="3660" y="5664"/>
                  </a:cubicBezTo>
                  <a:cubicBezTo>
                    <a:pt x="3368" y="5664"/>
                    <a:pt x="3073" y="5607"/>
                    <a:pt x="2793" y="5491"/>
                  </a:cubicBezTo>
                  <a:cubicBezTo>
                    <a:pt x="1948" y="5141"/>
                    <a:pt x="1395" y="4317"/>
                    <a:pt x="1395" y="3402"/>
                  </a:cubicBezTo>
                  <a:cubicBezTo>
                    <a:pt x="1395" y="2149"/>
                    <a:pt x="2410" y="1137"/>
                    <a:pt x="3660" y="1137"/>
                  </a:cubicBezTo>
                  <a:close/>
                  <a:moveTo>
                    <a:pt x="10453" y="1137"/>
                  </a:moveTo>
                  <a:cubicBezTo>
                    <a:pt x="11043" y="1137"/>
                    <a:pt x="11622" y="1366"/>
                    <a:pt x="12054" y="1798"/>
                  </a:cubicBezTo>
                  <a:cubicBezTo>
                    <a:pt x="12703" y="2447"/>
                    <a:pt x="12896" y="3420"/>
                    <a:pt x="12546" y="4268"/>
                  </a:cubicBezTo>
                  <a:cubicBezTo>
                    <a:pt x="12196" y="5114"/>
                    <a:pt x="11368" y="5666"/>
                    <a:pt x="10453" y="5666"/>
                  </a:cubicBezTo>
                  <a:cubicBezTo>
                    <a:pt x="9203" y="5663"/>
                    <a:pt x="8189" y="4652"/>
                    <a:pt x="8189" y="3402"/>
                  </a:cubicBezTo>
                  <a:cubicBezTo>
                    <a:pt x="8189" y="2484"/>
                    <a:pt x="8741" y="1659"/>
                    <a:pt x="9587" y="1309"/>
                  </a:cubicBezTo>
                  <a:cubicBezTo>
                    <a:pt x="9867" y="1193"/>
                    <a:pt x="10161" y="1137"/>
                    <a:pt x="10453" y="1137"/>
                  </a:cubicBezTo>
                  <a:close/>
                  <a:moveTo>
                    <a:pt x="14983" y="9063"/>
                  </a:moveTo>
                  <a:lnTo>
                    <a:pt x="14983" y="13592"/>
                  </a:lnTo>
                  <a:lnTo>
                    <a:pt x="13850" y="13592"/>
                  </a:lnTo>
                  <a:lnTo>
                    <a:pt x="13850" y="9063"/>
                  </a:lnTo>
                  <a:close/>
                  <a:moveTo>
                    <a:pt x="18455" y="7276"/>
                  </a:moveTo>
                  <a:lnTo>
                    <a:pt x="18455" y="15377"/>
                  </a:lnTo>
                  <a:lnTo>
                    <a:pt x="16115" y="13849"/>
                  </a:lnTo>
                  <a:lnTo>
                    <a:pt x="16115" y="8803"/>
                  </a:lnTo>
                  <a:lnTo>
                    <a:pt x="18455" y="7276"/>
                  </a:lnTo>
                  <a:close/>
                  <a:moveTo>
                    <a:pt x="12153" y="6799"/>
                  </a:moveTo>
                  <a:cubicBezTo>
                    <a:pt x="12464" y="6799"/>
                    <a:pt x="12718" y="7049"/>
                    <a:pt x="12718" y="7363"/>
                  </a:cubicBezTo>
                  <a:lnTo>
                    <a:pt x="12718" y="15289"/>
                  </a:lnTo>
                  <a:cubicBezTo>
                    <a:pt x="12718" y="15603"/>
                    <a:pt x="12464" y="15857"/>
                    <a:pt x="12153" y="15857"/>
                  </a:cubicBezTo>
                  <a:lnTo>
                    <a:pt x="1963" y="15857"/>
                  </a:lnTo>
                  <a:cubicBezTo>
                    <a:pt x="1649" y="15857"/>
                    <a:pt x="1395" y="15603"/>
                    <a:pt x="1395" y="15289"/>
                  </a:cubicBezTo>
                  <a:lnTo>
                    <a:pt x="1395" y="7363"/>
                  </a:lnTo>
                  <a:cubicBezTo>
                    <a:pt x="1395" y="7049"/>
                    <a:pt x="1649" y="6799"/>
                    <a:pt x="1963" y="6799"/>
                  </a:cubicBezTo>
                  <a:close/>
                  <a:moveTo>
                    <a:pt x="3656" y="0"/>
                  </a:moveTo>
                  <a:cubicBezTo>
                    <a:pt x="3623" y="0"/>
                    <a:pt x="3590" y="1"/>
                    <a:pt x="3557" y="2"/>
                  </a:cubicBezTo>
                  <a:cubicBezTo>
                    <a:pt x="2198" y="44"/>
                    <a:pt x="997" y="889"/>
                    <a:pt x="498" y="2155"/>
                  </a:cubicBezTo>
                  <a:cubicBezTo>
                    <a:pt x="0" y="3417"/>
                    <a:pt x="305" y="4857"/>
                    <a:pt x="1271" y="5811"/>
                  </a:cubicBezTo>
                  <a:cubicBezTo>
                    <a:pt x="658" y="6086"/>
                    <a:pt x="263" y="6693"/>
                    <a:pt x="263" y="7363"/>
                  </a:cubicBezTo>
                  <a:lnTo>
                    <a:pt x="263" y="15289"/>
                  </a:lnTo>
                  <a:cubicBezTo>
                    <a:pt x="263" y="16228"/>
                    <a:pt x="1024" y="16986"/>
                    <a:pt x="1963" y="16989"/>
                  </a:cubicBezTo>
                  <a:lnTo>
                    <a:pt x="12153" y="16989"/>
                  </a:lnTo>
                  <a:cubicBezTo>
                    <a:pt x="13089" y="16986"/>
                    <a:pt x="13850" y="16228"/>
                    <a:pt x="13850" y="15289"/>
                  </a:cubicBezTo>
                  <a:lnTo>
                    <a:pt x="13850" y="14725"/>
                  </a:lnTo>
                  <a:lnTo>
                    <a:pt x="15381" y="14725"/>
                  </a:lnTo>
                  <a:lnTo>
                    <a:pt x="18712" y="16896"/>
                  </a:lnTo>
                  <a:cubicBezTo>
                    <a:pt x="18810" y="16959"/>
                    <a:pt x="18916" y="16988"/>
                    <a:pt x="19020" y="16988"/>
                  </a:cubicBezTo>
                  <a:cubicBezTo>
                    <a:pt x="19315" y="16988"/>
                    <a:pt x="19587" y="16754"/>
                    <a:pt x="19587" y="16422"/>
                  </a:cubicBezTo>
                  <a:lnTo>
                    <a:pt x="19587" y="6231"/>
                  </a:lnTo>
                  <a:cubicBezTo>
                    <a:pt x="19587" y="6023"/>
                    <a:pt x="19473" y="5832"/>
                    <a:pt x="19291" y="5733"/>
                  </a:cubicBezTo>
                  <a:cubicBezTo>
                    <a:pt x="19206" y="5687"/>
                    <a:pt x="19114" y="5664"/>
                    <a:pt x="19021" y="5664"/>
                  </a:cubicBezTo>
                  <a:cubicBezTo>
                    <a:pt x="18913" y="5664"/>
                    <a:pt x="18806" y="5695"/>
                    <a:pt x="18712" y="5757"/>
                  </a:cubicBezTo>
                  <a:lnTo>
                    <a:pt x="15381" y="7931"/>
                  </a:lnTo>
                  <a:lnTo>
                    <a:pt x="13850" y="7931"/>
                  </a:lnTo>
                  <a:lnTo>
                    <a:pt x="13850" y="7363"/>
                  </a:lnTo>
                  <a:cubicBezTo>
                    <a:pt x="13850" y="6693"/>
                    <a:pt x="13455" y="6086"/>
                    <a:pt x="12842" y="5811"/>
                  </a:cubicBezTo>
                  <a:cubicBezTo>
                    <a:pt x="13808" y="4857"/>
                    <a:pt x="14113" y="3417"/>
                    <a:pt x="13615" y="2155"/>
                  </a:cubicBezTo>
                  <a:cubicBezTo>
                    <a:pt x="13117" y="889"/>
                    <a:pt x="11915" y="44"/>
                    <a:pt x="10556" y="2"/>
                  </a:cubicBezTo>
                  <a:cubicBezTo>
                    <a:pt x="10523" y="1"/>
                    <a:pt x="10490" y="0"/>
                    <a:pt x="10457" y="0"/>
                  </a:cubicBezTo>
                  <a:cubicBezTo>
                    <a:pt x="9137" y="0"/>
                    <a:pt x="7933" y="763"/>
                    <a:pt x="7374" y="1967"/>
                  </a:cubicBezTo>
                  <a:cubicBezTo>
                    <a:pt x="6800" y="3199"/>
                    <a:pt x="7017" y="4652"/>
                    <a:pt x="7926" y="5666"/>
                  </a:cubicBezTo>
                  <a:lnTo>
                    <a:pt x="6190" y="5666"/>
                  </a:lnTo>
                  <a:cubicBezTo>
                    <a:pt x="7096" y="4652"/>
                    <a:pt x="7313" y="3199"/>
                    <a:pt x="6740" y="1967"/>
                  </a:cubicBezTo>
                  <a:cubicBezTo>
                    <a:pt x="6180" y="763"/>
                    <a:pt x="4976" y="0"/>
                    <a:pt x="36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37" name="Google Shape;537;p54"/>
            <p:cNvSpPr/>
            <p:nvPr/>
          </p:nvSpPr>
          <p:spPr>
            <a:xfrm>
              <a:off x="4572675" y="1074100"/>
              <a:ext cx="115375" cy="141625"/>
            </a:xfrm>
            <a:custGeom>
              <a:avLst/>
              <a:gdLst/>
              <a:ahLst/>
              <a:cxnLst/>
              <a:rect l="l" t="t" r="r" b="b"/>
              <a:pathLst>
                <a:path w="4615" h="5665" extrusionOk="0">
                  <a:moveTo>
                    <a:pt x="1133" y="1626"/>
                  </a:moveTo>
                  <a:lnTo>
                    <a:pt x="2945" y="2834"/>
                  </a:lnTo>
                  <a:lnTo>
                    <a:pt x="1133" y="4041"/>
                  </a:lnTo>
                  <a:lnTo>
                    <a:pt x="1133" y="1626"/>
                  </a:lnTo>
                  <a:close/>
                  <a:moveTo>
                    <a:pt x="569" y="1"/>
                  </a:moveTo>
                  <a:cubicBezTo>
                    <a:pt x="274" y="1"/>
                    <a:pt x="1" y="236"/>
                    <a:pt x="1" y="569"/>
                  </a:cubicBezTo>
                  <a:lnTo>
                    <a:pt x="1" y="5098"/>
                  </a:lnTo>
                  <a:cubicBezTo>
                    <a:pt x="1" y="5430"/>
                    <a:pt x="275" y="5665"/>
                    <a:pt x="571" y="5665"/>
                  </a:cubicBezTo>
                  <a:cubicBezTo>
                    <a:pt x="676" y="5665"/>
                    <a:pt x="784" y="5635"/>
                    <a:pt x="883" y="5569"/>
                  </a:cubicBezTo>
                  <a:lnTo>
                    <a:pt x="4280" y="3305"/>
                  </a:lnTo>
                  <a:cubicBezTo>
                    <a:pt x="4615" y="3078"/>
                    <a:pt x="4615" y="2583"/>
                    <a:pt x="4280" y="2360"/>
                  </a:cubicBezTo>
                  <a:lnTo>
                    <a:pt x="4280" y="2363"/>
                  </a:lnTo>
                  <a:lnTo>
                    <a:pt x="883" y="98"/>
                  </a:lnTo>
                  <a:cubicBezTo>
                    <a:pt x="783" y="31"/>
                    <a:pt x="674" y="1"/>
                    <a:pt x="56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38" name="Google Shape;538;p54"/>
            <p:cNvSpPr/>
            <p:nvPr/>
          </p:nvSpPr>
          <p:spPr>
            <a:xfrm>
              <a:off x="4714225" y="1060000"/>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3" y="879"/>
                    <a:pt x="1133" y="565"/>
                  </a:cubicBezTo>
                  <a:cubicBezTo>
                    <a:pt x="1133" y="251"/>
                    <a:pt x="879" y="1"/>
                    <a:pt x="56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42"/>
        <p:cNvGrpSpPr/>
        <p:nvPr/>
      </p:nvGrpSpPr>
      <p:grpSpPr>
        <a:xfrm>
          <a:off x="0" y="0"/>
          <a:ext cx="0" cy="0"/>
          <a:chOff x="0" y="0"/>
          <a:chExt cx="0" cy="0"/>
        </a:xfrm>
      </p:grpSpPr>
      <p:sp>
        <p:nvSpPr>
          <p:cNvPr id="543" name="Google Shape;543;p55"/>
          <p:cNvSpPr txBox="1">
            <a:spLocks noGrp="1"/>
          </p:cNvSpPr>
          <p:nvPr>
            <p:ph type="title"/>
          </p:nvPr>
        </p:nvSpPr>
        <p:spPr>
          <a:xfrm>
            <a:off x="750975" y="2819150"/>
            <a:ext cx="2164200" cy="647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55%</a:t>
            </a:r>
            <a:endParaRPr/>
          </a:p>
        </p:txBody>
      </p:sp>
      <p:sp>
        <p:nvSpPr>
          <p:cNvPr id="544" name="Google Shape;544;p55"/>
          <p:cNvSpPr txBox="1">
            <a:spLocks noGrp="1"/>
          </p:cNvSpPr>
          <p:nvPr>
            <p:ph type="subTitle" idx="1"/>
          </p:nvPr>
        </p:nvSpPr>
        <p:spPr>
          <a:xfrm>
            <a:off x="750975" y="3390050"/>
            <a:ext cx="2164200" cy="6471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Jupiter is the biggest planet of them all</a:t>
            </a:r>
            <a:endParaRPr/>
          </a:p>
        </p:txBody>
      </p:sp>
      <p:sp>
        <p:nvSpPr>
          <p:cNvPr id="545" name="Google Shape;545;p55"/>
          <p:cNvSpPr txBox="1">
            <a:spLocks noGrp="1"/>
          </p:cNvSpPr>
          <p:nvPr>
            <p:ph type="title" idx="2"/>
          </p:nvPr>
        </p:nvSpPr>
        <p:spPr>
          <a:xfrm>
            <a:off x="3508587" y="2819150"/>
            <a:ext cx="2164200" cy="647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80%</a:t>
            </a:r>
            <a:endParaRPr/>
          </a:p>
        </p:txBody>
      </p:sp>
      <p:sp>
        <p:nvSpPr>
          <p:cNvPr id="546" name="Google Shape;546;p55"/>
          <p:cNvSpPr txBox="1">
            <a:spLocks noGrp="1"/>
          </p:cNvSpPr>
          <p:nvPr>
            <p:ph type="subTitle" idx="3"/>
          </p:nvPr>
        </p:nvSpPr>
        <p:spPr>
          <a:xfrm>
            <a:off x="3508587" y="3390050"/>
            <a:ext cx="2164200" cy="6471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Despite being red, Mars is a cold place</a:t>
            </a:r>
            <a:endParaRPr/>
          </a:p>
        </p:txBody>
      </p:sp>
      <p:sp>
        <p:nvSpPr>
          <p:cNvPr id="547" name="Google Shape;547;p55"/>
          <p:cNvSpPr txBox="1">
            <a:spLocks noGrp="1"/>
          </p:cNvSpPr>
          <p:nvPr>
            <p:ph type="title" idx="4"/>
          </p:nvPr>
        </p:nvSpPr>
        <p:spPr>
          <a:xfrm>
            <a:off x="717800" y="383175"/>
            <a:ext cx="7708200" cy="647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Percentages</a:t>
            </a:r>
            <a:endParaRPr/>
          </a:p>
        </p:txBody>
      </p:sp>
      <p:sp>
        <p:nvSpPr>
          <p:cNvPr id="548" name="Google Shape;548;p55"/>
          <p:cNvSpPr txBox="1">
            <a:spLocks noGrp="1"/>
          </p:cNvSpPr>
          <p:nvPr>
            <p:ph type="title" idx="5"/>
          </p:nvPr>
        </p:nvSpPr>
        <p:spPr>
          <a:xfrm>
            <a:off x="6216100" y="2819150"/>
            <a:ext cx="2164200" cy="647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60%</a:t>
            </a:r>
            <a:endParaRPr/>
          </a:p>
        </p:txBody>
      </p:sp>
      <p:sp>
        <p:nvSpPr>
          <p:cNvPr id="549" name="Google Shape;549;p55"/>
          <p:cNvSpPr txBox="1">
            <a:spLocks noGrp="1"/>
          </p:cNvSpPr>
          <p:nvPr>
            <p:ph type="subTitle" idx="6"/>
          </p:nvPr>
        </p:nvSpPr>
        <p:spPr>
          <a:xfrm>
            <a:off x="6216100" y="3390050"/>
            <a:ext cx="2164200" cy="6471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Clr>
                <a:schemeClr val="dk1"/>
              </a:buClr>
              <a:buSzPts val="1100"/>
              <a:buFont typeface="Arial"/>
              <a:buNone/>
            </a:pPr>
            <a:r>
              <a:rPr lang="en"/>
              <a:t>It’s composed of hydrogen and helium</a:t>
            </a:r>
            <a:endParaRPr/>
          </a:p>
        </p:txBody>
      </p:sp>
      <p:sp>
        <p:nvSpPr>
          <p:cNvPr id="550" name="Google Shape;550;p55"/>
          <p:cNvSpPr/>
          <p:nvPr/>
        </p:nvSpPr>
        <p:spPr>
          <a:xfrm>
            <a:off x="1229175" y="1596363"/>
            <a:ext cx="1090200" cy="1090200"/>
          </a:xfrm>
          <a:prstGeom prst="donut">
            <a:avLst>
              <a:gd name="adj" fmla="val 18315"/>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55"/>
          <p:cNvSpPr/>
          <p:nvPr/>
        </p:nvSpPr>
        <p:spPr>
          <a:xfrm>
            <a:off x="1229175" y="1596363"/>
            <a:ext cx="1090200" cy="1090200"/>
          </a:xfrm>
          <a:prstGeom prst="blockArc">
            <a:avLst>
              <a:gd name="adj1" fmla="val 3925824"/>
              <a:gd name="adj2" fmla="val 12879143"/>
              <a:gd name="adj3" fmla="val 18814"/>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1C448"/>
              </a:solidFill>
            </a:endParaRPr>
          </a:p>
        </p:txBody>
      </p:sp>
      <p:sp>
        <p:nvSpPr>
          <p:cNvPr id="552" name="Google Shape;552;p55"/>
          <p:cNvSpPr/>
          <p:nvPr/>
        </p:nvSpPr>
        <p:spPr>
          <a:xfrm>
            <a:off x="4026900" y="1596363"/>
            <a:ext cx="1090200" cy="1090200"/>
          </a:xfrm>
          <a:prstGeom prst="donut">
            <a:avLst>
              <a:gd name="adj" fmla="val 18315"/>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55"/>
          <p:cNvSpPr/>
          <p:nvPr/>
        </p:nvSpPr>
        <p:spPr>
          <a:xfrm>
            <a:off x="4026900" y="1596363"/>
            <a:ext cx="1090200" cy="1090200"/>
          </a:xfrm>
          <a:prstGeom prst="blockArc">
            <a:avLst>
              <a:gd name="adj1" fmla="val 3925824"/>
              <a:gd name="adj2" fmla="val 19394222"/>
              <a:gd name="adj3" fmla="val 1879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1C448"/>
              </a:solidFill>
            </a:endParaRPr>
          </a:p>
        </p:txBody>
      </p:sp>
      <p:sp>
        <p:nvSpPr>
          <p:cNvPr id="554" name="Google Shape;554;p55"/>
          <p:cNvSpPr/>
          <p:nvPr/>
        </p:nvSpPr>
        <p:spPr>
          <a:xfrm>
            <a:off x="6753100" y="1596363"/>
            <a:ext cx="1090200" cy="1090200"/>
          </a:xfrm>
          <a:prstGeom prst="donut">
            <a:avLst>
              <a:gd name="adj" fmla="val 18315"/>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55"/>
          <p:cNvSpPr/>
          <p:nvPr/>
        </p:nvSpPr>
        <p:spPr>
          <a:xfrm>
            <a:off x="6753100" y="1596363"/>
            <a:ext cx="1090200" cy="1090200"/>
          </a:xfrm>
          <a:prstGeom prst="blockArc">
            <a:avLst>
              <a:gd name="adj1" fmla="val 3925824"/>
              <a:gd name="adj2" fmla="val 17117837"/>
              <a:gd name="adj3" fmla="val 17892"/>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1C448"/>
              </a:solidFill>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559"/>
        <p:cNvGrpSpPr/>
        <p:nvPr/>
      </p:nvGrpSpPr>
      <p:grpSpPr>
        <a:xfrm>
          <a:off x="0" y="0"/>
          <a:ext cx="0" cy="0"/>
          <a:chOff x="0" y="0"/>
          <a:chExt cx="0" cy="0"/>
        </a:xfrm>
      </p:grpSpPr>
      <p:sp>
        <p:nvSpPr>
          <p:cNvPr id="560" name="Google Shape;560;p56"/>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Our Consultants</a:t>
            </a:r>
            <a:endParaRPr/>
          </a:p>
        </p:txBody>
      </p:sp>
      <p:sp>
        <p:nvSpPr>
          <p:cNvPr id="561" name="Google Shape;561;p56"/>
          <p:cNvSpPr txBox="1">
            <a:spLocks noGrp="1"/>
          </p:cNvSpPr>
          <p:nvPr>
            <p:ph type="subTitle" idx="1"/>
          </p:nvPr>
        </p:nvSpPr>
        <p:spPr>
          <a:xfrm>
            <a:off x="1454225" y="3391300"/>
            <a:ext cx="22617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John Doe</a:t>
            </a:r>
            <a:endParaRPr/>
          </a:p>
        </p:txBody>
      </p:sp>
      <p:sp>
        <p:nvSpPr>
          <p:cNvPr id="562" name="Google Shape;562;p56"/>
          <p:cNvSpPr txBox="1">
            <a:spLocks noGrp="1"/>
          </p:cNvSpPr>
          <p:nvPr>
            <p:ph type="subTitle" idx="2"/>
          </p:nvPr>
        </p:nvSpPr>
        <p:spPr>
          <a:xfrm>
            <a:off x="1454225" y="3766750"/>
            <a:ext cx="2261700" cy="7239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t>You can replace the image on the screen with your own</a:t>
            </a:r>
            <a:endParaRPr/>
          </a:p>
        </p:txBody>
      </p:sp>
      <p:sp>
        <p:nvSpPr>
          <p:cNvPr id="563" name="Google Shape;563;p56"/>
          <p:cNvSpPr txBox="1">
            <a:spLocks noGrp="1"/>
          </p:cNvSpPr>
          <p:nvPr>
            <p:ph type="subTitle" idx="3"/>
          </p:nvPr>
        </p:nvSpPr>
        <p:spPr>
          <a:xfrm>
            <a:off x="5427875" y="3391300"/>
            <a:ext cx="2261700" cy="4086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Helena James</a:t>
            </a:r>
            <a:endParaRPr/>
          </a:p>
        </p:txBody>
      </p:sp>
      <p:sp>
        <p:nvSpPr>
          <p:cNvPr id="564" name="Google Shape;564;p56"/>
          <p:cNvSpPr txBox="1">
            <a:spLocks noGrp="1"/>
          </p:cNvSpPr>
          <p:nvPr>
            <p:ph type="subTitle" idx="4"/>
          </p:nvPr>
        </p:nvSpPr>
        <p:spPr>
          <a:xfrm>
            <a:off x="5427875" y="3766750"/>
            <a:ext cx="2261700" cy="7239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t>You can replace the image on the screen with your own</a:t>
            </a:r>
            <a:endParaRPr/>
          </a:p>
        </p:txBody>
      </p:sp>
      <p:pic>
        <p:nvPicPr>
          <p:cNvPr id="565" name="Google Shape;565;p56"/>
          <p:cNvPicPr preferRelativeResize="0"/>
          <p:nvPr/>
        </p:nvPicPr>
        <p:blipFill rotWithShape="1">
          <a:blip r:embed="rId3">
            <a:alphaModFix/>
          </a:blip>
          <a:srcRect r="43081"/>
          <a:stretch/>
        </p:blipFill>
        <p:spPr>
          <a:xfrm>
            <a:off x="5635025" y="1392475"/>
            <a:ext cx="1847400" cy="1825800"/>
          </a:xfrm>
          <a:prstGeom prst="ellipse">
            <a:avLst/>
          </a:prstGeom>
          <a:noFill/>
          <a:ln>
            <a:noFill/>
          </a:ln>
        </p:spPr>
      </p:pic>
      <p:pic>
        <p:nvPicPr>
          <p:cNvPr id="566" name="Google Shape;566;p56"/>
          <p:cNvPicPr preferRelativeResize="0"/>
          <p:nvPr/>
        </p:nvPicPr>
        <p:blipFill rotWithShape="1">
          <a:blip r:embed="rId4">
            <a:alphaModFix/>
          </a:blip>
          <a:srcRect l="28174" r="3007"/>
          <a:stretch/>
        </p:blipFill>
        <p:spPr>
          <a:xfrm>
            <a:off x="1595225" y="1392475"/>
            <a:ext cx="1884600" cy="1825800"/>
          </a:xfrm>
          <a:prstGeom prst="ellipse">
            <a:avLst/>
          </a:prstGeom>
          <a:noFill/>
          <a:ln>
            <a:noFill/>
          </a:ln>
        </p:spPr>
      </p:pic>
      <p:sp>
        <p:nvSpPr>
          <p:cNvPr id="567" name="Google Shape;567;p56"/>
          <p:cNvSpPr/>
          <p:nvPr/>
        </p:nvSpPr>
        <p:spPr>
          <a:xfrm rot="5400000">
            <a:off x="-2131350" y="2050000"/>
            <a:ext cx="4572000" cy="3093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D5BA2-E236-9D94-4CB2-05D25489DD3E}"/>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BF205946-9C87-0E86-29CE-6D6BDC387E29}"/>
              </a:ext>
            </a:extLst>
          </p:cNvPr>
          <p:cNvPicPr>
            <a:picLocks noChangeAspect="1"/>
          </p:cNvPicPr>
          <p:nvPr/>
        </p:nvPicPr>
        <p:blipFill>
          <a:blip r:embed="rId3"/>
          <a:srcRect/>
          <a:stretch/>
        </p:blipFill>
        <p:spPr>
          <a:xfrm>
            <a:off x="1794344" y="143142"/>
            <a:ext cx="5015707" cy="4044810"/>
          </a:xfrm>
          <a:prstGeom prst="rect">
            <a:avLst/>
          </a:prstGeom>
        </p:spPr>
      </p:pic>
      <p:sp>
        <p:nvSpPr>
          <p:cNvPr id="4" name="Google Shape;632;p61">
            <a:extLst>
              <a:ext uri="{FF2B5EF4-FFF2-40B4-BE49-F238E27FC236}">
                <a16:creationId xmlns:a16="http://schemas.microsoft.com/office/drawing/2014/main" id="{911B5ECB-6FAD-1111-AAF1-53A783C3BD9D}"/>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Gallery von </a:t>
            </a:r>
            <a:r>
              <a:rPr lang="de-DE" sz="1000" err="1"/>
              <a:t>Streamlit</a:t>
            </a:r>
            <a:r>
              <a:rPr lang="de-DE" sz="1000"/>
              <a:t> bietet bereits zahlreiche Design-Möglichkeiten für Chatbot Anwendungen</a:t>
            </a:r>
            <a:br>
              <a:rPr lang="de-DE" sz="1000"/>
            </a:br>
            <a:r>
              <a:rPr lang="de-DE" sz="1000"/>
              <a:t>-&gt; Code ist einfach in GitHub ablegbar</a:t>
            </a:r>
          </a:p>
        </p:txBody>
      </p:sp>
    </p:spTree>
    <p:extLst>
      <p:ext uri="{BB962C8B-B14F-4D97-AF65-F5344CB8AC3E}">
        <p14:creationId xmlns:p14="http://schemas.microsoft.com/office/powerpoint/2010/main" val="39492674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sp>
        <p:nvSpPr>
          <p:cNvPr id="572" name="Google Shape;572;p57"/>
          <p:cNvSpPr txBox="1">
            <a:spLocks noGrp="1"/>
          </p:cNvSpPr>
          <p:nvPr>
            <p:ph type="title"/>
          </p:nvPr>
        </p:nvSpPr>
        <p:spPr>
          <a:xfrm>
            <a:off x="717800" y="383175"/>
            <a:ext cx="7708200" cy="647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ket Research</a:t>
            </a:r>
            <a:endParaRPr/>
          </a:p>
        </p:txBody>
      </p:sp>
      <p:sp>
        <p:nvSpPr>
          <p:cNvPr id="573" name="Google Shape;573;p57"/>
          <p:cNvSpPr txBox="1"/>
          <p:nvPr/>
        </p:nvSpPr>
        <p:spPr>
          <a:xfrm>
            <a:off x="766350" y="3871700"/>
            <a:ext cx="3733500" cy="610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200">
                <a:solidFill>
                  <a:schemeClr val="dk1"/>
                </a:solidFill>
                <a:latin typeface="Montserrat"/>
                <a:ea typeface="Montserrat"/>
                <a:cs typeface="Montserrat"/>
                <a:sym typeface="Montserrat"/>
              </a:rPr>
              <a:t>To modify these graphs, click on them, follow the link, change the data and paste the new graphs here, replacing these ones</a:t>
            </a:r>
            <a:endParaRPr sz="1200">
              <a:solidFill>
                <a:schemeClr val="dk1"/>
              </a:solidFill>
              <a:latin typeface="Montserrat"/>
              <a:ea typeface="Montserrat"/>
              <a:cs typeface="Montserrat"/>
              <a:sym typeface="Montserrat"/>
            </a:endParaRPr>
          </a:p>
        </p:txBody>
      </p:sp>
      <p:sp>
        <p:nvSpPr>
          <p:cNvPr id="574" name="Google Shape;574;p57"/>
          <p:cNvSpPr/>
          <p:nvPr/>
        </p:nvSpPr>
        <p:spPr>
          <a:xfrm>
            <a:off x="8291713" y="1953975"/>
            <a:ext cx="134100" cy="1341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57"/>
          <p:cNvSpPr/>
          <p:nvPr/>
        </p:nvSpPr>
        <p:spPr>
          <a:xfrm>
            <a:off x="8291713" y="2404225"/>
            <a:ext cx="134100" cy="1341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57"/>
          <p:cNvSpPr/>
          <p:nvPr/>
        </p:nvSpPr>
        <p:spPr>
          <a:xfrm>
            <a:off x="8291713" y="2854475"/>
            <a:ext cx="134100" cy="1341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57"/>
          <p:cNvSpPr txBox="1">
            <a:spLocks noGrp="1"/>
          </p:cNvSpPr>
          <p:nvPr>
            <p:ph type="subTitle" idx="4294967295"/>
          </p:nvPr>
        </p:nvSpPr>
        <p:spPr>
          <a:xfrm>
            <a:off x="6230950" y="1816725"/>
            <a:ext cx="2060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sz="1400">
                <a:solidFill>
                  <a:schemeClr val="dk1"/>
                </a:solidFill>
              </a:rPr>
              <a:t>Mars (23%)</a:t>
            </a:r>
            <a:endParaRPr sz="1400">
              <a:solidFill>
                <a:schemeClr val="dk1"/>
              </a:solidFill>
            </a:endParaRPr>
          </a:p>
        </p:txBody>
      </p:sp>
      <p:sp>
        <p:nvSpPr>
          <p:cNvPr id="578" name="Google Shape;578;p57"/>
          <p:cNvSpPr txBox="1">
            <a:spLocks noGrp="1"/>
          </p:cNvSpPr>
          <p:nvPr>
            <p:ph type="subTitle" idx="4294967295"/>
          </p:nvPr>
        </p:nvSpPr>
        <p:spPr>
          <a:xfrm>
            <a:off x="6231025" y="2266975"/>
            <a:ext cx="2060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sz="1400">
                <a:solidFill>
                  <a:schemeClr val="dk1"/>
                </a:solidFill>
              </a:rPr>
              <a:t>Venus (43%)</a:t>
            </a:r>
            <a:endParaRPr sz="1400">
              <a:solidFill>
                <a:schemeClr val="dk1"/>
              </a:solidFill>
            </a:endParaRPr>
          </a:p>
        </p:txBody>
      </p:sp>
      <p:sp>
        <p:nvSpPr>
          <p:cNvPr id="579" name="Google Shape;579;p57"/>
          <p:cNvSpPr txBox="1">
            <a:spLocks noGrp="1"/>
          </p:cNvSpPr>
          <p:nvPr>
            <p:ph type="subTitle" idx="4294967295"/>
          </p:nvPr>
        </p:nvSpPr>
        <p:spPr>
          <a:xfrm>
            <a:off x="6230950" y="2717225"/>
            <a:ext cx="2060700" cy="4086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sz="1400">
                <a:solidFill>
                  <a:schemeClr val="dk1"/>
                </a:solidFill>
              </a:rPr>
              <a:t>Mercury (34%)</a:t>
            </a:r>
            <a:endParaRPr sz="1400">
              <a:solidFill>
                <a:schemeClr val="dk1"/>
              </a:solidFill>
            </a:endParaRPr>
          </a:p>
        </p:txBody>
      </p:sp>
      <p:sp>
        <p:nvSpPr>
          <p:cNvPr id="580" name="Google Shape;580;p57"/>
          <p:cNvSpPr txBox="1"/>
          <p:nvPr/>
        </p:nvSpPr>
        <p:spPr>
          <a:xfrm>
            <a:off x="5029450" y="3845300"/>
            <a:ext cx="3062100" cy="663600"/>
          </a:xfrm>
          <a:prstGeom prst="rect">
            <a:avLst/>
          </a:prstGeom>
          <a:solidFill>
            <a:schemeClr val="accent1"/>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b="1">
                <a:solidFill>
                  <a:schemeClr val="lt1"/>
                </a:solidFill>
                <a:latin typeface="Montserrat"/>
                <a:ea typeface="Montserrat"/>
                <a:cs typeface="Montserrat"/>
                <a:sym typeface="Montserrat"/>
              </a:rPr>
              <a:t>$450,000,000</a:t>
            </a:r>
            <a:endParaRPr sz="1800" b="1">
              <a:solidFill>
                <a:schemeClr val="lt1"/>
              </a:solidFill>
              <a:latin typeface="Montserrat"/>
              <a:ea typeface="Montserrat"/>
              <a:cs typeface="Montserrat"/>
              <a:sym typeface="Montserrat"/>
            </a:endParaRPr>
          </a:p>
          <a:p>
            <a:pPr marL="0" lvl="0" indent="0" algn="ctr" rtl="0">
              <a:spcBef>
                <a:spcPts val="0"/>
              </a:spcBef>
              <a:spcAft>
                <a:spcPts val="0"/>
              </a:spcAft>
              <a:buNone/>
            </a:pPr>
            <a:r>
              <a:rPr lang="en" sz="1200" b="1">
                <a:solidFill>
                  <a:schemeClr val="lt1"/>
                </a:solidFill>
                <a:latin typeface="Montserrat"/>
                <a:ea typeface="Montserrat"/>
                <a:cs typeface="Montserrat"/>
                <a:sym typeface="Montserrat"/>
              </a:rPr>
              <a:t>Total Revenue in the Sector</a:t>
            </a:r>
            <a:endParaRPr sz="1200" b="1">
              <a:solidFill>
                <a:schemeClr val="lt1"/>
              </a:solidFill>
              <a:latin typeface="Montserrat"/>
              <a:ea typeface="Montserrat"/>
              <a:cs typeface="Montserrat"/>
              <a:sym typeface="Montserrat"/>
            </a:endParaRPr>
          </a:p>
        </p:txBody>
      </p:sp>
      <p:pic>
        <p:nvPicPr>
          <p:cNvPr id="581" name="Google Shape;581;p57" title="Gráfico">
            <a:hlinkClick r:id="rId3"/>
          </p:cNvPr>
          <p:cNvPicPr preferRelativeResize="0"/>
          <p:nvPr/>
        </p:nvPicPr>
        <p:blipFill>
          <a:blip r:embed="rId4">
            <a:alphaModFix/>
          </a:blip>
          <a:stretch>
            <a:fillRect/>
          </a:stretch>
        </p:blipFill>
        <p:spPr>
          <a:xfrm>
            <a:off x="847213" y="1406575"/>
            <a:ext cx="3275829" cy="2025551"/>
          </a:xfrm>
          <a:prstGeom prst="rect">
            <a:avLst/>
          </a:prstGeom>
          <a:noFill/>
          <a:ln>
            <a:noFill/>
          </a:ln>
        </p:spPr>
      </p:pic>
      <p:pic>
        <p:nvPicPr>
          <p:cNvPr id="582" name="Google Shape;582;p57" title="Gráfico">
            <a:hlinkClick r:id="rId5"/>
          </p:cNvPr>
          <p:cNvPicPr preferRelativeResize="0"/>
          <p:nvPr/>
        </p:nvPicPr>
        <p:blipFill>
          <a:blip r:embed="rId6">
            <a:alphaModFix/>
          </a:blip>
          <a:stretch>
            <a:fillRect/>
          </a:stretch>
        </p:blipFill>
        <p:spPr>
          <a:xfrm>
            <a:off x="4546950" y="1330000"/>
            <a:ext cx="2409650" cy="236502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586"/>
        <p:cNvGrpSpPr/>
        <p:nvPr/>
      </p:nvGrpSpPr>
      <p:grpSpPr>
        <a:xfrm>
          <a:off x="0" y="0"/>
          <a:ext cx="0" cy="0"/>
          <a:chOff x="0" y="0"/>
          <a:chExt cx="0" cy="0"/>
        </a:xfrm>
      </p:grpSpPr>
      <p:sp>
        <p:nvSpPr>
          <p:cNvPr id="587" name="Google Shape;587;p58"/>
          <p:cNvSpPr txBox="1">
            <a:spLocks noGrp="1"/>
          </p:cNvSpPr>
          <p:nvPr>
            <p:ph type="subTitle" idx="1"/>
          </p:nvPr>
        </p:nvSpPr>
        <p:spPr>
          <a:xfrm>
            <a:off x="5951340" y="1570850"/>
            <a:ext cx="2479500" cy="4239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Venus</a:t>
            </a:r>
            <a:endParaRPr/>
          </a:p>
        </p:txBody>
      </p:sp>
      <p:sp>
        <p:nvSpPr>
          <p:cNvPr id="588" name="Google Shape;588;p58"/>
          <p:cNvSpPr txBox="1">
            <a:spLocks noGrp="1"/>
          </p:cNvSpPr>
          <p:nvPr>
            <p:ph type="subTitle" idx="2"/>
          </p:nvPr>
        </p:nvSpPr>
        <p:spPr>
          <a:xfrm>
            <a:off x="5951336" y="1941975"/>
            <a:ext cx="2479500" cy="8727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Clr>
                <a:schemeClr val="dk1"/>
              </a:buClr>
              <a:buSzPts val="1100"/>
              <a:buFont typeface="Arial"/>
              <a:buNone/>
            </a:pPr>
            <a:r>
              <a:rPr lang="en"/>
              <a:t>Venus has a beautiful name, but it’s hot</a:t>
            </a:r>
            <a:endParaRPr/>
          </a:p>
        </p:txBody>
      </p:sp>
      <p:sp>
        <p:nvSpPr>
          <p:cNvPr id="589" name="Google Shape;589;p58"/>
          <p:cNvSpPr txBox="1">
            <a:spLocks noGrp="1"/>
          </p:cNvSpPr>
          <p:nvPr>
            <p:ph type="subTitle" idx="3"/>
          </p:nvPr>
        </p:nvSpPr>
        <p:spPr>
          <a:xfrm>
            <a:off x="5951276" y="3064926"/>
            <a:ext cx="2479500" cy="3402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Mars</a:t>
            </a:r>
            <a:endParaRPr/>
          </a:p>
        </p:txBody>
      </p:sp>
      <p:sp>
        <p:nvSpPr>
          <p:cNvPr id="590" name="Google Shape;590;p58"/>
          <p:cNvSpPr txBox="1">
            <a:spLocks noGrp="1"/>
          </p:cNvSpPr>
          <p:nvPr>
            <p:ph type="subTitle" idx="4"/>
          </p:nvPr>
        </p:nvSpPr>
        <p:spPr>
          <a:xfrm>
            <a:off x="5951276" y="3436049"/>
            <a:ext cx="2479500" cy="872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Despite being red, Mars </a:t>
            </a:r>
            <a:endParaRPr/>
          </a:p>
          <a:p>
            <a:pPr marL="0" lvl="0" indent="0" algn="r" rtl="0">
              <a:spcBef>
                <a:spcPts val="0"/>
              </a:spcBef>
              <a:spcAft>
                <a:spcPts val="0"/>
              </a:spcAft>
              <a:buClr>
                <a:schemeClr val="dk1"/>
              </a:buClr>
              <a:buSzPts val="1100"/>
              <a:buFont typeface="Arial"/>
              <a:buNone/>
            </a:pPr>
            <a:r>
              <a:rPr lang="en"/>
              <a:t>is a cold place</a:t>
            </a:r>
            <a:endParaRPr/>
          </a:p>
        </p:txBody>
      </p:sp>
      <p:sp>
        <p:nvSpPr>
          <p:cNvPr id="591" name="Google Shape;591;p58"/>
          <p:cNvSpPr txBox="1">
            <a:spLocks noGrp="1"/>
          </p:cNvSpPr>
          <p:nvPr>
            <p:ph type="subTitle" idx="5"/>
          </p:nvPr>
        </p:nvSpPr>
        <p:spPr>
          <a:xfrm>
            <a:off x="3156090" y="1570850"/>
            <a:ext cx="2479500" cy="4239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Mercury</a:t>
            </a:r>
            <a:endParaRPr/>
          </a:p>
        </p:txBody>
      </p:sp>
      <p:sp>
        <p:nvSpPr>
          <p:cNvPr id="592" name="Google Shape;592;p58"/>
          <p:cNvSpPr txBox="1">
            <a:spLocks noGrp="1"/>
          </p:cNvSpPr>
          <p:nvPr>
            <p:ph type="subTitle" idx="6"/>
          </p:nvPr>
        </p:nvSpPr>
        <p:spPr>
          <a:xfrm>
            <a:off x="3156036" y="1941975"/>
            <a:ext cx="2479500" cy="872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Clr>
                <a:schemeClr val="dk1"/>
              </a:buClr>
              <a:buSzPts val="1100"/>
              <a:buFont typeface="Arial"/>
              <a:buNone/>
            </a:pPr>
            <a:r>
              <a:rPr lang="en"/>
              <a:t>Mercury is the closest planet to the Sun</a:t>
            </a:r>
            <a:endParaRPr/>
          </a:p>
        </p:txBody>
      </p:sp>
      <p:sp>
        <p:nvSpPr>
          <p:cNvPr id="593" name="Google Shape;593;p58"/>
          <p:cNvSpPr txBox="1">
            <a:spLocks noGrp="1"/>
          </p:cNvSpPr>
          <p:nvPr>
            <p:ph type="subTitle" idx="7"/>
          </p:nvPr>
        </p:nvSpPr>
        <p:spPr>
          <a:xfrm>
            <a:off x="3156026" y="3064926"/>
            <a:ext cx="2479500" cy="3402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Jupiter</a:t>
            </a:r>
            <a:endParaRPr/>
          </a:p>
        </p:txBody>
      </p:sp>
      <p:sp>
        <p:nvSpPr>
          <p:cNvPr id="594" name="Google Shape;594;p58"/>
          <p:cNvSpPr txBox="1">
            <a:spLocks noGrp="1"/>
          </p:cNvSpPr>
          <p:nvPr>
            <p:ph type="subTitle" idx="8"/>
          </p:nvPr>
        </p:nvSpPr>
        <p:spPr>
          <a:xfrm>
            <a:off x="3155976" y="3436049"/>
            <a:ext cx="2479500" cy="8727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Clr>
                <a:schemeClr val="dk1"/>
              </a:buClr>
              <a:buSzPts val="1100"/>
              <a:buFont typeface="Arial"/>
              <a:buNone/>
            </a:pPr>
            <a:r>
              <a:rPr lang="en"/>
              <a:t>It’s the biggest planet in the Solar System</a:t>
            </a:r>
            <a:endParaRPr/>
          </a:p>
        </p:txBody>
      </p:sp>
      <p:sp>
        <p:nvSpPr>
          <p:cNvPr id="595" name="Google Shape;595;p58"/>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Our Partners </a:t>
            </a: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59"/>
          <p:cNvSpPr txBox="1">
            <a:spLocks noGrp="1"/>
          </p:cNvSpPr>
          <p:nvPr>
            <p:ph type="title"/>
          </p:nvPr>
        </p:nvSpPr>
        <p:spPr>
          <a:xfrm>
            <a:off x="717800" y="383175"/>
            <a:ext cx="77082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estimonials </a:t>
            </a:r>
            <a:endParaRPr/>
          </a:p>
        </p:txBody>
      </p:sp>
      <p:sp>
        <p:nvSpPr>
          <p:cNvPr id="601" name="Google Shape;601;p59"/>
          <p:cNvSpPr txBox="1">
            <a:spLocks noGrp="1"/>
          </p:cNvSpPr>
          <p:nvPr>
            <p:ph type="subTitle" idx="1"/>
          </p:nvPr>
        </p:nvSpPr>
        <p:spPr>
          <a:xfrm>
            <a:off x="1098800" y="3775200"/>
            <a:ext cx="28131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Helena Patterson</a:t>
            </a:r>
            <a:endParaRPr/>
          </a:p>
        </p:txBody>
      </p:sp>
      <p:sp>
        <p:nvSpPr>
          <p:cNvPr id="602" name="Google Shape;602;p59"/>
          <p:cNvSpPr txBox="1">
            <a:spLocks noGrp="1"/>
          </p:cNvSpPr>
          <p:nvPr>
            <p:ph type="subTitle" idx="2"/>
          </p:nvPr>
        </p:nvSpPr>
        <p:spPr>
          <a:xfrm>
            <a:off x="1098800" y="3051300"/>
            <a:ext cx="2813100" cy="7239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a:t>“Mercury is the closest planet to the Sun and the smallest one in the Solar System”</a:t>
            </a:r>
            <a:endParaRPr/>
          </a:p>
        </p:txBody>
      </p:sp>
      <p:sp>
        <p:nvSpPr>
          <p:cNvPr id="603" name="Google Shape;603;p59"/>
          <p:cNvSpPr txBox="1">
            <a:spLocks noGrp="1"/>
          </p:cNvSpPr>
          <p:nvPr>
            <p:ph type="subTitle" idx="3"/>
          </p:nvPr>
        </p:nvSpPr>
        <p:spPr>
          <a:xfrm>
            <a:off x="1098800" y="2315550"/>
            <a:ext cx="2813100"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a:t>—John Doe</a:t>
            </a:r>
            <a:endParaRPr/>
          </a:p>
        </p:txBody>
      </p:sp>
      <p:sp>
        <p:nvSpPr>
          <p:cNvPr id="604" name="Google Shape;604;p59"/>
          <p:cNvSpPr txBox="1">
            <a:spLocks noGrp="1"/>
          </p:cNvSpPr>
          <p:nvPr>
            <p:ph type="subTitle" idx="4"/>
          </p:nvPr>
        </p:nvSpPr>
        <p:spPr>
          <a:xfrm>
            <a:off x="1098800" y="1591650"/>
            <a:ext cx="2813100" cy="7239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a:t>“Venus has a beautiful name and is the second planet from the Sun. It’s terribly hot”</a:t>
            </a:r>
            <a:endParaRPr/>
          </a:p>
        </p:txBody>
      </p:sp>
      <p:sp>
        <p:nvSpPr>
          <p:cNvPr id="605" name="Google Shape;605;p59"/>
          <p:cNvSpPr/>
          <p:nvPr/>
        </p:nvSpPr>
        <p:spPr>
          <a:xfrm rot="10800000" flipH="1">
            <a:off x="5416200" y="1010100"/>
            <a:ext cx="1216200" cy="15615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59"/>
          <p:cNvSpPr/>
          <p:nvPr/>
        </p:nvSpPr>
        <p:spPr>
          <a:xfrm rot="10800000" flipH="1">
            <a:off x="6632400" y="2571600"/>
            <a:ext cx="1216200" cy="2571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60"/>
          <p:cNvSpPr txBox="1">
            <a:spLocks noGrp="1"/>
          </p:cNvSpPr>
          <p:nvPr>
            <p:ph type="title"/>
          </p:nvPr>
        </p:nvSpPr>
        <p:spPr>
          <a:xfrm>
            <a:off x="717800" y="383175"/>
            <a:ext cx="7708200" cy="936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Upcoming Goals</a:t>
            </a:r>
            <a:endParaRPr/>
          </a:p>
        </p:txBody>
      </p:sp>
      <p:cxnSp>
        <p:nvCxnSpPr>
          <p:cNvPr id="612" name="Google Shape;612;p60"/>
          <p:cNvCxnSpPr>
            <a:stCxn id="613" idx="2"/>
            <a:endCxn id="614" idx="0"/>
          </p:cNvCxnSpPr>
          <p:nvPr/>
        </p:nvCxnSpPr>
        <p:spPr>
          <a:xfrm rot="-5400000" flipH="1">
            <a:off x="4711625" y="1331175"/>
            <a:ext cx="954000" cy="1575600"/>
          </a:xfrm>
          <a:prstGeom prst="bentConnector3">
            <a:avLst>
              <a:gd name="adj1" fmla="val 50006"/>
            </a:avLst>
          </a:prstGeom>
          <a:noFill/>
          <a:ln w="19050" cap="flat" cmpd="sng">
            <a:solidFill>
              <a:schemeClr val="dk2"/>
            </a:solidFill>
            <a:prstDash val="solid"/>
            <a:miter lim="8000"/>
            <a:headEnd type="none" w="sm" len="sm"/>
            <a:tailEnd type="none" w="sm" len="sm"/>
          </a:ln>
        </p:spPr>
      </p:cxnSp>
      <p:cxnSp>
        <p:nvCxnSpPr>
          <p:cNvPr id="615" name="Google Shape;615;p60"/>
          <p:cNvCxnSpPr>
            <a:stCxn id="616" idx="0"/>
            <a:endCxn id="613" idx="2"/>
          </p:cNvCxnSpPr>
          <p:nvPr/>
        </p:nvCxnSpPr>
        <p:spPr>
          <a:xfrm rot="-5400000">
            <a:off x="3127663" y="1322835"/>
            <a:ext cx="954000" cy="1592100"/>
          </a:xfrm>
          <a:prstGeom prst="bentConnector3">
            <a:avLst>
              <a:gd name="adj1" fmla="val 50006"/>
            </a:avLst>
          </a:prstGeom>
          <a:noFill/>
          <a:ln w="19050" cap="flat" cmpd="sng">
            <a:solidFill>
              <a:schemeClr val="dk2"/>
            </a:solidFill>
            <a:prstDash val="solid"/>
            <a:miter lim="8000"/>
            <a:headEnd type="none" w="sm" len="sm"/>
            <a:tailEnd type="none" w="sm" len="sm"/>
          </a:ln>
        </p:spPr>
      </p:cxnSp>
      <p:cxnSp>
        <p:nvCxnSpPr>
          <p:cNvPr id="617" name="Google Shape;617;p60"/>
          <p:cNvCxnSpPr>
            <a:stCxn id="616" idx="2"/>
            <a:endCxn id="618" idx="0"/>
          </p:cNvCxnSpPr>
          <p:nvPr/>
        </p:nvCxnSpPr>
        <p:spPr>
          <a:xfrm rot="-5400000" flipH="1">
            <a:off x="2776213" y="3026985"/>
            <a:ext cx="746400" cy="681600"/>
          </a:xfrm>
          <a:prstGeom prst="bentConnector3">
            <a:avLst>
              <a:gd name="adj1" fmla="val 50000"/>
            </a:avLst>
          </a:prstGeom>
          <a:noFill/>
          <a:ln w="19050" cap="flat" cmpd="sng">
            <a:solidFill>
              <a:schemeClr val="dk2"/>
            </a:solidFill>
            <a:prstDash val="solid"/>
            <a:miter lim="8000"/>
            <a:headEnd type="none" w="sm" len="sm"/>
            <a:tailEnd type="none" w="sm" len="sm"/>
          </a:ln>
        </p:spPr>
      </p:cxnSp>
      <p:cxnSp>
        <p:nvCxnSpPr>
          <p:cNvPr id="619" name="Google Shape;619;p60"/>
          <p:cNvCxnSpPr>
            <a:stCxn id="620" idx="0"/>
            <a:endCxn id="616" idx="2"/>
          </p:cNvCxnSpPr>
          <p:nvPr/>
        </p:nvCxnSpPr>
        <p:spPr>
          <a:xfrm rot="-5400000">
            <a:off x="2115000" y="3047328"/>
            <a:ext cx="746400" cy="640800"/>
          </a:xfrm>
          <a:prstGeom prst="bentConnector3">
            <a:avLst>
              <a:gd name="adj1" fmla="val 50000"/>
            </a:avLst>
          </a:prstGeom>
          <a:noFill/>
          <a:ln w="19050" cap="flat" cmpd="sng">
            <a:solidFill>
              <a:schemeClr val="dk2"/>
            </a:solidFill>
            <a:prstDash val="solid"/>
            <a:miter lim="8000"/>
            <a:headEnd type="none" w="sm" len="sm"/>
            <a:tailEnd type="none" w="sm" len="sm"/>
          </a:ln>
        </p:spPr>
      </p:cxnSp>
      <p:cxnSp>
        <p:nvCxnSpPr>
          <p:cNvPr id="621" name="Google Shape;621;p60"/>
          <p:cNvCxnSpPr>
            <a:stCxn id="614" idx="2"/>
            <a:endCxn id="622" idx="0"/>
          </p:cNvCxnSpPr>
          <p:nvPr/>
        </p:nvCxnSpPr>
        <p:spPr>
          <a:xfrm rot="-5400000" flipH="1">
            <a:off x="6116750" y="2854335"/>
            <a:ext cx="746400" cy="1026900"/>
          </a:xfrm>
          <a:prstGeom prst="bentConnector3">
            <a:avLst>
              <a:gd name="adj1" fmla="val 50000"/>
            </a:avLst>
          </a:prstGeom>
          <a:noFill/>
          <a:ln w="19050" cap="flat" cmpd="sng">
            <a:solidFill>
              <a:schemeClr val="dk2"/>
            </a:solidFill>
            <a:prstDash val="solid"/>
            <a:miter lim="8000"/>
            <a:headEnd type="none" w="sm" len="sm"/>
            <a:tailEnd type="none" w="sm" len="sm"/>
          </a:ln>
        </p:spPr>
      </p:cxnSp>
      <p:cxnSp>
        <p:nvCxnSpPr>
          <p:cNvPr id="623" name="Google Shape;623;p60"/>
          <p:cNvCxnSpPr>
            <a:stCxn id="624" idx="0"/>
            <a:endCxn id="614" idx="2"/>
          </p:cNvCxnSpPr>
          <p:nvPr/>
        </p:nvCxnSpPr>
        <p:spPr>
          <a:xfrm rot="-5400000">
            <a:off x="5089900" y="2854278"/>
            <a:ext cx="746400" cy="1026900"/>
          </a:xfrm>
          <a:prstGeom prst="bentConnector3">
            <a:avLst>
              <a:gd name="adj1" fmla="val 50000"/>
            </a:avLst>
          </a:prstGeom>
          <a:noFill/>
          <a:ln w="19050" cap="flat" cmpd="sng">
            <a:solidFill>
              <a:schemeClr val="dk2"/>
            </a:solidFill>
            <a:prstDash val="solid"/>
            <a:miter lim="8000"/>
            <a:headEnd type="none" w="sm" len="sm"/>
            <a:tailEnd type="none" w="sm" len="sm"/>
          </a:ln>
        </p:spPr>
      </p:cxnSp>
      <p:sp>
        <p:nvSpPr>
          <p:cNvPr id="613" name="Google Shape;613;p60"/>
          <p:cNvSpPr txBox="1"/>
          <p:nvPr/>
        </p:nvSpPr>
        <p:spPr>
          <a:xfrm>
            <a:off x="3630575" y="1243275"/>
            <a:ext cx="1540500" cy="398700"/>
          </a:xfrm>
          <a:prstGeom prst="rect">
            <a:avLst/>
          </a:prstGeom>
          <a:solidFill>
            <a:schemeClr val="accent1"/>
          </a:solid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Montserrat"/>
                <a:ea typeface="Montserrat"/>
                <a:cs typeface="Montserrat"/>
                <a:sym typeface="Montserrat"/>
              </a:rPr>
              <a:t>Main Goal</a:t>
            </a:r>
            <a:endParaRPr sz="1800" b="1">
              <a:solidFill>
                <a:schemeClr val="lt1"/>
              </a:solidFill>
              <a:latin typeface="Montserrat"/>
              <a:ea typeface="Montserrat"/>
              <a:cs typeface="Montserrat"/>
              <a:sym typeface="Montserrat"/>
            </a:endParaRPr>
          </a:p>
        </p:txBody>
      </p:sp>
      <p:sp>
        <p:nvSpPr>
          <p:cNvPr id="616" name="Google Shape;616;p60"/>
          <p:cNvSpPr txBox="1"/>
          <p:nvPr/>
        </p:nvSpPr>
        <p:spPr>
          <a:xfrm>
            <a:off x="2039563" y="2595885"/>
            <a:ext cx="1538100" cy="398700"/>
          </a:xfrm>
          <a:prstGeom prst="rect">
            <a:avLst/>
          </a:prstGeom>
          <a:solidFill>
            <a:schemeClr val="dk2"/>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Subgoal 1</a:t>
            </a:r>
            <a:endParaRPr b="1">
              <a:solidFill>
                <a:schemeClr val="lt1"/>
              </a:solidFill>
              <a:latin typeface="Montserrat"/>
              <a:ea typeface="Montserrat"/>
              <a:cs typeface="Montserrat"/>
              <a:sym typeface="Montserrat"/>
            </a:endParaRPr>
          </a:p>
        </p:txBody>
      </p:sp>
      <p:sp>
        <p:nvSpPr>
          <p:cNvPr id="614" name="Google Shape;614;p60"/>
          <p:cNvSpPr txBox="1"/>
          <p:nvPr/>
        </p:nvSpPr>
        <p:spPr>
          <a:xfrm>
            <a:off x="5207450" y="2595885"/>
            <a:ext cx="1538100" cy="398700"/>
          </a:xfrm>
          <a:prstGeom prst="rect">
            <a:avLst/>
          </a:prstGeom>
          <a:solidFill>
            <a:schemeClr val="dk2"/>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Montserrat"/>
                <a:ea typeface="Montserrat"/>
                <a:cs typeface="Montserrat"/>
                <a:sym typeface="Montserrat"/>
              </a:rPr>
              <a:t>Subgoal 2</a:t>
            </a:r>
            <a:endParaRPr b="1">
              <a:solidFill>
                <a:schemeClr val="lt1"/>
              </a:solidFill>
              <a:latin typeface="Montserrat"/>
              <a:ea typeface="Montserrat"/>
              <a:cs typeface="Montserrat"/>
              <a:sym typeface="Montserrat"/>
            </a:endParaRPr>
          </a:p>
        </p:txBody>
      </p:sp>
      <p:sp>
        <p:nvSpPr>
          <p:cNvPr id="622" name="Google Shape;622;p60"/>
          <p:cNvSpPr txBox="1"/>
          <p:nvPr/>
        </p:nvSpPr>
        <p:spPr>
          <a:xfrm>
            <a:off x="6570725" y="3740928"/>
            <a:ext cx="865200" cy="3987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accent1"/>
                </a:solidFill>
                <a:latin typeface="Montserrat"/>
                <a:ea typeface="Montserrat"/>
                <a:cs typeface="Montserrat"/>
                <a:sym typeface="Montserrat"/>
              </a:rPr>
              <a:t>Earth</a:t>
            </a:r>
            <a:endParaRPr>
              <a:solidFill>
                <a:schemeClr val="accent1"/>
              </a:solidFill>
              <a:latin typeface="Montserrat"/>
              <a:ea typeface="Montserrat"/>
              <a:cs typeface="Montserrat"/>
              <a:sym typeface="Montserrat"/>
            </a:endParaRPr>
          </a:p>
        </p:txBody>
      </p:sp>
      <p:sp>
        <p:nvSpPr>
          <p:cNvPr id="624" name="Google Shape;624;p60"/>
          <p:cNvSpPr txBox="1"/>
          <p:nvPr/>
        </p:nvSpPr>
        <p:spPr>
          <a:xfrm>
            <a:off x="4517050" y="3740928"/>
            <a:ext cx="865200" cy="3987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accent1"/>
                </a:solidFill>
                <a:latin typeface="Montserrat"/>
                <a:ea typeface="Montserrat"/>
                <a:cs typeface="Montserrat"/>
                <a:sym typeface="Montserrat"/>
              </a:rPr>
              <a:t>Jupiter</a:t>
            </a:r>
            <a:endParaRPr>
              <a:solidFill>
                <a:schemeClr val="accent1"/>
              </a:solidFill>
              <a:latin typeface="Montserrat"/>
              <a:ea typeface="Montserrat"/>
              <a:cs typeface="Montserrat"/>
              <a:sym typeface="Montserrat"/>
            </a:endParaRPr>
          </a:p>
        </p:txBody>
      </p:sp>
      <p:sp>
        <p:nvSpPr>
          <p:cNvPr id="618" name="Google Shape;618;p60"/>
          <p:cNvSpPr txBox="1"/>
          <p:nvPr/>
        </p:nvSpPr>
        <p:spPr>
          <a:xfrm>
            <a:off x="3057600" y="3740928"/>
            <a:ext cx="865200" cy="3987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accent1"/>
                </a:solidFill>
                <a:latin typeface="Montserrat"/>
                <a:ea typeface="Montserrat"/>
                <a:cs typeface="Montserrat"/>
                <a:sym typeface="Montserrat"/>
              </a:rPr>
              <a:t>Venus</a:t>
            </a:r>
            <a:endParaRPr>
              <a:solidFill>
                <a:schemeClr val="accent1"/>
              </a:solidFill>
              <a:latin typeface="Montserrat"/>
              <a:ea typeface="Montserrat"/>
              <a:cs typeface="Montserrat"/>
              <a:sym typeface="Montserrat"/>
            </a:endParaRPr>
          </a:p>
        </p:txBody>
      </p:sp>
      <p:sp>
        <p:nvSpPr>
          <p:cNvPr id="620" name="Google Shape;620;p60"/>
          <p:cNvSpPr txBox="1"/>
          <p:nvPr/>
        </p:nvSpPr>
        <p:spPr>
          <a:xfrm>
            <a:off x="1735200" y="3740928"/>
            <a:ext cx="865200" cy="3987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accent1"/>
                </a:solidFill>
                <a:latin typeface="Montserrat"/>
                <a:ea typeface="Montserrat"/>
                <a:cs typeface="Montserrat"/>
                <a:sym typeface="Montserrat"/>
              </a:rPr>
              <a:t>Mars</a:t>
            </a:r>
            <a:endParaRPr>
              <a:solidFill>
                <a:schemeClr val="accent1"/>
              </a:solidFill>
              <a:latin typeface="Montserrat"/>
              <a:ea typeface="Montserrat"/>
              <a:cs typeface="Montserrat"/>
              <a:sym typeface="Montserrat"/>
            </a:endParaRPr>
          </a:p>
        </p:txBody>
      </p:sp>
      <p:sp>
        <p:nvSpPr>
          <p:cNvPr id="625" name="Google Shape;625;p60"/>
          <p:cNvSpPr txBox="1"/>
          <p:nvPr/>
        </p:nvSpPr>
        <p:spPr>
          <a:xfrm>
            <a:off x="5543888" y="3740928"/>
            <a:ext cx="865200" cy="3987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accent1"/>
                </a:solidFill>
                <a:latin typeface="Montserrat"/>
                <a:ea typeface="Montserrat"/>
                <a:cs typeface="Montserrat"/>
                <a:sym typeface="Montserrat"/>
              </a:rPr>
              <a:t>Saturn</a:t>
            </a:r>
            <a:endParaRPr>
              <a:solidFill>
                <a:schemeClr val="accent1"/>
              </a:solidFill>
              <a:latin typeface="Montserrat"/>
              <a:ea typeface="Montserrat"/>
              <a:cs typeface="Montserrat"/>
              <a:sym typeface="Montserrat"/>
            </a:endParaRPr>
          </a:p>
        </p:txBody>
      </p:sp>
      <p:cxnSp>
        <p:nvCxnSpPr>
          <p:cNvPr id="626" name="Google Shape;626;p60"/>
          <p:cNvCxnSpPr>
            <a:stCxn id="614" idx="2"/>
            <a:endCxn id="625" idx="0"/>
          </p:cNvCxnSpPr>
          <p:nvPr/>
        </p:nvCxnSpPr>
        <p:spPr>
          <a:xfrm>
            <a:off x="5976500" y="2994585"/>
            <a:ext cx="0" cy="746400"/>
          </a:xfrm>
          <a:prstGeom prst="straightConnector1">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647"/>
        <p:cNvGrpSpPr/>
        <p:nvPr/>
      </p:nvGrpSpPr>
      <p:grpSpPr>
        <a:xfrm>
          <a:off x="0" y="0"/>
          <a:ext cx="0" cy="0"/>
          <a:chOff x="0" y="0"/>
          <a:chExt cx="0" cy="0"/>
        </a:xfrm>
      </p:grpSpPr>
      <p:sp>
        <p:nvSpPr>
          <p:cNvPr id="648" name="Google Shape;648;p62"/>
          <p:cNvSpPr txBox="1">
            <a:spLocks noGrp="1"/>
          </p:cNvSpPr>
          <p:nvPr>
            <p:ph type="title"/>
          </p:nvPr>
        </p:nvSpPr>
        <p:spPr>
          <a:xfrm>
            <a:off x="713225" y="445025"/>
            <a:ext cx="3858900" cy="13383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hanks</a:t>
            </a:r>
            <a:endParaRPr/>
          </a:p>
        </p:txBody>
      </p:sp>
      <p:sp>
        <p:nvSpPr>
          <p:cNvPr id="649" name="Google Shape;649;p62"/>
          <p:cNvSpPr txBox="1"/>
          <p:nvPr/>
        </p:nvSpPr>
        <p:spPr>
          <a:xfrm>
            <a:off x="713225" y="1630928"/>
            <a:ext cx="3841200" cy="129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accent2"/>
                </a:solidFill>
                <a:latin typeface="Montserrat"/>
                <a:ea typeface="Montserrat"/>
                <a:cs typeface="Montserrat"/>
                <a:sym typeface="Montserrat"/>
              </a:rPr>
              <a:t>Do you have any questions?</a:t>
            </a:r>
            <a:endParaRPr>
              <a:solidFill>
                <a:schemeClr val="accent2"/>
              </a:solidFill>
              <a:latin typeface="Montserrat"/>
              <a:ea typeface="Montserrat"/>
              <a:cs typeface="Montserrat"/>
              <a:sym typeface="Montserrat"/>
            </a:endParaRPr>
          </a:p>
          <a:p>
            <a:pPr marL="0" lvl="0" indent="0" algn="l" rtl="0">
              <a:spcBef>
                <a:spcPts val="1000"/>
              </a:spcBef>
              <a:spcAft>
                <a:spcPts val="0"/>
              </a:spcAft>
              <a:buNone/>
            </a:pPr>
            <a:r>
              <a:rPr lang="en">
                <a:solidFill>
                  <a:schemeClr val="accent2"/>
                </a:solidFill>
                <a:latin typeface="Montserrat"/>
                <a:ea typeface="Montserrat"/>
                <a:cs typeface="Montserrat"/>
                <a:sym typeface="Montserrat"/>
              </a:rPr>
              <a:t>addyouremail@freepik.com</a:t>
            </a:r>
            <a:endParaRPr>
              <a:solidFill>
                <a:schemeClr val="accent2"/>
              </a:solidFill>
              <a:latin typeface="Montserrat"/>
              <a:ea typeface="Montserrat"/>
              <a:cs typeface="Montserrat"/>
              <a:sym typeface="Montserrat"/>
            </a:endParaRPr>
          </a:p>
          <a:p>
            <a:pPr marL="0" lvl="0" indent="0" algn="l" rtl="0">
              <a:spcBef>
                <a:spcPts val="0"/>
              </a:spcBef>
              <a:spcAft>
                <a:spcPts val="0"/>
              </a:spcAft>
              <a:buNone/>
            </a:pPr>
            <a:r>
              <a:rPr lang="en">
                <a:solidFill>
                  <a:schemeClr val="accent2"/>
                </a:solidFill>
                <a:latin typeface="Montserrat"/>
                <a:ea typeface="Montserrat"/>
                <a:cs typeface="Montserrat"/>
                <a:sym typeface="Montserrat"/>
              </a:rPr>
              <a:t>+91 620 421 838</a:t>
            </a:r>
            <a:endParaRPr>
              <a:solidFill>
                <a:schemeClr val="accent2"/>
              </a:solidFill>
              <a:latin typeface="Montserrat"/>
              <a:ea typeface="Montserrat"/>
              <a:cs typeface="Montserrat"/>
              <a:sym typeface="Montserrat"/>
            </a:endParaRPr>
          </a:p>
          <a:p>
            <a:pPr marL="0" lvl="0" indent="0" algn="l" rtl="0">
              <a:spcBef>
                <a:spcPts val="0"/>
              </a:spcBef>
              <a:spcAft>
                <a:spcPts val="0"/>
              </a:spcAft>
              <a:buNone/>
            </a:pPr>
            <a:r>
              <a:rPr lang="en">
                <a:solidFill>
                  <a:schemeClr val="accent2"/>
                </a:solidFill>
                <a:latin typeface="Montserrat"/>
                <a:ea typeface="Montserrat"/>
                <a:cs typeface="Montserrat"/>
                <a:sym typeface="Montserrat"/>
              </a:rPr>
              <a:t>yourcompany.com</a:t>
            </a:r>
            <a:endParaRPr>
              <a:solidFill>
                <a:schemeClr val="accent2"/>
              </a:solidFill>
              <a:latin typeface="Montserrat"/>
              <a:ea typeface="Montserrat"/>
              <a:cs typeface="Montserrat"/>
              <a:sym typeface="Montserrat"/>
            </a:endParaRPr>
          </a:p>
        </p:txBody>
      </p:sp>
      <p:sp>
        <p:nvSpPr>
          <p:cNvPr id="650" name="Google Shape;650;p62"/>
          <p:cNvSpPr/>
          <p:nvPr/>
        </p:nvSpPr>
        <p:spPr>
          <a:xfrm>
            <a:off x="823351" y="2926977"/>
            <a:ext cx="407383" cy="407383"/>
          </a:xfrm>
          <a:custGeom>
            <a:avLst/>
            <a:gdLst/>
            <a:ahLst/>
            <a:cxnLst/>
            <a:rect l="l" t="t" r="r" b="b"/>
            <a:pathLst>
              <a:path w="19982" h="19982" extrusionOk="0">
                <a:moveTo>
                  <a:pt x="14602" y="3500"/>
                </a:moveTo>
                <a:cubicBezTo>
                  <a:pt x="15137" y="3500"/>
                  <a:pt x="15682" y="3563"/>
                  <a:pt x="16247" y="3689"/>
                </a:cubicBezTo>
                <a:cubicBezTo>
                  <a:pt x="16179" y="4154"/>
                  <a:pt x="16095" y="4705"/>
                  <a:pt x="16033" y="5120"/>
                </a:cubicBezTo>
                <a:cubicBezTo>
                  <a:pt x="15810" y="5075"/>
                  <a:pt x="15484" y="5035"/>
                  <a:pt x="15150" y="5035"/>
                </a:cubicBezTo>
                <a:cubicBezTo>
                  <a:pt x="14968" y="5035"/>
                  <a:pt x="14783" y="5047"/>
                  <a:pt x="14611" y="5076"/>
                </a:cubicBezTo>
                <a:cubicBezTo>
                  <a:pt x="13536" y="5258"/>
                  <a:pt x="12918" y="5925"/>
                  <a:pt x="12918" y="6907"/>
                </a:cubicBezTo>
                <a:lnTo>
                  <a:pt x="12918" y="8819"/>
                </a:lnTo>
                <a:cubicBezTo>
                  <a:pt x="12918" y="9143"/>
                  <a:pt x="13180" y="9405"/>
                  <a:pt x="13504" y="9405"/>
                </a:cubicBezTo>
                <a:lnTo>
                  <a:pt x="15681" y="9405"/>
                </a:lnTo>
                <a:lnTo>
                  <a:pt x="15388" y="10576"/>
                </a:lnTo>
                <a:lnTo>
                  <a:pt x="13504" y="10576"/>
                </a:lnTo>
                <a:cubicBezTo>
                  <a:pt x="13180" y="10576"/>
                  <a:pt x="12918" y="10838"/>
                  <a:pt x="12918" y="11161"/>
                </a:cubicBezTo>
                <a:lnTo>
                  <a:pt x="12918" y="18811"/>
                </a:lnTo>
                <a:lnTo>
                  <a:pt x="11162" y="18811"/>
                </a:lnTo>
                <a:lnTo>
                  <a:pt x="11162" y="11161"/>
                </a:lnTo>
                <a:cubicBezTo>
                  <a:pt x="11162" y="10838"/>
                  <a:pt x="10900" y="10576"/>
                  <a:pt x="10576" y="10576"/>
                </a:cubicBezTo>
                <a:lnTo>
                  <a:pt x="9407" y="10576"/>
                </a:lnTo>
                <a:lnTo>
                  <a:pt x="9407" y="9405"/>
                </a:lnTo>
                <a:lnTo>
                  <a:pt x="10576" y="9405"/>
                </a:lnTo>
                <a:cubicBezTo>
                  <a:pt x="10900" y="9405"/>
                  <a:pt x="11162" y="9143"/>
                  <a:pt x="11162" y="8821"/>
                </a:cubicBezTo>
                <a:cubicBezTo>
                  <a:pt x="11162" y="7215"/>
                  <a:pt x="11162" y="6481"/>
                  <a:pt x="11162" y="6143"/>
                </a:cubicBezTo>
                <a:cubicBezTo>
                  <a:pt x="11162" y="5520"/>
                  <a:pt x="11163" y="4843"/>
                  <a:pt x="11770" y="4324"/>
                </a:cubicBezTo>
                <a:cubicBezTo>
                  <a:pt x="12234" y="3928"/>
                  <a:pt x="12823" y="3687"/>
                  <a:pt x="13628" y="3571"/>
                </a:cubicBezTo>
                <a:cubicBezTo>
                  <a:pt x="13950" y="3524"/>
                  <a:pt x="14274" y="3500"/>
                  <a:pt x="14602" y="3500"/>
                </a:cubicBezTo>
                <a:close/>
                <a:moveTo>
                  <a:pt x="17017" y="1170"/>
                </a:moveTo>
                <a:cubicBezTo>
                  <a:pt x="17990" y="1170"/>
                  <a:pt x="18811" y="1975"/>
                  <a:pt x="18811" y="2927"/>
                </a:cubicBezTo>
                <a:lnTo>
                  <a:pt x="18811" y="17056"/>
                </a:lnTo>
                <a:cubicBezTo>
                  <a:pt x="18811" y="18023"/>
                  <a:pt x="18024" y="18811"/>
                  <a:pt x="17056" y="18811"/>
                </a:cubicBezTo>
                <a:lnTo>
                  <a:pt x="14089" y="18811"/>
                </a:lnTo>
                <a:lnTo>
                  <a:pt x="14089" y="11747"/>
                </a:lnTo>
                <a:lnTo>
                  <a:pt x="15846" y="11747"/>
                </a:lnTo>
                <a:cubicBezTo>
                  <a:pt x="16115" y="11747"/>
                  <a:pt x="16348" y="11565"/>
                  <a:pt x="16414" y="11305"/>
                </a:cubicBezTo>
                <a:lnTo>
                  <a:pt x="16999" y="8963"/>
                </a:lnTo>
                <a:cubicBezTo>
                  <a:pt x="17042" y="8787"/>
                  <a:pt x="17003" y="8602"/>
                  <a:pt x="16893" y="8460"/>
                </a:cubicBezTo>
                <a:cubicBezTo>
                  <a:pt x="16782" y="8317"/>
                  <a:pt x="16612" y="8235"/>
                  <a:pt x="16431" y="8235"/>
                </a:cubicBezTo>
                <a:lnTo>
                  <a:pt x="14089" y="8235"/>
                </a:lnTo>
                <a:lnTo>
                  <a:pt x="14089" y="6909"/>
                </a:lnTo>
                <a:cubicBezTo>
                  <a:pt x="14089" y="6638"/>
                  <a:pt x="14144" y="6343"/>
                  <a:pt x="14808" y="6229"/>
                </a:cubicBezTo>
                <a:cubicBezTo>
                  <a:pt x="14936" y="6208"/>
                  <a:pt x="15061" y="6199"/>
                  <a:pt x="15182" y="6199"/>
                </a:cubicBezTo>
                <a:cubicBezTo>
                  <a:pt x="15552" y="6199"/>
                  <a:pt x="15890" y="6283"/>
                  <a:pt x="16198" y="6360"/>
                </a:cubicBezTo>
                <a:cubicBezTo>
                  <a:pt x="16304" y="6387"/>
                  <a:pt x="16415" y="6421"/>
                  <a:pt x="16532" y="6421"/>
                </a:cubicBezTo>
                <a:cubicBezTo>
                  <a:pt x="16632" y="6421"/>
                  <a:pt x="16736" y="6396"/>
                  <a:pt x="16847" y="6321"/>
                </a:cubicBezTo>
                <a:cubicBezTo>
                  <a:pt x="16983" y="6229"/>
                  <a:pt x="17074" y="6084"/>
                  <a:pt x="17098" y="5923"/>
                </a:cubicBezTo>
                <a:cubicBezTo>
                  <a:pt x="17098" y="5923"/>
                  <a:pt x="17362" y="4156"/>
                  <a:pt x="17482" y="3339"/>
                </a:cubicBezTo>
                <a:cubicBezTo>
                  <a:pt x="17525" y="3049"/>
                  <a:pt x="17346" y="2769"/>
                  <a:pt x="17063" y="2690"/>
                </a:cubicBezTo>
                <a:cubicBezTo>
                  <a:pt x="16267" y="2463"/>
                  <a:pt x="15346" y="2343"/>
                  <a:pt x="14504" y="2343"/>
                </a:cubicBezTo>
                <a:cubicBezTo>
                  <a:pt x="14137" y="2343"/>
                  <a:pt x="13786" y="2365"/>
                  <a:pt x="13467" y="2412"/>
                </a:cubicBezTo>
                <a:cubicBezTo>
                  <a:pt x="12434" y="2562"/>
                  <a:pt x="11646" y="2888"/>
                  <a:pt x="11009" y="3434"/>
                </a:cubicBezTo>
                <a:cubicBezTo>
                  <a:pt x="10121" y="4193"/>
                  <a:pt x="10010" y="5168"/>
                  <a:pt x="9999" y="5833"/>
                </a:cubicBezTo>
                <a:cubicBezTo>
                  <a:pt x="9999" y="5847"/>
                  <a:pt x="9999" y="7029"/>
                  <a:pt x="9999" y="8235"/>
                </a:cubicBezTo>
                <a:lnTo>
                  <a:pt x="8821" y="8235"/>
                </a:lnTo>
                <a:cubicBezTo>
                  <a:pt x="8497" y="8235"/>
                  <a:pt x="8236" y="8497"/>
                  <a:pt x="8236" y="8819"/>
                </a:cubicBezTo>
                <a:lnTo>
                  <a:pt x="8236" y="11161"/>
                </a:lnTo>
                <a:cubicBezTo>
                  <a:pt x="8236" y="11485"/>
                  <a:pt x="8497" y="11747"/>
                  <a:pt x="8821" y="11747"/>
                </a:cubicBezTo>
                <a:lnTo>
                  <a:pt x="9991" y="11747"/>
                </a:lnTo>
                <a:lnTo>
                  <a:pt x="9991" y="18811"/>
                </a:lnTo>
                <a:lnTo>
                  <a:pt x="2927" y="18811"/>
                </a:lnTo>
                <a:cubicBezTo>
                  <a:pt x="1959" y="18811"/>
                  <a:pt x="1172" y="18023"/>
                  <a:pt x="1172" y="17054"/>
                </a:cubicBezTo>
                <a:lnTo>
                  <a:pt x="1172" y="2927"/>
                </a:lnTo>
                <a:cubicBezTo>
                  <a:pt x="1172" y="1959"/>
                  <a:pt x="1959" y="1170"/>
                  <a:pt x="2927" y="1170"/>
                </a:cubicBezTo>
                <a:close/>
                <a:moveTo>
                  <a:pt x="2927" y="1"/>
                </a:moveTo>
                <a:cubicBezTo>
                  <a:pt x="1314" y="1"/>
                  <a:pt x="1" y="1313"/>
                  <a:pt x="1" y="2927"/>
                </a:cubicBezTo>
                <a:lnTo>
                  <a:pt x="1" y="17056"/>
                </a:lnTo>
                <a:cubicBezTo>
                  <a:pt x="1" y="18669"/>
                  <a:pt x="1314" y="19982"/>
                  <a:pt x="2927" y="19982"/>
                </a:cubicBezTo>
                <a:lnTo>
                  <a:pt x="17054" y="19982"/>
                </a:lnTo>
                <a:cubicBezTo>
                  <a:pt x="18669" y="19982"/>
                  <a:pt x="19982" y="18669"/>
                  <a:pt x="19982" y="17056"/>
                </a:cubicBezTo>
                <a:lnTo>
                  <a:pt x="19982" y="2927"/>
                </a:lnTo>
                <a:cubicBezTo>
                  <a:pt x="19982" y="2145"/>
                  <a:pt x="19669" y="1409"/>
                  <a:pt x="19101" y="853"/>
                </a:cubicBezTo>
                <a:cubicBezTo>
                  <a:pt x="18538" y="303"/>
                  <a:pt x="17797" y="1"/>
                  <a:pt x="170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1" name="Google Shape;651;p62"/>
          <p:cNvGrpSpPr/>
          <p:nvPr/>
        </p:nvGrpSpPr>
        <p:grpSpPr>
          <a:xfrm>
            <a:off x="1343892" y="2926915"/>
            <a:ext cx="407432" cy="407391"/>
            <a:chOff x="812101" y="2571761"/>
            <a:chExt cx="417066" cy="417024"/>
          </a:xfrm>
        </p:grpSpPr>
        <p:sp>
          <p:nvSpPr>
            <p:cNvPr id="652" name="Google Shape;652;p62"/>
            <p:cNvSpPr/>
            <p:nvPr/>
          </p:nvSpPr>
          <p:spPr>
            <a:xfrm>
              <a:off x="935084" y="2694744"/>
              <a:ext cx="171071" cy="171071"/>
            </a:xfrm>
            <a:custGeom>
              <a:avLst/>
              <a:gdLst/>
              <a:ahLst/>
              <a:cxnLst/>
              <a:rect l="l" t="t" r="r" b="b"/>
              <a:pathLst>
                <a:path w="8197" h="8197" extrusionOk="0">
                  <a:moveTo>
                    <a:pt x="4099" y="1171"/>
                  </a:moveTo>
                  <a:cubicBezTo>
                    <a:pt x="5712" y="1171"/>
                    <a:pt x="7027" y="2484"/>
                    <a:pt x="7027" y="4097"/>
                  </a:cubicBezTo>
                  <a:cubicBezTo>
                    <a:pt x="7027" y="5712"/>
                    <a:pt x="5712" y="7025"/>
                    <a:pt x="4099" y="7025"/>
                  </a:cubicBezTo>
                  <a:cubicBezTo>
                    <a:pt x="2486" y="7025"/>
                    <a:pt x="1171" y="5712"/>
                    <a:pt x="1171" y="4097"/>
                  </a:cubicBezTo>
                  <a:cubicBezTo>
                    <a:pt x="1171" y="2484"/>
                    <a:pt x="2486" y="1171"/>
                    <a:pt x="4099" y="1171"/>
                  </a:cubicBezTo>
                  <a:close/>
                  <a:moveTo>
                    <a:pt x="4099" y="0"/>
                  </a:moveTo>
                  <a:cubicBezTo>
                    <a:pt x="1840" y="0"/>
                    <a:pt x="0" y="1838"/>
                    <a:pt x="0" y="4097"/>
                  </a:cubicBezTo>
                  <a:cubicBezTo>
                    <a:pt x="0" y="6358"/>
                    <a:pt x="1840" y="8196"/>
                    <a:pt x="4099" y="8196"/>
                  </a:cubicBezTo>
                  <a:cubicBezTo>
                    <a:pt x="6358" y="8196"/>
                    <a:pt x="8196" y="6358"/>
                    <a:pt x="8196" y="4097"/>
                  </a:cubicBezTo>
                  <a:cubicBezTo>
                    <a:pt x="8196" y="1838"/>
                    <a:pt x="6358" y="0"/>
                    <a:pt x="40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62"/>
            <p:cNvSpPr/>
            <p:nvPr/>
          </p:nvSpPr>
          <p:spPr>
            <a:xfrm>
              <a:off x="860977" y="2620616"/>
              <a:ext cx="319311" cy="319290"/>
            </a:xfrm>
            <a:custGeom>
              <a:avLst/>
              <a:gdLst/>
              <a:ahLst/>
              <a:cxnLst/>
              <a:rect l="l" t="t" r="r" b="b"/>
              <a:pathLst>
                <a:path w="15300" h="15299" extrusionOk="0">
                  <a:moveTo>
                    <a:pt x="12333" y="1171"/>
                  </a:moveTo>
                  <a:cubicBezTo>
                    <a:pt x="13306" y="1171"/>
                    <a:pt x="14128" y="1994"/>
                    <a:pt x="14128" y="2967"/>
                  </a:cubicBezTo>
                  <a:lnTo>
                    <a:pt x="14128" y="12334"/>
                  </a:lnTo>
                  <a:cubicBezTo>
                    <a:pt x="14128" y="13307"/>
                    <a:pt x="13306" y="14129"/>
                    <a:pt x="12333" y="14129"/>
                  </a:cubicBezTo>
                  <a:lnTo>
                    <a:pt x="2968" y="14129"/>
                  </a:lnTo>
                  <a:cubicBezTo>
                    <a:pt x="1993" y="14129"/>
                    <a:pt x="1172" y="13307"/>
                    <a:pt x="1172" y="12334"/>
                  </a:cubicBezTo>
                  <a:lnTo>
                    <a:pt x="1172" y="2967"/>
                  </a:lnTo>
                  <a:cubicBezTo>
                    <a:pt x="1172" y="1994"/>
                    <a:pt x="1993" y="1171"/>
                    <a:pt x="2968" y="1171"/>
                  </a:cubicBezTo>
                  <a:close/>
                  <a:moveTo>
                    <a:pt x="2968" y="0"/>
                  </a:moveTo>
                  <a:cubicBezTo>
                    <a:pt x="1351" y="0"/>
                    <a:pt x="1" y="1346"/>
                    <a:pt x="1" y="2967"/>
                  </a:cubicBezTo>
                  <a:lnTo>
                    <a:pt x="1" y="12334"/>
                  </a:lnTo>
                  <a:cubicBezTo>
                    <a:pt x="1" y="13952"/>
                    <a:pt x="1349" y="15299"/>
                    <a:pt x="2968" y="15299"/>
                  </a:cubicBezTo>
                  <a:lnTo>
                    <a:pt x="12333" y="15299"/>
                  </a:lnTo>
                  <a:cubicBezTo>
                    <a:pt x="13953" y="15299"/>
                    <a:pt x="15299" y="13951"/>
                    <a:pt x="15299" y="12334"/>
                  </a:cubicBezTo>
                  <a:lnTo>
                    <a:pt x="15299" y="2967"/>
                  </a:lnTo>
                  <a:cubicBezTo>
                    <a:pt x="15299" y="1345"/>
                    <a:pt x="13948" y="0"/>
                    <a:pt x="123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62"/>
            <p:cNvSpPr/>
            <p:nvPr/>
          </p:nvSpPr>
          <p:spPr>
            <a:xfrm>
              <a:off x="812101" y="2571761"/>
              <a:ext cx="417066" cy="417024"/>
            </a:xfrm>
            <a:custGeom>
              <a:avLst/>
              <a:gdLst/>
              <a:ahLst/>
              <a:cxnLst/>
              <a:rect l="l" t="t" r="r" b="b"/>
              <a:pathLst>
                <a:path w="19984" h="19982" extrusionOk="0">
                  <a:moveTo>
                    <a:pt x="17056" y="1172"/>
                  </a:moveTo>
                  <a:cubicBezTo>
                    <a:pt x="18025" y="1172"/>
                    <a:pt x="18812" y="1959"/>
                    <a:pt x="18812" y="2927"/>
                  </a:cubicBezTo>
                  <a:lnTo>
                    <a:pt x="18812" y="17056"/>
                  </a:lnTo>
                  <a:cubicBezTo>
                    <a:pt x="18812" y="18023"/>
                    <a:pt x="18025" y="18811"/>
                    <a:pt x="17056" y="18811"/>
                  </a:cubicBezTo>
                  <a:lnTo>
                    <a:pt x="2928" y="18811"/>
                  </a:lnTo>
                  <a:cubicBezTo>
                    <a:pt x="1961" y="18811"/>
                    <a:pt x="1172" y="18023"/>
                    <a:pt x="1172" y="17056"/>
                  </a:cubicBezTo>
                  <a:lnTo>
                    <a:pt x="1172" y="2927"/>
                  </a:lnTo>
                  <a:cubicBezTo>
                    <a:pt x="1172" y="1959"/>
                    <a:pt x="1961" y="1172"/>
                    <a:pt x="2928" y="1172"/>
                  </a:cubicBezTo>
                  <a:close/>
                  <a:moveTo>
                    <a:pt x="2928" y="1"/>
                  </a:moveTo>
                  <a:cubicBezTo>
                    <a:pt x="1313" y="1"/>
                    <a:pt x="1" y="1313"/>
                    <a:pt x="1" y="2927"/>
                  </a:cubicBezTo>
                  <a:lnTo>
                    <a:pt x="1" y="17056"/>
                  </a:lnTo>
                  <a:cubicBezTo>
                    <a:pt x="1" y="18669"/>
                    <a:pt x="1313" y="19982"/>
                    <a:pt x="2928" y="19982"/>
                  </a:cubicBezTo>
                  <a:lnTo>
                    <a:pt x="17056" y="19982"/>
                  </a:lnTo>
                  <a:cubicBezTo>
                    <a:pt x="18669" y="19982"/>
                    <a:pt x="19984" y="18669"/>
                    <a:pt x="19984" y="17056"/>
                  </a:cubicBezTo>
                  <a:lnTo>
                    <a:pt x="19984" y="2927"/>
                  </a:lnTo>
                  <a:cubicBezTo>
                    <a:pt x="19984" y="1313"/>
                    <a:pt x="18669" y="1"/>
                    <a:pt x="170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62"/>
            <p:cNvSpPr/>
            <p:nvPr/>
          </p:nvSpPr>
          <p:spPr>
            <a:xfrm>
              <a:off x="1081712" y="2670306"/>
              <a:ext cx="48878" cy="48898"/>
            </a:xfrm>
            <a:custGeom>
              <a:avLst/>
              <a:gdLst/>
              <a:ahLst/>
              <a:cxnLst/>
              <a:rect l="l" t="t" r="r" b="b"/>
              <a:pathLst>
                <a:path w="2342" h="2343" extrusionOk="0">
                  <a:moveTo>
                    <a:pt x="1170" y="0"/>
                  </a:moveTo>
                  <a:cubicBezTo>
                    <a:pt x="524" y="0"/>
                    <a:pt x="1" y="526"/>
                    <a:pt x="1" y="1171"/>
                  </a:cubicBezTo>
                  <a:cubicBezTo>
                    <a:pt x="1" y="1817"/>
                    <a:pt x="524" y="2342"/>
                    <a:pt x="1170" y="2342"/>
                  </a:cubicBezTo>
                  <a:cubicBezTo>
                    <a:pt x="1816" y="2342"/>
                    <a:pt x="2341" y="1817"/>
                    <a:pt x="2341" y="1171"/>
                  </a:cubicBezTo>
                  <a:cubicBezTo>
                    <a:pt x="2341" y="526"/>
                    <a:pt x="1816" y="0"/>
                    <a:pt x="117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 name="Google Shape;656;p62"/>
          <p:cNvGrpSpPr/>
          <p:nvPr/>
        </p:nvGrpSpPr>
        <p:grpSpPr>
          <a:xfrm>
            <a:off x="1864486" y="2926915"/>
            <a:ext cx="407391" cy="407391"/>
            <a:chOff x="1323129" y="2571761"/>
            <a:chExt cx="417024" cy="417024"/>
          </a:xfrm>
        </p:grpSpPr>
        <p:sp>
          <p:nvSpPr>
            <p:cNvPr id="657" name="Google Shape;657;p62"/>
            <p:cNvSpPr/>
            <p:nvPr/>
          </p:nvSpPr>
          <p:spPr>
            <a:xfrm>
              <a:off x="1385007" y="2719183"/>
              <a:ext cx="73337" cy="219907"/>
            </a:xfrm>
            <a:custGeom>
              <a:avLst/>
              <a:gdLst/>
              <a:ahLst/>
              <a:cxnLst/>
              <a:rect l="l" t="t" r="r" b="b"/>
              <a:pathLst>
                <a:path w="3514" h="10537" extrusionOk="0">
                  <a:moveTo>
                    <a:pt x="2342" y="1171"/>
                  </a:moveTo>
                  <a:lnTo>
                    <a:pt x="2342" y="9367"/>
                  </a:lnTo>
                  <a:lnTo>
                    <a:pt x="1171" y="9367"/>
                  </a:lnTo>
                  <a:lnTo>
                    <a:pt x="1171" y="1171"/>
                  </a:lnTo>
                  <a:close/>
                  <a:moveTo>
                    <a:pt x="586" y="0"/>
                  </a:moveTo>
                  <a:cubicBezTo>
                    <a:pt x="264" y="0"/>
                    <a:pt x="0" y="262"/>
                    <a:pt x="0" y="586"/>
                  </a:cubicBezTo>
                  <a:lnTo>
                    <a:pt x="0" y="9951"/>
                  </a:lnTo>
                  <a:cubicBezTo>
                    <a:pt x="0" y="10275"/>
                    <a:pt x="264" y="10537"/>
                    <a:pt x="586" y="10537"/>
                  </a:cubicBezTo>
                  <a:lnTo>
                    <a:pt x="2928" y="10537"/>
                  </a:lnTo>
                  <a:cubicBezTo>
                    <a:pt x="3252" y="10537"/>
                    <a:pt x="3514" y="10275"/>
                    <a:pt x="3514" y="9951"/>
                  </a:cubicBezTo>
                  <a:lnTo>
                    <a:pt x="3514" y="586"/>
                  </a:lnTo>
                  <a:cubicBezTo>
                    <a:pt x="3514" y="262"/>
                    <a:pt x="3252" y="0"/>
                    <a:pt x="29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62"/>
            <p:cNvSpPr/>
            <p:nvPr/>
          </p:nvSpPr>
          <p:spPr>
            <a:xfrm>
              <a:off x="1385007" y="2621430"/>
              <a:ext cx="73337" cy="73337"/>
            </a:xfrm>
            <a:custGeom>
              <a:avLst/>
              <a:gdLst/>
              <a:ahLst/>
              <a:cxnLst/>
              <a:rect l="l" t="t" r="r" b="b"/>
              <a:pathLst>
                <a:path w="3514" h="3514" extrusionOk="0">
                  <a:moveTo>
                    <a:pt x="1757" y="1171"/>
                  </a:moveTo>
                  <a:cubicBezTo>
                    <a:pt x="2081" y="1171"/>
                    <a:pt x="2342" y="1435"/>
                    <a:pt x="2342" y="1757"/>
                  </a:cubicBezTo>
                  <a:cubicBezTo>
                    <a:pt x="2342" y="2080"/>
                    <a:pt x="2081" y="2342"/>
                    <a:pt x="1757" y="2342"/>
                  </a:cubicBezTo>
                  <a:cubicBezTo>
                    <a:pt x="1435" y="2342"/>
                    <a:pt x="1171" y="2080"/>
                    <a:pt x="1171" y="1757"/>
                  </a:cubicBezTo>
                  <a:cubicBezTo>
                    <a:pt x="1171" y="1435"/>
                    <a:pt x="1435" y="1171"/>
                    <a:pt x="1757" y="1171"/>
                  </a:cubicBezTo>
                  <a:close/>
                  <a:moveTo>
                    <a:pt x="1757" y="0"/>
                  </a:moveTo>
                  <a:cubicBezTo>
                    <a:pt x="789" y="0"/>
                    <a:pt x="0" y="789"/>
                    <a:pt x="0" y="1757"/>
                  </a:cubicBezTo>
                  <a:cubicBezTo>
                    <a:pt x="0" y="2726"/>
                    <a:pt x="789" y="3513"/>
                    <a:pt x="1757" y="3513"/>
                  </a:cubicBezTo>
                  <a:cubicBezTo>
                    <a:pt x="2726" y="3513"/>
                    <a:pt x="3514" y="2726"/>
                    <a:pt x="3514" y="1757"/>
                  </a:cubicBezTo>
                  <a:cubicBezTo>
                    <a:pt x="3514" y="789"/>
                    <a:pt x="2726" y="0"/>
                    <a:pt x="175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62"/>
            <p:cNvSpPr/>
            <p:nvPr/>
          </p:nvSpPr>
          <p:spPr>
            <a:xfrm>
              <a:off x="1482759" y="2718786"/>
              <a:ext cx="195510" cy="220304"/>
            </a:xfrm>
            <a:custGeom>
              <a:avLst/>
              <a:gdLst/>
              <a:ahLst/>
              <a:cxnLst/>
              <a:rect l="l" t="t" r="r" b="b"/>
              <a:pathLst>
                <a:path w="9368" h="10556" extrusionOk="0">
                  <a:moveTo>
                    <a:pt x="5559" y="1173"/>
                  </a:moveTo>
                  <a:cubicBezTo>
                    <a:pt x="5720" y="1173"/>
                    <a:pt x="5883" y="1186"/>
                    <a:pt x="6044" y="1212"/>
                  </a:cubicBezTo>
                  <a:cubicBezTo>
                    <a:pt x="7422" y="1435"/>
                    <a:pt x="8196" y="2535"/>
                    <a:pt x="8196" y="3669"/>
                  </a:cubicBezTo>
                  <a:lnTo>
                    <a:pt x="8196" y="9386"/>
                  </a:lnTo>
                  <a:lnTo>
                    <a:pt x="7025" y="9386"/>
                  </a:lnTo>
                  <a:lnTo>
                    <a:pt x="7025" y="4702"/>
                  </a:lnTo>
                  <a:cubicBezTo>
                    <a:pt x="7025" y="3411"/>
                    <a:pt x="5975" y="2360"/>
                    <a:pt x="4683" y="2360"/>
                  </a:cubicBezTo>
                  <a:cubicBezTo>
                    <a:pt x="3392" y="2360"/>
                    <a:pt x="2341" y="3411"/>
                    <a:pt x="2341" y="4702"/>
                  </a:cubicBezTo>
                  <a:lnTo>
                    <a:pt x="2341" y="9386"/>
                  </a:lnTo>
                  <a:lnTo>
                    <a:pt x="1170" y="9386"/>
                  </a:lnTo>
                  <a:lnTo>
                    <a:pt x="1170" y="1190"/>
                  </a:lnTo>
                  <a:lnTo>
                    <a:pt x="2341" y="1190"/>
                  </a:lnTo>
                  <a:lnTo>
                    <a:pt x="2341" y="1776"/>
                  </a:lnTo>
                  <a:cubicBezTo>
                    <a:pt x="2341" y="2011"/>
                    <a:pt x="2484" y="2225"/>
                    <a:pt x="2704" y="2316"/>
                  </a:cubicBezTo>
                  <a:cubicBezTo>
                    <a:pt x="2776" y="2346"/>
                    <a:pt x="2852" y="2361"/>
                    <a:pt x="2928" y="2361"/>
                  </a:cubicBezTo>
                  <a:cubicBezTo>
                    <a:pt x="3080" y="2361"/>
                    <a:pt x="3229" y="2301"/>
                    <a:pt x="3341" y="2190"/>
                  </a:cubicBezTo>
                  <a:lnTo>
                    <a:pt x="3615" y="1916"/>
                  </a:lnTo>
                  <a:cubicBezTo>
                    <a:pt x="4086" y="1443"/>
                    <a:pt x="4813" y="1173"/>
                    <a:pt x="5559" y="1173"/>
                  </a:cubicBezTo>
                  <a:close/>
                  <a:moveTo>
                    <a:pt x="5553" y="0"/>
                  </a:moveTo>
                  <a:cubicBezTo>
                    <a:pt x="4823" y="0"/>
                    <a:pt x="4110" y="189"/>
                    <a:pt x="3509" y="536"/>
                  </a:cubicBezTo>
                  <a:cubicBezTo>
                    <a:pt x="3475" y="246"/>
                    <a:pt x="3227" y="19"/>
                    <a:pt x="2927" y="19"/>
                  </a:cubicBezTo>
                  <a:lnTo>
                    <a:pt x="586" y="19"/>
                  </a:lnTo>
                  <a:cubicBezTo>
                    <a:pt x="262" y="19"/>
                    <a:pt x="1" y="281"/>
                    <a:pt x="1" y="605"/>
                  </a:cubicBezTo>
                  <a:lnTo>
                    <a:pt x="1" y="9970"/>
                  </a:lnTo>
                  <a:cubicBezTo>
                    <a:pt x="1" y="10294"/>
                    <a:pt x="262" y="10556"/>
                    <a:pt x="586" y="10556"/>
                  </a:cubicBezTo>
                  <a:lnTo>
                    <a:pt x="2927" y="10556"/>
                  </a:lnTo>
                  <a:cubicBezTo>
                    <a:pt x="3250" y="10556"/>
                    <a:pt x="3512" y="10294"/>
                    <a:pt x="3512" y="9970"/>
                  </a:cubicBezTo>
                  <a:lnTo>
                    <a:pt x="3512" y="4702"/>
                  </a:lnTo>
                  <a:cubicBezTo>
                    <a:pt x="3512" y="4056"/>
                    <a:pt x="4038" y="3531"/>
                    <a:pt x="4683" y="3531"/>
                  </a:cubicBezTo>
                  <a:cubicBezTo>
                    <a:pt x="5329" y="3531"/>
                    <a:pt x="5854" y="4056"/>
                    <a:pt x="5854" y="4702"/>
                  </a:cubicBezTo>
                  <a:lnTo>
                    <a:pt x="5854" y="9970"/>
                  </a:lnTo>
                  <a:cubicBezTo>
                    <a:pt x="5854" y="10294"/>
                    <a:pt x="6116" y="10556"/>
                    <a:pt x="6440" y="10556"/>
                  </a:cubicBezTo>
                  <a:lnTo>
                    <a:pt x="8782" y="10556"/>
                  </a:lnTo>
                  <a:cubicBezTo>
                    <a:pt x="9104" y="10556"/>
                    <a:pt x="9368" y="10294"/>
                    <a:pt x="9368" y="9970"/>
                  </a:cubicBezTo>
                  <a:lnTo>
                    <a:pt x="9368" y="3669"/>
                  </a:lnTo>
                  <a:cubicBezTo>
                    <a:pt x="9368" y="1921"/>
                    <a:pt x="8131" y="364"/>
                    <a:pt x="6231" y="55"/>
                  </a:cubicBezTo>
                  <a:cubicBezTo>
                    <a:pt x="6005" y="18"/>
                    <a:pt x="5779" y="0"/>
                    <a:pt x="55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62"/>
            <p:cNvSpPr/>
            <p:nvPr/>
          </p:nvSpPr>
          <p:spPr>
            <a:xfrm>
              <a:off x="1323129" y="2571761"/>
              <a:ext cx="417024" cy="417024"/>
            </a:xfrm>
            <a:custGeom>
              <a:avLst/>
              <a:gdLst/>
              <a:ahLst/>
              <a:cxnLst/>
              <a:rect l="l" t="t" r="r" b="b"/>
              <a:pathLst>
                <a:path w="19982" h="19982" extrusionOk="0">
                  <a:moveTo>
                    <a:pt x="17015" y="1170"/>
                  </a:moveTo>
                  <a:cubicBezTo>
                    <a:pt x="17989" y="1170"/>
                    <a:pt x="18810" y="1993"/>
                    <a:pt x="18810" y="2966"/>
                  </a:cubicBezTo>
                  <a:lnTo>
                    <a:pt x="18810" y="17015"/>
                  </a:lnTo>
                  <a:cubicBezTo>
                    <a:pt x="18810" y="17990"/>
                    <a:pt x="17989" y="18811"/>
                    <a:pt x="17015" y="18811"/>
                  </a:cubicBezTo>
                  <a:lnTo>
                    <a:pt x="2965" y="18811"/>
                  </a:lnTo>
                  <a:cubicBezTo>
                    <a:pt x="1992" y="18811"/>
                    <a:pt x="1170" y="17990"/>
                    <a:pt x="1170" y="17015"/>
                  </a:cubicBezTo>
                  <a:lnTo>
                    <a:pt x="1170" y="2966"/>
                  </a:lnTo>
                  <a:cubicBezTo>
                    <a:pt x="1170" y="1993"/>
                    <a:pt x="1992" y="1170"/>
                    <a:pt x="2965" y="1170"/>
                  </a:cubicBezTo>
                  <a:close/>
                  <a:moveTo>
                    <a:pt x="2965" y="1"/>
                  </a:moveTo>
                  <a:cubicBezTo>
                    <a:pt x="1347" y="1"/>
                    <a:pt x="0" y="1349"/>
                    <a:pt x="0" y="2966"/>
                  </a:cubicBezTo>
                  <a:lnTo>
                    <a:pt x="0" y="17015"/>
                  </a:lnTo>
                  <a:cubicBezTo>
                    <a:pt x="0" y="18635"/>
                    <a:pt x="1348" y="19982"/>
                    <a:pt x="2965" y="19982"/>
                  </a:cubicBezTo>
                  <a:lnTo>
                    <a:pt x="17017" y="19982"/>
                  </a:lnTo>
                  <a:cubicBezTo>
                    <a:pt x="18635" y="19982"/>
                    <a:pt x="19981" y="18634"/>
                    <a:pt x="19981" y="17015"/>
                  </a:cubicBezTo>
                  <a:lnTo>
                    <a:pt x="19981" y="2966"/>
                  </a:lnTo>
                  <a:cubicBezTo>
                    <a:pt x="19981" y="1347"/>
                    <a:pt x="18633" y="1"/>
                    <a:pt x="1701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1" name="Google Shape;661;p62"/>
          <p:cNvSpPr txBox="1"/>
          <p:nvPr/>
        </p:nvSpPr>
        <p:spPr>
          <a:xfrm>
            <a:off x="713225" y="4249600"/>
            <a:ext cx="3710400" cy="2532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1600"/>
              </a:spcAft>
              <a:buNone/>
            </a:pPr>
            <a:r>
              <a:rPr lang="en" sz="1200">
                <a:solidFill>
                  <a:schemeClr val="accent2"/>
                </a:solidFill>
                <a:latin typeface="Montserrat"/>
                <a:ea typeface="Montserrat"/>
                <a:cs typeface="Montserrat"/>
                <a:sym typeface="Montserrat"/>
              </a:rPr>
              <a:t>Please keep this slide for attribution</a:t>
            </a:r>
            <a:endParaRPr sz="1200">
              <a:solidFill>
                <a:schemeClr val="accent2"/>
              </a:solidFill>
              <a:latin typeface="Montserrat"/>
              <a:ea typeface="Montserrat"/>
              <a:cs typeface="Montserrat"/>
              <a:sym typeface="Montserrat"/>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63"/>
          <p:cNvSpPr txBox="1">
            <a:spLocks noGrp="1"/>
          </p:cNvSpPr>
          <p:nvPr>
            <p:ph type="title"/>
          </p:nvPr>
        </p:nvSpPr>
        <p:spPr>
          <a:xfrm>
            <a:off x="717800" y="383175"/>
            <a:ext cx="7708200" cy="740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Alternative Resources</a:t>
            </a:r>
            <a:endParaRPr/>
          </a:p>
        </p:txBody>
      </p:sp>
      <p:sp>
        <p:nvSpPr>
          <p:cNvPr id="667" name="Google Shape;667;p63"/>
          <p:cNvSpPr txBox="1">
            <a:spLocks noGrp="1"/>
          </p:cNvSpPr>
          <p:nvPr>
            <p:ph type="subTitle" idx="1"/>
          </p:nvPr>
        </p:nvSpPr>
        <p:spPr>
          <a:xfrm>
            <a:off x="717800" y="1255775"/>
            <a:ext cx="4631700" cy="339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b="1">
                <a:solidFill>
                  <a:schemeClr val="accent1"/>
                </a:solidFill>
              </a:rPr>
              <a:t>Photos:</a:t>
            </a:r>
            <a:endParaRPr b="1">
              <a:solidFill>
                <a:schemeClr val="accent1"/>
              </a:solidFill>
            </a:endParaRPr>
          </a:p>
          <a:p>
            <a:pPr marL="457200" marR="50800" lvl="0" indent="-317500" algn="l" rtl="0">
              <a:spcBef>
                <a:spcPts val="1600"/>
              </a:spcBef>
              <a:spcAft>
                <a:spcPts val="0"/>
              </a:spcAft>
              <a:buClr>
                <a:schemeClr val="dk2"/>
              </a:buClr>
              <a:buSzPts val="1400"/>
              <a:buChar char="●"/>
            </a:pPr>
            <a:r>
              <a:rPr lang="en">
                <a:uFill>
                  <a:noFill/>
                </a:uFill>
                <a:hlinkClick r:id="rId3"/>
              </a:rPr>
              <a:t>Side view businessman calculating finance numbers  </a:t>
            </a:r>
            <a:endParaRPr/>
          </a:p>
          <a:p>
            <a:pPr marL="457200" marR="50800" lvl="0" indent="-317500" algn="l" rtl="0">
              <a:spcBef>
                <a:spcPts val="0"/>
              </a:spcBef>
              <a:spcAft>
                <a:spcPts val="0"/>
              </a:spcAft>
              <a:buClr>
                <a:schemeClr val="dk2"/>
              </a:buClr>
              <a:buSzPts val="1400"/>
              <a:buChar char="●"/>
            </a:pPr>
            <a:r>
              <a:rPr lang="en">
                <a:uFill>
                  <a:noFill/>
                </a:uFill>
                <a:hlinkClick r:id="rId4"/>
              </a:rPr>
              <a:t>Happy woman working laptop</a:t>
            </a:r>
            <a:endParaRPr/>
          </a:p>
          <a:p>
            <a:pPr marL="457200" marR="50800" lvl="0" indent="-317500" algn="l" rtl="0">
              <a:spcBef>
                <a:spcPts val="0"/>
              </a:spcBef>
              <a:spcAft>
                <a:spcPts val="0"/>
              </a:spcAft>
              <a:buClr>
                <a:schemeClr val="dk2"/>
              </a:buClr>
              <a:buSzPts val="1400"/>
              <a:buChar char="●"/>
            </a:pPr>
            <a:r>
              <a:rPr lang="en">
                <a:uFill>
                  <a:noFill/>
                </a:uFill>
                <a:hlinkClick r:id="rId5"/>
              </a:rPr>
              <a:t>Close up woman working laptop</a:t>
            </a:r>
            <a:endParaRPr/>
          </a:p>
          <a:p>
            <a:pPr marL="457200" marR="50800" lvl="0" indent="-317500" algn="l" rtl="0">
              <a:spcBef>
                <a:spcPts val="0"/>
              </a:spcBef>
              <a:spcAft>
                <a:spcPts val="0"/>
              </a:spcAft>
              <a:buClr>
                <a:schemeClr val="dk2"/>
              </a:buClr>
              <a:buSzPts val="1400"/>
              <a:buChar char="●"/>
            </a:pPr>
            <a:r>
              <a:rPr lang="en">
                <a:uFill>
                  <a:noFill/>
                </a:uFill>
                <a:hlinkClick r:id="rId6"/>
              </a:rPr>
              <a:t>Man with laptop posing coworkers</a:t>
            </a:r>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671"/>
        <p:cNvGrpSpPr/>
        <p:nvPr/>
      </p:nvGrpSpPr>
      <p:grpSpPr>
        <a:xfrm>
          <a:off x="0" y="0"/>
          <a:ext cx="0" cy="0"/>
          <a:chOff x="0" y="0"/>
          <a:chExt cx="0" cy="0"/>
        </a:xfrm>
      </p:grpSpPr>
      <p:sp>
        <p:nvSpPr>
          <p:cNvPr id="672" name="Google Shape;672;p64"/>
          <p:cNvSpPr txBox="1">
            <a:spLocks noGrp="1"/>
          </p:cNvSpPr>
          <p:nvPr>
            <p:ph type="title"/>
          </p:nvPr>
        </p:nvSpPr>
        <p:spPr>
          <a:xfrm>
            <a:off x="717800" y="383175"/>
            <a:ext cx="7708200" cy="740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Resources</a:t>
            </a:r>
            <a:endParaRPr/>
          </a:p>
        </p:txBody>
      </p:sp>
      <p:sp>
        <p:nvSpPr>
          <p:cNvPr id="673" name="Google Shape;673;p64"/>
          <p:cNvSpPr txBox="1">
            <a:spLocks noGrp="1"/>
          </p:cNvSpPr>
          <p:nvPr>
            <p:ph type="subTitle" idx="1"/>
          </p:nvPr>
        </p:nvSpPr>
        <p:spPr>
          <a:xfrm>
            <a:off x="717800" y="1255775"/>
            <a:ext cx="4631700" cy="339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t>Did you like the resources on this template? Get them for free at our other websites. </a:t>
            </a:r>
            <a:endParaRPr/>
          </a:p>
          <a:p>
            <a:pPr marL="0" lvl="0" indent="0" algn="l" rtl="0">
              <a:spcBef>
                <a:spcPts val="1600"/>
              </a:spcBef>
              <a:spcAft>
                <a:spcPts val="0"/>
              </a:spcAft>
              <a:buClr>
                <a:schemeClr val="dk1"/>
              </a:buClr>
              <a:buSzPts val="1100"/>
              <a:buFont typeface="Arial"/>
              <a:buNone/>
            </a:pPr>
            <a:r>
              <a:rPr lang="en" b="1">
                <a:solidFill>
                  <a:schemeClr val="accent1"/>
                </a:solidFill>
              </a:rPr>
              <a:t>Photos:</a:t>
            </a:r>
            <a:endParaRPr b="1">
              <a:solidFill>
                <a:schemeClr val="accent1"/>
              </a:solidFill>
            </a:endParaRPr>
          </a:p>
          <a:p>
            <a:pPr marL="457200" marR="50800" lvl="0" indent="-317500" algn="l" rtl="0">
              <a:spcBef>
                <a:spcPts val="1600"/>
              </a:spcBef>
              <a:spcAft>
                <a:spcPts val="0"/>
              </a:spcAft>
              <a:buSzPts val="1400"/>
              <a:buChar char="●"/>
            </a:pPr>
            <a:r>
              <a:rPr lang="en">
                <a:uFill>
                  <a:noFill/>
                </a:uFill>
                <a:hlinkClick r:id="rId3"/>
              </a:rPr>
              <a:t>Business woman looking out window sitting office</a:t>
            </a:r>
            <a:endParaRPr/>
          </a:p>
          <a:p>
            <a:pPr marL="457200" marR="50800" lvl="0" indent="-317500" algn="l" rtl="0">
              <a:spcBef>
                <a:spcPts val="0"/>
              </a:spcBef>
              <a:spcAft>
                <a:spcPts val="0"/>
              </a:spcAft>
              <a:buSzPts val="1400"/>
              <a:buChar char="●"/>
            </a:pPr>
            <a:r>
              <a:rPr lang="en">
                <a:uFill>
                  <a:noFill/>
                </a:uFill>
                <a:hlinkClick r:id="rId4"/>
              </a:rPr>
              <a:t>Top view office desk with growth chart hands with keyboard</a:t>
            </a:r>
            <a:endParaRPr/>
          </a:p>
          <a:p>
            <a:pPr marL="457200" marR="50800" lvl="0" indent="-317500" algn="l" rtl="0">
              <a:spcBef>
                <a:spcPts val="0"/>
              </a:spcBef>
              <a:spcAft>
                <a:spcPts val="0"/>
              </a:spcAft>
              <a:buSzPts val="1400"/>
              <a:buChar char="●"/>
            </a:pPr>
            <a:r>
              <a:rPr lang="en">
                <a:uFill>
                  <a:noFill/>
                </a:uFill>
                <a:hlinkClick r:id="rId5"/>
              </a:rPr>
              <a:t>Front view elegant business woman using laptop with copy space</a:t>
            </a:r>
            <a:endParaRPr/>
          </a:p>
          <a:p>
            <a:pPr marL="457200" marR="50800" lvl="0" indent="-317500" algn="l" rtl="0">
              <a:spcBef>
                <a:spcPts val="0"/>
              </a:spcBef>
              <a:spcAft>
                <a:spcPts val="0"/>
              </a:spcAft>
              <a:buSzPts val="1400"/>
              <a:buChar char="●"/>
            </a:pPr>
            <a:r>
              <a:rPr lang="en">
                <a:uFill>
                  <a:noFill/>
                </a:uFill>
                <a:hlinkClick r:id="rId6"/>
              </a:rPr>
              <a:t>Business man enjoying day office</a:t>
            </a:r>
            <a:endParaRPr/>
          </a:p>
          <a:p>
            <a:pPr marL="0" marR="50800" lvl="0" indent="0" algn="l" rtl="0">
              <a:spcBef>
                <a:spcPts val="1600"/>
              </a:spcBef>
              <a:spcAft>
                <a:spcPts val="0"/>
              </a:spcAft>
              <a:buClr>
                <a:schemeClr val="dk1"/>
              </a:buClr>
              <a:buSzPts val="1100"/>
              <a:buFont typeface="Arial"/>
              <a:buNone/>
            </a:pPr>
            <a:endParaRPr>
              <a:solidFill>
                <a:srgbClr val="000043"/>
              </a:solidFill>
            </a:endParaRPr>
          </a:p>
          <a:p>
            <a:pPr marL="0" lvl="0" indent="0" algn="l" rtl="0">
              <a:spcBef>
                <a:spcPts val="1600"/>
              </a:spcBef>
              <a:spcAft>
                <a:spcPts val="160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77"/>
        <p:cNvGrpSpPr/>
        <p:nvPr/>
      </p:nvGrpSpPr>
      <p:grpSpPr>
        <a:xfrm>
          <a:off x="0" y="0"/>
          <a:ext cx="0" cy="0"/>
          <a:chOff x="0" y="0"/>
          <a:chExt cx="0" cy="0"/>
        </a:xfrm>
      </p:grpSpPr>
      <p:sp>
        <p:nvSpPr>
          <p:cNvPr id="678" name="Google Shape;678;p65"/>
          <p:cNvSpPr txBox="1">
            <a:spLocks noGrp="1"/>
          </p:cNvSpPr>
          <p:nvPr>
            <p:ph type="title" idx="4294967295"/>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 (</a:t>
            </a:r>
            <a:r>
              <a:rPr lang="en">
                <a:latin typeface="Arial"/>
                <a:ea typeface="Arial"/>
                <a:cs typeface="Arial"/>
                <a:sym typeface="Arial"/>
              </a:rPr>
              <a:t>free users)</a:t>
            </a:r>
            <a:endParaRPr>
              <a:solidFill>
                <a:srgbClr val="FFFFFF"/>
              </a:solidFill>
              <a:latin typeface="Arial"/>
              <a:ea typeface="Arial"/>
              <a:cs typeface="Arial"/>
              <a:sym typeface="Arial"/>
            </a:endParaRPr>
          </a:p>
        </p:txBody>
      </p:sp>
      <p:sp>
        <p:nvSpPr>
          <p:cNvPr id="679" name="Google Shape;679;p65"/>
          <p:cNvSpPr txBox="1">
            <a:spLocks noGrp="1"/>
          </p:cNvSpPr>
          <p:nvPr>
            <p:ph type="body" idx="4294967295"/>
          </p:nvPr>
        </p:nvSpPr>
        <p:spPr>
          <a:xfrm>
            <a:off x="1048350" y="6902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a:solidFill>
                  <a:srgbClr val="FFFFFF"/>
                </a:solidFill>
                <a:latin typeface="Arial"/>
                <a:ea typeface="Arial"/>
                <a:cs typeface="Arial"/>
                <a:sym typeface="Arial"/>
              </a:rPr>
              <a:t>In order to use this template, you must credit </a:t>
            </a:r>
            <a:r>
              <a:rPr lang="en" sz="1000" b="1" u="sng">
                <a:solidFill>
                  <a:srgbClr val="869FB2"/>
                </a:solidFill>
                <a:latin typeface="Arial"/>
                <a:ea typeface="Arial"/>
                <a:cs typeface="Arial"/>
                <a:sym typeface="Arial"/>
              </a:rPr>
              <a:t>S</a:t>
            </a:r>
            <a:r>
              <a:rPr lang="en"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by keeping the Thanks slide.</a:t>
            </a:r>
            <a:endParaRPr>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000" b="1">
                <a:solidFill>
                  <a:srgbClr val="869FB2"/>
                </a:solidFill>
                <a:latin typeface="Arial"/>
                <a:ea typeface="Arial"/>
                <a:cs typeface="Arial"/>
                <a:sym typeface="Arial"/>
              </a:rPr>
              <a:t>You are allowed to:</a:t>
            </a:r>
            <a:endParaRPr sz="1000" b="1">
              <a:solidFill>
                <a:srgbClr val="869FB2"/>
              </a:solidFill>
              <a:latin typeface="Arial"/>
              <a:ea typeface="Arial"/>
              <a:cs typeface="Arial"/>
              <a:sym typeface="Aria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latin typeface="Arial"/>
                <a:ea typeface="Arial"/>
                <a:cs typeface="Arial"/>
                <a:sym typeface="Arial"/>
              </a:rPr>
              <a:t>Modify this template.</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Use it for both personal and commercial purposes.</a:t>
            </a:r>
            <a:endParaRPr sz="10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000" b="1">
                <a:solidFill>
                  <a:srgbClr val="869FB2"/>
                </a:solidFill>
                <a:latin typeface="Arial"/>
                <a:ea typeface="Arial"/>
                <a:cs typeface="Arial"/>
                <a:sym typeface="Arial"/>
              </a:rPr>
              <a:t>You are not allowed to:</a:t>
            </a:r>
            <a:endParaRPr sz="1000" b="1">
              <a:solidFill>
                <a:srgbClr val="869FB2"/>
              </a:solidFill>
              <a:latin typeface="Arial"/>
              <a:ea typeface="Arial"/>
              <a:cs typeface="Arial"/>
              <a:sym typeface="Aria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latin typeface="Arial"/>
                <a:ea typeface="Arial"/>
                <a:cs typeface="Arial"/>
                <a:sym typeface="Arial"/>
              </a:rPr>
              <a:t>Sublicense, sell or rent any of Slidesgo Content (or a modified version of Slidesgo Content).</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Use any of the elements that are part of this Slidesgo Template in an isolated and separated way from this Template.</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Delete the “Thanks” or “Credits” slide.</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Register any of the elements that are part of this template as a trademark or logo, or register it as a work in an intellectual property registry or similar.</a:t>
            </a:r>
            <a:endParaRPr sz="1000">
              <a:solidFill>
                <a:srgbClr val="FFFFFF"/>
              </a:solidFill>
              <a:latin typeface="Arial"/>
              <a:ea typeface="Arial"/>
              <a:cs typeface="Arial"/>
              <a:sym typeface="Arial"/>
            </a:endParaRPr>
          </a:p>
          <a:p>
            <a:pPr marL="0" lvl="0" indent="0" algn="l" rtl="0">
              <a:lnSpc>
                <a:spcPct val="115000"/>
              </a:lnSpc>
              <a:spcBef>
                <a:spcPts val="0"/>
              </a:spcBef>
              <a:spcAft>
                <a:spcPts val="0"/>
              </a:spcAft>
              <a:buNone/>
            </a:pPr>
            <a:endParaRPr sz="1000">
              <a:solidFill>
                <a:srgbClr val="FFFFFF"/>
              </a:solidFill>
              <a:latin typeface="Arial"/>
              <a:ea typeface="Arial"/>
              <a:cs typeface="Arial"/>
              <a:sym typeface="Arial"/>
            </a:endParaRPr>
          </a:p>
          <a:p>
            <a:pPr marL="0" lvl="0" indent="0" algn="ctr" rtl="0">
              <a:spcBef>
                <a:spcPts val="0"/>
              </a:spcBef>
              <a:spcAft>
                <a:spcPts val="0"/>
              </a:spcAft>
              <a:buNone/>
            </a:pPr>
            <a:endParaRPr sz="1000">
              <a:solidFill>
                <a:srgbClr val="435D74"/>
              </a:solidFill>
              <a:latin typeface="Arial"/>
              <a:ea typeface="Arial"/>
              <a:cs typeface="Arial"/>
              <a:sym typeface="Arial"/>
            </a:endParaRPr>
          </a:p>
          <a:p>
            <a:pPr marL="0" lvl="0" indent="0" algn="ctr" rtl="0">
              <a:spcBef>
                <a:spcPts val="0"/>
              </a:spcBef>
              <a:spcAft>
                <a:spcPts val="0"/>
              </a:spcAft>
              <a:buNone/>
            </a:pPr>
            <a:endParaRPr sz="1300">
              <a:solidFill>
                <a:srgbClr val="435D74"/>
              </a:solidFill>
              <a:latin typeface="Arial"/>
              <a:ea typeface="Arial"/>
              <a:cs typeface="Arial"/>
              <a:sym typeface="Arial"/>
            </a:endParaRPr>
          </a:p>
          <a:p>
            <a:pPr marL="0" lvl="0" indent="0" algn="l" rtl="0">
              <a:spcBef>
                <a:spcPts val="0"/>
              </a:spcBef>
              <a:spcAft>
                <a:spcPts val="0"/>
              </a:spcAft>
              <a:buNone/>
            </a:pPr>
            <a:endParaRPr sz="1300">
              <a:solidFill>
                <a:srgbClr val="435D74"/>
              </a:solidFill>
              <a:latin typeface="Arial"/>
              <a:ea typeface="Arial"/>
              <a:cs typeface="Arial"/>
              <a:sym typeface="Arial"/>
            </a:endParaRPr>
          </a:p>
        </p:txBody>
      </p:sp>
      <p:sp>
        <p:nvSpPr>
          <p:cNvPr id="680" name="Google Shape;680;p65"/>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a:t>
            </a:r>
            <a:r>
              <a:rPr lang="en" sz="900">
                <a:solidFill>
                  <a:srgbClr val="FFFFFF"/>
                </a:solidFill>
              </a:rPr>
              <a:t>read </a:t>
            </a:r>
            <a:r>
              <a:rPr lang="en" sz="1000">
                <a:solidFill>
                  <a:srgbClr val="FFFFFF"/>
                </a:solidFill>
              </a:rPr>
              <a:t>our FAQs or visit Slidesgo School:</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4">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5">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84"/>
        <p:cNvGrpSpPr/>
        <p:nvPr/>
      </p:nvGrpSpPr>
      <p:grpSpPr>
        <a:xfrm>
          <a:off x="0" y="0"/>
          <a:ext cx="0" cy="0"/>
          <a:chOff x="0" y="0"/>
          <a:chExt cx="0" cy="0"/>
        </a:xfrm>
      </p:grpSpPr>
      <p:sp>
        <p:nvSpPr>
          <p:cNvPr id="685" name="Google Shape;685;p66"/>
          <p:cNvSpPr txBox="1">
            <a:spLocks noGrp="1"/>
          </p:cNvSpPr>
          <p:nvPr>
            <p:ph type="title" idx="4294967295"/>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 (premium users)</a:t>
            </a:r>
            <a:endParaRPr>
              <a:solidFill>
                <a:srgbClr val="FFFFFF"/>
              </a:solidFill>
              <a:latin typeface="Arial"/>
              <a:ea typeface="Arial"/>
              <a:cs typeface="Arial"/>
              <a:sym typeface="Arial"/>
            </a:endParaRPr>
          </a:p>
        </p:txBody>
      </p:sp>
      <p:sp>
        <p:nvSpPr>
          <p:cNvPr id="686" name="Google Shape;686;p66"/>
          <p:cNvSpPr txBox="1">
            <a:spLocks noGrp="1"/>
          </p:cNvSpPr>
          <p:nvPr>
            <p:ph type="body" idx="4294967295"/>
          </p:nvPr>
        </p:nvSpPr>
        <p:spPr>
          <a:xfrm>
            <a:off x="1048350" y="6902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a:solidFill>
                  <a:srgbClr val="FFFFFF"/>
                </a:solidFill>
                <a:latin typeface="Arial"/>
                <a:ea typeface="Arial"/>
                <a:cs typeface="Arial"/>
                <a:sym typeface="Arial"/>
              </a:rPr>
              <a:t>In order to use this template, you must be a Premium user on </a:t>
            </a:r>
            <a:r>
              <a:rPr lang="en" sz="1000" b="1" u="sng">
                <a:solidFill>
                  <a:srgbClr val="869FB2"/>
                </a:solidFill>
                <a:latin typeface="Arial"/>
                <a:ea typeface="Arial"/>
                <a:cs typeface="Arial"/>
                <a:sym typeface="Arial"/>
              </a:rPr>
              <a:t>S</a:t>
            </a:r>
            <a:r>
              <a:rPr lang="en"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000" b="1">
                <a:solidFill>
                  <a:srgbClr val="869FB2"/>
                </a:solidFill>
                <a:latin typeface="Arial"/>
                <a:ea typeface="Arial"/>
                <a:cs typeface="Arial"/>
                <a:sym typeface="Arial"/>
              </a:rPr>
              <a:t>You are allowed to:</a:t>
            </a:r>
            <a:endParaRPr sz="1000" b="1">
              <a:solidFill>
                <a:srgbClr val="869FB2"/>
              </a:solidFill>
              <a:latin typeface="Arial"/>
              <a:ea typeface="Arial"/>
              <a:cs typeface="Arial"/>
              <a:sym typeface="Aria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latin typeface="Arial"/>
                <a:ea typeface="Arial"/>
                <a:cs typeface="Arial"/>
                <a:sym typeface="Arial"/>
              </a:rPr>
              <a:t>Modify this template.</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Use it for both personal and commercial purposes.</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Hide or delete the “Thanks” slide and the mention to Slidesgo in the credits.</a:t>
            </a:r>
            <a:endParaRPr sz="1000">
              <a:solidFill>
                <a:srgbClr val="FFFFFF"/>
              </a:solidFill>
              <a:latin typeface="Arial"/>
              <a:ea typeface="Arial"/>
              <a:cs typeface="Arial"/>
              <a:sym typeface="Aria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Share this template in an editable format with people who are not part of your team.</a:t>
            </a:r>
            <a:endParaRPr sz="10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000" b="1">
                <a:solidFill>
                  <a:srgbClr val="869FB2"/>
                </a:solidFill>
                <a:latin typeface="Arial"/>
                <a:ea typeface="Arial"/>
                <a:cs typeface="Arial"/>
                <a:sym typeface="Arial"/>
              </a:rPr>
              <a:t>You are not allowed to:</a:t>
            </a:r>
            <a:endParaRPr sz="1000" b="1">
              <a:solidFill>
                <a:srgbClr val="869FB2"/>
              </a:solidFill>
              <a:latin typeface="Arial"/>
              <a:ea typeface="Arial"/>
              <a:cs typeface="Arial"/>
              <a:sym typeface="Arial"/>
            </a:endParaRPr>
          </a:p>
          <a:p>
            <a:pPr marL="457200" lvl="0" indent="-292100" algn="l" rtl="0">
              <a:spcBef>
                <a:spcPts val="400"/>
              </a:spcBef>
              <a:spcAft>
                <a:spcPts val="0"/>
              </a:spcAft>
              <a:buClr>
                <a:srgbClr val="FFFFFF"/>
              </a:buClr>
              <a:buSzPts val="1000"/>
              <a:buFont typeface="Arial"/>
              <a:buChar char="●"/>
            </a:pPr>
            <a:r>
              <a:rPr lang="en" sz="1000">
                <a:solidFill>
                  <a:srgbClr val="FFFFFF"/>
                </a:solidFill>
                <a:latin typeface="Arial"/>
                <a:ea typeface="Arial"/>
                <a:cs typeface="Arial"/>
                <a:sym typeface="Arial"/>
              </a:rPr>
              <a:t>Sublicense, sell or rent this Slidesgo Template (or a modified version of this Slidesgo Template).</a:t>
            </a:r>
            <a:endParaRPr sz="1000">
              <a:solidFill>
                <a:srgbClr val="FFFFFF"/>
              </a:solidFill>
              <a:latin typeface="Arial"/>
              <a:ea typeface="Arial"/>
              <a:cs typeface="Arial"/>
              <a:sym typeface="Arial"/>
            </a:endParaRPr>
          </a:p>
          <a:p>
            <a:pPr marL="457200" lvl="0" indent="-292100" algn="l" rtl="0">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latin typeface="Arial"/>
              <a:ea typeface="Arial"/>
              <a:cs typeface="Arial"/>
              <a:sym typeface="Arial"/>
            </a:endParaRPr>
          </a:p>
          <a:p>
            <a:pPr marL="457200" lvl="0" indent="-292100" algn="l" rtl="0">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Use any of the elements that are part of this Slidesgo Template in an isolated and separated way from this Template.</a:t>
            </a:r>
            <a:endParaRPr sz="1000">
              <a:solidFill>
                <a:srgbClr val="FFFFFF"/>
              </a:solidFill>
              <a:latin typeface="Arial"/>
              <a:ea typeface="Arial"/>
              <a:cs typeface="Arial"/>
              <a:sym typeface="Arial"/>
            </a:endParaRPr>
          </a:p>
          <a:p>
            <a:pPr marL="457200" lvl="0" indent="-292100" algn="l" rtl="0">
              <a:spcBef>
                <a:spcPts val="0"/>
              </a:spcBef>
              <a:spcAft>
                <a:spcPts val="0"/>
              </a:spcAft>
              <a:buClr>
                <a:srgbClr val="FFFFFF"/>
              </a:buClr>
              <a:buSzPts val="1000"/>
              <a:buFont typeface="Arial"/>
              <a:buChar char="●"/>
            </a:pPr>
            <a:r>
              <a:rPr lang="en" sz="1000">
                <a:solidFill>
                  <a:srgbClr val="FFFFFF"/>
                </a:solidFill>
                <a:latin typeface="Arial"/>
                <a:ea typeface="Arial"/>
                <a:cs typeface="Arial"/>
                <a:sym typeface="Arial"/>
              </a:rPr>
              <a:t>Register any of the elements that are part of this template as a trademark or logo, or register it as a work in an intellectual property registry or similar.</a:t>
            </a:r>
            <a:endParaRPr sz="1000">
              <a:solidFill>
                <a:srgbClr val="FFFFFF"/>
              </a:solidFill>
              <a:latin typeface="Arial"/>
              <a:ea typeface="Arial"/>
              <a:cs typeface="Arial"/>
              <a:sym typeface="Arial"/>
            </a:endParaRPr>
          </a:p>
          <a:p>
            <a:pPr marL="0" lvl="0" indent="0" algn="l" rtl="0">
              <a:spcBef>
                <a:spcPts val="0"/>
              </a:spcBef>
              <a:spcAft>
                <a:spcPts val="0"/>
              </a:spcAft>
              <a:buNone/>
            </a:pPr>
            <a:endParaRPr sz="1000">
              <a:solidFill>
                <a:srgbClr val="FFFFFF"/>
              </a:solidFill>
              <a:latin typeface="Arial"/>
              <a:ea typeface="Arial"/>
              <a:cs typeface="Arial"/>
              <a:sym typeface="Arial"/>
            </a:endParaRPr>
          </a:p>
          <a:p>
            <a:pPr marL="0" lvl="0" indent="0" algn="l" rtl="0">
              <a:spcBef>
                <a:spcPts val="0"/>
              </a:spcBef>
              <a:spcAft>
                <a:spcPts val="0"/>
              </a:spcAft>
              <a:buNone/>
            </a:pPr>
            <a:endParaRPr sz="1000">
              <a:solidFill>
                <a:srgbClr val="FFFFFF"/>
              </a:solidFill>
              <a:latin typeface="Arial"/>
              <a:ea typeface="Arial"/>
              <a:cs typeface="Arial"/>
              <a:sym typeface="Arial"/>
            </a:endParaRPr>
          </a:p>
        </p:txBody>
      </p:sp>
      <p:sp>
        <p:nvSpPr>
          <p:cNvPr id="687" name="Google Shape;687;p66"/>
          <p:cNvSpPr txBox="1">
            <a:spLocks noGrp="1"/>
          </p:cNvSpPr>
          <p:nvPr>
            <p:ph type="body" idx="4294967295"/>
          </p:nvPr>
        </p:nvSpPr>
        <p:spPr>
          <a:xfrm>
            <a:off x="1048350" y="4314290"/>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000">
                <a:solidFill>
                  <a:srgbClr val="FFFFFF"/>
                </a:solidFill>
                <a:latin typeface="Arial"/>
                <a:ea typeface="Arial"/>
                <a:cs typeface="Arial"/>
                <a:sym typeface="Arial"/>
              </a:rPr>
              <a:t>For more information about editing slides, please </a:t>
            </a:r>
            <a:r>
              <a:rPr lang="en" sz="900">
                <a:solidFill>
                  <a:srgbClr val="FFFFFF"/>
                </a:solidFill>
                <a:latin typeface="Arial"/>
                <a:ea typeface="Arial"/>
                <a:cs typeface="Arial"/>
                <a:sym typeface="Arial"/>
              </a:rPr>
              <a:t>read </a:t>
            </a:r>
            <a:r>
              <a:rPr lang="en" sz="1000">
                <a:solidFill>
                  <a:srgbClr val="FFFFFF"/>
                </a:solidFill>
                <a:latin typeface="Arial"/>
                <a:ea typeface="Arial"/>
                <a:cs typeface="Arial"/>
                <a:sym typeface="Arial"/>
              </a:rPr>
              <a:t>our FAQs or visit Slidesgo School:</a:t>
            </a:r>
            <a:endParaRPr sz="1000">
              <a:solidFill>
                <a:srgbClr val="FFFFFF"/>
              </a:solidFill>
              <a:latin typeface="Arial"/>
              <a:ea typeface="Arial"/>
              <a:cs typeface="Arial"/>
              <a:sym typeface="Arial"/>
            </a:endParaRPr>
          </a:p>
          <a:p>
            <a:pPr marL="0" lvl="0" indent="0" algn="ctr" rtl="0">
              <a:spcBef>
                <a:spcPts val="0"/>
              </a:spcBef>
              <a:spcAft>
                <a:spcPts val="0"/>
              </a:spcAft>
              <a:buNone/>
            </a:pPr>
            <a:r>
              <a:rPr lang="en" sz="1000" u="sng">
                <a:solidFill>
                  <a:srgbClr val="869FB2"/>
                </a:solidFill>
                <a:latin typeface="Arial"/>
                <a:ea typeface="Arial"/>
                <a:cs typeface="Arial"/>
                <a:sym typeface="Arial"/>
                <a:hlinkClick r:id="rId4">
                  <a:extLst>
                    <a:ext uri="{A12FA001-AC4F-418D-AE19-62706E023703}">
                      <ahyp:hlinkClr xmlns:ahyp="http://schemas.microsoft.com/office/drawing/2018/hyperlinkcolor" val="tx"/>
                    </a:ext>
                  </a:extLst>
                </a:hlinkClick>
              </a:rPr>
              <a:t>https://slidesgo.com/faqs</a:t>
            </a:r>
            <a:r>
              <a:rPr lang="en" sz="1200">
                <a:solidFill>
                  <a:srgbClr val="FFFFFF"/>
                </a:solidFill>
                <a:latin typeface="Arial"/>
                <a:ea typeface="Arial"/>
                <a:cs typeface="Arial"/>
                <a:sym typeface="Arial"/>
              </a:rPr>
              <a:t> </a:t>
            </a:r>
            <a:r>
              <a:rPr lang="en" sz="1000">
                <a:solidFill>
                  <a:srgbClr val="FFFFFF"/>
                </a:solidFill>
                <a:latin typeface="Arial"/>
                <a:ea typeface="Arial"/>
                <a:cs typeface="Arial"/>
                <a:sym typeface="Arial"/>
              </a:rPr>
              <a:t>and</a:t>
            </a:r>
            <a:r>
              <a:rPr lang="en" sz="1200">
                <a:solidFill>
                  <a:srgbClr val="FFFFFF"/>
                </a:solidFill>
                <a:latin typeface="Arial"/>
                <a:ea typeface="Arial"/>
                <a:cs typeface="Arial"/>
                <a:sym typeface="Arial"/>
              </a:rPr>
              <a:t> </a:t>
            </a:r>
            <a:r>
              <a:rPr lang="en" sz="10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slidesgo-school</a:t>
            </a:r>
            <a:endParaRPr sz="1000" u="sng">
              <a:solidFill>
                <a:srgbClr val="869FB2"/>
              </a:solidFill>
              <a:latin typeface="Arial"/>
              <a:ea typeface="Arial"/>
              <a:cs typeface="Arial"/>
              <a:sym typeface="Arial"/>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91"/>
        <p:cNvGrpSpPr/>
        <p:nvPr/>
      </p:nvGrpSpPr>
      <p:grpSpPr>
        <a:xfrm>
          <a:off x="0" y="0"/>
          <a:ext cx="0" cy="0"/>
          <a:chOff x="0" y="0"/>
          <a:chExt cx="0" cy="0"/>
        </a:xfrm>
      </p:grpSpPr>
      <p:sp>
        <p:nvSpPr>
          <p:cNvPr id="692" name="Google Shape;692;p67"/>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693" name="Google Shape;693;p67"/>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694" name="Google Shape;694;p67"/>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rgbClr val="EFEFEF"/>
                </a:solidFill>
                <a:latin typeface="Arial"/>
                <a:ea typeface="Arial"/>
                <a:cs typeface="Arial"/>
                <a:sym typeface="Arial"/>
              </a:rPr>
              <a:t>Montserrat</a:t>
            </a:r>
            <a:endParaRPr b="1">
              <a:solidFill>
                <a:srgbClr val="EFEFE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Montserrat</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a:solidFill>
                <a:srgbClr val="FFFFFF"/>
              </a:solidFill>
              <a:latin typeface="Arial"/>
              <a:ea typeface="Arial"/>
              <a:cs typeface="Arial"/>
              <a:sym typeface="Arial"/>
            </a:endParaRPr>
          </a:p>
        </p:txBody>
      </p:sp>
      <p:grpSp>
        <p:nvGrpSpPr>
          <p:cNvPr id="695" name="Google Shape;695;p67"/>
          <p:cNvGrpSpPr/>
          <p:nvPr/>
        </p:nvGrpSpPr>
        <p:grpSpPr>
          <a:xfrm>
            <a:off x="2064113" y="3336175"/>
            <a:ext cx="3976875" cy="754200"/>
            <a:chOff x="2052655" y="3498875"/>
            <a:chExt cx="3976875" cy="754200"/>
          </a:xfrm>
        </p:grpSpPr>
        <p:sp>
          <p:nvSpPr>
            <p:cNvPr id="696" name="Google Shape;696;p67"/>
            <p:cNvSpPr/>
            <p:nvPr/>
          </p:nvSpPr>
          <p:spPr>
            <a:xfrm>
              <a:off x="3114480" y="3498875"/>
              <a:ext cx="791400" cy="754200"/>
            </a:xfrm>
            <a:prstGeom prst="roundRect">
              <a:avLst>
                <a:gd name="adj" fmla="val 16667"/>
              </a:avLst>
            </a:prstGeom>
            <a:solidFill>
              <a:srgbClr val="01010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67"/>
            <p:cNvSpPr/>
            <p:nvPr/>
          </p:nvSpPr>
          <p:spPr>
            <a:xfrm>
              <a:off x="4176300" y="3498875"/>
              <a:ext cx="791400" cy="754200"/>
            </a:xfrm>
            <a:prstGeom prst="roundRect">
              <a:avLst>
                <a:gd name="adj" fmla="val 16667"/>
              </a:avLst>
            </a:prstGeom>
            <a:solidFill>
              <a:srgbClr val="D38B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67"/>
            <p:cNvSpPr/>
            <p:nvPr/>
          </p:nvSpPr>
          <p:spPr>
            <a:xfrm>
              <a:off x="5238120" y="3498875"/>
              <a:ext cx="791400" cy="754200"/>
            </a:xfrm>
            <a:prstGeom prst="roundRect">
              <a:avLst>
                <a:gd name="adj" fmla="val 16667"/>
              </a:avLst>
            </a:prstGeom>
            <a:solidFill>
              <a:srgbClr val="3E3E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67"/>
            <p:cNvSpPr/>
            <p:nvPr/>
          </p:nvSpPr>
          <p:spPr>
            <a:xfrm>
              <a:off x="2052655" y="3498875"/>
              <a:ext cx="791400" cy="754200"/>
            </a:xfrm>
            <a:prstGeom prst="roundRect">
              <a:avLst>
                <a:gd name="adj" fmla="val 16667"/>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67"/>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0000</a:t>
              </a:r>
              <a:endParaRPr sz="1000">
                <a:solidFill>
                  <a:srgbClr val="FCFCFC"/>
                </a:solidFill>
              </a:endParaRPr>
            </a:p>
          </p:txBody>
        </p:sp>
        <p:sp>
          <p:nvSpPr>
            <p:cNvPr id="701" name="Google Shape;701;p67"/>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d38b13</a:t>
              </a:r>
              <a:endParaRPr sz="1000">
                <a:solidFill>
                  <a:srgbClr val="FFFFFF"/>
                </a:solidFill>
              </a:endParaRPr>
            </a:p>
          </p:txBody>
        </p:sp>
        <p:sp>
          <p:nvSpPr>
            <p:cNvPr id="702" name="Google Shape;702;p67"/>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3e3e3e</a:t>
              </a:r>
              <a:endParaRPr sz="1000">
                <a:solidFill>
                  <a:srgbClr val="FFFFFF"/>
                </a:solidFill>
              </a:endParaRPr>
            </a:p>
          </p:txBody>
        </p:sp>
        <p:sp>
          <p:nvSpPr>
            <p:cNvPr id="703" name="Google Shape;703;p67"/>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t>#ffffffff</a:t>
              </a:r>
              <a:endParaRPr sz="1000"/>
            </a:p>
          </p:txBody>
        </p:sp>
      </p:grpSp>
      <p:grpSp>
        <p:nvGrpSpPr>
          <p:cNvPr id="704" name="Google Shape;704;p67"/>
          <p:cNvGrpSpPr/>
          <p:nvPr/>
        </p:nvGrpSpPr>
        <p:grpSpPr>
          <a:xfrm>
            <a:off x="6288452" y="3336175"/>
            <a:ext cx="791411" cy="754200"/>
            <a:chOff x="5238120" y="3498875"/>
            <a:chExt cx="791411" cy="754200"/>
          </a:xfrm>
        </p:grpSpPr>
        <p:sp>
          <p:nvSpPr>
            <p:cNvPr id="705" name="Google Shape;705;p67"/>
            <p:cNvSpPr/>
            <p:nvPr/>
          </p:nvSpPr>
          <p:spPr>
            <a:xfrm>
              <a:off x="5238120" y="3498875"/>
              <a:ext cx="791400" cy="754200"/>
            </a:xfrm>
            <a:prstGeom prst="roundRect">
              <a:avLst>
                <a:gd name="adj" fmla="val 16667"/>
              </a:avLst>
            </a:prstGeom>
            <a:solidFill>
              <a:srgbClr val="FFCD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67"/>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t>#ffcd76</a:t>
              </a:r>
              <a:endParaRPr sz="1000"/>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E7671C4C-2D54-C9D1-F777-F26816826A4D}"/>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7F1AF7C0-94FE-915E-0F50-4B9D70025493}"/>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B16FC411-FA14-B7A7-EE56-8960627C9585}"/>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0"/>
            <a:r>
              <a:rPr lang="de-DE" sz="1000" err="1"/>
              <a:t>PyWebIO</a:t>
            </a:r>
            <a:r>
              <a:rPr lang="de-DE" sz="1000"/>
              <a:t> ist ein Python-Framework, das es ermöglicht, interaktive Webanwendungen ohne tiefgehende Kenntnisse in HTML, CSS oder JavaScript zu erstellen. Es verwandelt den Browser in ein “reichhaltiges Textterminal”, wodurch Entwickler Anwendungen ähnlich wie Konsolenskripte schreiben können, jedoch mit einer webbasierten Benutzeroberfläche. </a:t>
            </a:r>
          </a:p>
        </p:txBody>
      </p:sp>
      <p:sp>
        <p:nvSpPr>
          <p:cNvPr id="643" name="Google Shape;643;p61">
            <a:extLst>
              <a:ext uri="{FF2B5EF4-FFF2-40B4-BE49-F238E27FC236}">
                <a16:creationId xmlns:a16="http://schemas.microsoft.com/office/drawing/2014/main" id="{511F0962-C241-A86C-2421-C171478CC6AF}"/>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PyWebIO</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CEE0A6A7-E753-EB9E-8C96-31600031464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0692E25F-B15A-0565-F3B2-2D9F1EC0423B}"/>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r>
              <a:rPr lang="de-DE" sz="1000" b="1">
                <a:solidFill>
                  <a:schemeClr val="tx1"/>
                </a:solidFill>
                <a:effectLst/>
                <a:latin typeface=".AppleSystemUIFont"/>
              </a:rPr>
              <a:t>Imperative Programmierung:</a:t>
            </a:r>
            <a:r>
              <a:rPr lang="de-DE" sz="1000">
                <a:solidFill>
                  <a:schemeClr val="tx1"/>
                </a:solidFill>
                <a:effectLst/>
                <a:latin typeface=".AppleSystemUIFont"/>
              </a:rPr>
              <a:t> Ermöglicht die Entwicklung von Webanwendungen in einem skriptbasierten Ansatz, ähnlich wie bei der Erstellung von Konsolenanwendungen.</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Eingabe- und Ausgabefunktionen:</a:t>
            </a:r>
            <a:r>
              <a:rPr lang="de-DE" sz="1000">
                <a:solidFill>
                  <a:schemeClr val="tx1"/>
                </a:solidFill>
                <a:effectLst/>
                <a:latin typeface=".AppleSystemUIFont"/>
              </a:rPr>
              <a:t> Bietet eine Vielzahl von Funktionen zur Erfassung von Benutzereingaben und zur Ausgabe von Inhalten im Browser.</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Integration:</a:t>
            </a:r>
            <a:r>
              <a:rPr lang="de-DE" sz="1000">
                <a:solidFill>
                  <a:schemeClr val="tx1"/>
                </a:solidFill>
                <a:effectLst/>
                <a:latin typeface=".AppleSystemUIFont"/>
              </a:rPr>
              <a:t> Kann eigenständig betrieben oder in bestehende Web-Frameworks wie </a:t>
            </a:r>
            <a:r>
              <a:rPr lang="de-DE" sz="1000" err="1">
                <a:solidFill>
                  <a:schemeClr val="tx1"/>
                </a:solidFill>
                <a:effectLst/>
                <a:latin typeface=".AppleSystemUIFont"/>
              </a:rPr>
              <a:t>Flask</a:t>
            </a:r>
            <a:r>
              <a:rPr lang="de-DE" sz="1000">
                <a:solidFill>
                  <a:schemeClr val="tx1"/>
                </a:solidFill>
                <a:effectLst/>
                <a:latin typeface=".AppleSystemUIFont"/>
              </a:rPr>
              <a:t>, Django, Tornado, </a:t>
            </a:r>
            <a:r>
              <a:rPr lang="de-DE" sz="1000" err="1">
                <a:solidFill>
                  <a:schemeClr val="tx1"/>
                </a:solidFill>
                <a:effectLst/>
                <a:latin typeface=".AppleSystemUIFont"/>
              </a:rPr>
              <a:t>aiohttp</a:t>
            </a:r>
            <a:r>
              <a:rPr lang="de-DE" sz="1000">
                <a:solidFill>
                  <a:schemeClr val="tx1"/>
                </a:solidFill>
                <a:effectLst/>
                <a:latin typeface=".AppleSystemUIFont"/>
              </a:rPr>
              <a:t> und </a:t>
            </a:r>
            <a:r>
              <a:rPr lang="de-DE" sz="1000" err="1">
                <a:solidFill>
                  <a:schemeClr val="tx1"/>
                </a:solidFill>
                <a:effectLst/>
                <a:latin typeface=".AppleSystemUIFont"/>
              </a:rPr>
              <a:t>FastAPI</a:t>
            </a:r>
            <a:r>
              <a:rPr lang="de-DE" sz="1000">
                <a:solidFill>
                  <a:schemeClr val="tx1"/>
                </a:solidFill>
                <a:effectLst/>
                <a:latin typeface=".AppleSystemUIFont"/>
              </a:rPr>
              <a:t> integriert werden. </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Asynchrone Unterstützung:</a:t>
            </a:r>
            <a:r>
              <a:rPr lang="de-DE" sz="1000">
                <a:solidFill>
                  <a:schemeClr val="tx1"/>
                </a:solidFill>
                <a:effectLst/>
                <a:latin typeface=".AppleSystemUIFont"/>
              </a:rPr>
              <a:t> Unterstützt </a:t>
            </a:r>
            <a:r>
              <a:rPr lang="de-DE" sz="1000" err="1">
                <a:solidFill>
                  <a:schemeClr val="tx1"/>
                </a:solidFill>
                <a:effectLst/>
                <a:latin typeface=".AppleSystemUIFontMonospaced"/>
              </a:rPr>
              <a:t>asyncio</a:t>
            </a:r>
            <a:r>
              <a:rPr lang="de-DE" sz="1000">
                <a:solidFill>
                  <a:schemeClr val="tx1"/>
                </a:solidFill>
                <a:effectLst/>
                <a:latin typeface=".AppleSystemUIFont"/>
              </a:rPr>
              <a:t> und </a:t>
            </a:r>
            <a:r>
              <a:rPr lang="de-DE" sz="1000" err="1">
                <a:solidFill>
                  <a:schemeClr val="tx1"/>
                </a:solidFill>
                <a:effectLst/>
                <a:latin typeface=".AppleSystemUIFont"/>
              </a:rPr>
              <a:t>Koroutinen</a:t>
            </a:r>
            <a:r>
              <a:rPr lang="de-DE" sz="1000">
                <a:solidFill>
                  <a:schemeClr val="tx1"/>
                </a:solidFill>
                <a:effectLst/>
                <a:latin typeface=".AppleSystemUIFont"/>
              </a:rPr>
              <a:t> für die Entwicklung asynchroner Anwendungen.</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Datenvisualisierung:</a:t>
            </a:r>
            <a:r>
              <a:rPr lang="de-DE" sz="1000">
                <a:solidFill>
                  <a:schemeClr val="tx1"/>
                </a:solidFill>
                <a:effectLst/>
                <a:latin typeface=".AppleSystemUIFont"/>
              </a:rPr>
              <a:t> Ermöglicht die Integration mit Drittanbieter-Bibliotheken zur Datenvisualisierung.</a:t>
            </a:r>
          </a:p>
        </p:txBody>
      </p:sp>
      <p:sp>
        <p:nvSpPr>
          <p:cNvPr id="30" name="Google Shape;631;p61">
            <a:extLst>
              <a:ext uri="{FF2B5EF4-FFF2-40B4-BE49-F238E27FC236}">
                <a16:creationId xmlns:a16="http://schemas.microsoft.com/office/drawing/2014/main" id="{0B9BFCE5-1D76-21AC-3923-41A76CE551AD}"/>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9D162C5C-12A8-FCD6-A439-F8B5E07E2C59}"/>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9525" indent="0"/>
            <a:r>
              <a:rPr lang="de-DE" sz="1000" err="1">
                <a:solidFill>
                  <a:schemeClr val="tx1"/>
                </a:solidFill>
                <a:effectLst/>
                <a:latin typeface=".AppleSystemUIFont"/>
              </a:rPr>
              <a:t>PyWebIO</a:t>
            </a:r>
            <a:r>
              <a:rPr lang="de-DE" sz="1000">
                <a:solidFill>
                  <a:schemeClr val="tx1"/>
                </a:solidFill>
                <a:effectLst/>
                <a:latin typeface=".AppleSystemUIFont"/>
              </a:rPr>
              <a:t> eignet sich hervorragend zur Entwicklung von webbasierten Chatbots, da es die Erstellung interaktiver Benutzeroberflächen und die Handhabung von Benutzereingaben erleichtert. Ein Beispiel für einen einfachen Chatraum, der mit </a:t>
            </a:r>
            <a:r>
              <a:rPr lang="de-DE" sz="1000" err="1">
                <a:solidFill>
                  <a:schemeClr val="tx1"/>
                </a:solidFill>
                <a:effectLst/>
                <a:latin typeface=".AppleSystemUIFont"/>
              </a:rPr>
              <a:t>PyWebIO</a:t>
            </a:r>
            <a:r>
              <a:rPr lang="de-DE" sz="1000">
                <a:solidFill>
                  <a:schemeClr val="tx1"/>
                </a:solidFill>
                <a:effectLst/>
                <a:latin typeface=".AppleSystemUIFont"/>
              </a:rPr>
              <a:t> implementiert wurde, ist auf GitHub verfügbar. </a:t>
            </a:r>
            <a:br>
              <a:rPr lang="de-DE" sz="1000">
                <a:solidFill>
                  <a:schemeClr val="tx1"/>
                </a:solidFill>
                <a:effectLst/>
                <a:latin typeface=".AppleSystemUIFont"/>
              </a:rPr>
            </a:br>
            <a:endParaRPr lang="de-DE" sz="1000">
              <a:solidFill>
                <a:schemeClr val="tx1"/>
              </a:solidFill>
              <a:effectLst/>
              <a:latin typeface=".AppleSystemUIFont"/>
            </a:endParaRPr>
          </a:p>
          <a:p>
            <a:pPr marL="9525" indent="0"/>
            <a:r>
              <a:rPr lang="de-DE" sz="1000">
                <a:solidFill>
                  <a:schemeClr val="tx1"/>
                </a:solidFill>
                <a:effectLst/>
                <a:latin typeface=".AppleSystemUIFont"/>
              </a:rPr>
              <a:t>Zudem gibt es eine Implementierung eines </a:t>
            </a:r>
            <a:r>
              <a:rPr lang="de-DE" sz="1000" err="1">
                <a:solidFill>
                  <a:schemeClr val="tx1"/>
                </a:solidFill>
                <a:effectLst/>
                <a:latin typeface=".AppleSystemUIFont"/>
              </a:rPr>
              <a:t>ChatGPT</a:t>
            </a:r>
            <a:r>
              <a:rPr lang="de-DE" sz="1000">
                <a:solidFill>
                  <a:schemeClr val="tx1"/>
                </a:solidFill>
                <a:effectLst/>
                <a:latin typeface=".AppleSystemUIFont"/>
              </a:rPr>
              <a:t>-Clients mit </a:t>
            </a:r>
            <a:r>
              <a:rPr lang="de-DE" sz="1000" err="1">
                <a:solidFill>
                  <a:schemeClr val="tx1"/>
                </a:solidFill>
                <a:effectLst/>
                <a:latin typeface=".AppleSystemUIFont"/>
              </a:rPr>
              <a:t>PyWebIO</a:t>
            </a:r>
            <a:r>
              <a:rPr lang="de-DE" sz="1000">
                <a:solidFill>
                  <a:schemeClr val="tx1"/>
                </a:solidFill>
                <a:effectLst/>
                <a:latin typeface=".AppleSystemUIFont"/>
              </a:rPr>
              <a:t>, die zeigt, wie man einen KI-gestützten Chatbot erstellen kann.</a:t>
            </a:r>
          </a:p>
        </p:txBody>
      </p:sp>
      <p:sp>
        <p:nvSpPr>
          <p:cNvPr id="2" name="Textfeld 1">
            <a:extLst>
              <a:ext uri="{FF2B5EF4-FFF2-40B4-BE49-F238E27FC236}">
                <a16:creationId xmlns:a16="http://schemas.microsoft.com/office/drawing/2014/main" id="{26E8ABEE-37C2-7E74-B957-B5B48016FDC6}"/>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Schnelligkeit und Funktionalität</a:t>
            </a:r>
          </a:p>
        </p:txBody>
      </p:sp>
    </p:spTree>
    <p:extLst>
      <p:ext uri="{BB962C8B-B14F-4D97-AF65-F5344CB8AC3E}">
        <p14:creationId xmlns:p14="http://schemas.microsoft.com/office/powerpoint/2010/main" val="35652259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10"/>
        <p:cNvGrpSpPr/>
        <p:nvPr/>
      </p:nvGrpSpPr>
      <p:grpSpPr>
        <a:xfrm>
          <a:off x="0" y="0"/>
          <a:ext cx="0" cy="0"/>
          <a:chOff x="0" y="0"/>
          <a:chExt cx="0" cy="0"/>
        </a:xfrm>
      </p:grpSpPr>
      <p:sp>
        <p:nvSpPr>
          <p:cNvPr id="711" name="Google Shape;711;p68"/>
          <p:cNvSpPr txBox="1"/>
          <p:nvPr/>
        </p:nvSpPr>
        <p:spPr>
          <a:xfrm>
            <a:off x="1068100" y="666402"/>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Storyset</a:t>
            </a:r>
            <a:endParaRPr sz="2400">
              <a:solidFill>
                <a:srgbClr val="FFFFFF"/>
              </a:solidFill>
            </a:endParaRPr>
          </a:p>
        </p:txBody>
      </p:sp>
      <p:sp>
        <p:nvSpPr>
          <p:cNvPr id="712" name="Google Shape;712;p68"/>
          <p:cNvSpPr txBox="1"/>
          <p:nvPr/>
        </p:nvSpPr>
        <p:spPr>
          <a:xfrm>
            <a:off x="1252436" y="1169999"/>
            <a:ext cx="6630900" cy="318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Create your Story with our illustrated concepts. Choose the style you like the most, edit its colors, pick the background and layers you want to show and bring them to life with the animator panel! It will boost your presentation. Check out</a:t>
            </a:r>
            <a:r>
              <a:rPr lang="en" sz="1100">
                <a:solidFill>
                  <a:srgbClr val="869FB2"/>
                </a:solidFill>
              </a:rPr>
              <a:t> </a:t>
            </a:r>
            <a:r>
              <a:rPr lang="en" sz="1100">
                <a:solidFill>
                  <a:srgbClr val="869FB2"/>
                </a:solidFill>
                <a:uFill>
                  <a:noFill/>
                </a:uFill>
                <a:hlinkClick r:id="rId3">
                  <a:extLst>
                    <a:ext uri="{A12FA001-AC4F-418D-AE19-62706E023703}">
                      <ahyp:hlinkClr xmlns:ahyp="http://schemas.microsoft.com/office/drawing/2018/hyperlinkcolor" val="tx"/>
                    </a:ext>
                  </a:extLst>
                </a:hlinkClick>
              </a:rPr>
              <a:t>How it Works.</a:t>
            </a:r>
            <a:endParaRPr sz="1100">
              <a:solidFill>
                <a:srgbClr val="869FB2"/>
              </a:solidFill>
            </a:endParaRPr>
          </a:p>
        </p:txBody>
      </p:sp>
      <p:pic>
        <p:nvPicPr>
          <p:cNvPr id="713" name="Google Shape;713;p68"/>
          <p:cNvPicPr preferRelativeResize="0"/>
          <p:nvPr/>
        </p:nvPicPr>
        <p:blipFill rotWithShape="1">
          <a:blip r:embed="rId4">
            <a:alphaModFix/>
          </a:blip>
          <a:srcRect t="16540" b="16547"/>
          <a:stretch/>
        </p:blipFill>
        <p:spPr>
          <a:xfrm>
            <a:off x="510820" y="2688639"/>
            <a:ext cx="1606719" cy="1075073"/>
          </a:xfrm>
          <a:prstGeom prst="rect">
            <a:avLst/>
          </a:prstGeom>
          <a:noFill/>
          <a:ln>
            <a:noFill/>
          </a:ln>
        </p:spPr>
      </p:pic>
      <p:sp>
        <p:nvSpPr>
          <p:cNvPr id="714" name="Google Shape;714;p68"/>
          <p:cNvSpPr txBox="1"/>
          <p:nvPr/>
        </p:nvSpPr>
        <p:spPr>
          <a:xfrm>
            <a:off x="678041"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5">
                  <a:extLst>
                    <a:ext uri="{A12FA001-AC4F-418D-AE19-62706E023703}">
                      <ahyp:hlinkClr xmlns:ahyp="http://schemas.microsoft.com/office/drawing/2018/hyperlinkcolor" val="tx"/>
                    </a:ext>
                  </a:extLst>
                </a:hlinkClick>
              </a:rPr>
              <a:t>Pana</a:t>
            </a:r>
            <a:endParaRPr>
              <a:solidFill>
                <a:srgbClr val="869FB2"/>
              </a:solidFill>
            </a:endParaRPr>
          </a:p>
        </p:txBody>
      </p:sp>
      <p:sp>
        <p:nvSpPr>
          <p:cNvPr id="715" name="Google Shape;715;p68"/>
          <p:cNvSpPr txBox="1"/>
          <p:nvPr/>
        </p:nvSpPr>
        <p:spPr>
          <a:xfrm>
            <a:off x="2289219"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6">
                  <a:extLst>
                    <a:ext uri="{A12FA001-AC4F-418D-AE19-62706E023703}">
                      <ahyp:hlinkClr xmlns:ahyp="http://schemas.microsoft.com/office/drawing/2018/hyperlinkcolor" val="tx"/>
                    </a:ext>
                  </a:extLst>
                </a:hlinkClick>
              </a:rPr>
              <a:t>Amico</a:t>
            </a:r>
            <a:endParaRPr>
              <a:solidFill>
                <a:srgbClr val="869FB2"/>
              </a:solidFill>
            </a:endParaRPr>
          </a:p>
        </p:txBody>
      </p:sp>
      <p:sp>
        <p:nvSpPr>
          <p:cNvPr id="716" name="Google Shape;716;p68"/>
          <p:cNvSpPr txBox="1"/>
          <p:nvPr/>
        </p:nvSpPr>
        <p:spPr>
          <a:xfrm>
            <a:off x="3900404"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7">
                  <a:extLst>
                    <a:ext uri="{A12FA001-AC4F-418D-AE19-62706E023703}">
                      <ahyp:hlinkClr xmlns:ahyp="http://schemas.microsoft.com/office/drawing/2018/hyperlinkcolor" val="tx"/>
                    </a:ext>
                  </a:extLst>
                </a:hlinkClick>
              </a:rPr>
              <a:t>Bro</a:t>
            </a:r>
            <a:endParaRPr>
              <a:solidFill>
                <a:srgbClr val="869FB2"/>
              </a:solidFill>
            </a:endParaRPr>
          </a:p>
        </p:txBody>
      </p:sp>
      <p:sp>
        <p:nvSpPr>
          <p:cNvPr id="717" name="Google Shape;717;p68"/>
          <p:cNvSpPr txBox="1"/>
          <p:nvPr/>
        </p:nvSpPr>
        <p:spPr>
          <a:xfrm>
            <a:off x="5511563"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8">
                  <a:extLst>
                    <a:ext uri="{A12FA001-AC4F-418D-AE19-62706E023703}">
                      <ahyp:hlinkClr xmlns:ahyp="http://schemas.microsoft.com/office/drawing/2018/hyperlinkcolor" val="tx"/>
                    </a:ext>
                  </a:extLst>
                </a:hlinkClick>
              </a:rPr>
              <a:t>Rafiki</a:t>
            </a:r>
            <a:endParaRPr>
              <a:solidFill>
                <a:srgbClr val="869FB2"/>
              </a:solidFill>
            </a:endParaRPr>
          </a:p>
        </p:txBody>
      </p:sp>
      <p:pic>
        <p:nvPicPr>
          <p:cNvPr id="718" name="Google Shape;718;p68"/>
          <p:cNvPicPr preferRelativeResize="0"/>
          <p:nvPr/>
        </p:nvPicPr>
        <p:blipFill rotWithShape="1">
          <a:blip r:embed="rId9">
            <a:alphaModFix/>
          </a:blip>
          <a:srcRect/>
          <a:stretch/>
        </p:blipFill>
        <p:spPr>
          <a:xfrm>
            <a:off x="2255077" y="2410850"/>
            <a:ext cx="1340595" cy="1340603"/>
          </a:xfrm>
          <a:prstGeom prst="rect">
            <a:avLst/>
          </a:prstGeom>
          <a:noFill/>
          <a:ln>
            <a:noFill/>
          </a:ln>
        </p:spPr>
      </p:pic>
      <p:pic>
        <p:nvPicPr>
          <p:cNvPr id="719" name="Google Shape;719;p68"/>
          <p:cNvPicPr preferRelativeResize="0"/>
          <p:nvPr/>
        </p:nvPicPr>
        <p:blipFill rotWithShape="1">
          <a:blip r:embed="rId10">
            <a:alphaModFix/>
          </a:blip>
          <a:srcRect l="4194" t="11228" r="4213" b="8854"/>
          <a:stretch/>
        </p:blipFill>
        <p:spPr>
          <a:xfrm>
            <a:off x="3774275" y="2532512"/>
            <a:ext cx="1448304" cy="1263588"/>
          </a:xfrm>
          <a:prstGeom prst="rect">
            <a:avLst/>
          </a:prstGeom>
          <a:noFill/>
          <a:ln>
            <a:noFill/>
          </a:ln>
        </p:spPr>
      </p:pic>
      <p:pic>
        <p:nvPicPr>
          <p:cNvPr id="720" name="Google Shape;720;p68"/>
          <p:cNvPicPr preferRelativeResize="0"/>
          <p:nvPr/>
        </p:nvPicPr>
        <p:blipFill rotWithShape="1">
          <a:blip r:embed="rId11">
            <a:alphaModFix/>
          </a:blip>
          <a:srcRect t="6567" b="11945"/>
          <a:stretch/>
        </p:blipFill>
        <p:spPr>
          <a:xfrm>
            <a:off x="5347337" y="2581527"/>
            <a:ext cx="1448284" cy="1180164"/>
          </a:xfrm>
          <a:prstGeom prst="rect">
            <a:avLst/>
          </a:prstGeom>
          <a:noFill/>
          <a:ln>
            <a:noFill/>
          </a:ln>
        </p:spPr>
      </p:pic>
      <p:pic>
        <p:nvPicPr>
          <p:cNvPr id="721" name="Google Shape;721;p68"/>
          <p:cNvPicPr preferRelativeResize="0"/>
          <p:nvPr/>
        </p:nvPicPr>
        <p:blipFill rotWithShape="1">
          <a:blip r:embed="rId12">
            <a:alphaModFix/>
          </a:blip>
          <a:srcRect t="11708" b="17967"/>
          <a:stretch/>
        </p:blipFill>
        <p:spPr>
          <a:xfrm>
            <a:off x="6836257" y="2523903"/>
            <a:ext cx="1796923" cy="1263600"/>
          </a:xfrm>
          <a:prstGeom prst="rect">
            <a:avLst/>
          </a:prstGeom>
          <a:noFill/>
          <a:ln>
            <a:noFill/>
          </a:ln>
        </p:spPr>
      </p:pic>
      <p:sp>
        <p:nvSpPr>
          <p:cNvPr id="722" name="Google Shape;722;p68"/>
          <p:cNvSpPr txBox="1"/>
          <p:nvPr/>
        </p:nvSpPr>
        <p:spPr>
          <a:xfrm>
            <a:off x="7122738"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13">
                  <a:extLst>
                    <a:ext uri="{A12FA001-AC4F-418D-AE19-62706E023703}">
                      <ahyp:hlinkClr xmlns:ahyp="http://schemas.microsoft.com/office/drawing/2018/hyperlinkcolor" val="tx"/>
                    </a:ext>
                  </a:extLst>
                </a:hlinkClick>
              </a:rPr>
              <a:t>Cuate</a:t>
            </a:r>
            <a:endParaRPr>
              <a:solidFill>
                <a:srgbClr val="869FB2"/>
              </a:solidFill>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26"/>
        <p:cNvGrpSpPr/>
        <p:nvPr/>
      </p:nvGrpSpPr>
      <p:grpSpPr>
        <a:xfrm>
          <a:off x="0" y="0"/>
          <a:ext cx="0" cy="0"/>
          <a:chOff x="0" y="0"/>
          <a:chExt cx="0" cy="0"/>
        </a:xfrm>
      </p:grpSpPr>
      <p:sp>
        <p:nvSpPr>
          <p:cNvPr id="727" name="Google Shape;727;p69"/>
          <p:cNvSpPr txBox="1"/>
          <p:nvPr/>
        </p:nvSpPr>
        <p:spPr>
          <a:xfrm>
            <a:off x="1068100" y="1534076"/>
            <a:ext cx="7047300" cy="482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 easily</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resources without losing quality. To</a:t>
            </a:r>
            <a:r>
              <a:rPr lang="en" sz="1100">
                <a:solidFill>
                  <a:srgbClr val="435D74"/>
                </a:solidFill>
              </a:rPr>
              <a:t> </a:t>
            </a:r>
            <a:r>
              <a:rPr lang="en" sz="1100">
                <a:solidFill>
                  <a:srgbClr val="869FB2"/>
                </a:solidFill>
              </a:rPr>
              <a:t>change the color</a:t>
            </a:r>
            <a:r>
              <a:rPr lang="en" sz="1100">
                <a:solidFill>
                  <a:srgbClr val="FFFFFF"/>
                </a:solidFill>
              </a:rPr>
              <a:t>, just ungroup the resource and click on the object you want to change. Then, click on the paint bucket and select the color you want. Group the resource again when you’re done. You can also look for more </a:t>
            </a:r>
            <a:r>
              <a:rPr lang="en" sz="1100">
                <a:solidFill>
                  <a:srgbClr val="869FB2"/>
                </a:solidFill>
                <a:uFill>
                  <a:noFill/>
                </a:uFill>
                <a:hlinkClick r:id="rId3">
                  <a:extLst>
                    <a:ext uri="{A12FA001-AC4F-418D-AE19-62706E023703}">
                      <ahyp:hlinkClr xmlns:ahyp="http://schemas.microsoft.com/office/drawing/2018/hyperlinkcolor" val="tx"/>
                    </a:ext>
                  </a:extLst>
                </a:hlinkClick>
              </a:rPr>
              <a:t>infographics</a:t>
            </a:r>
            <a:r>
              <a:rPr lang="en" sz="1100">
                <a:solidFill>
                  <a:srgbClr val="FFFFFF"/>
                </a:solidFill>
              </a:rPr>
              <a:t> on Slidesgo.</a:t>
            </a:r>
            <a:endParaRPr sz="1100">
              <a:solidFill>
                <a:srgbClr val="FFFFFF"/>
              </a:solidFill>
            </a:endParaRPr>
          </a:p>
        </p:txBody>
      </p:sp>
      <p:grpSp>
        <p:nvGrpSpPr>
          <p:cNvPr id="728" name="Google Shape;728;p69"/>
          <p:cNvGrpSpPr/>
          <p:nvPr/>
        </p:nvGrpSpPr>
        <p:grpSpPr>
          <a:xfrm>
            <a:off x="5156078" y="3085736"/>
            <a:ext cx="474294" cy="551291"/>
            <a:chOff x="4727025" y="1332775"/>
            <a:chExt cx="59900" cy="69625"/>
          </a:xfrm>
        </p:grpSpPr>
        <p:sp>
          <p:nvSpPr>
            <p:cNvPr id="729" name="Google Shape;729;p69"/>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69"/>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 name="Google Shape;731;p69"/>
          <p:cNvGrpSpPr/>
          <p:nvPr/>
        </p:nvGrpSpPr>
        <p:grpSpPr>
          <a:xfrm>
            <a:off x="5769734" y="2314340"/>
            <a:ext cx="555653" cy="557031"/>
            <a:chOff x="4820425" y="1329900"/>
            <a:chExt cx="70175" cy="70350"/>
          </a:xfrm>
        </p:grpSpPr>
        <p:sp>
          <p:nvSpPr>
            <p:cNvPr id="732" name="Google Shape;732;p69"/>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 name="Google Shape;733;p69"/>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69"/>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69"/>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 name="Google Shape;736;p69"/>
          <p:cNvGrpSpPr/>
          <p:nvPr/>
        </p:nvGrpSpPr>
        <p:grpSpPr>
          <a:xfrm>
            <a:off x="6396103" y="2318845"/>
            <a:ext cx="582574" cy="533871"/>
            <a:chOff x="4903200" y="1331525"/>
            <a:chExt cx="73575" cy="67425"/>
          </a:xfrm>
        </p:grpSpPr>
        <p:sp>
          <p:nvSpPr>
            <p:cNvPr id="737" name="Google Shape;737;p69"/>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69"/>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69"/>
          <p:cNvGrpSpPr/>
          <p:nvPr/>
        </p:nvGrpSpPr>
        <p:grpSpPr>
          <a:xfrm>
            <a:off x="5755581" y="3078709"/>
            <a:ext cx="583960" cy="565345"/>
            <a:chOff x="4815575" y="1416800"/>
            <a:chExt cx="73750" cy="71400"/>
          </a:xfrm>
        </p:grpSpPr>
        <p:sp>
          <p:nvSpPr>
            <p:cNvPr id="740" name="Google Shape;740;p69"/>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69"/>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69"/>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 name="Google Shape;743;p69"/>
          <p:cNvGrpSpPr/>
          <p:nvPr/>
        </p:nvGrpSpPr>
        <p:grpSpPr>
          <a:xfrm>
            <a:off x="6390362" y="3108896"/>
            <a:ext cx="589898" cy="504970"/>
            <a:chOff x="4902475" y="1418875"/>
            <a:chExt cx="74500" cy="63775"/>
          </a:xfrm>
        </p:grpSpPr>
        <p:sp>
          <p:nvSpPr>
            <p:cNvPr id="744" name="Google Shape;744;p69"/>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69"/>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 name="Google Shape;746;p69"/>
          <p:cNvGrpSpPr/>
          <p:nvPr/>
        </p:nvGrpSpPr>
        <p:grpSpPr>
          <a:xfrm>
            <a:off x="5765577" y="3826000"/>
            <a:ext cx="563967" cy="567127"/>
            <a:chOff x="4818100" y="1507675"/>
            <a:chExt cx="71225" cy="71625"/>
          </a:xfrm>
        </p:grpSpPr>
        <p:sp>
          <p:nvSpPr>
            <p:cNvPr id="747" name="Google Shape;747;p69"/>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69"/>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69"/>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69"/>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 name="Google Shape;751;p69"/>
          <p:cNvGrpSpPr/>
          <p:nvPr/>
        </p:nvGrpSpPr>
        <p:grpSpPr>
          <a:xfrm>
            <a:off x="5079075" y="3829461"/>
            <a:ext cx="628301" cy="588505"/>
            <a:chOff x="4721450" y="1509475"/>
            <a:chExt cx="79350" cy="74325"/>
          </a:xfrm>
        </p:grpSpPr>
        <p:sp>
          <p:nvSpPr>
            <p:cNvPr id="752" name="Google Shape;752;p69"/>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69"/>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69"/>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69"/>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 name="Google Shape;756;p69"/>
          <p:cNvGrpSpPr/>
          <p:nvPr/>
        </p:nvGrpSpPr>
        <p:grpSpPr>
          <a:xfrm>
            <a:off x="6424608" y="3814027"/>
            <a:ext cx="557038" cy="562772"/>
            <a:chOff x="4906800" y="1507500"/>
            <a:chExt cx="70350" cy="71075"/>
          </a:xfrm>
        </p:grpSpPr>
        <p:sp>
          <p:nvSpPr>
            <p:cNvPr id="757" name="Google Shape;757;p69"/>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69"/>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69"/>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69"/>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69"/>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 name="Google Shape;762;p69"/>
          <p:cNvGrpSpPr/>
          <p:nvPr/>
        </p:nvGrpSpPr>
        <p:grpSpPr>
          <a:xfrm>
            <a:off x="4462216" y="2340963"/>
            <a:ext cx="517934" cy="517934"/>
            <a:chOff x="3736598" y="2170606"/>
            <a:chExt cx="404889" cy="404889"/>
          </a:xfrm>
        </p:grpSpPr>
        <p:sp>
          <p:nvSpPr>
            <p:cNvPr id="763" name="Google Shape;763;p69"/>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69"/>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69"/>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69"/>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 name="Google Shape;767;p69"/>
          <p:cNvGrpSpPr/>
          <p:nvPr/>
        </p:nvGrpSpPr>
        <p:grpSpPr>
          <a:xfrm>
            <a:off x="3729277" y="2341061"/>
            <a:ext cx="586986" cy="517740"/>
            <a:chOff x="3161917" y="2170682"/>
            <a:chExt cx="458870" cy="404737"/>
          </a:xfrm>
        </p:grpSpPr>
        <p:sp>
          <p:nvSpPr>
            <p:cNvPr id="768" name="Google Shape;768;p69"/>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69"/>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69"/>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 name="Google Shape;771;p69"/>
          <p:cNvGrpSpPr/>
          <p:nvPr/>
        </p:nvGrpSpPr>
        <p:grpSpPr>
          <a:xfrm>
            <a:off x="3752299" y="3102400"/>
            <a:ext cx="540943" cy="517963"/>
            <a:chOff x="3179914" y="2889488"/>
            <a:chExt cx="422876" cy="404911"/>
          </a:xfrm>
        </p:grpSpPr>
        <p:sp>
          <p:nvSpPr>
            <p:cNvPr id="772" name="Google Shape;772;p69"/>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69"/>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69"/>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69"/>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69"/>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69"/>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 name="Google Shape;778;p69"/>
          <p:cNvGrpSpPr/>
          <p:nvPr/>
        </p:nvGrpSpPr>
        <p:grpSpPr>
          <a:xfrm>
            <a:off x="4453093" y="3102358"/>
            <a:ext cx="536180" cy="518047"/>
            <a:chOff x="3729467" y="2889422"/>
            <a:chExt cx="419153" cy="404977"/>
          </a:xfrm>
        </p:grpSpPr>
        <p:sp>
          <p:nvSpPr>
            <p:cNvPr id="779" name="Google Shape;779;p69"/>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69"/>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69"/>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69"/>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69"/>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69"/>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69"/>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 name="Google Shape;786;p69"/>
          <p:cNvGrpSpPr/>
          <p:nvPr/>
        </p:nvGrpSpPr>
        <p:grpSpPr>
          <a:xfrm>
            <a:off x="1990126" y="3445787"/>
            <a:ext cx="965351" cy="134611"/>
            <a:chOff x="4411970" y="2962952"/>
            <a:chExt cx="706544" cy="104212"/>
          </a:xfrm>
        </p:grpSpPr>
        <p:sp>
          <p:nvSpPr>
            <p:cNvPr id="787" name="Google Shape;787;p69"/>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69"/>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69"/>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69"/>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 name="Google Shape;791;p69"/>
          <p:cNvGrpSpPr/>
          <p:nvPr/>
        </p:nvGrpSpPr>
        <p:grpSpPr>
          <a:xfrm>
            <a:off x="1990126" y="3041077"/>
            <a:ext cx="960158" cy="289172"/>
            <a:chOff x="4411970" y="2726085"/>
            <a:chExt cx="643107" cy="193659"/>
          </a:xfrm>
        </p:grpSpPr>
        <p:sp>
          <p:nvSpPr>
            <p:cNvPr id="792" name="Google Shape;792;p69"/>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69"/>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69"/>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 name="Google Shape;795;p69"/>
          <p:cNvGrpSpPr/>
          <p:nvPr/>
        </p:nvGrpSpPr>
        <p:grpSpPr>
          <a:xfrm>
            <a:off x="998624" y="3295400"/>
            <a:ext cx="811503" cy="252584"/>
            <a:chOff x="4411970" y="4340222"/>
            <a:chExt cx="779467" cy="242683"/>
          </a:xfrm>
        </p:grpSpPr>
        <p:sp>
          <p:nvSpPr>
            <p:cNvPr id="796" name="Google Shape;796;p69"/>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69"/>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69"/>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 name="Google Shape;799;p69"/>
          <p:cNvGrpSpPr/>
          <p:nvPr/>
        </p:nvGrpSpPr>
        <p:grpSpPr>
          <a:xfrm>
            <a:off x="1990126" y="2709308"/>
            <a:ext cx="965160" cy="216230"/>
            <a:chOff x="4411970" y="2468674"/>
            <a:chExt cx="747317" cy="167425"/>
          </a:xfrm>
        </p:grpSpPr>
        <p:sp>
          <p:nvSpPr>
            <p:cNvPr id="800" name="Google Shape;800;p69"/>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69"/>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02" name="Google Shape;802;p69"/>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3" name="Google Shape;803;p69"/>
          <p:cNvGrpSpPr/>
          <p:nvPr/>
        </p:nvGrpSpPr>
        <p:grpSpPr>
          <a:xfrm>
            <a:off x="997692" y="2334687"/>
            <a:ext cx="1959041" cy="208784"/>
            <a:chOff x="6336019" y="3733725"/>
            <a:chExt cx="2566206" cy="351310"/>
          </a:xfrm>
        </p:grpSpPr>
        <p:sp>
          <p:nvSpPr>
            <p:cNvPr id="804" name="Google Shape;804;p69"/>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69"/>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 name="Google Shape;806;p69"/>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69"/>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 name="Google Shape;808;p69"/>
          <p:cNvGrpSpPr/>
          <p:nvPr/>
        </p:nvGrpSpPr>
        <p:grpSpPr>
          <a:xfrm>
            <a:off x="1990126" y="3950602"/>
            <a:ext cx="946551" cy="153200"/>
            <a:chOff x="4404545" y="3301592"/>
            <a:chExt cx="782403" cy="129272"/>
          </a:xfrm>
        </p:grpSpPr>
        <p:sp>
          <p:nvSpPr>
            <p:cNvPr id="809" name="Google Shape;809;p69"/>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69"/>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 name="Google Shape;811;p69"/>
          <p:cNvGrpSpPr/>
          <p:nvPr/>
        </p:nvGrpSpPr>
        <p:grpSpPr>
          <a:xfrm>
            <a:off x="1990126" y="3695937"/>
            <a:ext cx="962257" cy="139127"/>
            <a:chOff x="4411970" y="3131459"/>
            <a:chExt cx="710520" cy="117397"/>
          </a:xfrm>
        </p:grpSpPr>
        <p:sp>
          <p:nvSpPr>
            <p:cNvPr id="812" name="Google Shape;812;p69"/>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69"/>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4" name="Google Shape;814;p69"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5" name="Google Shape;815;p69"/>
          <p:cNvGrpSpPr/>
          <p:nvPr/>
        </p:nvGrpSpPr>
        <p:grpSpPr>
          <a:xfrm>
            <a:off x="990271" y="3621603"/>
            <a:ext cx="823838" cy="458988"/>
            <a:chOff x="4411970" y="1801825"/>
            <a:chExt cx="734586" cy="409262"/>
          </a:xfrm>
        </p:grpSpPr>
        <p:sp>
          <p:nvSpPr>
            <p:cNvPr id="816" name="Google Shape;816;p69"/>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 name="Google Shape;817;p69"/>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 name="Google Shape;818;p69"/>
          <p:cNvGrpSpPr/>
          <p:nvPr/>
        </p:nvGrpSpPr>
        <p:grpSpPr>
          <a:xfrm>
            <a:off x="3095243" y="2339173"/>
            <a:ext cx="521514" cy="521514"/>
            <a:chOff x="5681300" y="2527788"/>
            <a:chExt cx="805800" cy="805800"/>
          </a:xfrm>
        </p:grpSpPr>
        <p:sp>
          <p:nvSpPr>
            <p:cNvPr id="819" name="Google Shape;819;p69"/>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69"/>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 name="Google Shape;821;p69"/>
          <p:cNvGrpSpPr/>
          <p:nvPr/>
        </p:nvGrpSpPr>
        <p:grpSpPr>
          <a:xfrm>
            <a:off x="3089483" y="3094865"/>
            <a:ext cx="533033" cy="533033"/>
            <a:chOff x="4049800" y="640400"/>
            <a:chExt cx="858900" cy="858900"/>
          </a:xfrm>
        </p:grpSpPr>
        <p:sp>
          <p:nvSpPr>
            <p:cNvPr id="822" name="Google Shape;822;p69"/>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69"/>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 name="Google Shape;824;p69"/>
          <p:cNvGrpSpPr/>
          <p:nvPr/>
        </p:nvGrpSpPr>
        <p:grpSpPr>
          <a:xfrm>
            <a:off x="3014966" y="3772543"/>
            <a:ext cx="682068" cy="682068"/>
            <a:chOff x="5080188" y="927900"/>
            <a:chExt cx="961200" cy="961200"/>
          </a:xfrm>
        </p:grpSpPr>
        <p:sp>
          <p:nvSpPr>
            <p:cNvPr id="825" name="Google Shape;825;p69"/>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69"/>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69"/>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69"/>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69"/>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69"/>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69"/>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69"/>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 name="Google Shape;833;p69"/>
          <p:cNvGrpSpPr/>
          <p:nvPr/>
        </p:nvGrpSpPr>
        <p:grpSpPr>
          <a:xfrm>
            <a:off x="4478465" y="3869234"/>
            <a:ext cx="505650" cy="504006"/>
            <a:chOff x="6039282" y="1042577"/>
            <a:chExt cx="734315" cy="731929"/>
          </a:xfrm>
        </p:grpSpPr>
        <p:sp>
          <p:nvSpPr>
            <p:cNvPr id="834" name="Google Shape;834;p69"/>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69"/>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69"/>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69"/>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69"/>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69"/>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69"/>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69"/>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69"/>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69"/>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69"/>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69"/>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69"/>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69"/>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69"/>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69"/>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69"/>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69"/>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69"/>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69"/>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69"/>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 name="Google Shape;855;p69"/>
          <p:cNvGrpSpPr/>
          <p:nvPr/>
        </p:nvGrpSpPr>
        <p:grpSpPr>
          <a:xfrm>
            <a:off x="5091067" y="2298862"/>
            <a:ext cx="567744" cy="602136"/>
            <a:chOff x="1825800" y="1651625"/>
            <a:chExt cx="539989" cy="571775"/>
          </a:xfrm>
        </p:grpSpPr>
        <p:sp>
          <p:nvSpPr>
            <p:cNvPr id="856" name="Google Shape;856;p69"/>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69"/>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858;p69"/>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69"/>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 name="Google Shape;860;p69"/>
          <p:cNvGrpSpPr/>
          <p:nvPr/>
        </p:nvGrpSpPr>
        <p:grpSpPr>
          <a:xfrm>
            <a:off x="3765995" y="3855579"/>
            <a:ext cx="508123" cy="507955"/>
            <a:chOff x="1897577" y="2802432"/>
            <a:chExt cx="492176" cy="492014"/>
          </a:xfrm>
        </p:grpSpPr>
        <p:sp>
          <p:nvSpPr>
            <p:cNvPr id="861" name="Google Shape;861;p69"/>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69"/>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69"/>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69"/>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69"/>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69"/>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69"/>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868;p69"/>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69"/>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69"/>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69"/>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69"/>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 name="Google Shape;873;p69"/>
          <p:cNvGrpSpPr/>
          <p:nvPr/>
        </p:nvGrpSpPr>
        <p:grpSpPr>
          <a:xfrm>
            <a:off x="997525" y="4169123"/>
            <a:ext cx="809227" cy="200842"/>
            <a:chOff x="2013045" y="4813233"/>
            <a:chExt cx="921986" cy="228854"/>
          </a:xfrm>
        </p:grpSpPr>
        <p:sp>
          <p:nvSpPr>
            <p:cNvPr id="874" name="Google Shape;874;p69"/>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69"/>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 name="Google Shape;876;p69"/>
          <p:cNvGrpSpPr/>
          <p:nvPr/>
        </p:nvGrpSpPr>
        <p:grpSpPr>
          <a:xfrm>
            <a:off x="1005985" y="2656004"/>
            <a:ext cx="792421" cy="269941"/>
            <a:chOff x="1046767" y="4756633"/>
            <a:chExt cx="859646" cy="292841"/>
          </a:xfrm>
        </p:grpSpPr>
        <p:sp>
          <p:nvSpPr>
            <p:cNvPr id="877" name="Google Shape;877;p69"/>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69"/>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69"/>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 name="Google Shape;880;p69"/>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881;p69"/>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69"/>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69"/>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4" name="Google Shape;884;p69"/>
          <p:cNvGrpSpPr/>
          <p:nvPr/>
        </p:nvGrpSpPr>
        <p:grpSpPr>
          <a:xfrm>
            <a:off x="7141841" y="2550562"/>
            <a:ext cx="166473" cy="141497"/>
            <a:chOff x="4660325" y="1866850"/>
            <a:chExt cx="68350" cy="58100"/>
          </a:xfrm>
        </p:grpSpPr>
        <p:sp>
          <p:nvSpPr>
            <p:cNvPr id="885" name="Google Shape;885;p69"/>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69"/>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 name="Google Shape;887;p69"/>
          <p:cNvGrpSpPr/>
          <p:nvPr/>
        </p:nvGrpSpPr>
        <p:grpSpPr>
          <a:xfrm>
            <a:off x="7451186" y="2576286"/>
            <a:ext cx="162515" cy="90049"/>
            <a:chOff x="4791775" y="1877500"/>
            <a:chExt cx="66725" cy="36975"/>
          </a:xfrm>
        </p:grpSpPr>
        <p:sp>
          <p:nvSpPr>
            <p:cNvPr id="888" name="Google Shape;888;p69"/>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69"/>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0" name="Google Shape;890;p69"/>
          <p:cNvGrpSpPr/>
          <p:nvPr/>
        </p:nvGrpSpPr>
        <p:grpSpPr>
          <a:xfrm>
            <a:off x="7772899" y="2576286"/>
            <a:ext cx="144979" cy="90049"/>
            <a:chOff x="4923925" y="1877500"/>
            <a:chExt cx="59525" cy="36975"/>
          </a:xfrm>
        </p:grpSpPr>
        <p:sp>
          <p:nvSpPr>
            <p:cNvPr id="891" name="Google Shape;891;p69"/>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69"/>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 name="Google Shape;893;p69"/>
          <p:cNvGrpSpPr/>
          <p:nvPr/>
        </p:nvGrpSpPr>
        <p:grpSpPr>
          <a:xfrm>
            <a:off x="8067390" y="2558477"/>
            <a:ext cx="141447" cy="125667"/>
            <a:chOff x="5058450" y="1870100"/>
            <a:chExt cx="58075" cy="51600"/>
          </a:xfrm>
        </p:grpSpPr>
        <p:sp>
          <p:nvSpPr>
            <p:cNvPr id="894" name="Google Shape;894;p69"/>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69"/>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 name="Google Shape;896;p69"/>
          <p:cNvGrpSpPr/>
          <p:nvPr/>
        </p:nvGrpSpPr>
        <p:grpSpPr>
          <a:xfrm>
            <a:off x="7481905" y="2980885"/>
            <a:ext cx="101077" cy="107645"/>
            <a:chOff x="4811425" y="2065025"/>
            <a:chExt cx="41500" cy="44200"/>
          </a:xfrm>
        </p:grpSpPr>
        <p:sp>
          <p:nvSpPr>
            <p:cNvPr id="897" name="Google Shape;897;p69"/>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69"/>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 name="Google Shape;899;p69"/>
          <p:cNvGrpSpPr/>
          <p:nvPr/>
        </p:nvGrpSpPr>
        <p:grpSpPr>
          <a:xfrm>
            <a:off x="7774342" y="2981098"/>
            <a:ext cx="120867" cy="107218"/>
            <a:chOff x="4929875" y="2065025"/>
            <a:chExt cx="49625" cy="44025"/>
          </a:xfrm>
        </p:grpSpPr>
        <p:sp>
          <p:nvSpPr>
            <p:cNvPr id="900" name="Google Shape;900;p69"/>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69"/>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 name="Google Shape;902;p69"/>
          <p:cNvGrpSpPr/>
          <p:nvPr/>
        </p:nvGrpSpPr>
        <p:grpSpPr>
          <a:xfrm>
            <a:off x="8103011" y="2984112"/>
            <a:ext cx="70206" cy="101191"/>
            <a:chOff x="5083925" y="2066350"/>
            <a:chExt cx="28825" cy="41550"/>
          </a:xfrm>
        </p:grpSpPr>
        <p:sp>
          <p:nvSpPr>
            <p:cNvPr id="903" name="Google Shape;903;p69"/>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69"/>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 name="Google Shape;905;p69"/>
          <p:cNvGrpSpPr/>
          <p:nvPr/>
        </p:nvGrpSpPr>
        <p:grpSpPr>
          <a:xfrm>
            <a:off x="7134565" y="2999759"/>
            <a:ext cx="181026" cy="69896"/>
            <a:chOff x="4659775" y="2072775"/>
            <a:chExt cx="74325" cy="28700"/>
          </a:xfrm>
        </p:grpSpPr>
        <p:sp>
          <p:nvSpPr>
            <p:cNvPr id="906" name="Google Shape;906;p69"/>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69"/>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69"/>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 name="Google Shape;909;p69"/>
          <p:cNvGrpSpPr/>
          <p:nvPr/>
        </p:nvGrpSpPr>
        <p:grpSpPr>
          <a:xfrm>
            <a:off x="8054421" y="2790324"/>
            <a:ext cx="167387" cy="89197"/>
            <a:chOff x="4662475" y="1976500"/>
            <a:chExt cx="68725" cy="36625"/>
          </a:xfrm>
        </p:grpSpPr>
        <p:sp>
          <p:nvSpPr>
            <p:cNvPr id="910" name="Google Shape;910;p69"/>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 name="Google Shape;911;p69"/>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69"/>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3" name="Google Shape;913;p69"/>
          <p:cNvGrpSpPr/>
          <p:nvPr/>
        </p:nvGrpSpPr>
        <p:grpSpPr>
          <a:xfrm>
            <a:off x="7751326" y="2793764"/>
            <a:ext cx="166899" cy="82317"/>
            <a:chOff x="4920150" y="1977875"/>
            <a:chExt cx="68525" cy="33800"/>
          </a:xfrm>
        </p:grpSpPr>
        <p:sp>
          <p:nvSpPr>
            <p:cNvPr id="914" name="Google Shape;914;p69"/>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69"/>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69"/>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 name="Google Shape;917;p69"/>
          <p:cNvGrpSpPr/>
          <p:nvPr/>
        </p:nvGrpSpPr>
        <p:grpSpPr>
          <a:xfrm>
            <a:off x="7162483" y="3197682"/>
            <a:ext cx="125190" cy="127859"/>
            <a:chOff x="4676550" y="2160575"/>
            <a:chExt cx="51400" cy="52500"/>
          </a:xfrm>
        </p:grpSpPr>
        <p:sp>
          <p:nvSpPr>
            <p:cNvPr id="918" name="Google Shape;918;p69"/>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69"/>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69"/>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 name="Google Shape;921;p69"/>
          <p:cNvGrpSpPr/>
          <p:nvPr/>
        </p:nvGrpSpPr>
        <p:grpSpPr>
          <a:xfrm>
            <a:off x="7459741" y="3204714"/>
            <a:ext cx="145405" cy="113794"/>
            <a:chOff x="4768325" y="2163475"/>
            <a:chExt cx="59700" cy="46725"/>
          </a:xfrm>
        </p:grpSpPr>
        <p:sp>
          <p:nvSpPr>
            <p:cNvPr id="922" name="Google Shape;922;p69"/>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69"/>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4" name="Google Shape;924;p69"/>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69"/>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69"/>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69"/>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69"/>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69"/>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 name="Google Shape;930;p69"/>
          <p:cNvGrpSpPr/>
          <p:nvPr/>
        </p:nvGrpSpPr>
        <p:grpSpPr>
          <a:xfrm>
            <a:off x="7476059" y="3459808"/>
            <a:ext cx="112768" cy="106853"/>
            <a:chOff x="4768575" y="2253950"/>
            <a:chExt cx="46300" cy="43875"/>
          </a:xfrm>
        </p:grpSpPr>
        <p:sp>
          <p:nvSpPr>
            <p:cNvPr id="931" name="Google Shape;931;p69"/>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69"/>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 name="Google Shape;933;p69"/>
          <p:cNvGrpSpPr/>
          <p:nvPr/>
        </p:nvGrpSpPr>
        <p:grpSpPr>
          <a:xfrm>
            <a:off x="7775682" y="3948834"/>
            <a:ext cx="118187" cy="146246"/>
            <a:chOff x="4960900" y="2433225"/>
            <a:chExt cx="48525" cy="60050"/>
          </a:xfrm>
        </p:grpSpPr>
        <p:sp>
          <p:nvSpPr>
            <p:cNvPr id="934" name="Google Shape;934;p69"/>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69"/>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6" name="Google Shape;936;p69"/>
          <p:cNvGrpSpPr/>
          <p:nvPr/>
        </p:nvGrpSpPr>
        <p:grpSpPr>
          <a:xfrm>
            <a:off x="7464247" y="4212895"/>
            <a:ext cx="136394" cy="143810"/>
            <a:chOff x="4854075" y="2527625"/>
            <a:chExt cx="56000" cy="59050"/>
          </a:xfrm>
        </p:grpSpPr>
        <p:sp>
          <p:nvSpPr>
            <p:cNvPr id="937" name="Google Shape;937;p69"/>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69"/>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69"/>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69"/>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69"/>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2" name="Google Shape;942;p69"/>
          <p:cNvGrpSpPr/>
          <p:nvPr/>
        </p:nvGrpSpPr>
        <p:grpSpPr>
          <a:xfrm>
            <a:off x="8088458" y="3676639"/>
            <a:ext cx="99312" cy="160797"/>
            <a:chOff x="5059700" y="2334775"/>
            <a:chExt cx="40775" cy="66025"/>
          </a:xfrm>
        </p:grpSpPr>
        <p:sp>
          <p:nvSpPr>
            <p:cNvPr id="943" name="Google Shape;943;p69"/>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69"/>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69"/>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69"/>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69"/>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948;p69"/>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69"/>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69"/>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69"/>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 name="Google Shape;952;p69"/>
          <p:cNvGrpSpPr/>
          <p:nvPr/>
        </p:nvGrpSpPr>
        <p:grpSpPr>
          <a:xfrm>
            <a:off x="8045622" y="3941771"/>
            <a:ext cx="184984" cy="160371"/>
            <a:chOff x="5037700" y="2430325"/>
            <a:chExt cx="75950" cy="65850"/>
          </a:xfrm>
        </p:grpSpPr>
        <p:sp>
          <p:nvSpPr>
            <p:cNvPr id="953" name="Google Shape;953;p69"/>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69"/>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5" name="Google Shape;955;p69"/>
          <p:cNvGrpSpPr/>
          <p:nvPr/>
        </p:nvGrpSpPr>
        <p:grpSpPr>
          <a:xfrm>
            <a:off x="7465128" y="3708223"/>
            <a:ext cx="173014" cy="97629"/>
            <a:chOff x="4756975" y="2341800"/>
            <a:chExt cx="91975" cy="51925"/>
          </a:xfrm>
        </p:grpSpPr>
        <p:sp>
          <p:nvSpPr>
            <p:cNvPr id="956" name="Google Shape;956;p69"/>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69"/>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69"/>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69"/>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69"/>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69"/>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69"/>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69"/>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69"/>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69"/>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69"/>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69"/>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69"/>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69"/>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69"/>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69"/>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69"/>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69"/>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974;p69"/>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975;p69"/>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 name="Google Shape;976;p69"/>
          <p:cNvGrpSpPr/>
          <p:nvPr/>
        </p:nvGrpSpPr>
        <p:grpSpPr>
          <a:xfrm>
            <a:off x="7732065" y="4196920"/>
            <a:ext cx="212497" cy="175761"/>
            <a:chOff x="4943575" y="2516350"/>
            <a:chExt cx="98675" cy="81700"/>
          </a:xfrm>
        </p:grpSpPr>
        <p:sp>
          <p:nvSpPr>
            <p:cNvPr id="977" name="Google Shape;977;p69"/>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69"/>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69"/>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69"/>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69"/>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69"/>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69"/>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69"/>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69"/>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69"/>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69"/>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69"/>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69"/>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69"/>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69"/>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69"/>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69"/>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69"/>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995;p69"/>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69"/>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69"/>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998;p69"/>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999;p69"/>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1000;p69"/>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69"/>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69"/>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69"/>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69"/>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69"/>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69"/>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69"/>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69"/>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69"/>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69"/>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69"/>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69"/>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69"/>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69"/>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69"/>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69"/>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69"/>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69"/>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69"/>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69"/>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69"/>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69"/>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69"/>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69"/>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69"/>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69"/>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69"/>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69"/>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69"/>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69"/>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69"/>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69"/>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69"/>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69"/>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69"/>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69"/>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69"/>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69"/>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69"/>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69"/>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69"/>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69"/>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69"/>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69"/>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69"/>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69"/>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69"/>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69"/>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69"/>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69"/>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69"/>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69"/>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69"/>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69"/>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69"/>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69"/>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69"/>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69"/>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69"/>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solidFill>
                  <a:schemeClr val="lt1"/>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063"/>
        <p:cNvGrpSpPr/>
        <p:nvPr/>
      </p:nvGrpSpPr>
      <p:grpSpPr>
        <a:xfrm>
          <a:off x="0" y="0"/>
          <a:ext cx="0" cy="0"/>
          <a:chOff x="0" y="0"/>
          <a:chExt cx="0" cy="0"/>
        </a:xfrm>
      </p:grpSpPr>
      <p:grpSp>
        <p:nvGrpSpPr>
          <p:cNvPr id="1064" name="Google Shape;1064;p70"/>
          <p:cNvGrpSpPr/>
          <p:nvPr/>
        </p:nvGrpSpPr>
        <p:grpSpPr>
          <a:xfrm>
            <a:off x="3642951" y="1176740"/>
            <a:ext cx="2078182" cy="1366558"/>
            <a:chOff x="235800" y="830650"/>
            <a:chExt cx="6978450" cy="4588844"/>
          </a:xfrm>
        </p:grpSpPr>
        <p:sp>
          <p:nvSpPr>
            <p:cNvPr id="1065" name="Google Shape;1065;p70"/>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70"/>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70"/>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70"/>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069;p70"/>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70"/>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 name="Google Shape;1071;p70"/>
          <p:cNvGrpSpPr/>
          <p:nvPr/>
        </p:nvGrpSpPr>
        <p:grpSpPr>
          <a:xfrm>
            <a:off x="738454" y="3007842"/>
            <a:ext cx="2622876" cy="1333540"/>
            <a:chOff x="238125" y="1038125"/>
            <a:chExt cx="7146800" cy="3633625"/>
          </a:xfrm>
        </p:grpSpPr>
        <p:sp>
          <p:nvSpPr>
            <p:cNvPr id="1072" name="Google Shape;1072;p70"/>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70"/>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074;p70"/>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075;p70"/>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076;p70"/>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077;p70"/>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078;p70"/>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70"/>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70"/>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70"/>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70"/>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70"/>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70"/>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70"/>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70"/>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70"/>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088;p70"/>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70"/>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70"/>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70"/>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70"/>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70"/>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70"/>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70"/>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70"/>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097;p70"/>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70"/>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1099;p70"/>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1100;p70"/>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70"/>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 name="Google Shape;1102;p70"/>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70"/>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70"/>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70"/>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70"/>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70"/>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70"/>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70"/>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70"/>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70"/>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70"/>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70"/>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70"/>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70"/>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70"/>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70"/>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70"/>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70"/>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70"/>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70"/>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70"/>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70"/>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70"/>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70"/>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70"/>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70"/>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70"/>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70"/>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70"/>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70"/>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70"/>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70"/>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70"/>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70"/>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70"/>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70"/>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70"/>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70"/>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70"/>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70"/>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70"/>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70"/>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70"/>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70"/>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70"/>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70"/>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70"/>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70"/>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70"/>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70"/>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70"/>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70"/>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70"/>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70"/>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70"/>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70"/>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70"/>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70"/>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70"/>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70"/>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70"/>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70"/>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70"/>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70"/>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70"/>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70"/>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70"/>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70"/>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70"/>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70"/>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70"/>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70"/>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70"/>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70"/>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70"/>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70"/>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70"/>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70"/>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70"/>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70"/>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70"/>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70"/>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70"/>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70"/>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70"/>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70"/>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70"/>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70"/>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70"/>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70"/>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70"/>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70"/>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70"/>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70"/>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70"/>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70"/>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70"/>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70"/>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70"/>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70"/>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1202;p70"/>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1203;p70"/>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70"/>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70"/>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70"/>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70"/>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70"/>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70"/>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70"/>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70"/>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70"/>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70"/>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70"/>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70"/>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70"/>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70"/>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70"/>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70"/>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70"/>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70"/>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70"/>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70"/>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70"/>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70"/>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70"/>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70"/>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70"/>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70"/>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70"/>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70"/>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70"/>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70"/>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70"/>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70"/>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70"/>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70"/>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70"/>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1239;p70"/>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1240;p70"/>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70"/>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70"/>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70"/>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70"/>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70"/>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70"/>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70"/>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70"/>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70"/>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70"/>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1251;p70"/>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1252;p70"/>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70"/>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70"/>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70"/>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70"/>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70"/>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1258;p70"/>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1259;p70"/>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1260;p70"/>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70"/>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1262;p70"/>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70"/>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70"/>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70"/>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70"/>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70"/>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70"/>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70"/>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70"/>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70"/>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70"/>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70"/>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70"/>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70"/>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70"/>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70"/>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70"/>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70"/>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70"/>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1281;p70"/>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70"/>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70"/>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70"/>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70"/>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70"/>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70"/>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70"/>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70"/>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70"/>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70"/>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70"/>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70"/>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70"/>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70"/>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70"/>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70"/>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70"/>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70"/>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70"/>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70"/>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70"/>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70"/>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70"/>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70"/>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70"/>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70"/>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70"/>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70"/>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70"/>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70"/>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70"/>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70"/>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70"/>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70"/>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70"/>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70"/>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70"/>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70"/>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70"/>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70"/>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70"/>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70"/>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70"/>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70"/>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70"/>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70"/>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70"/>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70"/>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70"/>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70"/>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70"/>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70"/>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70"/>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70"/>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70"/>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70"/>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70"/>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70"/>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70"/>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70"/>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70"/>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70"/>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70"/>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70"/>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70"/>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70"/>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70"/>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70"/>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70"/>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70"/>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70"/>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70"/>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70"/>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70"/>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70"/>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70"/>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70"/>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70"/>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70"/>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70"/>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70"/>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70"/>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70"/>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70"/>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70"/>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70"/>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70"/>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70"/>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70"/>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70"/>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70"/>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70"/>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70"/>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70"/>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70"/>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70"/>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70"/>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70"/>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70"/>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70"/>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70"/>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 name="Google Shape;1383;p70"/>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70"/>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70"/>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70"/>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 name="Google Shape;1387;p70"/>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 name="Google Shape;1388;p70"/>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70"/>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70"/>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70"/>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70"/>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70"/>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70"/>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70"/>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70"/>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70"/>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70"/>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70"/>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70"/>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70"/>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70"/>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70"/>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70"/>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70"/>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70"/>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70"/>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70"/>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70"/>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70"/>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70"/>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70"/>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70"/>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70"/>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70"/>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70"/>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70"/>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70"/>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70"/>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70"/>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70"/>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70"/>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70"/>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70"/>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70"/>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70"/>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70"/>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70"/>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70"/>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70"/>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70"/>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70"/>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70"/>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1434;p70"/>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1435;p70"/>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70"/>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70"/>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70"/>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70"/>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70"/>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70"/>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70"/>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70"/>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70"/>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70"/>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70"/>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70"/>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70"/>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70"/>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70"/>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70"/>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70"/>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70"/>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70"/>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70"/>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70"/>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70"/>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70"/>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70"/>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70"/>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70"/>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70"/>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70"/>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70"/>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70"/>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70"/>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70"/>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70"/>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70"/>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70"/>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70"/>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70"/>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70"/>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70"/>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70"/>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6" name="Google Shape;1476;p70"/>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7" name="Google Shape;1477;p70"/>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70"/>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70"/>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70"/>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70"/>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70"/>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70"/>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70"/>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70"/>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70"/>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70"/>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70"/>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70"/>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70"/>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70"/>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70"/>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3" name="Google Shape;1493;p70"/>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4" name="Google Shape;1494;p70"/>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70"/>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70"/>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70"/>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70"/>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70"/>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70"/>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70"/>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70"/>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70"/>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70"/>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70"/>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70"/>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70"/>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70"/>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70"/>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70"/>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70"/>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70"/>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70"/>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70"/>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70"/>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70"/>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70"/>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70"/>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70"/>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70"/>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70"/>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70"/>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70"/>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70"/>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70"/>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70"/>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70"/>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70"/>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70"/>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0" name="Google Shape;1530;p70"/>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1" name="Google Shape;1531;p70"/>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70"/>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70"/>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70"/>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70"/>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70"/>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70"/>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70"/>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1539;p70"/>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1540;p70"/>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70"/>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70"/>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70"/>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70"/>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70"/>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70"/>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70"/>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70"/>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70"/>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70"/>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70"/>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70"/>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70"/>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70"/>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70"/>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70"/>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70"/>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70"/>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70"/>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70"/>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70"/>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70"/>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70"/>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70"/>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70"/>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70"/>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1567;p70"/>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1568;p70"/>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70"/>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70"/>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70"/>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70"/>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70"/>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70"/>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70"/>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70"/>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70"/>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70"/>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70"/>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70"/>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70"/>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2" name="Google Shape;1582;p70"/>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3" name="Google Shape;1583;p70"/>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4" name="Google Shape;1584;p70"/>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5" name="Google Shape;1585;p70"/>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6" name="Google Shape;1586;p70"/>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7" name="Google Shape;1587;p70"/>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8" name="Google Shape;1588;p70"/>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9" name="Google Shape;1589;p70"/>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0" name="Google Shape;1590;p70"/>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1" name="Google Shape;1591;p70"/>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2" name="Google Shape;1592;p70"/>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3" name="Google Shape;1593;p70"/>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4" name="Google Shape;1594;p70"/>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5" name="Google Shape;1595;p70"/>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6" name="Google Shape;1596;p70"/>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7" name="Google Shape;1597;p70"/>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8" name="Google Shape;1598;p70"/>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9" name="Google Shape;1599;p70"/>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0" name="Google Shape;1600;p70"/>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1" name="Google Shape;1601;p70"/>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70"/>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70"/>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70"/>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70"/>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6" name="Google Shape;1606;p70"/>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7" name="Google Shape;1607;p70"/>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8" name="Google Shape;1608;p70"/>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9" name="Google Shape;1609;p70"/>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0" name="Google Shape;1610;p70"/>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1" name="Google Shape;1611;p70"/>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2" name="Google Shape;1612;p70"/>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3" name="Google Shape;1613;p70"/>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4" name="Google Shape;1614;p70"/>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5" name="Google Shape;1615;p70"/>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6" name="Google Shape;1616;p70"/>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7" name="Google Shape;1617;p70"/>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8" name="Google Shape;1618;p70"/>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9" name="Google Shape;1619;p70"/>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70"/>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1" name="Google Shape;1621;p70"/>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2" name="Google Shape;1622;p70"/>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70"/>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70"/>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70"/>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6" name="Google Shape;1626;p70"/>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7" name="Google Shape;1627;p70"/>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70"/>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9" name="Google Shape;1629;p70"/>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0" name="Google Shape;1630;p70"/>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70"/>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70"/>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3" name="Google Shape;1633;p70"/>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4" name="Google Shape;1634;p70"/>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70"/>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6" name="Google Shape;1636;p70"/>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7" name="Google Shape;1637;p70"/>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70"/>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70"/>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70"/>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1" name="Google Shape;1641;p70"/>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2" name="Google Shape;1642;p70"/>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70"/>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70"/>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70"/>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6" name="Google Shape;1646;p70"/>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7" name="Google Shape;1647;p70"/>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70"/>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70"/>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70"/>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70"/>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2" name="Google Shape;1652;p70"/>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3" name="Google Shape;1653;p70"/>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70"/>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70"/>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70"/>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7" name="Google Shape;1657;p70"/>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8" name="Google Shape;1658;p70"/>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70"/>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70"/>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1" name="Google Shape;1661;p70"/>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2" name="Google Shape;1662;p70"/>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70"/>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70"/>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70"/>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70"/>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70"/>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8" name="Google Shape;1668;p70"/>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9" name="Google Shape;1669;p70"/>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70"/>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70"/>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70"/>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70"/>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70"/>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70"/>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6" name="Google Shape;1676;p70"/>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7" name="Google Shape;1677;p70"/>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70"/>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70"/>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70"/>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1" name="Google Shape;1681;p70"/>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2" name="Google Shape;1682;p70"/>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70"/>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70"/>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5" name="Google Shape;1685;p70"/>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6" name="Google Shape;1686;p70"/>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70"/>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70"/>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9" name="Google Shape;1689;p70"/>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0" name="Google Shape;1690;p70"/>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70"/>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2" name="Google Shape;1692;p70"/>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3" name="Google Shape;1693;p70"/>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4" name="Google Shape;1694;p70"/>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70"/>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70"/>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70"/>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8" name="Google Shape;1698;p70"/>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9" name="Google Shape;1699;p70"/>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70"/>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1" name="Google Shape;1701;p70"/>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2" name="Google Shape;1702;p70"/>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70"/>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4" name="Google Shape;1704;p70"/>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5" name="Google Shape;1705;p70"/>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6" name="Google Shape;1706;p70"/>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70"/>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8" name="Google Shape;1708;p70"/>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9" name="Google Shape;1709;p70"/>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70"/>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1" name="Google Shape;1711;p70"/>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2" name="Google Shape;1712;p70"/>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70"/>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4" name="Google Shape;1714;p70"/>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5" name="Google Shape;1715;p70"/>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70"/>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70"/>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70"/>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70"/>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70"/>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70"/>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70"/>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3" name="Google Shape;1723;p70"/>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4" name="Google Shape;1724;p70"/>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70"/>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70"/>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70"/>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70"/>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70"/>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70"/>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70"/>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70"/>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70"/>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70"/>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70"/>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70"/>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70"/>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70"/>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70"/>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70"/>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70"/>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70"/>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70"/>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70"/>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5" name="Google Shape;1745;p70"/>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6" name="Google Shape;1746;p70"/>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70"/>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70"/>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70"/>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0" name="Google Shape;1750;p70"/>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1" name="Google Shape;1751;p70"/>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70"/>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70"/>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70"/>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70"/>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70"/>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70"/>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70"/>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70"/>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70"/>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70"/>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70"/>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3" name="Google Shape;1763;p70"/>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4" name="Google Shape;1764;p70"/>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70"/>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6" name="Google Shape;1766;p70"/>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7" name="Google Shape;1767;p70"/>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70"/>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70"/>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0" name="Google Shape;1770;p70"/>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70"/>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70"/>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70"/>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4" name="Google Shape;1774;p70"/>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5" name="Google Shape;1775;p70"/>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70"/>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7" name="Google Shape;1777;p70"/>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8" name="Google Shape;1778;p70"/>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70"/>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0" name="Google Shape;1780;p70"/>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1" name="Google Shape;1781;p70"/>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70"/>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3" name="Google Shape;1783;p70"/>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4" name="Google Shape;1784;p70"/>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70"/>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6" name="Google Shape;1786;p70"/>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7" name="Google Shape;1787;p70"/>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70"/>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9" name="Google Shape;1789;p70"/>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0" name="Google Shape;1790;p70"/>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70"/>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70"/>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70"/>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70"/>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70"/>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70"/>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70"/>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70"/>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70"/>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70"/>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70"/>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70"/>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70"/>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70"/>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70"/>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70"/>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70"/>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70"/>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70"/>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70"/>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70"/>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70"/>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70"/>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4" name="Google Shape;1814;p70"/>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70"/>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70"/>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70"/>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70"/>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70"/>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0" name="Google Shape;1820;p70"/>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70"/>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70"/>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70"/>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70"/>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70"/>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6" name="Google Shape;1826;p70"/>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7" name="Google Shape;1827;p70"/>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70"/>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9" name="Google Shape;1829;p70"/>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70"/>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70"/>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2" name="Google Shape;1832;p70"/>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3" name="Google Shape;1833;p70"/>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70"/>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70"/>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70"/>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70"/>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70"/>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70"/>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70"/>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70"/>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2" name="Google Shape;1842;p70"/>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3" name="Google Shape;1843;p70"/>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70"/>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5" name="Google Shape;1845;p70"/>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6" name="Google Shape;1846;p70"/>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70"/>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70"/>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70"/>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70"/>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70"/>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70"/>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70"/>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70"/>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70"/>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70"/>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70"/>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70"/>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70"/>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70"/>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70"/>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70"/>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70"/>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70"/>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70"/>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6" name="Google Shape;1866;p70"/>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7" name="Google Shape;1867;p70"/>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70"/>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70"/>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70"/>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70"/>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70"/>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70"/>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70"/>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70"/>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70"/>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70"/>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70"/>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70"/>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70"/>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70"/>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70"/>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70"/>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70"/>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70"/>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70"/>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70"/>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70"/>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70"/>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70"/>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70"/>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70"/>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70"/>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70"/>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70"/>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70"/>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70"/>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70"/>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70"/>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70"/>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70"/>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70"/>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70"/>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70"/>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70"/>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70"/>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70"/>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70"/>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70"/>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70"/>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70"/>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70"/>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70"/>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70"/>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70"/>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70"/>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70"/>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70"/>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70"/>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70"/>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70"/>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70"/>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70"/>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70"/>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70"/>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70"/>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70"/>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70"/>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70"/>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70"/>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70"/>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70"/>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70"/>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70"/>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70"/>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70"/>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70"/>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70"/>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70"/>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70"/>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70"/>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70"/>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70"/>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70"/>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5" name="Google Shape;1945;p70"/>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70"/>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70"/>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70"/>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9" name="Google Shape;1949;p70"/>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0" name="Google Shape;1950;p70"/>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1" name="Google Shape;1951;p70"/>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2" name="Google Shape;1952;p70"/>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3" name="Google Shape;1953;p70"/>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4" name="Google Shape;1954;p70"/>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70"/>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70"/>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70"/>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70"/>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70"/>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0" name="Google Shape;1960;p70"/>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1" name="Google Shape;1961;p70"/>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70"/>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70"/>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70"/>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70"/>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70"/>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70"/>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70"/>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70"/>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70"/>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70"/>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70"/>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70"/>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70"/>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70"/>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70"/>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70"/>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70"/>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70"/>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70"/>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70"/>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70"/>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70"/>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70"/>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70"/>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70"/>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70"/>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70"/>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70"/>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70"/>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70"/>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70"/>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70"/>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70"/>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70"/>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70"/>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70"/>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70"/>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70"/>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70"/>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70"/>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70"/>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70"/>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70"/>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70"/>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70"/>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70"/>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70"/>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70"/>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70"/>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70"/>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70"/>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70"/>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70"/>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70"/>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70"/>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70"/>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70"/>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70"/>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70"/>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70"/>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70"/>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70"/>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70"/>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70"/>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70"/>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70"/>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70"/>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70"/>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70"/>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70"/>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70"/>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70"/>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70"/>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70"/>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70"/>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70"/>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70"/>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70"/>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70"/>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70"/>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70"/>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70"/>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70"/>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70"/>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70"/>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70"/>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70"/>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70"/>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70"/>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70"/>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70"/>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70"/>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70"/>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70"/>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70"/>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70"/>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70"/>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70"/>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70"/>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70"/>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70"/>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70"/>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70"/>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70"/>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70"/>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70"/>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70"/>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70"/>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70"/>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70"/>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70"/>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70"/>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70"/>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70"/>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70"/>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70"/>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70"/>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70"/>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70"/>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70"/>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70"/>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70"/>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70"/>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70"/>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70"/>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70"/>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70"/>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70"/>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70"/>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70"/>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70"/>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70"/>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70"/>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70"/>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70"/>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70"/>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70"/>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70"/>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70"/>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70"/>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70"/>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70"/>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70"/>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70"/>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70"/>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70"/>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70"/>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70"/>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70"/>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70"/>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70"/>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70"/>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70"/>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70"/>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70"/>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70"/>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70"/>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70"/>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70"/>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70"/>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70"/>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70"/>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70"/>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70"/>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70"/>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70"/>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70"/>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70"/>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70"/>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70"/>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70"/>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70"/>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70"/>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70"/>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70"/>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70"/>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70"/>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70"/>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70"/>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70"/>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70"/>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70"/>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70"/>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70"/>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70"/>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70"/>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70"/>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70"/>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70"/>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70"/>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70"/>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70"/>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70"/>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70"/>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70"/>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70"/>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70"/>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70"/>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70"/>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70"/>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70"/>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70"/>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70"/>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70"/>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70"/>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70"/>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70"/>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70"/>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70"/>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70"/>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70"/>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70"/>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70"/>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70"/>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70"/>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70"/>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70"/>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70"/>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70"/>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70"/>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70"/>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70"/>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70"/>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70"/>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70"/>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70"/>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70"/>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70"/>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70"/>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70"/>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70"/>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70"/>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70"/>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70"/>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70"/>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70"/>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70"/>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70"/>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70"/>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70"/>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70"/>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70"/>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70"/>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70"/>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70"/>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70"/>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70"/>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70"/>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70"/>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70"/>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70"/>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70"/>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70"/>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70"/>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70"/>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70"/>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70"/>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70"/>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70"/>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70"/>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70"/>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70"/>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70"/>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70"/>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70"/>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70"/>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70"/>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70"/>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70"/>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70"/>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70"/>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70"/>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70"/>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70"/>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70"/>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70"/>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70"/>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70"/>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70"/>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70"/>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70"/>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70"/>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70"/>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70"/>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70"/>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70"/>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70"/>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70"/>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70"/>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70"/>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70"/>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70"/>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70"/>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70"/>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70"/>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70"/>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70"/>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70"/>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70"/>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70"/>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70"/>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70"/>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70"/>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70"/>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70"/>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70"/>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70"/>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70"/>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70"/>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70"/>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70"/>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70"/>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70"/>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70"/>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70"/>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70"/>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70"/>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70"/>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70"/>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70"/>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70"/>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70"/>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70"/>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70"/>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70"/>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70"/>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70"/>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70"/>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70"/>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70"/>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70"/>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70"/>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70"/>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70"/>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70"/>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70"/>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70"/>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70"/>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70"/>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70"/>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70"/>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70"/>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70"/>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70"/>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70"/>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70"/>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70"/>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70"/>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70"/>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70"/>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70"/>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70"/>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70"/>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70"/>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70"/>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70"/>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70"/>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70"/>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70"/>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70"/>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70"/>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70"/>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70"/>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70"/>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70"/>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70"/>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70"/>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70"/>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70"/>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70"/>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70"/>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70"/>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70"/>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70"/>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70"/>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70"/>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70"/>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70"/>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70"/>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70"/>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70"/>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70"/>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70"/>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70"/>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70"/>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70"/>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70"/>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70"/>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70"/>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70"/>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70"/>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70"/>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70"/>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70"/>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70"/>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70"/>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70"/>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70"/>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70"/>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70"/>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70"/>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70"/>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70"/>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70"/>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70"/>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70"/>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70"/>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70"/>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70"/>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70"/>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70"/>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70"/>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70"/>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70"/>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70"/>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70"/>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70"/>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70"/>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70"/>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70"/>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70"/>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70"/>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70"/>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70"/>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70"/>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70"/>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70"/>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70"/>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70"/>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70"/>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70"/>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70"/>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70"/>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70"/>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70"/>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70"/>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70"/>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70"/>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70"/>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70"/>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70"/>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70"/>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70"/>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70"/>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70"/>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70"/>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70"/>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70"/>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70"/>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70"/>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70"/>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70"/>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70"/>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70"/>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70"/>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70"/>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70"/>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70"/>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70"/>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70"/>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70"/>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70"/>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70"/>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70"/>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70"/>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70"/>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70"/>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70"/>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70"/>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70"/>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70"/>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70"/>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70"/>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70"/>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70"/>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70"/>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70"/>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70"/>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70"/>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70"/>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70"/>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70"/>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70"/>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70"/>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70"/>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70"/>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70"/>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70"/>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70"/>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70"/>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70"/>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70"/>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70"/>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70"/>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70"/>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70"/>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70"/>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70"/>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70"/>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70"/>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70"/>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70"/>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70"/>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70"/>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70"/>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70"/>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70"/>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70"/>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70"/>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70"/>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70"/>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70"/>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70"/>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70"/>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70"/>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70"/>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70"/>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70"/>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70"/>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70"/>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70"/>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70"/>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70"/>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70"/>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70"/>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70"/>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70"/>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70"/>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70"/>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70"/>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70"/>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70"/>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70"/>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70"/>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70"/>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70"/>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70"/>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70"/>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70"/>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70"/>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70"/>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70"/>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70"/>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70"/>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70"/>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70"/>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70"/>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70"/>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70"/>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70"/>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70"/>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70"/>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70"/>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70"/>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70"/>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70"/>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70"/>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70"/>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70"/>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70"/>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70"/>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70"/>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70"/>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70"/>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70"/>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70"/>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70"/>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70"/>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70"/>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70"/>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70"/>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70"/>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70"/>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70"/>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70"/>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70"/>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70"/>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70"/>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70"/>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70"/>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70"/>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70"/>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70"/>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70"/>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70"/>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70"/>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70"/>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70"/>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70"/>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70"/>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70"/>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70"/>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70"/>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70"/>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70"/>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70"/>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70"/>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70"/>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70"/>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70"/>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70"/>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70"/>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70"/>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70"/>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70"/>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70"/>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70"/>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70"/>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70"/>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70"/>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70"/>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70"/>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70"/>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70"/>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70"/>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70"/>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70"/>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70"/>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70"/>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70"/>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70"/>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70"/>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70"/>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70"/>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70"/>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70"/>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70"/>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70"/>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70"/>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70"/>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70"/>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70"/>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70"/>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70"/>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70"/>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70"/>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70"/>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70"/>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70"/>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70"/>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70"/>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70"/>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70"/>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70"/>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70"/>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70"/>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70"/>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70"/>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70"/>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70"/>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70"/>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70"/>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70"/>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70"/>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70"/>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70"/>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70"/>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70"/>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70"/>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70"/>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70"/>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70"/>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70"/>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70"/>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70"/>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70"/>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70"/>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70"/>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70"/>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70"/>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70"/>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70"/>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70"/>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70"/>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70"/>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70"/>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70"/>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70"/>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70"/>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70"/>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70"/>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70"/>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44" name="Google Shape;2644;p70"/>
          <p:cNvGrpSpPr/>
          <p:nvPr/>
        </p:nvGrpSpPr>
        <p:grpSpPr>
          <a:xfrm>
            <a:off x="5961311" y="1231136"/>
            <a:ext cx="2435960" cy="1297725"/>
            <a:chOff x="233350" y="949250"/>
            <a:chExt cx="7137300" cy="3802300"/>
          </a:xfrm>
        </p:grpSpPr>
        <p:sp>
          <p:nvSpPr>
            <p:cNvPr id="2645" name="Google Shape;2645;p70"/>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70"/>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70"/>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70"/>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70"/>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70"/>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70"/>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70"/>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70"/>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70"/>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70"/>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70"/>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70"/>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70"/>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70"/>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70"/>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70"/>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70"/>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70"/>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70"/>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70"/>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70"/>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70"/>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70"/>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70"/>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70"/>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70"/>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70"/>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70"/>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70"/>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70"/>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70"/>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70"/>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70"/>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70"/>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70"/>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70"/>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70"/>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70"/>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70"/>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70"/>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70"/>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70"/>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70"/>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70"/>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70"/>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70"/>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70"/>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70"/>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70"/>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70"/>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96" name="Google Shape;2696;p70"/>
          <p:cNvGrpSpPr/>
          <p:nvPr/>
        </p:nvGrpSpPr>
        <p:grpSpPr>
          <a:xfrm>
            <a:off x="7714435" y="3194726"/>
            <a:ext cx="104231" cy="320340"/>
            <a:chOff x="7564426" y="3224343"/>
            <a:chExt cx="119985" cy="368801"/>
          </a:xfrm>
        </p:grpSpPr>
        <p:sp>
          <p:nvSpPr>
            <p:cNvPr id="2697" name="Google Shape;2697;p70"/>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70"/>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99" name="Google Shape;2699;p70"/>
          <p:cNvGrpSpPr/>
          <p:nvPr/>
        </p:nvGrpSpPr>
        <p:grpSpPr>
          <a:xfrm>
            <a:off x="7413923" y="3188827"/>
            <a:ext cx="189489" cy="332132"/>
            <a:chOff x="8370831" y="3202002"/>
            <a:chExt cx="218129" cy="382376"/>
          </a:xfrm>
        </p:grpSpPr>
        <p:sp>
          <p:nvSpPr>
            <p:cNvPr id="2700" name="Google Shape;2700;p70"/>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70"/>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02" name="Google Shape;2702;p70"/>
          <p:cNvGrpSpPr/>
          <p:nvPr/>
        </p:nvGrpSpPr>
        <p:grpSpPr>
          <a:xfrm>
            <a:off x="8137312" y="3599959"/>
            <a:ext cx="309429" cy="267000"/>
            <a:chOff x="6742064" y="3750480"/>
            <a:chExt cx="399315" cy="344560"/>
          </a:xfrm>
        </p:grpSpPr>
        <p:sp>
          <p:nvSpPr>
            <p:cNvPr id="2703" name="Google Shape;2703;p70"/>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70"/>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05" name="Google Shape;2705;p70"/>
          <p:cNvGrpSpPr/>
          <p:nvPr/>
        </p:nvGrpSpPr>
        <p:grpSpPr>
          <a:xfrm>
            <a:off x="7676331" y="3951006"/>
            <a:ext cx="180437" cy="281608"/>
            <a:chOff x="7248525" y="3739696"/>
            <a:chExt cx="230531" cy="359790"/>
          </a:xfrm>
        </p:grpSpPr>
        <p:sp>
          <p:nvSpPr>
            <p:cNvPr id="2706" name="Google Shape;2706;p70"/>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70"/>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08" name="Google Shape;2708;p70"/>
          <p:cNvGrpSpPr/>
          <p:nvPr/>
        </p:nvGrpSpPr>
        <p:grpSpPr>
          <a:xfrm>
            <a:off x="7922251" y="3594231"/>
            <a:ext cx="162896" cy="278710"/>
            <a:chOff x="7601242" y="3729267"/>
            <a:chExt cx="222566" cy="380803"/>
          </a:xfrm>
        </p:grpSpPr>
        <p:sp>
          <p:nvSpPr>
            <p:cNvPr id="2709" name="Google Shape;2709;p70"/>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70"/>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11" name="Google Shape;2711;p70"/>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712" name="Google Shape;2712;p70"/>
          <p:cNvGrpSpPr/>
          <p:nvPr/>
        </p:nvGrpSpPr>
        <p:grpSpPr>
          <a:xfrm>
            <a:off x="7411896" y="3595371"/>
            <a:ext cx="193543" cy="275990"/>
            <a:chOff x="8304647" y="3738687"/>
            <a:chExt cx="225076" cy="320956"/>
          </a:xfrm>
        </p:grpSpPr>
        <p:sp>
          <p:nvSpPr>
            <p:cNvPr id="2713" name="Google Shape;2713;p70"/>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70"/>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70"/>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16" name="Google Shape;2716;p70"/>
          <p:cNvGrpSpPr/>
          <p:nvPr/>
        </p:nvGrpSpPr>
        <p:grpSpPr>
          <a:xfrm>
            <a:off x="7684389" y="3595371"/>
            <a:ext cx="178492" cy="275990"/>
            <a:chOff x="8615101" y="3738687"/>
            <a:chExt cx="207573" cy="320956"/>
          </a:xfrm>
        </p:grpSpPr>
        <p:sp>
          <p:nvSpPr>
            <p:cNvPr id="2717" name="Google Shape;2717;p70"/>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70"/>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70"/>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20" name="Google Shape;2720;p70"/>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721" name="Google Shape;2721;p70"/>
          <p:cNvGrpSpPr/>
          <p:nvPr/>
        </p:nvGrpSpPr>
        <p:grpSpPr>
          <a:xfrm>
            <a:off x="7909920" y="3998032"/>
            <a:ext cx="187557" cy="187557"/>
            <a:chOff x="8565775" y="671075"/>
            <a:chExt cx="441000" cy="441000"/>
          </a:xfrm>
        </p:grpSpPr>
        <p:sp>
          <p:nvSpPr>
            <p:cNvPr id="2722" name="Google Shape;2722;p70"/>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70"/>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24" name="Google Shape;2724;p70"/>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70"/>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726" name="Google Shape;2726;p70"/>
          <p:cNvGrpSpPr/>
          <p:nvPr/>
        </p:nvGrpSpPr>
        <p:grpSpPr>
          <a:xfrm>
            <a:off x="6064392" y="3070557"/>
            <a:ext cx="587865" cy="517731"/>
            <a:chOff x="6000718" y="3070557"/>
            <a:chExt cx="587865" cy="517731"/>
          </a:xfrm>
        </p:grpSpPr>
        <p:sp>
          <p:nvSpPr>
            <p:cNvPr id="2727" name="Google Shape;2727;p70"/>
            <p:cNvSpPr/>
            <p:nvPr/>
          </p:nvSpPr>
          <p:spPr>
            <a:xfrm>
              <a:off x="6161116" y="3104229"/>
              <a:ext cx="410157" cy="449935"/>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70"/>
            <p:cNvSpPr/>
            <p:nvPr/>
          </p:nvSpPr>
          <p:spPr>
            <a:xfrm>
              <a:off x="6032245" y="3317811"/>
              <a:ext cx="62137" cy="151163"/>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70"/>
            <p:cNvSpPr/>
            <p:nvPr/>
          </p:nvSpPr>
          <p:spPr>
            <a:xfrm>
              <a:off x="6189159" y="3073176"/>
              <a:ext cx="117109" cy="35870"/>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70"/>
            <p:cNvSpPr/>
            <p:nvPr/>
          </p:nvSpPr>
          <p:spPr>
            <a:xfrm>
              <a:off x="6123036" y="3116815"/>
              <a:ext cx="22729" cy="17096"/>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70"/>
            <p:cNvSpPr/>
            <p:nvPr/>
          </p:nvSpPr>
          <p:spPr>
            <a:xfrm>
              <a:off x="6099493" y="3152223"/>
              <a:ext cx="3998"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70"/>
            <p:cNvSpPr/>
            <p:nvPr/>
          </p:nvSpPr>
          <p:spPr>
            <a:xfrm>
              <a:off x="6350890" y="3500386"/>
              <a:ext cx="45147" cy="42584"/>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70"/>
            <p:cNvSpPr/>
            <p:nvPr/>
          </p:nvSpPr>
          <p:spPr>
            <a:xfrm>
              <a:off x="6263064" y="3138409"/>
              <a:ext cx="28464" cy="38690"/>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70"/>
            <p:cNvSpPr/>
            <p:nvPr/>
          </p:nvSpPr>
          <p:spPr>
            <a:xfrm>
              <a:off x="6251907" y="3097504"/>
              <a:ext cx="26006" cy="13687"/>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70"/>
            <p:cNvSpPr/>
            <p:nvPr/>
          </p:nvSpPr>
          <p:spPr>
            <a:xfrm>
              <a:off x="6251498" y="3152108"/>
              <a:ext cx="21605" cy="17009"/>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70"/>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37" name="Google Shape;2737;p70"/>
          <p:cNvGrpSpPr/>
          <p:nvPr/>
        </p:nvGrpSpPr>
        <p:grpSpPr>
          <a:xfrm>
            <a:off x="6079197" y="3714217"/>
            <a:ext cx="557665" cy="516387"/>
            <a:chOff x="6015523" y="3714217"/>
            <a:chExt cx="557665" cy="516387"/>
          </a:xfrm>
        </p:grpSpPr>
        <p:grpSp>
          <p:nvGrpSpPr>
            <p:cNvPr id="2738" name="Google Shape;2738;p70"/>
            <p:cNvGrpSpPr/>
            <p:nvPr/>
          </p:nvGrpSpPr>
          <p:grpSpPr>
            <a:xfrm>
              <a:off x="6036094" y="3716980"/>
              <a:ext cx="529822" cy="510480"/>
              <a:chOff x="3148311" y="-545634"/>
              <a:chExt cx="1006118" cy="969572"/>
            </a:xfrm>
          </p:grpSpPr>
          <p:sp>
            <p:nvSpPr>
              <p:cNvPr id="2739" name="Google Shape;2739;p70"/>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70"/>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70"/>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70"/>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70"/>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70"/>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70"/>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70"/>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70"/>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70"/>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49" name="Google Shape;2749;p70"/>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50" name="Google Shape;2750;p70"/>
          <p:cNvGrpSpPr/>
          <p:nvPr/>
        </p:nvGrpSpPr>
        <p:grpSpPr>
          <a:xfrm>
            <a:off x="6707979" y="3073628"/>
            <a:ext cx="576302" cy="511871"/>
            <a:chOff x="6644304" y="3073628"/>
            <a:chExt cx="576302" cy="511871"/>
          </a:xfrm>
        </p:grpSpPr>
        <p:grpSp>
          <p:nvGrpSpPr>
            <p:cNvPr id="2751" name="Google Shape;2751;p70"/>
            <p:cNvGrpSpPr/>
            <p:nvPr/>
          </p:nvGrpSpPr>
          <p:grpSpPr>
            <a:xfrm>
              <a:off x="6712169" y="3073651"/>
              <a:ext cx="481611" cy="506713"/>
              <a:chOff x="1833536" y="-546641"/>
              <a:chExt cx="914567" cy="962419"/>
            </a:xfrm>
          </p:grpSpPr>
          <p:grpSp>
            <p:nvGrpSpPr>
              <p:cNvPr id="2752" name="Google Shape;2752;p70"/>
              <p:cNvGrpSpPr/>
              <p:nvPr/>
            </p:nvGrpSpPr>
            <p:grpSpPr>
              <a:xfrm>
                <a:off x="1833536" y="-524249"/>
                <a:ext cx="914567" cy="940027"/>
                <a:chOff x="1833536" y="-524249"/>
                <a:chExt cx="914567" cy="940027"/>
              </a:xfrm>
            </p:grpSpPr>
            <p:sp>
              <p:nvSpPr>
                <p:cNvPr id="2753" name="Google Shape;2753;p70"/>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70"/>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70"/>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70"/>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70"/>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58" name="Google Shape;2758;p70"/>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70"/>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70"/>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70"/>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62" name="Google Shape;2762;p70"/>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63" name="Google Shape;2763;p70"/>
          <p:cNvGrpSpPr/>
          <p:nvPr/>
        </p:nvGrpSpPr>
        <p:grpSpPr>
          <a:xfrm>
            <a:off x="6715725" y="3714143"/>
            <a:ext cx="560636" cy="516497"/>
            <a:chOff x="6652051" y="3714143"/>
            <a:chExt cx="560636" cy="516497"/>
          </a:xfrm>
        </p:grpSpPr>
        <p:grpSp>
          <p:nvGrpSpPr>
            <p:cNvPr id="2764" name="Google Shape;2764;p70"/>
            <p:cNvGrpSpPr/>
            <p:nvPr/>
          </p:nvGrpSpPr>
          <p:grpSpPr>
            <a:xfrm>
              <a:off x="6669657" y="3716715"/>
              <a:ext cx="466768" cy="464314"/>
              <a:chOff x="3139766" y="765669"/>
              <a:chExt cx="886380" cy="881888"/>
            </a:xfrm>
          </p:grpSpPr>
          <p:grpSp>
            <p:nvGrpSpPr>
              <p:cNvPr id="2765" name="Google Shape;2765;p70"/>
              <p:cNvGrpSpPr/>
              <p:nvPr/>
            </p:nvGrpSpPr>
            <p:grpSpPr>
              <a:xfrm>
                <a:off x="3139766" y="765669"/>
                <a:ext cx="886380" cy="881888"/>
                <a:chOff x="3139766" y="765669"/>
                <a:chExt cx="886380" cy="881888"/>
              </a:xfrm>
            </p:grpSpPr>
            <p:sp>
              <p:nvSpPr>
                <p:cNvPr id="2766" name="Google Shape;2766;p70"/>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70"/>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70"/>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70"/>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70"/>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70"/>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70"/>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70"/>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70"/>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75" name="Google Shape;2775;p70"/>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70"/>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70"/>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70"/>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79" name="Google Shape;2779;p70"/>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80" name="Google Shape;2780;p70"/>
          <p:cNvGrpSpPr/>
          <p:nvPr/>
        </p:nvGrpSpPr>
        <p:grpSpPr>
          <a:xfrm>
            <a:off x="726609" y="1192826"/>
            <a:ext cx="2665073" cy="1317140"/>
            <a:chOff x="793334" y="1192826"/>
            <a:chExt cx="2665073" cy="1317140"/>
          </a:xfrm>
        </p:grpSpPr>
        <p:sp>
          <p:nvSpPr>
            <p:cNvPr id="2781" name="Google Shape;2781;p70"/>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70"/>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70"/>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70"/>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70"/>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70"/>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70"/>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70"/>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70"/>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70"/>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70"/>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70"/>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70"/>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70"/>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70"/>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70"/>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70"/>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70"/>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70"/>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70"/>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70"/>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70"/>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70"/>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70"/>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70"/>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70"/>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70"/>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70"/>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70"/>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70"/>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70"/>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70"/>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70"/>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70"/>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70"/>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70"/>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70"/>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70"/>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70"/>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70"/>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70"/>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70"/>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70"/>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70"/>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70"/>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70"/>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70"/>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70"/>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70"/>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70"/>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70"/>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70"/>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70"/>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70"/>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70"/>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70"/>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70"/>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70"/>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70"/>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70"/>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70"/>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70"/>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70"/>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70"/>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70"/>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70"/>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70"/>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70"/>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70"/>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70"/>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70"/>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70"/>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70"/>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70"/>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70"/>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70"/>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70"/>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70"/>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70"/>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70"/>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70"/>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70"/>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70"/>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70"/>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70"/>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70"/>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70"/>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70"/>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70"/>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70"/>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70"/>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70"/>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70"/>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70"/>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70"/>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70"/>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70"/>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70"/>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70"/>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70"/>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70"/>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70"/>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70"/>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70"/>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70"/>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70"/>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70"/>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70"/>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70"/>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70"/>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70"/>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70"/>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70"/>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70"/>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70"/>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70"/>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70"/>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70"/>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70"/>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70"/>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70"/>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70"/>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70"/>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70"/>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70"/>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70"/>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70"/>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70"/>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70"/>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70"/>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70"/>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70"/>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70"/>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70"/>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70"/>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70"/>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70"/>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70"/>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70"/>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70"/>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70"/>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70"/>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70"/>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70"/>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70"/>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70"/>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70"/>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70"/>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70"/>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70"/>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70"/>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70"/>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70"/>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70"/>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70"/>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70"/>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70"/>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70"/>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70"/>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70"/>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70"/>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70"/>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70"/>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70"/>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70"/>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70"/>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70"/>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70"/>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70"/>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70"/>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70"/>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70"/>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70"/>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70"/>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70"/>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70"/>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70"/>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70"/>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70"/>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70"/>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70"/>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70"/>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70"/>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70"/>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70"/>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70"/>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70"/>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70"/>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70"/>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70"/>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70"/>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70"/>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70"/>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70"/>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70"/>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70"/>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70"/>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70"/>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70"/>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70"/>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70"/>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70"/>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70"/>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70"/>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70"/>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70"/>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70"/>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70"/>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70"/>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70"/>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70"/>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70"/>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70"/>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70"/>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70"/>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70"/>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70"/>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70"/>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70"/>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70"/>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70"/>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70"/>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70"/>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70"/>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70"/>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70"/>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70"/>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70"/>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70"/>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70"/>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70"/>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70"/>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70"/>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70"/>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70"/>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70"/>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70"/>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70"/>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70"/>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70"/>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70"/>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70"/>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70"/>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70"/>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70"/>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70"/>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70"/>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70"/>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70"/>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70"/>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70"/>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70"/>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70"/>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70"/>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70"/>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70"/>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70"/>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70"/>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70"/>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70"/>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70"/>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70"/>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70"/>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70"/>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70"/>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70"/>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70"/>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70"/>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70"/>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70"/>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70"/>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70"/>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70"/>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70"/>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70"/>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70"/>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70"/>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70"/>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70"/>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70"/>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70"/>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70"/>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70"/>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70"/>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70"/>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70"/>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70"/>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70"/>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70"/>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70"/>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70"/>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70"/>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70"/>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70"/>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70"/>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70"/>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70"/>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70"/>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70"/>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70"/>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70"/>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70"/>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70"/>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70"/>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70"/>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70"/>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70"/>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70"/>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70"/>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70"/>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70"/>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70"/>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70"/>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70"/>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70"/>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70"/>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70"/>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70"/>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70"/>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70"/>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70"/>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70"/>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70"/>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70"/>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70"/>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70"/>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70"/>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70"/>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70"/>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70"/>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70"/>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70"/>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70"/>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70"/>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70"/>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70"/>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70"/>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70"/>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70"/>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70"/>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70"/>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70"/>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70"/>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70"/>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70"/>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70"/>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70"/>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70"/>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70"/>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70"/>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70"/>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70"/>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70"/>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70"/>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70"/>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70"/>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70"/>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70"/>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70"/>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70"/>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70"/>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70"/>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70"/>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70"/>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70"/>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70"/>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70"/>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70"/>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70"/>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70"/>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70"/>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70"/>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70"/>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70"/>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70"/>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70"/>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70"/>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70"/>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70"/>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70"/>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70"/>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70"/>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70"/>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70"/>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70"/>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70"/>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70"/>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70"/>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70"/>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70"/>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70"/>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70"/>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70"/>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70"/>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70"/>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70"/>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70"/>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70"/>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70"/>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70"/>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70"/>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70"/>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70"/>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70"/>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70"/>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70"/>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70"/>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70"/>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70"/>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70"/>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70"/>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70"/>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70"/>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70"/>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70"/>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70"/>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70"/>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70"/>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70"/>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70"/>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70"/>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70"/>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70"/>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70"/>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70"/>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70"/>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70"/>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70"/>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70"/>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70"/>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70"/>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70"/>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70"/>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70"/>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70"/>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70"/>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70"/>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70"/>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70"/>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70"/>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70"/>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70"/>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70"/>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70"/>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70"/>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70"/>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70"/>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70"/>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70"/>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70"/>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70"/>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70"/>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70"/>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70"/>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70"/>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70"/>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70"/>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70"/>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70"/>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70"/>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70"/>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70"/>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70"/>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70"/>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70"/>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70"/>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70"/>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70"/>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70"/>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70"/>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70"/>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70"/>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70"/>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70"/>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70"/>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70"/>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70"/>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70"/>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70"/>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70"/>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70"/>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70"/>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70"/>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70"/>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70"/>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70"/>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70"/>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70"/>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70"/>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70"/>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70"/>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70"/>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70"/>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70"/>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70"/>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70"/>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70"/>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70"/>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70"/>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70"/>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70"/>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70"/>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70"/>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70"/>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70"/>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70"/>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70"/>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70"/>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70"/>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70"/>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70"/>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70"/>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70"/>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70"/>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70"/>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70"/>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70"/>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70"/>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70"/>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70"/>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70"/>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70"/>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70"/>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70"/>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70"/>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70"/>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70"/>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70"/>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70"/>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70"/>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70"/>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70"/>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70"/>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70"/>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70"/>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70"/>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70"/>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70"/>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70"/>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70"/>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70"/>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70"/>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70"/>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70"/>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70"/>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70"/>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70"/>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70"/>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70"/>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70"/>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70"/>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70"/>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70"/>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70"/>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70"/>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70"/>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70"/>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70"/>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70"/>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70"/>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70"/>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70"/>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70"/>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70"/>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70"/>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70"/>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70"/>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70"/>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70"/>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70"/>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70"/>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70"/>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70"/>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70"/>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70"/>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70"/>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70"/>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70"/>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70"/>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70"/>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70"/>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70"/>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70"/>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70"/>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70"/>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70"/>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70"/>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70"/>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70"/>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70"/>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70"/>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70"/>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70"/>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70"/>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70"/>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70"/>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70"/>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70"/>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70"/>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70"/>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70"/>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70"/>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70"/>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70"/>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70"/>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70"/>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70"/>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70"/>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70"/>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70"/>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70"/>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70"/>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70"/>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70"/>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70"/>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70"/>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70"/>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70"/>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70"/>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70"/>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70"/>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70"/>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70"/>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70"/>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70"/>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70"/>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70"/>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70"/>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70"/>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70"/>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70"/>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70"/>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70"/>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70"/>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70"/>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70"/>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70"/>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70"/>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70"/>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70"/>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70"/>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70"/>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70"/>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70"/>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70"/>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70"/>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70"/>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70"/>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70"/>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70"/>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70"/>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70"/>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70"/>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70"/>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70"/>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70"/>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70"/>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70"/>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70"/>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70"/>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70"/>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70"/>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70"/>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70"/>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70"/>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70"/>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70"/>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70"/>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70"/>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70"/>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70"/>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70"/>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70"/>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70"/>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70"/>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70"/>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70"/>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70"/>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70"/>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70"/>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70"/>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70"/>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70"/>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70"/>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70"/>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70"/>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70"/>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70"/>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70"/>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70"/>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70"/>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70"/>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70"/>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70"/>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70"/>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70"/>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70"/>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70"/>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70"/>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70"/>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70"/>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70"/>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70"/>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70"/>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70"/>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70"/>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70"/>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70"/>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70"/>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70"/>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70"/>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70"/>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70"/>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70"/>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70"/>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70"/>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70"/>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70"/>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70"/>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70"/>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70"/>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70"/>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70"/>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70"/>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70"/>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70"/>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70"/>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70"/>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70"/>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70"/>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70"/>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70"/>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70"/>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70"/>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70"/>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70"/>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70"/>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70"/>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70"/>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70"/>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70"/>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70"/>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70"/>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70"/>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70"/>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70"/>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70"/>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70"/>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70"/>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70"/>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70"/>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70"/>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70"/>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70"/>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70"/>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70"/>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70"/>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70"/>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70"/>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70"/>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70"/>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70"/>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70"/>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70"/>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70"/>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70"/>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70"/>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70"/>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70"/>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70"/>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70"/>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70"/>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70"/>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70"/>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70"/>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70"/>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70"/>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70"/>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70"/>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70"/>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70"/>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70"/>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70"/>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70"/>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70"/>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70"/>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70"/>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70"/>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70"/>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70"/>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70"/>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70"/>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70"/>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70"/>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70"/>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70"/>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70"/>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70"/>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70"/>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70"/>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70"/>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70"/>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70"/>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70"/>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70"/>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70"/>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70"/>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70"/>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70"/>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70"/>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70"/>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70"/>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70"/>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70"/>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70"/>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70"/>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70"/>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70"/>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70"/>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70"/>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70"/>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70"/>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70"/>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70"/>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70"/>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70"/>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70"/>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70"/>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70"/>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70"/>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70"/>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70"/>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70"/>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70"/>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70"/>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70"/>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70"/>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70"/>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70"/>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70"/>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70"/>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70"/>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70"/>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70"/>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70"/>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70"/>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70"/>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70"/>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70"/>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70"/>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70"/>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70"/>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70"/>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70"/>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70"/>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70"/>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70"/>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70"/>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70"/>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70"/>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70"/>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70"/>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70"/>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70"/>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70"/>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70"/>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70"/>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70"/>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70"/>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70"/>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70"/>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70"/>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70"/>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70"/>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70"/>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70"/>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70"/>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70"/>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70"/>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70"/>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70"/>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70"/>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70"/>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70"/>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70"/>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70"/>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70"/>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70"/>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70"/>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70"/>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70"/>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70"/>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70"/>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70"/>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70"/>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70"/>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70"/>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70"/>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70"/>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70"/>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70"/>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70"/>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70"/>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70"/>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70"/>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70"/>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70"/>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70"/>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70"/>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70"/>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70"/>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70"/>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70"/>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70"/>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70"/>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70"/>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70"/>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70"/>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70"/>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70"/>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70"/>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70"/>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70"/>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70"/>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70"/>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70"/>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70"/>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70"/>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70"/>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70"/>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70"/>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70"/>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70"/>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70"/>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70"/>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70"/>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70"/>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70"/>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70"/>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70"/>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70"/>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70"/>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70"/>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70"/>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70"/>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70"/>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70"/>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70"/>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70"/>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70"/>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70"/>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70"/>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70"/>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70"/>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70"/>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70"/>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70"/>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70"/>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70"/>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70"/>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70"/>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70"/>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70"/>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70"/>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70"/>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70"/>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70"/>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70"/>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70"/>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70"/>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70"/>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70"/>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70"/>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70"/>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70"/>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70"/>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70"/>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70"/>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70"/>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70"/>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70"/>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70"/>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70"/>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70"/>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70"/>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70"/>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70"/>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70"/>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70"/>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70"/>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70"/>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70"/>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70"/>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70"/>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70"/>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70"/>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70"/>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70"/>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70"/>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70"/>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70"/>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70"/>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70"/>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70"/>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70"/>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70"/>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70"/>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70"/>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70"/>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70"/>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70"/>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70"/>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70"/>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70"/>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70"/>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70"/>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70"/>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70"/>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70"/>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70"/>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70"/>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70"/>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70"/>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70"/>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70"/>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70"/>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70"/>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70"/>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70"/>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70"/>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70"/>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70"/>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70"/>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70"/>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70"/>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70"/>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70"/>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70"/>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70"/>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70"/>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70"/>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70"/>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70"/>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70"/>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70"/>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70"/>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70"/>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70"/>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70"/>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70"/>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70"/>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70"/>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70"/>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70"/>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70"/>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70"/>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70"/>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70"/>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70"/>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70"/>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70"/>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70"/>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70"/>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70"/>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70"/>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70"/>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70"/>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70"/>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70"/>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70"/>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70"/>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70"/>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70"/>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70"/>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70"/>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70"/>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70"/>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70"/>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70"/>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70"/>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70"/>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70"/>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70"/>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70"/>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70"/>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70"/>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70"/>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70"/>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70"/>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70"/>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70"/>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70"/>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70"/>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70"/>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70"/>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70"/>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70"/>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70"/>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70"/>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70"/>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70"/>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70"/>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70"/>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70"/>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70"/>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70"/>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70"/>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70"/>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70"/>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70"/>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70"/>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70"/>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70"/>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70"/>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70"/>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70"/>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70"/>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70"/>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70"/>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70"/>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70"/>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70"/>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70"/>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70"/>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70"/>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70"/>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70"/>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70"/>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70"/>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70"/>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70"/>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70"/>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70"/>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70"/>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70"/>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70"/>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70"/>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70"/>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70"/>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70"/>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70"/>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70"/>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70"/>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70"/>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70"/>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70"/>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70"/>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70"/>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70"/>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70"/>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70"/>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70"/>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70"/>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70"/>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70"/>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70"/>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70"/>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70"/>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70"/>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70"/>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70"/>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70"/>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70"/>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70"/>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70"/>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70"/>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70"/>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70"/>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70"/>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70"/>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70"/>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70"/>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70"/>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70"/>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70"/>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70"/>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70"/>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70"/>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70"/>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70"/>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70"/>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70"/>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70"/>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70"/>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70"/>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70"/>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70"/>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70"/>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70"/>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70"/>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70"/>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70"/>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70"/>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70"/>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70"/>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70"/>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70"/>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70"/>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70"/>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70"/>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70"/>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70"/>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70"/>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70"/>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70"/>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70"/>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70"/>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70"/>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70"/>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70"/>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70"/>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70"/>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70"/>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70"/>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70"/>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70"/>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70"/>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70"/>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70"/>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70"/>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70"/>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70"/>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70"/>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70"/>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70"/>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70"/>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70"/>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70"/>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70"/>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70"/>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70"/>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70"/>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70"/>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70"/>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70"/>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70"/>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70"/>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70"/>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70"/>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70"/>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70"/>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70"/>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70"/>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70"/>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70"/>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70"/>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70"/>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70"/>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70"/>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70"/>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70"/>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70"/>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70"/>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70"/>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70"/>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70"/>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70"/>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70"/>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70"/>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70"/>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70"/>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70"/>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70"/>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70"/>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70"/>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70"/>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70"/>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70"/>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70"/>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70"/>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70"/>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70"/>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70"/>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70"/>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70"/>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70"/>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70"/>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70"/>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70"/>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70"/>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70"/>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70"/>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70"/>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70"/>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70"/>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70"/>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70"/>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70"/>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70"/>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70"/>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70"/>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70"/>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70"/>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70"/>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70"/>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70"/>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70"/>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70"/>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70"/>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70"/>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70"/>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70"/>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70"/>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70"/>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70"/>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70"/>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70"/>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70"/>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70"/>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70"/>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70"/>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70"/>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70"/>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70"/>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70"/>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70"/>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70"/>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70"/>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70"/>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70"/>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70"/>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70"/>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70"/>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70"/>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70"/>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70"/>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70"/>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70"/>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70"/>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70"/>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70"/>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70"/>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70"/>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70"/>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70"/>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70"/>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70"/>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70"/>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70"/>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70"/>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70"/>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70"/>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70"/>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70"/>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70"/>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70"/>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70"/>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70"/>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70"/>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70"/>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70"/>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70"/>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70"/>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70"/>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70"/>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70"/>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70"/>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70"/>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70"/>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70"/>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70"/>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70"/>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70"/>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70"/>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70"/>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70"/>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70"/>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70"/>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70"/>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70"/>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70"/>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70"/>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70"/>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70"/>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70"/>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70"/>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70"/>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70"/>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70"/>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70"/>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70"/>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70"/>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70"/>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70"/>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70"/>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70"/>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70"/>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70"/>
            <p:cNvSpPr/>
            <p:nvPr/>
          </p:nvSpPr>
          <p:spPr>
            <a:xfrm>
              <a:off x="2252820" y="1692248"/>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70"/>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70"/>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70"/>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70"/>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70"/>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70"/>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70"/>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70"/>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70"/>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70"/>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70"/>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70"/>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70"/>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70"/>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70"/>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70"/>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70"/>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70"/>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70"/>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70"/>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70"/>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70"/>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70"/>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70"/>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70"/>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70"/>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70"/>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70"/>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70"/>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70"/>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70"/>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70"/>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70"/>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70"/>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70"/>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70"/>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70"/>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70"/>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70"/>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70"/>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70"/>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70"/>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70"/>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70"/>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70"/>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70"/>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70"/>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70"/>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70"/>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70"/>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70"/>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70"/>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70"/>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70"/>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70"/>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70"/>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70"/>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70"/>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70"/>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70"/>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70"/>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70"/>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70"/>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70"/>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70"/>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70"/>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70"/>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70"/>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70"/>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70"/>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70"/>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70"/>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70"/>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70"/>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70"/>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70"/>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70"/>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70"/>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70"/>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70"/>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70"/>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70"/>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70"/>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70"/>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70"/>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70"/>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70"/>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70"/>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70"/>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70"/>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70"/>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70"/>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70"/>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70"/>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70"/>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70"/>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70"/>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70"/>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70"/>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70"/>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70"/>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70"/>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70"/>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70"/>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70"/>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70"/>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70"/>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70"/>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70"/>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70"/>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70"/>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70"/>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70"/>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70"/>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70"/>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70"/>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70"/>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70"/>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70"/>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70"/>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70"/>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70"/>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70"/>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70"/>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70"/>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70"/>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70"/>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70"/>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70"/>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70"/>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70"/>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70"/>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70"/>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70"/>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70"/>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70"/>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70"/>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70"/>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70"/>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70"/>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70"/>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70"/>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70"/>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70"/>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70"/>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70"/>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70"/>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70"/>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70"/>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70"/>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70"/>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70"/>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70"/>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70"/>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70"/>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70"/>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70"/>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70"/>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70"/>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70"/>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70"/>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70"/>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70"/>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70"/>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70"/>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70"/>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70"/>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70"/>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70"/>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70"/>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70"/>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70"/>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70"/>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70"/>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70"/>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70"/>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70"/>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70"/>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70"/>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70"/>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70"/>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70"/>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70"/>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70"/>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70"/>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70"/>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70"/>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70"/>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70"/>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70"/>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70"/>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70"/>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70"/>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70"/>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70"/>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70"/>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70"/>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70"/>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70"/>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70"/>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70"/>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70"/>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70"/>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70"/>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70"/>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70"/>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70"/>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70"/>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70"/>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70"/>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70"/>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70"/>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70"/>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70"/>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70"/>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70"/>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70"/>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70"/>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70"/>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70"/>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70"/>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70"/>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70"/>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70"/>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70"/>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70"/>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70"/>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70"/>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70"/>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70"/>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70"/>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70"/>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70"/>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70"/>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70"/>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70"/>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70"/>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70"/>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70"/>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70"/>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70"/>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70"/>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70"/>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70"/>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70"/>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70"/>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70"/>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70"/>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70"/>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70"/>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70"/>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70"/>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70"/>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70"/>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70"/>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70"/>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70"/>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70"/>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70"/>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70"/>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70"/>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70"/>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70"/>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70"/>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70"/>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70"/>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70"/>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70"/>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70"/>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70"/>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70"/>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70"/>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70"/>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70"/>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70"/>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70"/>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70"/>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70"/>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70"/>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70"/>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70"/>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70"/>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70"/>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70"/>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70"/>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70"/>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70"/>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70"/>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70"/>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70"/>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70"/>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70"/>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70"/>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70"/>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70"/>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70"/>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70"/>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70"/>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70"/>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70"/>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70"/>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70"/>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70"/>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70"/>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70"/>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70"/>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70"/>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70"/>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70"/>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70"/>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70"/>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70"/>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70"/>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70"/>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70"/>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70"/>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70"/>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70"/>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70"/>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70"/>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70"/>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70"/>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70"/>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70"/>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70"/>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70"/>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70"/>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70"/>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70"/>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70"/>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70"/>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70"/>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70"/>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70"/>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70"/>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70"/>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70"/>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70"/>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70"/>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70"/>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70"/>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70"/>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70"/>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70"/>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70"/>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70"/>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70"/>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70"/>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70"/>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70"/>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70"/>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70"/>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70"/>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70"/>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70"/>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70"/>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70"/>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70"/>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70"/>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70"/>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70"/>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70"/>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70"/>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70"/>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70"/>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70"/>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70"/>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70"/>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70"/>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70"/>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70"/>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70"/>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70"/>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70"/>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70"/>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70"/>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70"/>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70"/>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70"/>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70"/>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70"/>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70"/>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70"/>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70"/>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70"/>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70"/>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70"/>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70"/>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70"/>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70"/>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70"/>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70"/>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70"/>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70"/>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70"/>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70"/>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70"/>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70"/>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70"/>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70"/>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70"/>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70"/>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70"/>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70"/>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70"/>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70"/>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70"/>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70"/>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70"/>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70"/>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70"/>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70"/>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70"/>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70"/>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70"/>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70"/>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70"/>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70"/>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70"/>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70"/>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70"/>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70"/>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70"/>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70"/>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70"/>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70"/>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70"/>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70"/>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70"/>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70"/>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70"/>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70"/>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70"/>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70"/>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70"/>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70"/>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70"/>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70"/>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70"/>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70"/>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70"/>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70"/>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70"/>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70"/>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70"/>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70"/>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70"/>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70"/>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70"/>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70"/>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70"/>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70"/>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70"/>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70"/>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70"/>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70"/>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70"/>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70"/>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70"/>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70"/>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70"/>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70"/>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70"/>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70"/>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70"/>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70"/>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70"/>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70"/>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70"/>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70"/>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70"/>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70"/>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70"/>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70"/>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70"/>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70"/>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70"/>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70"/>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70"/>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70"/>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70"/>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70"/>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70"/>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70"/>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70"/>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70"/>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70"/>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70"/>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70"/>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70"/>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70"/>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70"/>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70"/>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70"/>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70"/>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70"/>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70"/>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70"/>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70"/>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70"/>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70"/>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70"/>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70"/>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70"/>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70"/>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70"/>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70"/>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70"/>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70"/>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70"/>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70"/>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70"/>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70"/>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70"/>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70"/>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70"/>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70"/>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70"/>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70"/>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70"/>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70"/>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70"/>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70"/>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70"/>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70"/>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70"/>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70"/>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70"/>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70"/>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70"/>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70"/>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70"/>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70"/>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70"/>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70"/>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70"/>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70"/>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70"/>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70"/>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70"/>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70"/>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70"/>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70"/>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70"/>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70"/>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70"/>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70"/>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70"/>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70"/>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70"/>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70"/>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70"/>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70"/>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70"/>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70"/>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70"/>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70"/>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70"/>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70"/>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70"/>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70"/>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70"/>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70"/>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70"/>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70"/>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70"/>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70"/>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70"/>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70"/>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70"/>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70"/>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70"/>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70"/>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70"/>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70"/>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70"/>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70"/>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70"/>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70"/>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70"/>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70"/>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70"/>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70"/>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70"/>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70"/>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70"/>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70"/>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70"/>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70"/>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70"/>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70"/>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70"/>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70"/>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70"/>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70"/>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70"/>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70"/>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70"/>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70"/>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70"/>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70"/>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70"/>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70"/>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70"/>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70"/>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70"/>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70"/>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70"/>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70"/>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70"/>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70"/>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70"/>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70"/>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70"/>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70"/>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70"/>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70"/>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70"/>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70"/>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70"/>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70"/>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70"/>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70"/>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70"/>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70"/>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70"/>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70"/>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70"/>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70"/>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70"/>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70"/>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70"/>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70"/>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70"/>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70"/>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70"/>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70"/>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70"/>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70"/>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70"/>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70"/>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70"/>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70"/>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70"/>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70"/>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70"/>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70"/>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70"/>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70"/>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70"/>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70"/>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70"/>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70"/>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70"/>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70"/>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70"/>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70"/>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70"/>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70"/>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70"/>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70"/>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70"/>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70"/>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70"/>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70"/>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70"/>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70"/>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70"/>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70"/>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70"/>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70"/>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70"/>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70"/>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70"/>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70"/>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70"/>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70"/>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70"/>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70"/>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70"/>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70"/>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70"/>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70"/>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70"/>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70"/>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70"/>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70"/>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70"/>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70"/>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70"/>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70"/>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70"/>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70"/>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70"/>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70"/>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70"/>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70"/>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70"/>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70"/>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70"/>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70"/>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70"/>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70"/>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70"/>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70"/>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70"/>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70"/>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70"/>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70"/>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70"/>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70"/>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70"/>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70"/>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70"/>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70"/>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70"/>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70"/>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70"/>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70"/>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70"/>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70"/>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70"/>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70"/>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70"/>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70"/>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70"/>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70"/>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70"/>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70"/>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70"/>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70"/>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70"/>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70"/>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70"/>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70"/>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70"/>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70"/>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70"/>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70"/>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70"/>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70"/>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70"/>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70"/>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70"/>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70"/>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70"/>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70"/>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70"/>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70"/>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70"/>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70"/>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70"/>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70"/>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70"/>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70"/>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70"/>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70"/>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70"/>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70"/>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70"/>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70"/>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70"/>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70"/>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70"/>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70"/>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70"/>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70"/>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70"/>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70"/>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70"/>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70"/>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70"/>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70"/>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70"/>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70"/>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70"/>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70"/>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70"/>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70"/>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70"/>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70"/>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70"/>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70"/>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70"/>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70"/>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70"/>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70"/>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70"/>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70"/>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70"/>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70"/>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70"/>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70"/>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70"/>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70"/>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70"/>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70"/>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70"/>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70"/>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70"/>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70"/>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70"/>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70"/>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70"/>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70"/>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70"/>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70"/>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70"/>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70"/>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70"/>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70"/>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70"/>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70"/>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70"/>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70"/>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70"/>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70"/>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70"/>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70"/>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70"/>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70"/>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70"/>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70"/>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70"/>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70"/>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70"/>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70"/>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70"/>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70"/>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70"/>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70"/>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70"/>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70"/>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70"/>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70"/>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70"/>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70"/>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70"/>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70"/>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70"/>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70"/>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70"/>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70"/>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70"/>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70"/>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70"/>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70"/>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70"/>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70"/>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70"/>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70"/>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70"/>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70"/>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70"/>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70"/>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70"/>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70"/>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70"/>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70"/>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70"/>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70"/>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70"/>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70"/>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70"/>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70"/>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70"/>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70"/>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70"/>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70"/>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70"/>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70"/>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70"/>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70"/>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70"/>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70"/>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70"/>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70"/>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70"/>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70"/>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70"/>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70"/>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70"/>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70"/>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70"/>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70"/>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70"/>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70"/>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70"/>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70"/>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70"/>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70"/>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70"/>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70"/>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70"/>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70"/>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70"/>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70"/>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70"/>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70"/>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70"/>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70"/>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70"/>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70"/>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70"/>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70"/>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70"/>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70"/>
            <p:cNvSpPr/>
            <p:nvPr/>
          </p:nvSpPr>
          <p:spPr>
            <a:xfrm>
              <a:off x="1447580" y="2072418"/>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70"/>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70"/>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70"/>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70"/>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70"/>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70"/>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70"/>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70"/>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70"/>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70"/>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70"/>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70"/>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70"/>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70"/>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70"/>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70"/>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70"/>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70"/>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70"/>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70"/>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70"/>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70"/>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70"/>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70"/>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70"/>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70"/>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70"/>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70"/>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70"/>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70"/>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70"/>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70"/>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70"/>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70"/>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70"/>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70"/>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70"/>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70"/>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70"/>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70"/>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70"/>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70"/>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70"/>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70"/>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70"/>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70"/>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70"/>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70"/>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70"/>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70"/>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70"/>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70"/>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70"/>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70"/>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70"/>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70"/>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70"/>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70"/>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70"/>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70"/>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70"/>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70"/>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70"/>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70"/>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70"/>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70"/>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70"/>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70"/>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70"/>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70"/>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70"/>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70"/>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70"/>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70"/>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70"/>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70"/>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70"/>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70"/>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70"/>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70"/>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70"/>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70"/>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70"/>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70"/>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70"/>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70"/>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70"/>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70"/>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70"/>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70"/>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70"/>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70"/>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70"/>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70"/>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70"/>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70"/>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70"/>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70"/>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70"/>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70"/>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70"/>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70"/>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70"/>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70"/>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70"/>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70"/>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70"/>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70"/>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70"/>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70"/>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70"/>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70"/>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70"/>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70"/>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70"/>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70"/>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70"/>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70"/>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70"/>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70"/>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70"/>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70"/>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70"/>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70"/>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70"/>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70"/>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70"/>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70"/>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70"/>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70"/>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70"/>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70"/>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70"/>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70"/>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70"/>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70"/>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70"/>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70"/>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70"/>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70"/>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70"/>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70"/>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70"/>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70"/>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70"/>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70"/>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70"/>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70"/>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70"/>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70"/>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70"/>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70"/>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70"/>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70"/>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70"/>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70"/>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70"/>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70"/>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70"/>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70"/>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70"/>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70"/>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70"/>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70"/>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70"/>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70"/>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70"/>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70"/>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70"/>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70"/>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70"/>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70"/>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70"/>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70"/>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70"/>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70"/>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70"/>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70"/>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70"/>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70"/>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70"/>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70"/>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70"/>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70"/>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70"/>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70"/>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70"/>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70"/>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70"/>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70"/>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70"/>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70"/>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70"/>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70"/>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70"/>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70"/>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70"/>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70"/>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70"/>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70"/>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70"/>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70"/>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70"/>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70"/>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70"/>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70"/>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70"/>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70"/>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70"/>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70"/>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70"/>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70"/>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70"/>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70"/>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70"/>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70"/>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70"/>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70"/>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70"/>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70"/>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70"/>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70"/>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70"/>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70"/>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70"/>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70"/>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70"/>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70"/>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70"/>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70"/>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70"/>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70"/>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70"/>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70"/>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70"/>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70"/>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70"/>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70"/>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70"/>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70"/>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70"/>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70"/>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70"/>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70"/>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70"/>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70"/>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70"/>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70"/>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70"/>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70"/>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70"/>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70"/>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70"/>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70"/>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70"/>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70"/>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70"/>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70"/>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70"/>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70"/>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70"/>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70"/>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70"/>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70"/>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70"/>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70"/>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70"/>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70"/>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70"/>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70"/>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70"/>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70"/>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70"/>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70"/>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70"/>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70"/>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70"/>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70"/>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70"/>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70"/>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70"/>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70"/>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70"/>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70"/>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70"/>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70"/>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70"/>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70"/>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70"/>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70"/>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70"/>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70"/>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70"/>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70"/>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70"/>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70"/>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70"/>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70"/>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70"/>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70"/>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70"/>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70"/>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70"/>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70"/>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70"/>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70"/>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70"/>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70"/>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70"/>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70"/>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70"/>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70"/>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70"/>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70"/>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70"/>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70"/>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70"/>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70"/>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70"/>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70"/>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70"/>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70"/>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70"/>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70"/>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70"/>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70"/>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70"/>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70"/>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70"/>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70"/>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70"/>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70"/>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70"/>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70"/>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70"/>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70"/>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70"/>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70"/>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70"/>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70"/>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70"/>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70"/>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70"/>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70"/>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70"/>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70"/>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70"/>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70"/>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70"/>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70"/>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70"/>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70"/>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70"/>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70"/>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70"/>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70"/>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70"/>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70"/>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70"/>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70"/>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70"/>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70"/>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70"/>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70"/>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70"/>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70"/>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70"/>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70"/>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70"/>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70"/>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70"/>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70"/>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70"/>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70"/>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70"/>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70"/>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70"/>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70"/>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70"/>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70"/>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70"/>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70"/>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70"/>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70"/>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70"/>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70"/>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70"/>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70"/>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70"/>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70"/>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70"/>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70"/>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70"/>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70"/>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70"/>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70"/>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70"/>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70"/>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70"/>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70"/>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70"/>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70"/>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70"/>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70"/>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70"/>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70"/>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70"/>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70"/>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70"/>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70"/>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70"/>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70"/>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70"/>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70"/>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70"/>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70"/>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70"/>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70"/>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70"/>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70"/>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70"/>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70"/>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70"/>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70"/>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70"/>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70"/>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70"/>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70"/>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70"/>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70"/>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70"/>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70"/>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70"/>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70"/>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70"/>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70"/>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70"/>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70"/>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70"/>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70"/>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70"/>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70"/>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70"/>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70"/>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70"/>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70"/>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70"/>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70"/>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70"/>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70"/>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70"/>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70"/>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70"/>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70"/>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70"/>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70"/>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70"/>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70"/>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70"/>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70"/>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70"/>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70"/>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70"/>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70"/>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70"/>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70"/>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70"/>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70"/>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70"/>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70"/>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70"/>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70"/>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70"/>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70"/>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70"/>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70"/>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70"/>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70"/>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70"/>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70"/>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70"/>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70"/>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70"/>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70"/>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70"/>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70"/>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70"/>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70"/>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70"/>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70"/>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70"/>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70"/>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70"/>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70"/>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70"/>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70"/>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70"/>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70"/>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70"/>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70"/>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70"/>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70"/>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70"/>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70"/>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70"/>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70"/>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70"/>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70"/>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70"/>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70"/>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70"/>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70"/>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70"/>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70"/>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70"/>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70"/>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70"/>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70"/>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70"/>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70"/>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70"/>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70"/>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70"/>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70"/>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70"/>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70"/>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70"/>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70"/>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70"/>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70"/>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70"/>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70"/>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70"/>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70"/>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70"/>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70"/>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70"/>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70"/>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70"/>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70"/>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70"/>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70"/>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70"/>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70"/>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70"/>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70"/>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70"/>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70"/>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70"/>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70"/>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70"/>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70"/>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70"/>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70"/>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70"/>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70"/>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70"/>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70"/>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70"/>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70"/>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70"/>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70"/>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70"/>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70"/>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70"/>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70"/>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70"/>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70"/>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70"/>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70"/>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70"/>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70"/>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70"/>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70"/>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70"/>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70"/>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70"/>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70"/>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70"/>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70"/>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70"/>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70"/>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70"/>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70"/>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70"/>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70"/>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70"/>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70"/>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70"/>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70"/>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70"/>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70"/>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70"/>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70"/>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70"/>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70"/>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70"/>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70"/>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70"/>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70"/>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70"/>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70"/>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70"/>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70"/>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70"/>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70"/>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70"/>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70"/>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70"/>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70"/>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70"/>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70"/>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70"/>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70"/>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70"/>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70"/>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70"/>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70"/>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70"/>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70"/>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70"/>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70"/>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70"/>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70"/>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70"/>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70"/>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70"/>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70"/>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70"/>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70"/>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70"/>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70"/>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70"/>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70"/>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70"/>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70"/>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70"/>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70"/>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70"/>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70"/>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70"/>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70"/>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70"/>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70"/>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70"/>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70"/>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70"/>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70"/>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70"/>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70"/>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70"/>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70"/>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70"/>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70"/>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70"/>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70"/>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70"/>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70"/>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70"/>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70"/>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70"/>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70"/>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70"/>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70"/>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70"/>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70"/>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70"/>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70"/>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70"/>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70"/>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70"/>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70"/>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70"/>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70"/>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70"/>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70"/>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70"/>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70"/>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70"/>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70"/>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70"/>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70"/>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70"/>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70"/>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70"/>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70"/>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70"/>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70"/>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70"/>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70"/>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70"/>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70"/>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70"/>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70"/>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70"/>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70"/>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70"/>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70"/>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70"/>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70"/>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70"/>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70"/>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70"/>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70"/>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70"/>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70"/>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70"/>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70"/>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70"/>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70"/>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70"/>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70"/>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70"/>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70"/>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70"/>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70"/>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70"/>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70"/>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70"/>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70"/>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70"/>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70"/>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70"/>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70"/>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70"/>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70"/>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70"/>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70"/>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70"/>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70"/>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70"/>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70"/>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70"/>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70"/>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70"/>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70"/>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70"/>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70"/>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70"/>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70"/>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70"/>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70"/>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70"/>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70"/>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70"/>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70"/>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70"/>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70"/>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70"/>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70"/>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70"/>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70"/>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70"/>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70"/>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70"/>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70"/>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70"/>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70"/>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70"/>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70"/>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70"/>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70"/>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70"/>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70"/>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70"/>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70"/>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70"/>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70"/>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70"/>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70"/>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70"/>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70"/>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70"/>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70"/>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70"/>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70"/>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70"/>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70"/>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70"/>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70"/>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70"/>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70"/>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70"/>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70"/>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70"/>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70"/>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70"/>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70"/>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70"/>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70"/>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70"/>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70"/>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70"/>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70"/>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70"/>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70"/>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70"/>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70"/>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70"/>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70"/>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70"/>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70"/>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70"/>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70"/>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70"/>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70"/>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70"/>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70"/>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70"/>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70"/>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70"/>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70"/>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70"/>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70"/>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70"/>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70"/>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70"/>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70"/>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70"/>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70"/>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70"/>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70"/>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70"/>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70"/>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70"/>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70"/>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70"/>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70"/>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70"/>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70"/>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70"/>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70"/>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70"/>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70"/>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70"/>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70"/>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70"/>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70"/>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70"/>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70"/>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70"/>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70"/>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70"/>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70"/>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70"/>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70"/>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70"/>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70"/>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70"/>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70"/>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70"/>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70"/>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70"/>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70"/>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70"/>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70"/>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70"/>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70"/>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70"/>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70"/>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70"/>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70"/>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70"/>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70"/>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70"/>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70"/>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70"/>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70"/>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70"/>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70"/>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70"/>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70"/>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70"/>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70"/>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70"/>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70"/>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70"/>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70"/>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70"/>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70"/>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70"/>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70"/>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70"/>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70"/>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70"/>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70"/>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70"/>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70"/>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70"/>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70"/>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70"/>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70"/>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70"/>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70"/>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70"/>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70"/>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70"/>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70"/>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70"/>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70"/>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70"/>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70"/>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70"/>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70"/>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70"/>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70"/>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70"/>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70"/>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70"/>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70"/>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70"/>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70"/>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70"/>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70"/>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70"/>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70"/>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70"/>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70"/>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70"/>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70"/>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70"/>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70"/>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70"/>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70"/>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70"/>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70"/>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70"/>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70"/>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70"/>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70"/>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70"/>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70"/>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70"/>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70"/>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70"/>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70"/>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70"/>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70"/>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70"/>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70"/>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70"/>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70"/>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70"/>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70"/>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70"/>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70"/>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70"/>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70"/>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70"/>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70"/>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70"/>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70"/>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70"/>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70"/>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70"/>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70"/>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70"/>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70"/>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70"/>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70"/>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70"/>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70"/>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70"/>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70"/>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70"/>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70"/>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70"/>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70"/>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70"/>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70"/>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70"/>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70"/>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70"/>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70"/>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70"/>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70"/>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70"/>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70"/>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70"/>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70"/>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70"/>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70"/>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70"/>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70"/>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70"/>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70"/>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70"/>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70"/>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70"/>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70"/>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70"/>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70"/>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70"/>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70"/>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70"/>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70"/>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70"/>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70"/>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70"/>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70"/>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70"/>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70"/>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70"/>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70"/>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70"/>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70"/>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70"/>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70"/>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70"/>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70"/>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70"/>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70"/>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70"/>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70"/>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70"/>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70"/>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70"/>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70"/>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70"/>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70"/>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70"/>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70"/>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70"/>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70"/>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70"/>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70"/>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70"/>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70"/>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70"/>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70"/>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70"/>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70"/>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70"/>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70"/>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70"/>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70"/>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70"/>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70"/>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70"/>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70"/>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70"/>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70"/>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70"/>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70"/>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70"/>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70"/>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70"/>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70"/>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70"/>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70"/>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70"/>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70"/>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70"/>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70"/>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70"/>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70"/>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70"/>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70"/>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70"/>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70"/>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70"/>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70"/>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70"/>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70"/>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70"/>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70"/>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70"/>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70"/>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70"/>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70"/>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70"/>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70"/>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70"/>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70"/>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70"/>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70"/>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70"/>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70"/>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70"/>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70"/>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70"/>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70"/>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70"/>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70"/>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70"/>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70"/>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70"/>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70"/>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70"/>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70"/>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70"/>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70"/>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70"/>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70"/>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70"/>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70"/>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70"/>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70"/>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70"/>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70"/>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70"/>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70"/>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70"/>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70"/>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70"/>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70"/>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70"/>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70"/>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70"/>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70"/>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70"/>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70"/>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70"/>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70"/>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70"/>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70"/>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70"/>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70"/>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70"/>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70"/>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70"/>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70"/>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70"/>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70"/>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70"/>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70"/>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70"/>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70"/>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70"/>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70"/>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70"/>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70"/>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70"/>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70"/>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70"/>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70"/>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70"/>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70"/>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70"/>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70"/>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70"/>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70"/>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70"/>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70"/>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70"/>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70"/>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70"/>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70"/>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70"/>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70"/>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70"/>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70"/>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70"/>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70"/>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70"/>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70"/>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70"/>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70"/>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70"/>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70"/>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70"/>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70"/>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70"/>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70"/>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70"/>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70"/>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70"/>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70"/>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70"/>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70"/>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70"/>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70"/>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70"/>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70"/>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70"/>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70"/>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70"/>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70"/>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70"/>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70"/>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70"/>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70"/>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70"/>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70"/>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70"/>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70"/>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70"/>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70"/>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70"/>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70"/>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70"/>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70"/>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70"/>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70"/>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70"/>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70"/>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70"/>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70"/>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70"/>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70"/>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70"/>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70"/>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70"/>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70"/>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70"/>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70"/>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70"/>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70"/>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70"/>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70"/>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70"/>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70"/>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70"/>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70"/>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70"/>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70"/>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70"/>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70"/>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70"/>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70"/>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70"/>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70"/>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70"/>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70"/>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70"/>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70"/>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70"/>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70"/>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70"/>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70"/>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70"/>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70"/>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70"/>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70"/>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70"/>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70"/>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70"/>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70"/>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70"/>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70"/>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70"/>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70"/>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70"/>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70"/>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70"/>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70"/>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70"/>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70"/>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70"/>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70"/>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70"/>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70"/>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70"/>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70"/>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70"/>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70"/>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70"/>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70"/>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70"/>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70"/>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70"/>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70"/>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70"/>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70"/>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70"/>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0"/>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0"/>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70"/>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70"/>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0"/>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0"/>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70"/>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70"/>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0"/>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0"/>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70"/>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70"/>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0"/>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0"/>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0"/>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70"/>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70"/>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0"/>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0"/>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70"/>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70"/>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70"/>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0"/>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70"/>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70"/>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0"/>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70"/>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0"/>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70"/>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70"/>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0"/>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0"/>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0"/>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70"/>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70"/>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0"/>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70"/>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70"/>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70"/>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0"/>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0"/>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0"/>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0"/>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0"/>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70"/>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70"/>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0"/>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0"/>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0"/>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0"/>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0"/>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0"/>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70"/>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70"/>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0"/>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70"/>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70"/>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0"/>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0"/>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0"/>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70"/>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70"/>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0"/>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0"/>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70"/>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70"/>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70"/>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0"/>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70"/>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0"/>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70"/>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70"/>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0"/>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70"/>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70"/>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0"/>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0"/>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0"/>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70"/>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70"/>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0"/>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0"/>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70"/>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70"/>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70"/>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0"/>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0"/>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70"/>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70"/>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0"/>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0"/>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0"/>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70"/>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70"/>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0"/>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70"/>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70"/>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0"/>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70"/>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70"/>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0"/>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0"/>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0"/>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0"/>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70"/>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70"/>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0"/>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0"/>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0"/>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70"/>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0"/>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70"/>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70"/>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0"/>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70"/>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70"/>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0"/>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70"/>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70"/>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0"/>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70"/>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70"/>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0"/>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0"/>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0"/>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0"/>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0"/>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0"/>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0"/>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70"/>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70"/>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0"/>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70"/>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70"/>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70"/>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0"/>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70"/>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70"/>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0"/>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70"/>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70"/>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0"/>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0"/>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70"/>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70"/>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0"/>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70"/>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70"/>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70"/>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0"/>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0"/>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70"/>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70"/>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0"/>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70"/>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70"/>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0"/>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70"/>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70"/>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0"/>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0"/>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70"/>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70"/>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70"/>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0"/>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0"/>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70"/>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70"/>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0"/>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0"/>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0"/>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0"/>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0"/>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70"/>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70"/>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0"/>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70"/>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70"/>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0"/>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70"/>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70"/>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0"/>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0"/>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0"/>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0"/>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70"/>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70"/>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0"/>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0"/>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0"/>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70"/>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70"/>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70"/>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0"/>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0"/>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0"/>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70"/>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70"/>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0"/>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0"/>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70"/>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70"/>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0"/>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0"/>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70"/>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70"/>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0"/>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0"/>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0"/>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0"/>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0"/>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0"/>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0"/>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0"/>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70"/>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70"/>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70"/>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0"/>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0"/>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70"/>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70"/>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0"/>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70"/>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70"/>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0"/>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70"/>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70"/>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70"/>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0"/>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70"/>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70"/>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0"/>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70"/>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70"/>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0"/>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70"/>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70"/>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0"/>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70"/>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70"/>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0"/>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0"/>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0"/>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70"/>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70"/>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0"/>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70"/>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70"/>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0"/>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70"/>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70"/>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0"/>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0"/>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0"/>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0"/>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70"/>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70"/>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0"/>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0"/>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0"/>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0"/>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0"/>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0"/>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0"/>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70"/>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70"/>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0"/>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0"/>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70"/>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70"/>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0"/>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0"/>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0"/>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70"/>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70"/>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0"/>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70"/>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70"/>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70"/>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0"/>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0"/>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0"/>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70"/>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70"/>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0"/>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0"/>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0"/>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70"/>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70"/>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0"/>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0"/>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70"/>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70"/>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0"/>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70"/>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70"/>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0"/>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0"/>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70"/>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70"/>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0"/>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70"/>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70"/>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0"/>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70"/>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70"/>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0"/>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0"/>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0"/>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70"/>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70"/>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70"/>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0"/>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0"/>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70"/>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70"/>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70"/>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0"/>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0"/>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70"/>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70"/>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70"/>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0"/>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0"/>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70"/>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70"/>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0"/>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0"/>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70"/>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70"/>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0"/>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0"/>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0"/>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0"/>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70"/>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70"/>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70"/>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0"/>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0"/>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70"/>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70"/>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70"/>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0"/>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0"/>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0"/>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0"/>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0"/>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0"/>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0"/>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0"/>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0"/>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0"/>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70"/>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0"/>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70"/>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70"/>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70"/>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70"/>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70"/>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70"/>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70"/>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70"/>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0"/>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70"/>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70"/>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0"/>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0"/>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70"/>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70"/>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70"/>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0"/>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0"/>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70"/>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70"/>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0"/>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0"/>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0"/>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0"/>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0"/>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0"/>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0"/>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0"/>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70"/>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70"/>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0"/>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0"/>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70"/>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70"/>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0"/>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0"/>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70"/>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70"/>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0"/>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70"/>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70"/>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0"/>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0"/>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0"/>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0"/>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0"/>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0"/>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0"/>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0"/>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70"/>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70"/>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0"/>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0"/>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48" name="Google Shape;6748;p70"/>
          <p:cNvGrpSpPr/>
          <p:nvPr/>
        </p:nvGrpSpPr>
        <p:grpSpPr>
          <a:xfrm>
            <a:off x="3597785" y="3065882"/>
            <a:ext cx="2241344" cy="1330656"/>
            <a:chOff x="3597785" y="3065882"/>
            <a:chExt cx="2241344" cy="1330656"/>
          </a:xfrm>
        </p:grpSpPr>
        <p:grpSp>
          <p:nvGrpSpPr>
            <p:cNvPr id="6749" name="Google Shape;6749;p70"/>
            <p:cNvGrpSpPr/>
            <p:nvPr/>
          </p:nvGrpSpPr>
          <p:grpSpPr>
            <a:xfrm>
              <a:off x="5296908" y="3937355"/>
              <a:ext cx="143198" cy="32380"/>
              <a:chOff x="5296908" y="3937355"/>
              <a:chExt cx="143198" cy="32380"/>
            </a:xfrm>
          </p:grpSpPr>
          <p:sp>
            <p:nvSpPr>
              <p:cNvPr id="6750" name="Google Shape;6750;p70"/>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1" name="Google Shape;6751;p70"/>
              <p:cNvGrpSpPr/>
              <p:nvPr/>
            </p:nvGrpSpPr>
            <p:grpSpPr>
              <a:xfrm>
                <a:off x="5402331" y="3937355"/>
                <a:ext cx="37776" cy="32380"/>
                <a:chOff x="5402331" y="3937355"/>
                <a:chExt cx="37776" cy="32380"/>
              </a:xfrm>
            </p:grpSpPr>
            <p:sp>
              <p:nvSpPr>
                <p:cNvPr id="6752" name="Google Shape;6752;p70"/>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70"/>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54" name="Google Shape;6754;p70"/>
              <p:cNvGrpSpPr/>
              <p:nvPr/>
            </p:nvGrpSpPr>
            <p:grpSpPr>
              <a:xfrm>
                <a:off x="5296908" y="3937355"/>
                <a:ext cx="37783" cy="32380"/>
                <a:chOff x="5296908" y="3937355"/>
                <a:chExt cx="37783" cy="32380"/>
              </a:xfrm>
            </p:grpSpPr>
            <p:sp>
              <p:nvSpPr>
                <p:cNvPr id="6755" name="Google Shape;6755;p70"/>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0"/>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757" name="Google Shape;6757;p70"/>
            <p:cNvGrpSpPr/>
            <p:nvPr/>
          </p:nvGrpSpPr>
          <p:grpSpPr>
            <a:xfrm>
              <a:off x="4724163" y="3119631"/>
              <a:ext cx="120838" cy="84218"/>
              <a:chOff x="4724163" y="3119631"/>
              <a:chExt cx="120838" cy="84218"/>
            </a:xfrm>
          </p:grpSpPr>
          <p:grpSp>
            <p:nvGrpSpPr>
              <p:cNvPr id="6758" name="Google Shape;6758;p70"/>
              <p:cNvGrpSpPr/>
              <p:nvPr/>
            </p:nvGrpSpPr>
            <p:grpSpPr>
              <a:xfrm>
                <a:off x="4746712" y="3132773"/>
                <a:ext cx="86869" cy="56424"/>
                <a:chOff x="4746712" y="3132773"/>
                <a:chExt cx="86869" cy="56424"/>
              </a:xfrm>
            </p:grpSpPr>
            <p:sp>
              <p:nvSpPr>
                <p:cNvPr id="6759" name="Google Shape;6759;p70"/>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0"/>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1" name="Google Shape;6761;p70"/>
              <p:cNvGrpSpPr/>
              <p:nvPr/>
            </p:nvGrpSpPr>
            <p:grpSpPr>
              <a:xfrm>
                <a:off x="4773634" y="3143336"/>
                <a:ext cx="37776" cy="32451"/>
                <a:chOff x="4773634" y="3143336"/>
                <a:chExt cx="37776" cy="32451"/>
              </a:xfrm>
            </p:grpSpPr>
            <p:sp>
              <p:nvSpPr>
                <p:cNvPr id="6762" name="Google Shape;6762;p70"/>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0"/>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4" name="Google Shape;6764;p70"/>
              <p:cNvGrpSpPr/>
              <p:nvPr/>
            </p:nvGrpSpPr>
            <p:grpSpPr>
              <a:xfrm>
                <a:off x="4724163" y="3131248"/>
                <a:ext cx="37776" cy="32459"/>
                <a:chOff x="4724163" y="3131248"/>
                <a:chExt cx="37776" cy="32459"/>
              </a:xfrm>
            </p:grpSpPr>
            <p:sp>
              <p:nvSpPr>
                <p:cNvPr id="6765" name="Google Shape;6765;p70"/>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0"/>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7" name="Google Shape;6767;p70"/>
              <p:cNvGrpSpPr/>
              <p:nvPr/>
            </p:nvGrpSpPr>
            <p:grpSpPr>
              <a:xfrm>
                <a:off x="4755081" y="3176054"/>
                <a:ext cx="32357" cy="27795"/>
                <a:chOff x="4755081" y="3176054"/>
                <a:chExt cx="32357" cy="27795"/>
              </a:xfrm>
            </p:grpSpPr>
            <p:sp>
              <p:nvSpPr>
                <p:cNvPr id="6768" name="Google Shape;6768;p70"/>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0"/>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0" name="Google Shape;6770;p70"/>
              <p:cNvGrpSpPr/>
              <p:nvPr/>
            </p:nvGrpSpPr>
            <p:grpSpPr>
              <a:xfrm>
                <a:off x="4812550" y="3119631"/>
                <a:ext cx="32451" cy="27803"/>
                <a:chOff x="4812550" y="3119631"/>
                <a:chExt cx="32451" cy="27803"/>
              </a:xfrm>
            </p:grpSpPr>
            <p:sp>
              <p:nvSpPr>
                <p:cNvPr id="6771" name="Google Shape;6771;p70"/>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0"/>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773" name="Google Shape;6773;p70"/>
            <p:cNvGrpSpPr/>
            <p:nvPr/>
          </p:nvGrpSpPr>
          <p:grpSpPr>
            <a:xfrm>
              <a:off x="5382826" y="4027197"/>
              <a:ext cx="268967" cy="250422"/>
              <a:chOff x="5382826" y="4027197"/>
              <a:chExt cx="268967" cy="250422"/>
            </a:xfrm>
          </p:grpSpPr>
          <p:grpSp>
            <p:nvGrpSpPr>
              <p:cNvPr id="6774" name="Google Shape;6774;p70"/>
              <p:cNvGrpSpPr/>
              <p:nvPr/>
            </p:nvGrpSpPr>
            <p:grpSpPr>
              <a:xfrm>
                <a:off x="5405280" y="4042510"/>
                <a:ext cx="237570" cy="218647"/>
                <a:chOff x="5405280" y="4042510"/>
                <a:chExt cx="237570" cy="218647"/>
              </a:xfrm>
            </p:grpSpPr>
            <p:sp>
              <p:nvSpPr>
                <p:cNvPr id="6775" name="Google Shape;6775;p70"/>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0"/>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0"/>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70"/>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70"/>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0"/>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1" name="Google Shape;6781;p70"/>
              <p:cNvGrpSpPr/>
              <p:nvPr/>
            </p:nvGrpSpPr>
            <p:grpSpPr>
              <a:xfrm>
                <a:off x="5382826" y="4125549"/>
                <a:ext cx="37776" cy="32380"/>
                <a:chOff x="5382826" y="4125549"/>
                <a:chExt cx="37776" cy="32380"/>
              </a:xfrm>
            </p:grpSpPr>
            <p:sp>
              <p:nvSpPr>
                <p:cNvPr id="6782" name="Google Shape;6782;p70"/>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0"/>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4" name="Google Shape;6784;p70"/>
              <p:cNvGrpSpPr/>
              <p:nvPr/>
            </p:nvGrpSpPr>
            <p:grpSpPr>
              <a:xfrm>
                <a:off x="5475680" y="4195587"/>
                <a:ext cx="37783" cy="32364"/>
                <a:chOff x="5475680" y="4195587"/>
                <a:chExt cx="37783" cy="32364"/>
              </a:xfrm>
            </p:grpSpPr>
            <p:sp>
              <p:nvSpPr>
                <p:cNvPr id="6785" name="Google Shape;6785;p70"/>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0"/>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7" name="Google Shape;6787;p70"/>
              <p:cNvGrpSpPr/>
              <p:nvPr/>
            </p:nvGrpSpPr>
            <p:grpSpPr>
              <a:xfrm>
                <a:off x="5532575" y="4027197"/>
                <a:ext cx="33308" cy="32262"/>
                <a:chOff x="5532575" y="4027197"/>
                <a:chExt cx="33308" cy="32262"/>
              </a:xfrm>
            </p:grpSpPr>
            <p:sp>
              <p:nvSpPr>
                <p:cNvPr id="6788" name="Google Shape;6788;p70"/>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70"/>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90" name="Google Shape;6790;p70"/>
              <p:cNvGrpSpPr/>
              <p:nvPr/>
            </p:nvGrpSpPr>
            <p:grpSpPr>
              <a:xfrm>
                <a:off x="5590706" y="4245348"/>
                <a:ext cx="33497" cy="32270"/>
                <a:chOff x="5590706" y="4245348"/>
                <a:chExt cx="33497" cy="32270"/>
              </a:xfrm>
            </p:grpSpPr>
            <p:sp>
              <p:nvSpPr>
                <p:cNvPr id="6791" name="Google Shape;6791;p70"/>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70"/>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93" name="Google Shape;6793;p70"/>
              <p:cNvGrpSpPr/>
              <p:nvPr/>
            </p:nvGrpSpPr>
            <p:grpSpPr>
              <a:xfrm>
                <a:off x="5618681" y="4109677"/>
                <a:ext cx="33112" cy="32357"/>
                <a:chOff x="5618681" y="4109677"/>
                <a:chExt cx="33112" cy="32357"/>
              </a:xfrm>
            </p:grpSpPr>
            <p:sp>
              <p:nvSpPr>
                <p:cNvPr id="6794" name="Google Shape;6794;p70"/>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0"/>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96" name="Google Shape;6796;p70"/>
              <p:cNvGrpSpPr/>
              <p:nvPr/>
            </p:nvGrpSpPr>
            <p:grpSpPr>
              <a:xfrm>
                <a:off x="5479298" y="4128262"/>
                <a:ext cx="31405" cy="26906"/>
                <a:chOff x="5479298" y="4128262"/>
                <a:chExt cx="31405" cy="26906"/>
              </a:xfrm>
            </p:grpSpPr>
            <p:sp>
              <p:nvSpPr>
                <p:cNvPr id="6797" name="Google Shape;6797;p70"/>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70"/>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99" name="Google Shape;6799;p70"/>
              <p:cNvGrpSpPr/>
              <p:nvPr/>
            </p:nvGrpSpPr>
            <p:grpSpPr>
              <a:xfrm>
                <a:off x="5582903" y="4180116"/>
                <a:ext cx="31499" cy="26898"/>
                <a:chOff x="5582903" y="4180116"/>
                <a:chExt cx="31499" cy="26898"/>
              </a:xfrm>
            </p:grpSpPr>
            <p:sp>
              <p:nvSpPr>
                <p:cNvPr id="6800" name="Google Shape;6800;p70"/>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70"/>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802" name="Google Shape;6802;p70"/>
            <p:cNvGrpSpPr/>
            <p:nvPr/>
          </p:nvGrpSpPr>
          <p:grpSpPr>
            <a:xfrm>
              <a:off x="3977681" y="3230323"/>
              <a:ext cx="94584" cy="84085"/>
              <a:chOff x="3977681" y="3230323"/>
              <a:chExt cx="94584" cy="84085"/>
            </a:xfrm>
          </p:grpSpPr>
          <p:grpSp>
            <p:nvGrpSpPr>
              <p:cNvPr id="6803" name="Google Shape;6803;p70"/>
              <p:cNvGrpSpPr/>
              <p:nvPr/>
            </p:nvGrpSpPr>
            <p:grpSpPr>
              <a:xfrm>
                <a:off x="4000135" y="3243041"/>
                <a:ext cx="59570" cy="57186"/>
                <a:chOff x="4000135" y="3243041"/>
                <a:chExt cx="59570" cy="57186"/>
              </a:xfrm>
            </p:grpSpPr>
            <p:sp>
              <p:nvSpPr>
                <p:cNvPr id="6804" name="Google Shape;6804;p70"/>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0"/>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0"/>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7" name="Google Shape;6807;p70"/>
              <p:cNvGrpSpPr/>
              <p:nvPr/>
            </p:nvGrpSpPr>
            <p:grpSpPr>
              <a:xfrm>
                <a:off x="3977681" y="3245872"/>
                <a:ext cx="37783" cy="32380"/>
                <a:chOff x="3977681" y="3245872"/>
                <a:chExt cx="37783" cy="32380"/>
              </a:xfrm>
            </p:grpSpPr>
            <p:sp>
              <p:nvSpPr>
                <p:cNvPr id="6808" name="Google Shape;6808;p70"/>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0"/>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0" name="Google Shape;6810;p70"/>
              <p:cNvGrpSpPr/>
              <p:nvPr/>
            </p:nvGrpSpPr>
            <p:grpSpPr>
              <a:xfrm>
                <a:off x="4040860" y="3262672"/>
                <a:ext cx="31405" cy="27001"/>
                <a:chOff x="4040860" y="3262672"/>
                <a:chExt cx="31405" cy="27001"/>
              </a:xfrm>
            </p:grpSpPr>
            <p:sp>
              <p:nvSpPr>
                <p:cNvPr id="6811" name="Google Shape;6811;p70"/>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0"/>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3" name="Google Shape;6813;p70"/>
              <p:cNvGrpSpPr/>
              <p:nvPr/>
            </p:nvGrpSpPr>
            <p:grpSpPr>
              <a:xfrm>
                <a:off x="4021072" y="3230323"/>
                <a:ext cx="31397" cy="26906"/>
                <a:chOff x="4021072" y="3230323"/>
                <a:chExt cx="31397" cy="26906"/>
              </a:xfrm>
            </p:grpSpPr>
            <p:sp>
              <p:nvSpPr>
                <p:cNvPr id="6814" name="Google Shape;6814;p70"/>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70"/>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6" name="Google Shape;6816;p70"/>
              <p:cNvGrpSpPr/>
              <p:nvPr/>
            </p:nvGrpSpPr>
            <p:grpSpPr>
              <a:xfrm>
                <a:off x="4001472" y="3287462"/>
                <a:ext cx="31499" cy="26945"/>
                <a:chOff x="4001472" y="3287462"/>
                <a:chExt cx="31499" cy="26945"/>
              </a:xfrm>
            </p:grpSpPr>
            <p:sp>
              <p:nvSpPr>
                <p:cNvPr id="6817" name="Google Shape;6817;p70"/>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70"/>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819" name="Google Shape;6819;p70"/>
            <p:cNvGrpSpPr/>
            <p:nvPr/>
          </p:nvGrpSpPr>
          <p:grpSpPr>
            <a:xfrm>
              <a:off x="4084715" y="3258865"/>
              <a:ext cx="184961" cy="137268"/>
              <a:chOff x="4084715" y="3258865"/>
              <a:chExt cx="184961" cy="137268"/>
            </a:xfrm>
          </p:grpSpPr>
          <p:grpSp>
            <p:nvGrpSpPr>
              <p:cNvPr id="6820" name="Google Shape;6820;p70"/>
              <p:cNvGrpSpPr/>
              <p:nvPr/>
            </p:nvGrpSpPr>
            <p:grpSpPr>
              <a:xfrm>
                <a:off x="4107453" y="3271583"/>
                <a:ext cx="153470" cy="110275"/>
                <a:chOff x="4107453" y="3271583"/>
                <a:chExt cx="153470" cy="110275"/>
              </a:xfrm>
            </p:grpSpPr>
            <p:sp>
              <p:nvSpPr>
                <p:cNvPr id="6821" name="Google Shape;6821;p70"/>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0"/>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0"/>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0"/>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5" name="Google Shape;6825;p70"/>
              <p:cNvGrpSpPr/>
              <p:nvPr/>
            </p:nvGrpSpPr>
            <p:grpSpPr>
              <a:xfrm>
                <a:off x="4136947" y="3258865"/>
                <a:ext cx="31499" cy="27001"/>
                <a:chOff x="4136947" y="3258865"/>
                <a:chExt cx="31499" cy="27001"/>
              </a:xfrm>
            </p:grpSpPr>
            <p:sp>
              <p:nvSpPr>
                <p:cNvPr id="6826" name="Google Shape;6826;p70"/>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0"/>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8" name="Google Shape;6828;p70"/>
              <p:cNvGrpSpPr/>
              <p:nvPr/>
            </p:nvGrpSpPr>
            <p:grpSpPr>
              <a:xfrm>
                <a:off x="4084715" y="3266478"/>
                <a:ext cx="31468" cy="26898"/>
                <a:chOff x="4084715" y="3266478"/>
                <a:chExt cx="31468" cy="26898"/>
              </a:xfrm>
            </p:grpSpPr>
            <p:sp>
              <p:nvSpPr>
                <p:cNvPr id="6829" name="Google Shape;6829;p70"/>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70"/>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1" name="Google Shape;6831;p70"/>
              <p:cNvGrpSpPr/>
              <p:nvPr/>
            </p:nvGrpSpPr>
            <p:grpSpPr>
              <a:xfrm>
                <a:off x="4159213" y="3279849"/>
                <a:ext cx="31405" cy="26945"/>
                <a:chOff x="4159213" y="3279849"/>
                <a:chExt cx="31405" cy="26945"/>
              </a:xfrm>
            </p:grpSpPr>
            <p:sp>
              <p:nvSpPr>
                <p:cNvPr id="6832" name="Google Shape;6832;p70"/>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70"/>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4" name="Google Shape;6834;p70"/>
              <p:cNvGrpSpPr/>
              <p:nvPr/>
            </p:nvGrpSpPr>
            <p:grpSpPr>
              <a:xfrm>
                <a:off x="4201550" y="3266502"/>
                <a:ext cx="31405" cy="26883"/>
                <a:chOff x="4201550" y="3266502"/>
                <a:chExt cx="31405" cy="26883"/>
              </a:xfrm>
            </p:grpSpPr>
            <p:sp>
              <p:nvSpPr>
                <p:cNvPr id="6835" name="Google Shape;6835;p70"/>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0"/>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7" name="Google Shape;6837;p70"/>
              <p:cNvGrpSpPr/>
              <p:nvPr/>
            </p:nvGrpSpPr>
            <p:grpSpPr>
              <a:xfrm>
                <a:off x="4201550" y="3338278"/>
                <a:ext cx="31405" cy="26930"/>
                <a:chOff x="4201550" y="3338278"/>
                <a:chExt cx="31405" cy="26930"/>
              </a:xfrm>
            </p:grpSpPr>
            <p:sp>
              <p:nvSpPr>
                <p:cNvPr id="6838" name="Google Shape;6838;p70"/>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70"/>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0" name="Google Shape;6840;p70"/>
              <p:cNvGrpSpPr/>
              <p:nvPr/>
            </p:nvGrpSpPr>
            <p:grpSpPr>
              <a:xfrm>
                <a:off x="4238272" y="3369132"/>
                <a:ext cx="31405" cy="27001"/>
                <a:chOff x="4238272" y="3369132"/>
                <a:chExt cx="31405" cy="27001"/>
              </a:xfrm>
            </p:grpSpPr>
            <p:sp>
              <p:nvSpPr>
                <p:cNvPr id="6841" name="Google Shape;6841;p70"/>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70"/>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843" name="Google Shape;6843;p70"/>
            <p:cNvGrpSpPr/>
            <p:nvPr/>
          </p:nvGrpSpPr>
          <p:grpSpPr>
            <a:xfrm>
              <a:off x="4068639" y="3200169"/>
              <a:ext cx="77643" cy="37272"/>
              <a:chOff x="4068639" y="3200169"/>
              <a:chExt cx="77643" cy="37272"/>
            </a:xfrm>
          </p:grpSpPr>
          <p:sp>
            <p:nvSpPr>
              <p:cNvPr id="6844" name="Google Shape;6844;p70"/>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45" name="Google Shape;6845;p70"/>
              <p:cNvGrpSpPr/>
              <p:nvPr/>
            </p:nvGrpSpPr>
            <p:grpSpPr>
              <a:xfrm>
                <a:off x="4114878" y="3200169"/>
                <a:ext cx="31405" cy="26993"/>
                <a:chOff x="4114878" y="3200169"/>
                <a:chExt cx="31405" cy="26993"/>
              </a:xfrm>
            </p:grpSpPr>
            <p:sp>
              <p:nvSpPr>
                <p:cNvPr id="6846" name="Google Shape;6846;p70"/>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0"/>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8" name="Google Shape;6848;p70"/>
              <p:cNvGrpSpPr/>
              <p:nvPr/>
            </p:nvGrpSpPr>
            <p:grpSpPr>
              <a:xfrm>
                <a:off x="4068639" y="3210535"/>
                <a:ext cx="31499" cy="26906"/>
                <a:chOff x="4068639" y="3210535"/>
                <a:chExt cx="31499" cy="26906"/>
              </a:xfrm>
            </p:grpSpPr>
            <p:sp>
              <p:nvSpPr>
                <p:cNvPr id="6849" name="Google Shape;6849;p70"/>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70"/>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851" name="Google Shape;6851;p70"/>
            <p:cNvGrpSpPr/>
            <p:nvPr/>
          </p:nvGrpSpPr>
          <p:grpSpPr>
            <a:xfrm>
              <a:off x="3869702" y="3066935"/>
              <a:ext cx="382664" cy="190294"/>
              <a:chOff x="3869702" y="3066935"/>
              <a:chExt cx="382664" cy="190294"/>
            </a:xfrm>
          </p:grpSpPr>
          <p:grpSp>
            <p:nvGrpSpPr>
              <p:cNvPr id="6852" name="Google Shape;6852;p70"/>
              <p:cNvGrpSpPr/>
              <p:nvPr/>
            </p:nvGrpSpPr>
            <p:grpSpPr>
              <a:xfrm>
                <a:off x="3888633" y="3082351"/>
                <a:ext cx="351172" cy="160698"/>
                <a:chOff x="3888633" y="3082351"/>
                <a:chExt cx="351172" cy="160698"/>
              </a:xfrm>
            </p:grpSpPr>
            <p:sp>
              <p:nvSpPr>
                <p:cNvPr id="6853" name="Google Shape;6853;p70"/>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70"/>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70"/>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0"/>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0"/>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0"/>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59" name="Google Shape;6859;p70"/>
              <p:cNvGrpSpPr/>
              <p:nvPr/>
            </p:nvGrpSpPr>
            <p:grpSpPr>
              <a:xfrm>
                <a:off x="4143703" y="3066935"/>
                <a:ext cx="37783" cy="32357"/>
                <a:chOff x="4143703" y="3066935"/>
                <a:chExt cx="37783" cy="32357"/>
              </a:xfrm>
            </p:grpSpPr>
            <p:sp>
              <p:nvSpPr>
                <p:cNvPr id="6860" name="Google Shape;6860;p70"/>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0"/>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2" name="Google Shape;6862;p70"/>
              <p:cNvGrpSpPr/>
              <p:nvPr/>
            </p:nvGrpSpPr>
            <p:grpSpPr>
              <a:xfrm>
                <a:off x="4044565" y="3103563"/>
                <a:ext cx="37783" cy="32451"/>
                <a:chOff x="4044565" y="3103563"/>
                <a:chExt cx="37783" cy="32451"/>
              </a:xfrm>
            </p:grpSpPr>
            <p:sp>
              <p:nvSpPr>
                <p:cNvPr id="6863" name="Google Shape;6863;p70"/>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0"/>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5" name="Google Shape;6865;p70"/>
              <p:cNvGrpSpPr/>
              <p:nvPr/>
            </p:nvGrpSpPr>
            <p:grpSpPr>
              <a:xfrm>
                <a:off x="4017454" y="3188237"/>
                <a:ext cx="37776" cy="32357"/>
                <a:chOff x="4017454" y="3188237"/>
                <a:chExt cx="37776" cy="32357"/>
              </a:xfrm>
            </p:grpSpPr>
            <p:sp>
              <p:nvSpPr>
                <p:cNvPr id="6866" name="Google Shape;6866;p70"/>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70"/>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8" name="Google Shape;6868;p70"/>
              <p:cNvGrpSpPr/>
              <p:nvPr/>
            </p:nvGrpSpPr>
            <p:grpSpPr>
              <a:xfrm>
                <a:off x="3921548" y="3157509"/>
                <a:ext cx="37783" cy="32357"/>
                <a:chOff x="3921548" y="3157509"/>
                <a:chExt cx="37783" cy="32357"/>
              </a:xfrm>
            </p:grpSpPr>
            <p:sp>
              <p:nvSpPr>
                <p:cNvPr id="6869" name="Google Shape;6869;p70"/>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0"/>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1" name="Google Shape;6871;p70"/>
              <p:cNvGrpSpPr/>
              <p:nvPr/>
            </p:nvGrpSpPr>
            <p:grpSpPr>
              <a:xfrm>
                <a:off x="3939056" y="3211620"/>
                <a:ext cx="37783" cy="32380"/>
                <a:chOff x="3939056" y="3211620"/>
                <a:chExt cx="37783" cy="32380"/>
              </a:xfrm>
            </p:grpSpPr>
            <p:sp>
              <p:nvSpPr>
                <p:cNvPr id="6872" name="Google Shape;6872;p70"/>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70"/>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4" name="Google Shape;6874;p70"/>
              <p:cNvGrpSpPr/>
              <p:nvPr/>
            </p:nvGrpSpPr>
            <p:grpSpPr>
              <a:xfrm>
                <a:off x="4176240" y="3136965"/>
                <a:ext cx="31405" cy="26930"/>
                <a:chOff x="4176240" y="3136965"/>
                <a:chExt cx="31405" cy="26930"/>
              </a:xfrm>
            </p:grpSpPr>
            <p:sp>
              <p:nvSpPr>
                <p:cNvPr id="6875" name="Google Shape;6875;p70"/>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70"/>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7" name="Google Shape;6877;p70"/>
              <p:cNvGrpSpPr/>
              <p:nvPr/>
            </p:nvGrpSpPr>
            <p:grpSpPr>
              <a:xfrm>
                <a:off x="4133148" y="3152593"/>
                <a:ext cx="31499" cy="27001"/>
                <a:chOff x="4133148" y="3152593"/>
                <a:chExt cx="31499" cy="27001"/>
              </a:xfrm>
            </p:grpSpPr>
            <p:sp>
              <p:nvSpPr>
                <p:cNvPr id="6878" name="Google Shape;6878;p70"/>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0"/>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0" name="Google Shape;6880;p70"/>
              <p:cNvGrpSpPr/>
              <p:nvPr/>
            </p:nvGrpSpPr>
            <p:grpSpPr>
              <a:xfrm>
                <a:off x="4220866" y="3073534"/>
                <a:ext cx="31499" cy="26898"/>
                <a:chOff x="4220866" y="3073534"/>
                <a:chExt cx="31499" cy="26898"/>
              </a:xfrm>
            </p:grpSpPr>
            <p:sp>
              <p:nvSpPr>
                <p:cNvPr id="6881" name="Google Shape;6881;p70"/>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0"/>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3" name="Google Shape;6883;p70"/>
              <p:cNvGrpSpPr/>
              <p:nvPr/>
            </p:nvGrpSpPr>
            <p:grpSpPr>
              <a:xfrm>
                <a:off x="3869702" y="3230323"/>
                <a:ext cx="31499" cy="26906"/>
                <a:chOff x="3869702" y="3230323"/>
                <a:chExt cx="31499" cy="26906"/>
              </a:xfrm>
            </p:grpSpPr>
            <p:sp>
              <p:nvSpPr>
                <p:cNvPr id="6884" name="Google Shape;6884;p70"/>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70"/>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886" name="Google Shape;6886;p70"/>
            <p:cNvGrpSpPr/>
            <p:nvPr/>
          </p:nvGrpSpPr>
          <p:grpSpPr>
            <a:xfrm>
              <a:off x="4271383" y="3065882"/>
              <a:ext cx="304556" cy="341663"/>
              <a:chOff x="4271383" y="3065882"/>
              <a:chExt cx="304556" cy="341663"/>
            </a:xfrm>
          </p:grpSpPr>
          <p:grpSp>
            <p:nvGrpSpPr>
              <p:cNvPr id="6887" name="Google Shape;6887;p70"/>
              <p:cNvGrpSpPr/>
              <p:nvPr/>
            </p:nvGrpSpPr>
            <p:grpSpPr>
              <a:xfrm>
                <a:off x="4293838" y="3078639"/>
                <a:ext cx="269353" cy="311973"/>
                <a:chOff x="4293838" y="3078639"/>
                <a:chExt cx="269353" cy="311973"/>
              </a:xfrm>
            </p:grpSpPr>
            <p:sp>
              <p:nvSpPr>
                <p:cNvPr id="6888" name="Google Shape;6888;p70"/>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0"/>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70"/>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70"/>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0"/>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0"/>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0"/>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70"/>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70"/>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0"/>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0"/>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0"/>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0"/>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0"/>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0"/>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70"/>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70"/>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5" name="Google Shape;6905;p70"/>
              <p:cNvGrpSpPr/>
              <p:nvPr/>
            </p:nvGrpSpPr>
            <p:grpSpPr>
              <a:xfrm>
                <a:off x="4538164" y="3342061"/>
                <a:ext cx="37776" cy="32380"/>
                <a:chOff x="4538164" y="3342061"/>
                <a:chExt cx="37776" cy="32380"/>
              </a:xfrm>
            </p:grpSpPr>
            <p:sp>
              <p:nvSpPr>
                <p:cNvPr id="6906" name="Google Shape;6906;p70"/>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70"/>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8" name="Google Shape;6908;p70"/>
              <p:cNvGrpSpPr/>
              <p:nvPr/>
            </p:nvGrpSpPr>
            <p:grpSpPr>
              <a:xfrm>
                <a:off x="4271383" y="3194742"/>
                <a:ext cx="37783" cy="32420"/>
                <a:chOff x="4271383" y="3194742"/>
                <a:chExt cx="37783" cy="32420"/>
              </a:xfrm>
            </p:grpSpPr>
            <p:sp>
              <p:nvSpPr>
                <p:cNvPr id="6909" name="Google Shape;6909;p70"/>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0"/>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1" name="Google Shape;6911;p70"/>
              <p:cNvGrpSpPr/>
              <p:nvPr/>
            </p:nvGrpSpPr>
            <p:grpSpPr>
              <a:xfrm>
                <a:off x="4284416" y="3084058"/>
                <a:ext cx="37783" cy="32357"/>
                <a:chOff x="4284416" y="3084058"/>
                <a:chExt cx="37783" cy="32357"/>
              </a:xfrm>
            </p:grpSpPr>
            <p:sp>
              <p:nvSpPr>
                <p:cNvPr id="6912" name="Google Shape;6912;p70"/>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70"/>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4" name="Google Shape;6914;p70"/>
              <p:cNvGrpSpPr/>
              <p:nvPr/>
            </p:nvGrpSpPr>
            <p:grpSpPr>
              <a:xfrm>
                <a:off x="4478697" y="3297561"/>
                <a:ext cx="37776" cy="32451"/>
                <a:chOff x="4478697" y="3297561"/>
                <a:chExt cx="37776" cy="32451"/>
              </a:xfrm>
            </p:grpSpPr>
            <p:sp>
              <p:nvSpPr>
                <p:cNvPr id="6915" name="Google Shape;6915;p70"/>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0"/>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7" name="Google Shape;6917;p70"/>
              <p:cNvGrpSpPr/>
              <p:nvPr/>
            </p:nvGrpSpPr>
            <p:grpSpPr>
              <a:xfrm>
                <a:off x="4411813" y="3331711"/>
                <a:ext cx="37776" cy="32451"/>
                <a:chOff x="4411813" y="3331711"/>
                <a:chExt cx="37776" cy="32451"/>
              </a:xfrm>
            </p:grpSpPr>
            <p:sp>
              <p:nvSpPr>
                <p:cNvPr id="6918" name="Google Shape;6918;p70"/>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0"/>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0" name="Google Shape;6920;p70"/>
              <p:cNvGrpSpPr/>
              <p:nvPr/>
            </p:nvGrpSpPr>
            <p:grpSpPr>
              <a:xfrm>
                <a:off x="4337984" y="3375188"/>
                <a:ext cx="37776" cy="32357"/>
                <a:chOff x="4337984" y="3375188"/>
                <a:chExt cx="37776" cy="32357"/>
              </a:xfrm>
            </p:grpSpPr>
            <p:sp>
              <p:nvSpPr>
                <p:cNvPr id="6921" name="Google Shape;6921;p70"/>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70"/>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3" name="Google Shape;6923;p70"/>
              <p:cNvGrpSpPr/>
              <p:nvPr/>
            </p:nvGrpSpPr>
            <p:grpSpPr>
              <a:xfrm>
                <a:off x="4494867" y="3090530"/>
                <a:ext cx="37878" cy="32451"/>
                <a:chOff x="4494867" y="3090530"/>
                <a:chExt cx="37878" cy="32451"/>
              </a:xfrm>
            </p:grpSpPr>
            <p:sp>
              <p:nvSpPr>
                <p:cNvPr id="6924" name="Google Shape;6924;p70"/>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70"/>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6" name="Google Shape;6926;p70"/>
              <p:cNvGrpSpPr/>
              <p:nvPr/>
            </p:nvGrpSpPr>
            <p:grpSpPr>
              <a:xfrm>
                <a:off x="4525124" y="3207774"/>
                <a:ext cx="37783" cy="32420"/>
                <a:chOff x="4525124" y="3207774"/>
                <a:chExt cx="37783" cy="32420"/>
              </a:xfrm>
            </p:grpSpPr>
            <p:sp>
              <p:nvSpPr>
                <p:cNvPr id="6927" name="Google Shape;6927;p70"/>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0"/>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9" name="Google Shape;6929;p70"/>
              <p:cNvGrpSpPr/>
              <p:nvPr/>
            </p:nvGrpSpPr>
            <p:grpSpPr>
              <a:xfrm>
                <a:off x="4440544" y="3176479"/>
                <a:ext cx="31499" cy="26898"/>
                <a:chOff x="4440544" y="3176479"/>
                <a:chExt cx="31499" cy="26898"/>
              </a:xfrm>
            </p:grpSpPr>
            <p:sp>
              <p:nvSpPr>
                <p:cNvPr id="6930" name="Google Shape;6930;p70"/>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0"/>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2" name="Google Shape;6932;p70"/>
              <p:cNvGrpSpPr/>
              <p:nvPr/>
            </p:nvGrpSpPr>
            <p:grpSpPr>
              <a:xfrm>
                <a:off x="4350545" y="3156400"/>
                <a:ext cx="31405" cy="27001"/>
                <a:chOff x="4350545" y="3156400"/>
                <a:chExt cx="31405" cy="27001"/>
              </a:xfrm>
            </p:grpSpPr>
            <p:sp>
              <p:nvSpPr>
                <p:cNvPr id="6933" name="Google Shape;6933;p70"/>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70"/>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5" name="Google Shape;6935;p70"/>
              <p:cNvGrpSpPr/>
              <p:nvPr/>
            </p:nvGrpSpPr>
            <p:grpSpPr>
              <a:xfrm>
                <a:off x="4376703" y="3255058"/>
                <a:ext cx="31405" cy="27001"/>
                <a:chOff x="4376703" y="3255058"/>
                <a:chExt cx="31405" cy="27001"/>
              </a:xfrm>
            </p:grpSpPr>
            <p:sp>
              <p:nvSpPr>
                <p:cNvPr id="6936" name="Google Shape;6936;p70"/>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0"/>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8" name="Google Shape;6938;p70"/>
              <p:cNvGrpSpPr/>
              <p:nvPr/>
            </p:nvGrpSpPr>
            <p:grpSpPr>
              <a:xfrm>
                <a:off x="4331322" y="3283656"/>
                <a:ext cx="31405" cy="26945"/>
                <a:chOff x="4331322" y="3283656"/>
                <a:chExt cx="31405" cy="26945"/>
              </a:xfrm>
            </p:grpSpPr>
            <p:sp>
              <p:nvSpPr>
                <p:cNvPr id="6939" name="Google Shape;6939;p70"/>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70"/>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1" name="Google Shape;6941;p70"/>
              <p:cNvGrpSpPr/>
              <p:nvPr/>
            </p:nvGrpSpPr>
            <p:grpSpPr>
              <a:xfrm>
                <a:off x="4380510" y="3065882"/>
                <a:ext cx="31405" cy="26938"/>
                <a:chOff x="4380510" y="3065882"/>
                <a:chExt cx="31405" cy="26938"/>
              </a:xfrm>
            </p:grpSpPr>
            <p:sp>
              <p:nvSpPr>
                <p:cNvPr id="6942" name="Google Shape;6942;p70"/>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70"/>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944" name="Google Shape;6944;p70"/>
            <p:cNvGrpSpPr/>
            <p:nvPr/>
          </p:nvGrpSpPr>
          <p:grpSpPr>
            <a:xfrm>
              <a:off x="4558998" y="3188237"/>
              <a:ext cx="1280131" cy="1052746"/>
              <a:chOff x="4558998" y="3188237"/>
              <a:chExt cx="1280131" cy="1052746"/>
            </a:xfrm>
          </p:grpSpPr>
          <p:sp>
            <p:nvSpPr>
              <p:cNvPr id="6945" name="Google Shape;6945;p70"/>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46" name="Google Shape;6946;p70"/>
              <p:cNvGrpSpPr/>
              <p:nvPr/>
            </p:nvGrpSpPr>
            <p:grpSpPr>
              <a:xfrm>
                <a:off x="4579164" y="3203653"/>
                <a:ext cx="1244833" cy="1020397"/>
                <a:chOff x="4579164" y="3203653"/>
                <a:chExt cx="1244833" cy="1020397"/>
              </a:xfrm>
            </p:grpSpPr>
            <p:sp>
              <p:nvSpPr>
                <p:cNvPr id="6947" name="Google Shape;6947;p70"/>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0"/>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49" name="Google Shape;6949;p70"/>
                <p:cNvGrpSpPr/>
                <p:nvPr/>
              </p:nvGrpSpPr>
              <p:grpSpPr>
                <a:xfrm>
                  <a:off x="4579164" y="3203653"/>
                  <a:ext cx="1244833" cy="1020397"/>
                  <a:chOff x="4579164" y="3203653"/>
                  <a:chExt cx="1244833" cy="1020397"/>
                </a:xfrm>
              </p:grpSpPr>
              <p:sp>
                <p:nvSpPr>
                  <p:cNvPr id="6950" name="Google Shape;6950;p70"/>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70"/>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52" name="Google Shape;6952;p70"/>
                  <p:cNvGrpSpPr/>
                  <p:nvPr/>
                </p:nvGrpSpPr>
                <p:grpSpPr>
                  <a:xfrm>
                    <a:off x="4579164" y="3203653"/>
                    <a:ext cx="1244833" cy="1020397"/>
                    <a:chOff x="4579164" y="3203653"/>
                    <a:chExt cx="1244833" cy="1020397"/>
                  </a:xfrm>
                </p:grpSpPr>
                <p:sp>
                  <p:nvSpPr>
                    <p:cNvPr id="6953" name="Google Shape;6953;p70"/>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0"/>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0"/>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0"/>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0"/>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0"/>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70"/>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70"/>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61" name="Google Shape;6961;p70"/>
                    <p:cNvGrpSpPr/>
                    <p:nvPr/>
                  </p:nvGrpSpPr>
                  <p:grpSpPr>
                    <a:xfrm>
                      <a:off x="4579164" y="3203653"/>
                      <a:ext cx="1244833" cy="1020397"/>
                      <a:chOff x="4579164" y="3203653"/>
                      <a:chExt cx="1244833" cy="1020397"/>
                    </a:xfrm>
                  </p:grpSpPr>
                  <p:sp>
                    <p:nvSpPr>
                      <p:cNvPr id="6962" name="Google Shape;6962;p70"/>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0"/>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0"/>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70"/>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70"/>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0"/>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0"/>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0"/>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0"/>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0"/>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70"/>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70"/>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0"/>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0"/>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76" name="Google Shape;6976;p70"/>
                      <p:cNvGrpSpPr/>
                      <p:nvPr/>
                    </p:nvGrpSpPr>
                    <p:grpSpPr>
                      <a:xfrm>
                        <a:off x="4579164" y="3203653"/>
                        <a:ext cx="1244833" cy="1020397"/>
                        <a:chOff x="4579164" y="3203653"/>
                        <a:chExt cx="1244833" cy="1020397"/>
                      </a:xfrm>
                    </p:grpSpPr>
                    <p:sp>
                      <p:nvSpPr>
                        <p:cNvPr id="6977" name="Google Shape;6977;p70"/>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70"/>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0"/>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0"/>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0"/>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0"/>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0"/>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0"/>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0"/>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70"/>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70"/>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0"/>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0"/>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0"/>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0"/>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70"/>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70"/>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0"/>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0"/>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0"/>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70"/>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70"/>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0"/>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0"/>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01" name="Google Shape;7001;p70"/>
                        <p:cNvGrpSpPr/>
                        <p:nvPr/>
                      </p:nvGrpSpPr>
                      <p:grpSpPr>
                        <a:xfrm>
                          <a:off x="4579164" y="3203653"/>
                          <a:ext cx="1244833" cy="1020397"/>
                          <a:chOff x="4579164" y="3203653"/>
                          <a:chExt cx="1244833" cy="1020397"/>
                        </a:xfrm>
                      </p:grpSpPr>
                      <p:sp>
                        <p:nvSpPr>
                          <p:cNvPr id="7002" name="Google Shape;7002;p70"/>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03" name="Google Shape;7003;p70"/>
                          <p:cNvGrpSpPr/>
                          <p:nvPr/>
                        </p:nvGrpSpPr>
                        <p:grpSpPr>
                          <a:xfrm>
                            <a:off x="4579164" y="3203653"/>
                            <a:ext cx="1244833" cy="1020397"/>
                            <a:chOff x="4579164" y="3203653"/>
                            <a:chExt cx="1244833" cy="1020397"/>
                          </a:xfrm>
                        </p:grpSpPr>
                        <p:sp>
                          <p:nvSpPr>
                            <p:cNvPr id="7004" name="Google Shape;7004;p70"/>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0"/>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0"/>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0"/>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0"/>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0"/>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0"/>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11" name="Google Shape;7011;p70"/>
                            <p:cNvGrpSpPr/>
                            <p:nvPr/>
                          </p:nvGrpSpPr>
                          <p:grpSpPr>
                            <a:xfrm>
                              <a:off x="4579164" y="3203653"/>
                              <a:ext cx="1244833" cy="1020397"/>
                              <a:chOff x="4579164" y="3203653"/>
                              <a:chExt cx="1244833" cy="1020397"/>
                            </a:xfrm>
                          </p:grpSpPr>
                          <p:sp>
                            <p:nvSpPr>
                              <p:cNvPr id="7012" name="Google Shape;7012;p70"/>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0"/>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0"/>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0"/>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70"/>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70"/>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0"/>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0"/>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0"/>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0"/>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0"/>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70"/>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70"/>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25" name="Google Shape;7025;p70"/>
                              <p:cNvGrpSpPr/>
                              <p:nvPr/>
                            </p:nvGrpSpPr>
                            <p:grpSpPr>
                              <a:xfrm>
                                <a:off x="4579164" y="3203653"/>
                                <a:ext cx="1244833" cy="1020397"/>
                                <a:chOff x="4579164" y="3203653"/>
                                <a:chExt cx="1244833" cy="1020397"/>
                              </a:xfrm>
                            </p:grpSpPr>
                            <p:sp>
                              <p:nvSpPr>
                                <p:cNvPr id="7026" name="Google Shape;7026;p70"/>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0"/>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0"/>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0"/>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0"/>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70"/>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70"/>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3" name="Google Shape;7033;p70"/>
                                <p:cNvGrpSpPr/>
                                <p:nvPr/>
                              </p:nvGrpSpPr>
                              <p:grpSpPr>
                                <a:xfrm>
                                  <a:off x="4579164" y="3203653"/>
                                  <a:ext cx="1244833" cy="1020397"/>
                                  <a:chOff x="4579164" y="3203653"/>
                                  <a:chExt cx="1244833" cy="1020397"/>
                                </a:xfrm>
                              </p:grpSpPr>
                              <p:sp>
                                <p:nvSpPr>
                                  <p:cNvPr id="7034" name="Google Shape;7034;p70"/>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70"/>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70"/>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70"/>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0"/>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9" name="Google Shape;7039;p70"/>
                                  <p:cNvGrpSpPr/>
                                  <p:nvPr/>
                                </p:nvGrpSpPr>
                                <p:grpSpPr>
                                  <a:xfrm>
                                    <a:off x="4579164" y="3203653"/>
                                    <a:ext cx="1244833" cy="1020397"/>
                                    <a:chOff x="4579164" y="3203653"/>
                                    <a:chExt cx="1244833" cy="1020397"/>
                                  </a:xfrm>
                                </p:grpSpPr>
                                <p:sp>
                                  <p:nvSpPr>
                                    <p:cNvPr id="7040" name="Google Shape;7040;p70"/>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70"/>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70"/>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0"/>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044" name="Google Shape;7044;p70"/>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0"/>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0"/>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047" name="Google Shape;7047;p70"/>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048" name="Google Shape;7048;p70"/>
              <p:cNvGrpSpPr/>
              <p:nvPr/>
            </p:nvGrpSpPr>
            <p:grpSpPr>
              <a:xfrm>
                <a:off x="4595437" y="3598775"/>
                <a:ext cx="37776" cy="32451"/>
                <a:chOff x="4595437" y="3598775"/>
                <a:chExt cx="37776" cy="32451"/>
              </a:xfrm>
            </p:grpSpPr>
            <p:sp>
              <p:nvSpPr>
                <p:cNvPr id="7049" name="Google Shape;7049;p70"/>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0"/>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1" name="Google Shape;7051;p70"/>
              <p:cNvGrpSpPr/>
              <p:nvPr/>
            </p:nvGrpSpPr>
            <p:grpSpPr>
              <a:xfrm>
                <a:off x="4641864" y="3524443"/>
                <a:ext cx="37776" cy="32380"/>
                <a:chOff x="4641864" y="3524443"/>
                <a:chExt cx="37776" cy="32380"/>
              </a:xfrm>
            </p:grpSpPr>
            <p:sp>
              <p:nvSpPr>
                <p:cNvPr id="7052" name="Google Shape;7052;p70"/>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70"/>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4" name="Google Shape;7054;p70"/>
              <p:cNvGrpSpPr/>
              <p:nvPr/>
            </p:nvGrpSpPr>
            <p:grpSpPr>
              <a:xfrm>
                <a:off x="4648431" y="3893901"/>
                <a:ext cx="37776" cy="32357"/>
                <a:chOff x="4648431" y="3893901"/>
                <a:chExt cx="37776" cy="32357"/>
              </a:xfrm>
            </p:grpSpPr>
            <p:sp>
              <p:nvSpPr>
                <p:cNvPr id="7055" name="Google Shape;7055;p70"/>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0"/>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7" name="Google Shape;7057;p70"/>
              <p:cNvGrpSpPr/>
              <p:nvPr/>
            </p:nvGrpSpPr>
            <p:grpSpPr>
              <a:xfrm>
                <a:off x="4567752" y="3722908"/>
                <a:ext cx="37870" cy="32380"/>
                <a:chOff x="4567752" y="3722908"/>
                <a:chExt cx="37870" cy="32380"/>
              </a:xfrm>
            </p:grpSpPr>
            <p:sp>
              <p:nvSpPr>
                <p:cNvPr id="7058" name="Google Shape;7058;p70"/>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70"/>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0" name="Google Shape;7060;p70"/>
              <p:cNvGrpSpPr/>
              <p:nvPr/>
            </p:nvGrpSpPr>
            <p:grpSpPr>
              <a:xfrm>
                <a:off x="4617506" y="3652052"/>
                <a:ext cx="37783" cy="32357"/>
                <a:chOff x="4617506" y="3652052"/>
                <a:chExt cx="37783" cy="32357"/>
              </a:xfrm>
            </p:grpSpPr>
            <p:sp>
              <p:nvSpPr>
                <p:cNvPr id="7061" name="Google Shape;7061;p70"/>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0"/>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3" name="Google Shape;7063;p70"/>
              <p:cNvGrpSpPr/>
              <p:nvPr/>
            </p:nvGrpSpPr>
            <p:grpSpPr>
              <a:xfrm>
                <a:off x="4739005" y="3554149"/>
                <a:ext cx="37870" cy="32357"/>
                <a:chOff x="4739005" y="3554149"/>
                <a:chExt cx="37870" cy="32357"/>
              </a:xfrm>
            </p:grpSpPr>
            <p:sp>
              <p:nvSpPr>
                <p:cNvPr id="7064" name="Google Shape;7064;p70"/>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0"/>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6" name="Google Shape;7066;p70"/>
              <p:cNvGrpSpPr/>
              <p:nvPr/>
            </p:nvGrpSpPr>
            <p:grpSpPr>
              <a:xfrm>
                <a:off x="4806557" y="3630258"/>
                <a:ext cx="37776" cy="32364"/>
                <a:chOff x="4806557" y="3630258"/>
                <a:chExt cx="37776" cy="32364"/>
              </a:xfrm>
            </p:grpSpPr>
            <p:sp>
              <p:nvSpPr>
                <p:cNvPr id="7067" name="Google Shape;7067;p70"/>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70"/>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9" name="Google Shape;7069;p70"/>
              <p:cNvGrpSpPr/>
              <p:nvPr/>
            </p:nvGrpSpPr>
            <p:grpSpPr>
              <a:xfrm>
                <a:off x="4737007" y="4004357"/>
                <a:ext cx="37870" cy="32357"/>
                <a:chOff x="4737007" y="4004357"/>
                <a:chExt cx="37870" cy="32357"/>
              </a:xfrm>
            </p:grpSpPr>
            <p:sp>
              <p:nvSpPr>
                <p:cNvPr id="7070" name="Google Shape;7070;p70"/>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70"/>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2" name="Google Shape;7072;p70"/>
              <p:cNvGrpSpPr/>
              <p:nvPr/>
            </p:nvGrpSpPr>
            <p:grpSpPr>
              <a:xfrm>
                <a:off x="4773634" y="4208627"/>
                <a:ext cx="37776" cy="32357"/>
                <a:chOff x="4773634" y="4208627"/>
                <a:chExt cx="37776" cy="32357"/>
              </a:xfrm>
            </p:grpSpPr>
            <p:sp>
              <p:nvSpPr>
                <p:cNvPr id="7073" name="Google Shape;7073;p70"/>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0"/>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5" name="Google Shape;7075;p70"/>
              <p:cNvGrpSpPr/>
              <p:nvPr/>
            </p:nvGrpSpPr>
            <p:grpSpPr>
              <a:xfrm>
                <a:off x="4888282" y="4074764"/>
                <a:ext cx="37776" cy="32451"/>
                <a:chOff x="4888282" y="4074764"/>
                <a:chExt cx="37776" cy="32451"/>
              </a:xfrm>
            </p:grpSpPr>
            <p:sp>
              <p:nvSpPr>
                <p:cNvPr id="7076" name="Google Shape;7076;p70"/>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0"/>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8" name="Google Shape;7078;p70"/>
              <p:cNvGrpSpPr/>
              <p:nvPr/>
            </p:nvGrpSpPr>
            <p:grpSpPr>
              <a:xfrm>
                <a:off x="4901315" y="3804271"/>
                <a:ext cx="37776" cy="32364"/>
                <a:chOff x="4901315" y="3804271"/>
                <a:chExt cx="37776" cy="32364"/>
              </a:xfrm>
            </p:grpSpPr>
            <p:sp>
              <p:nvSpPr>
                <p:cNvPr id="7079" name="Google Shape;7079;p70"/>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0"/>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1" name="Google Shape;7081;p70"/>
              <p:cNvGrpSpPr/>
              <p:nvPr/>
            </p:nvGrpSpPr>
            <p:grpSpPr>
              <a:xfrm>
                <a:off x="4866394" y="3715035"/>
                <a:ext cx="37846" cy="32357"/>
                <a:chOff x="4866394" y="3715035"/>
                <a:chExt cx="37846" cy="32357"/>
              </a:xfrm>
            </p:grpSpPr>
            <p:sp>
              <p:nvSpPr>
                <p:cNvPr id="7082" name="Google Shape;7082;p70"/>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70"/>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4" name="Google Shape;7084;p70"/>
              <p:cNvGrpSpPr/>
              <p:nvPr/>
            </p:nvGrpSpPr>
            <p:grpSpPr>
              <a:xfrm>
                <a:off x="4979233" y="3839798"/>
                <a:ext cx="37878" cy="32420"/>
                <a:chOff x="4979233" y="3839798"/>
                <a:chExt cx="37878" cy="32420"/>
              </a:xfrm>
            </p:grpSpPr>
            <p:sp>
              <p:nvSpPr>
                <p:cNvPr id="7085" name="Google Shape;7085;p70"/>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70"/>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7" name="Google Shape;7087;p70"/>
              <p:cNvGrpSpPr/>
              <p:nvPr/>
            </p:nvGrpSpPr>
            <p:grpSpPr>
              <a:xfrm>
                <a:off x="4790662" y="3679147"/>
                <a:ext cx="37783" cy="32380"/>
                <a:chOff x="4790662" y="3679147"/>
                <a:chExt cx="37783" cy="32380"/>
              </a:xfrm>
            </p:grpSpPr>
            <p:sp>
              <p:nvSpPr>
                <p:cNvPr id="7088" name="Google Shape;7088;p70"/>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0"/>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0" name="Google Shape;7090;p70"/>
              <p:cNvGrpSpPr/>
              <p:nvPr/>
            </p:nvGrpSpPr>
            <p:grpSpPr>
              <a:xfrm>
                <a:off x="4857263" y="3557861"/>
                <a:ext cx="37776" cy="32357"/>
                <a:chOff x="4857263" y="3557861"/>
                <a:chExt cx="37776" cy="32357"/>
              </a:xfrm>
            </p:grpSpPr>
            <p:sp>
              <p:nvSpPr>
                <p:cNvPr id="7091" name="Google Shape;7091;p70"/>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0"/>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3" name="Google Shape;7093;p70"/>
              <p:cNvGrpSpPr/>
              <p:nvPr/>
            </p:nvGrpSpPr>
            <p:grpSpPr>
              <a:xfrm>
                <a:off x="4883902" y="3648033"/>
                <a:ext cx="37783" cy="32380"/>
                <a:chOff x="4883902" y="3648033"/>
                <a:chExt cx="37783" cy="32380"/>
              </a:xfrm>
            </p:grpSpPr>
            <p:sp>
              <p:nvSpPr>
                <p:cNvPr id="7094" name="Google Shape;7094;p70"/>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0"/>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6" name="Google Shape;7096;p70"/>
              <p:cNvGrpSpPr/>
              <p:nvPr/>
            </p:nvGrpSpPr>
            <p:grpSpPr>
              <a:xfrm>
                <a:off x="4907780" y="3347220"/>
                <a:ext cx="37878" cy="32357"/>
                <a:chOff x="4907780" y="3347220"/>
                <a:chExt cx="37878" cy="32357"/>
              </a:xfrm>
            </p:grpSpPr>
            <p:sp>
              <p:nvSpPr>
                <p:cNvPr id="7097" name="Google Shape;7097;p70"/>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0"/>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9" name="Google Shape;7099;p70"/>
              <p:cNvGrpSpPr/>
              <p:nvPr/>
            </p:nvGrpSpPr>
            <p:grpSpPr>
              <a:xfrm>
                <a:off x="5065048" y="3738150"/>
                <a:ext cx="37783" cy="32364"/>
                <a:chOff x="5065048" y="3738150"/>
                <a:chExt cx="37783" cy="32364"/>
              </a:xfrm>
            </p:grpSpPr>
            <p:sp>
              <p:nvSpPr>
                <p:cNvPr id="7100" name="Google Shape;7100;p70"/>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0"/>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2" name="Google Shape;7102;p70"/>
              <p:cNvGrpSpPr/>
              <p:nvPr/>
            </p:nvGrpSpPr>
            <p:grpSpPr>
              <a:xfrm>
                <a:off x="5071616" y="3284615"/>
                <a:ext cx="37783" cy="32357"/>
                <a:chOff x="5071616" y="3284615"/>
                <a:chExt cx="37783" cy="32357"/>
              </a:xfrm>
            </p:grpSpPr>
            <p:sp>
              <p:nvSpPr>
                <p:cNvPr id="7103" name="Google Shape;7103;p70"/>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0"/>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5" name="Google Shape;7105;p70"/>
              <p:cNvGrpSpPr/>
              <p:nvPr/>
            </p:nvGrpSpPr>
            <p:grpSpPr>
              <a:xfrm>
                <a:off x="5389291" y="3759921"/>
                <a:ext cx="37783" cy="32380"/>
                <a:chOff x="5389291" y="3759921"/>
                <a:chExt cx="37783" cy="32380"/>
              </a:xfrm>
            </p:grpSpPr>
            <p:sp>
              <p:nvSpPr>
                <p:cNvPr id="7106" name="Google Shape;7106;p70"/>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0"/>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8" name="Google Shape;7108;p70"/>
              <p:cNvGrpSpPr/>
              <p:nvPr/>
            </p:nvGrpSpPr>
            <p:grpSpPr>
              <a:xfrm>
                <a:off x="5431534" y="3632932"/>
                <a:ext cx="37878" cy="32451"/>
                <a:chOff x="5431534" y="3632932"/>
                <a:chExt cx="37878" cy="32451"/>
              </a:xfrm>
            </p:grpSpPr>
            <p:sp>
              <p:nvSpPr>
                <p:cNvPr id="7109" name="Google Shape;7109;p70"/>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0"/>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1" name="Google Shape;7111;p70"/>
              <p:cNvGrpSpPr/>
              <p:nvPr/>
            </p:nvGrpSpPr>
            <p:grpSpPr>
              <a:xfrm>
                <a:off x="5540755" y="3544829"/>
                <a:ext cx="37783" cy="32357"/>
                <a:chOff x="5540755" y="3544829"/>
                <a:chExt cx="37783" cy="32357"/>
              </a:xfrm>
            </p:grpSpPr>
            <p:sp>
              <p:nvSpPr>
                <p:cNvPr id="7112" name="Google Shape;7112;p70"/>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70"/>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4" name="Google Shape;7114;p70"/>
              <p:cNvGrpSpPr/>
              <p:nvPr/>
            </p:nvGrpSpPr>
            <p:grpSpPr>
              <a:xfrm>
                <a:off x="5579293" y="3412107"/>
                <a:ext cx="37776" cy="32357"/>
                <a:chOff x="5579293" y="3412107"/>
                <a:chExt cx="37776" cy="32357"/>
              </a:xfrm>
            </p:grpSpPr>
            <p:sp>
              <p:nvSpPr>
                <p:cNvPr id="7115" name="Google Shape;7115;p70"/>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0"/>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7" name="Google Shape;7117;p70"/>
              <p:cNvGrpSpPr/>
              <p:nvPr/>
            </p:nvGrpSpPr>
            <p:grpSpPr>
              <a:xfrm>
                <a:off x="5801346" y="3284615"/>
                <a:ext cx="37783" cy="32357"/>
                <a:chOff x="5801346" y="3284615"/>
                <a:chExt cx="37783" cy="32357"/>
              </a:xfrm>
            </p:grpSpPr>
            <p:sp>
              <p:nvSpPr>
                <p:cNvPr id="7118" name="Google Shape;7118;p70"/>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0"/>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0" name="Google Shape;7120;p70"/>
              <p:cNvGrpSpPr/>
              <p:nvPr/>
            </p:nvGrpSpPr>
            <p:grpSpPr>
              <a:xfrm>
                <a:off x="5763578" y="3399067"/>
                <a:ext cx="37776" cy="32364"/>
                <a:chOff x="5763578" y="3399067"/>
                <a:chExt cx="37776" cy="32364"/>
              </a:xfrm>
            </p:grpSpPr>
            <p:sp>
              <p:nvSpPr>
                <p:cNvPr id="7121" name="Google Shape;7121;p70"/>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70"/>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3" name="Google Shape;7123;p70"/>
              <p:cNvGrpSpPr/>
              <p:nvPr/>
            </p:nvGrpSpPr>
            <p:grpSpPr>
              <a:xfrm>
                <a:off x="5395858" y="3230952"/>
                <a:ext cx="37776" cy="32364"/>
                <a:chOff x="5395858" y="3230952"/>
                <a:chExt cx="37776" cy="32364"/>
              </a:xfrm>
            </p:grpSpPr>
            <p:sp>
              <p:nvSpPr>
                <p:cNvPr id="7124" name="Google Shape;7124;p70"/>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0"/>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6" name="Google Shape;7126;p70"/>
              <p:cNvGrpSpPr/>
              <p:nvPr/>
            </p:nvGrpSpPr>
            <p:grpSpPr>
              <a:xfrm>
                <a:off x="5264088" y="3188237"/>
                <a:ext cx="37776" cy="32357"/>
                <a:chOff x="5264088" y="3188237"/>
                <a:chExt cx="37776" cy="32357"/>
              </a:xfrm>
            </p:grpSpPr>
            <p:sp>
              <p:nvSpPr>
                <p:cNvPr id="7127" name="Google Shape;7127;p70"/>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0"/>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9" name="Google Shape;7129;p70"/>
              <p:cNvGrpSpPr/>
              <p:nvPr/>
            </p:nvGrpSpPr>
            <p:grpSpPr>
              <a:xfrm>
                <a:off x="5585758" y="3237425"/>
                <a:ext cx="37878" cy="32357"/>
                <a:chOff x="5585758" y="3237425"/>
                <a:chExt cx="37878" cy="32357"/>
              </a:xfrm>
            </p:grpSpPr>
            <p:sp>
              <p:nvSpPr>
                <p:cNvPr id="7130" name="Google Shape;7130;p70"/>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70"/>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2" name="Google Shape;7132;p70"/>
              <p:cNvGrpSpPr/>
              <p:nvPr/>
            </p:nvGrpSpPr>
            <p:grpSpPr>
              <a:xfrm>
                <a:off x="4874196" y="3291088"/>
                <a:ext cx="37878" cy="32451"/>
                <a:chOff x="4874196" y="3291088"/>
                <a:chExt cx="37878" cy="32451"/>
              </a:xfrm>
            </p:grpSpPr>
            <p:sp>
              <p:nvSpPr>
                <p:cNvPr id="7133" name="Google Shape;7133;p70"/>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0"/>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5" name="Google Shape;7135;p70"/>
              <p:cNvGrpSpPr/>
              <p:nvPr/>
            </p:nvGrpSpPr>
            <p:grpSpPr>
              <a:xfrm>
                <a:off x="5197770" y="3785466"/>
                <a:ext cx="37783" cy="32427"/>
                <a:chOff x="5197770" y="3785466"/>
                <a:chExt cx="37783" cy="32427"/>
              </a:xfrm>
            </p:grpSpPr>
            <p:sp>
              <p:nvSpPr>
                <p:cNvPr id="7136" name="Google Shape;7136;p70"/>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0"/>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8" name="Google Shape;7138;p70"/>
              <p:cNvGrpSpPr/>
              <p:nvPr/>
            </p:nvGrpSpPr>
            <p:grpSpPr>
              <a:xfrm>
                <a:off x="5177699" y="3492117"/>
                <a:ext cx="37776" cy="32357"/>
                <a:chOff x="5177699" y="3492117"/>
                <a:chExt cx="37776" cy="32357"/>
              </a:xfrm>
            </p:grpSpPr>
            <p:sp>
              <p:nvSpPr>
                <p:cNvPr id="7139" name="Google Shape;7139;p70"/>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0"/>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1" name="Google Shape;7141;p70"/>
              <p:cNvGrpSpPr/>
              <p:nvPr/>
            </p:nvGrpSpPr>
            <p:grpSpPr>
              <a:xfrm>
                <a:off x="5349431" y="3622346"/>
                <a:ext cx="37870" cy="32380"/>
                <a:chOff x="5349431" y="3622346"/>
                <a:chExt cx="37870" cy="32380"/>
              </a:xfrm>
            </p:grpSpPr>
            <p:sp>
              <p:nvSpPr>
                <p:cNvPr id="7142" name="Google Shape;7142;p70"/>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70"/>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4" name="Google Shape;7144;p70"/>
              <p:cNvGrpSpPr/>
              <p:nvPr/>
            </p:nvGrpSpPr>
            <p:grpSpPr>
              <a:xfrm>
                <a:off x="5068855" y="3563980"/>
                <a:ext cx="53954" cy="46223"/>
                <a:chOff x="5068855" y="3563980"/>
                <a:chExt cx="53954" cy="46223"/>
              </a:xfrm>
            </p:grpSpPr>
            <p:sp>
              <p:nvSpPr>
                <p:cNvPr id="7145" name="Google Shape;7145;p70"/>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0"/>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7" name="Google Shape;7147;p70"/>
              <p:cNvGrpSpPr/>
              <p:nvPr/>
            </p:nvGrpSpPr>
            <p:grpSpPr>
              <a:xfrm>
                <a:off x="5037654" y="3392507"/>
                <a:ext cx="37870" cy="32451"/>
                <a:chOff x="5037654" y="3392507"/>
                <a:chExt cx="37870" cy="32451"/>
              </a:xfrm>
            </p:grpSpPr>
            <p:sp>
              <p:nvSpPr>
                <p:cNvPr id="7148" name="Google Shape;7148;p70"/>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0"/>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0" name="Google Shape;7150;p70"/>
              <p:cNvGrpSpPr/>
              <p:nvPr/>
            </p:nvGrpSpPr>
            <p:grpSpPr>
              <a:xfrm>
                <a:off x="5456560" y="3368629"/>
                <a:ext cx="37870" cy="32451"/>
                <a:chOff x="5456560" y="3368629"/>
                <a:chExt cx="37870" cy="32451"/>
              </a:xfrm>
            </p:grpSpPr>
            <p:sp>
              <p:nvSpPr>
                <p:cNvPr id="7151" name="Google Shape;7151;p70"/>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0"/>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3" name="Google Shape;7153;p70"/>
              <p:cNvGrpSpPr/>
              <p:nvPr/>
            </p:nvGrpSpPr>
            <p:grpSpPr>
              <a:xfrm>
                <a:off x="4755749" y="3501516"/>
                <a:ext cx="46246" cy="39608"/>
                <a:chOff x="4755749" y="3501516"/>
                <a:chExt cx="46246" cy="39608"/>
              </a:xfrm>
            </p:grpSpPr>
            <p:sp>
              <p:nvSpPr>
                <p:cNvPr id="7154" name="Google Shape;7154;p70"/>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0"/>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6" name="Google Shape;7156;p70"/>
              <p:cNvGrpSpPr/>
              <p:nvPr/>
            </p:nvGrpSpPr>
            <p:grpSpPr>
              <a:xfrm>
                <a:off x="4681346" y="3485582"/>
                <a:ext cx="37783" cy="32427"/>
                <a:chOff x="4681346" y="3485582"/>
                <a:chExt cx="37783" cy="32427"/>
              </a:xfrm>
            </p:grpSpPr>
            <p:sp>
              <p:nvSpPr>
                <p:cNvPr id="7157" name="Google Shape;7157;p70"/>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0"/>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9" name="Google Shape;7159;p70"/>
              <p:cNvGrpSpPr/>
              <p:nvPr/>
            </p:nvGrpSpPr>
            <p:grpSpPr>
              <a:xfrm>
                <a:off x="4767067" y="3291088"/>
                <a:ext cx="37878" cy="32451"/>
                <a:chOff x="4767067" y="3291088"/>
                <a:chExt cx="37878" cy="32451"/>
              </a:xfrm>
            </p:grpSpPr>
            <p:sp>
              <p:nvSpPr>
                <p:cNvPr id="7160" name="Google Shape;7160;p70"/>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70"/>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2" name="Google Shape;7162;p70"/>
              <p:cNvGrpSpPr/>
              <p:nvPr/>
            </p:nvGrpSpPr>
            <p:grpSpPr>
              <a:xfrm>
                <a:off x="4687819" y="3405539"/>
                <a:ext cx="37776" cy="32451"/>
                <a:chOff x="4687819" y="3405539"/>
                <a:chExt cx="37776" cy="32451"/>
              </a:xfrm>
            </p:grpSpPr>
            <p:sp>
              <p:nvSpPr>
                <p:cNvPr id="7163" name="Google Shape;7163;p70"/>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0"/>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5" name="Google Shape;7165;p70"/>
              <p:cNvGrpSpPr/>
              <p:nvPr/>
            </p:nvGrpSpPr>
            <p:grpSpPr>
              <a:xfrm>
                <a:off x="4923101" y="3444809"/>
                <a:ext cx="52813" cy="45318"/>
                <a:chOff x="4923101" y="3444809"/>
                <a:chExt cx="52813" cy="45318"/>
              </a:xfrm>
            </p:grpSpPr>
            <p:sp>
              <p:nvSpPr>
                <p:cNvPr id="7166" name="Google Shape;7166;p70"/>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0"/>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8" name="Google Shape;7168;p70"/>
              <p:cNvGrpSpPr/>
              <p:nvPr/>
            </p:nvGrpSpPr>
            <p:grpSpPr>
              <a:xfrm>
                <a:off x="4846040" y="3654750"/>
                <a:ext cx="31405" cy="26993"/>
                <a:chOff x="4846040" y="3654750"/>
                <a:chExt cx="31405" cy="26993"/>
              </a:xfrm>
            </p:grpSpPr>
            <p:sp>
              <p:nvSpPr>
                <p:cNvPr id="7169" name="Google Shape;7169;p70"/>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0"/>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1" name="Google Shape;7171;p70"/>
              <p:cNvGrpSpPr/>
              <p:nvPr/>
            </p:nvGrpSpPr>
            <p:grpSpPr>
              <a:xfrm>
                <a:off x="4925673" y="3691700"/>
                <a:ext cx="40253" cy="34472"/>
                <a:chOff x="4925673" y="3691700"/>
                <a:chExt cx="40253" cy="34472"/>
              </a:xfrm>
            </p:grpSpPr>
            <p:sp>
              <p:nvSpPr>
                <p:cNvPr id="7172" name="Google Shape;7172;p70"/>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70"/>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4" name="Google Shape;7174;p70"/>
              <p:cNvGrpSpPr/>
              <p:nvPr/>
            </p:nvGrpSpPr>
            <p:grpSpPr>
              <a:xfrm>
                <a:off x="4894653" y="3740848"/>
                <a:ext cx="31405" cy="26906"/>
                <a:chOff x="4894653" y="3740848"/>
                <a:chExt cx="31405" cy="26906"/>
              </a:xfrm>
            </p:grpSpPr>
            <p:sp>
              <p:nvSpPr>
                <p:cNvPr id="7175" name="Google Shape;7175;p70"/>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0"/>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7" name="Google Shape;7177;p70"/>
              <p:cNvGrpSpPr/>
              <p:nvPr/>
            </p:nvGrpSpPr>
            <p:grpSpPr>
              <a:xfrm>
                <a:off x="4962300" y="3696348"/>
                <a:ext cx="38255" cy="32773"/>
                <a:chOff x="4962300" y="3696348"/>
                <a:chExt cx="38255" cy="32773"/>
              </a:xfrm>
            </p:grpSpPr>
            <p:sp>
              <p:nvSpPr>
                <p:cNvPr id="7178" name="Google Shape;7178;p70"/>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70"/>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0" name="Google Shape;7180;p70"/>
              <p:cNvGrpSpPr/>
              <p:nvPr/>
            </p:nvGrpSpPr>
            <p:grpSpPr>
              <a:xfrm>
                <a:off x="4980185" y="3743349"/>
                <a:ext cx="31499" cy="26969"/>
                <a:chOff x="4980185" y="3743349"/>
                <a:chExt cx="31499" cy="26969"/>
              </a:xfrm>
            </p:grpSpPr>
            <p:sp>
              <p:nvSpPr>
                <p:cNvPr id="7181" name="Google Shape;7181;p70"/>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0"/>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3" name="Google Shape;7183;p70"/>
              <p:cNvGrpSpPr/>
              <p:nvPr/>
            </p:nvGrpSpPr>
            <p:grpSpPr>
              <a:xfrm>
                <a:off x="5013768" y="3734312"/>
                <a:ext cx="31499" cy="26969"/>
                <a:chOff x="5013768" y="3734312"/>
                <a:chExt cx="31499" cy="26969"/>
              </a:xfrm>
            </p:grpSpPr>
            <p:sp>
              <p:nvSpPr>
                <p:cNvPr id="7184" name="Google Shape;7184;p70"/>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0"/>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6" name="Google Shape;7186;p70"/>
              <p:cNvGrpSpPr/>
              <p:nvPr/>
            </p:nvGrpSpPr>
            <p:grpSpPr>
              <a:xfrm>
                <a:off x="5036703" y="3764545"/>
                <a:ext cx="31499" cy="26898"/>
                <a:chOff x="5036703" y="3764545"/>
                <a:chExt cx="31499" cy="26898"/>
              </a:xfrm>
            </p:grpSpPr>
            <p:sp>
              <p:nvSpPr>
                <p:cNvPr id="7187" name="Google Shape;7187;p70"/>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0"/>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9" name="Google Shape;7189;p70"/>
              <p:cNvGrpSpPr/>
              <p:nvPr/>
            </p:nvGrpSpPr>
            <p:grpSpPr>
              <a:xfrm>
                <a:off x="4953546" y="3768352"/>
                <a:ext cx="31405" cy="26898"/>
                <a:chOff x="4953546" y="3768352"/>
                <a:chExt cx="31405" cy="26898"/>
              </a:xfrm>
            </p:grpSpPr>
            <p:sp>
              <p:nvSpPr>
                <p:cNvPr id="7190" name="Google Shape;7190;p70"/>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0"/>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2" name="Google Shape;7192;p70"/>
              <p:cNvGrpSpPr/>
              <p:nvPr/>
            </p:nvGrpSpPr>
            <p:grpSpPr>
              <a:xfrm>
                <a:off x="4964770" y="3814016"/>
                <a:ext cx="31499" cy="26993"/>
                <a:chOff x="4964770" y="3814016"/>
                <a:chExt cx="31499" cy="26993"/>
              </a:xfrm>
            </p:grpSpPr>
            <p:sp>
              <p:nvSpPr>
                <p:cNvPr id="7193" name="Google Shape;7193;p70"/>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0"/>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5" name="Google Shape;7195;p70"/>
              <p:cNvGrpSpPr/>
              <p:nvPr/>
            </p:nvGrpSpPr>
            <p:grpSpPr>
              <a:xfrm>
                <a:off x="4923290" y="3800504"/>
                <a:ext cx="31468" cy="26898"/>
                <a:chOff x="4923290" y="3800504"/>
                <a:chExt cx="31468" cy="26898"/>
              </a:xfrm>
            </p:grpSpPr>
            <p:sp>
              <p:nvSpPr>
                <p:cNvPr id="7196" name="Google Shape;7196;p70"/>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70"/>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8" name="Google Shape;7198;p70"/>
              <p:cNvGrpSpPr/>
              <p:nvPr/>
            </p:nvGrpSpPr>
            <p:grpSpPr>
              <a:xfrm>
                <a:off x="5108534" y="3650943"/>
                <a:ext cx="31405" cy="26993"/>
                <a:chOff x="5108534" y="3650943"/>
                <a:chExt cx="31405" cy="26993"/>
              </a:xfrm>
            </p:grpSpPr>
            <p:sp>
              <p:nvSpPr>
                <p:cNvPr id="7199" name="Google Shape;7199;p70"/>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0"/>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1" name="Google Shape;7201;p70"/>
              <p:cNvGrpSpPr/>
              <p:nvPr/>
            </p:nvGrpSpPr>
            <p:grpSpPr>
              <a:xfrm>
                <a:off x="5119380" y="3760739"/>
                <a:ext cx="31499" cy="26993"/>
                <a:chOff x="5119380" y="3760739"/>
                <a:chExt cx="31499" cy="26993"/>
              </a:xfrm>
            </p:grpSpPr>
            <p:sp>
              <p:nvSpPr>
                <p:cNvPr id="7202" name="Google Shape;7202;p70"/>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0"/>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4" name="Google Shape;7204;p70"/>
              <p:cNvGrpSpPr/>
              <p:nvPr/>
            </p:nvGrpSpPr>
            <p:grpSpPr>
              <a:xfrm>
                <a:off x="5119380" y="3788235"/>
                <a:ext cx="31499" cy="26993"/>
                <a:chOff x="5119380" y="3788235"/>
                <a:chExt cx="31499" cy="26993"/>
              </a:xfrm>
            </p:grpSpPr>
            <p:sp>
              <p:nvSpPr>
                <p:cNvPr id="7205" name="Google Shape;7205;p70"/>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70"/>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7" name="Google Shape;7207;p70"/>
              <p:cNvGrpSpPr/>
              <p:nvPr/>
            </p:nvGrpSpPr>
            <p:grpSpPr>
              <a:xfrm>
                <a:off x="5158005" y="3875284"/>
                <a:ext cx="31405" cy="27001"/>
                <a:chOff x="5158005" y="3875284"/>
                <a:chExt cx="31405" cy="27001"/>
              </a:xfrm>
            </p:grpSpPr>
            <p:sp>
              <p:nvSpPr>
                <p:cNvPr id="7208" name="Google Shape;7208;p70"/>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70"/>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0" name="Google Shape;7210;p70"/>
              <p:cNvGrpSpPr/>
              <p:nvPr/>
            </p:nvGrpSpPr>
            <p:grpSpPr>
              <a:xfrm>
                <a:off x="5233163" y="3764545"/>
                <a:ext cx="31499" cy="26898"/>
                <a:chOff x="5233163" y="3764545"/>
                <a:chExt cx="31499" cy="26898"/>
              </a:xfrm>
            </p:grpSpPr>
            <p:sp>
              <p:nvSpPr>
                <p:cNvPr id="7211" name="Google Shape;7211;p70"/>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0"/>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3" name="Google Shape;7213;p70"/>
              <p:cNvGrpSpPr/>
              <p:nvPr/>
            </p:nvGrpSpPr>
            <p:grpSpPr>
              <a:xfrm>
                <a:off x="5276168" y="3805545"/>
                <a:ext cx="31499" cy="26906"/>
                <a:chOff x="5276168" y="3805545"/>
                <a:chExt cx="31499" cy="26906"/>
              </a:xfrm>
            </p:grpSpPr>
            <p:sp>
              <p:nvSpPr>
                <p:cNvPr id="7214" name="Google Shape;7214;p70"/>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0"/>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6" name="Google Shape;7216;p70"/>
              <p:cNvGrpSpPr/>
              <p:nvPr/>
            </p:nvGrpSpPr>
            <p:grpSpPr>
              <a:xfrm>
                <a:off x="5294053" y="3851933"/>
                <a:ext cx="31405" cy="26945"/>
                <a:chOff x="5294053" y="3851933"/>
                <a:chExt cx="31405" cy="26945"/>
              </a:xfrm>
            </p:grpSpPr>
            <p:sp>
              <p:nvSpPr>
                <p:cNvPr id="7217" name="Google Shape;7217;p70"/>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70"/>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9" name="Google Shape;7219;p70"/>
              <p:cNvGrpSpPr/>
              <p:nvPr/>
            </p:nvGrpSpPr>
            <p:grpSpPr>
              <a:xfrm>
                <a:off x="5341723" y="3851902"/>
                <a:ext cx="31405" cy="26977"/>
                <a:chOff x="5341723" y="3851902"/>
                <a:chExt cx="31405" cy="26977"/>
              </a:xfrm>
            </p:grpSpPr>
            <p:sp>
              <p:nvSpPr>
                <p:cNvPr id="7220" name="Google Shape;7220;p70"/>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0"/>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22" name="Google Shape;7222;p70"/>
              <p:cNvGrpSpPr/>
              <p:nvPr/>
            </p:nvGrpSpPr>
            <p:grpSpPr>
              <a:xfrm>
                <a:off x="5054871" y="3507855"/>
                <a:ext cx="31405" cy="26993"/>
                <a:chOff x="5054871" y="3507855"/>
                <a:chExt cx="31405" cy="26993"/>
              </a:xfrm>
            </p:grpSpPr>
            <p:sp>
              <p:nvSpPr>
                <p:cNvPr id="7223" name="Google Shape;7223;p70"/>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0"/>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25" name="Google Shape;7225;p70"/>
              <p:cNvGrpSpPr/>
              <p:nvPr/>
            </p:nvGrpSpPr>
            <p:grpSpPr>
              <a:xfrm>
                <a:off x="4876579" y="3675325"/>
                <a:ext cx="31405" cy="26969"/>
                <a:chOff x="4876579" y="3675325"/>
                <a:chExt cx="31405" cy="26969"/>
              </a:xfrm>
            </p:grpSpPr>
            <p:sp>
              <p:nvSpPr>
                <p:cNvPr id="7226" name="Google Shape;7226;p70"/>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70"/>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28" name="Google Shape;7228;p70"/>
              <p:cNvGrpSpPr/>
              <p:nvPr/>
            </p:nvGrpSpPr>
            <p:grpSpPr>
              <a:xfrm>
                <a:off x="4842233" y="3688333"/>
                <a:ext cx="31405" cy="26993"/>
                <a:chOff x="4842233" y="3688333"/>
                <a:chExt cx="31405" cy="26993"/>
              </a:xfrm>
            </p:grpSpPr>
            <p:sp>
              <p:nvSpPr>
                <p:cNvPr id="7229" name="Google Shape;7229;p70"/>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0"/>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1" name="Google Shape;7231;p70"/>
              <p:cNvGrpSpPr/>
              <p:nvPr/>
            </p:nvGrpSpPr>
            <p:grpSpPr>
              <a:xfrm>
                <a:off x="5187876" y="3608032"/>
                <a:ext cx="31405" cy="27001"/>
                <a:chOff x="5187876" y="3608032"/>
                <a:chExt cx="31405" cy="27001"/>
              </a:xfrm>
            </p:grpSpPr>
            <p:sp>
              <p:nvSpPr>
                <p:cNvPr id="7232" name="Google Shape;7232;p70"/>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70"/>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34" name="Google Shape;7234;p70"/>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0"/>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36" name="Google Shape;7236;p70"/>
              <p:cNvGrpSpPr/>
              <p:nvPr/>
            </p:nvGrpSpPr>
            <p:grpSpPr>
              <a:xfrm>
                <a:off x="5269224" y="3304167"/>
                <a:ext cx="40253" cy="34402"/>
                <a:chOff x="5269224" y="3304167"/>
                <a:chExt cx="40253" cy="34402"/>
              </a:xfrm>
            </p:grpSpPr>
            <p:sp>
              <p:nvSpPr>
                <p:cNvPr id="7237" name="Google Shape;7237;p70"/>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0"/>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9" name="Google Shape;7239;p70"/>
              <p:cNvGrpSpPr/>
              <p:nvPr/>
            </p:nvGrpSpPr>
            <p:grpSpPr>
              <a:xfrm>
                <a:off x="5327354" y="3476615"/>
                <a:ext cx="49864" cy="42723"/>
                <a:chOff x="5327354" y="3476615"/>
                <a:chExt cx="49864" cy="42723"/>
              </a:xfrm>
            </p:grpSpPr>
            <p:sp>
              <p:nvSpPr>
                <p:cNvPr id="7240" name="Google Shape;7240;p70"/>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0"/>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42" name="Google Shape;7242;p70"/>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70"/>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44" name="Google Shape;7244;p70"/>
              <p:cNvGrpSpPr/>
              <p:nvPr/>
            </p:nvGrpSpPr>
            <p:grpSpPr>
              <a:xfrm>
                <a:off x="5341723" y="3775957"/>
                <a:ext cx="31405" cy="26898"/>
                <a:chOff x="5341723" y="3775957"/>
                <a:chExt cx="31405" cy="26898"/>
              </a:xfrm>
            </p:grpSpPr>
            <p:sp>
              <p:nvSpPr>
                <p:cNvPr id="7245" name="Google Shape;7245;p70"/>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0"/>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47" name="Google Shape;7247;p70"/>
              <p:cNvGrpSpPr/>
              <p:nvPr/>
            </p:nvGrpSpPr>
            <p:grpSpPr>
              <a:xfrm>
                <a:off x="5439053" y="3699274"/>
                <a:ext cx="31405" cy="26898"/>
                <a:chOff x="5439053" y="3699274"/>
                <a:chExt cx="31405" cy="26898"/>
              </a:xfrm>
            </p:grpSpPr>
            <p:sp>
              <p:nvSpPr>
                <p:cNvPr id="7248" name="Google Shape;7248;p70"/>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0"/>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0" name="Google Shape;7250;p70"/>
              <p:cNvGrpSpPr/>
              <p:nvPr/>
            </p:nvGrpSpPr>
            <p:grpSpPr>
              <a:xfrm>
                <a:off x="5412414" y="3622307"/>
                <a:ext cx="31499" cy="26993"/>
                <a:chOff x="5412414" y="3622307"/>
                <a:chExt cx="31499" cy="26993"/>
              </a:xfrm>
            </p:grpSpPr>
            <p:sp>
              <p:nvSpPr>
                <p:cNvPr id="7251" name="Google Shape;7251;p70"/>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0"/>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3" name="Google Shape;7253;p70"/>
              <p:cNvGrpSpPr/>
              <p:nvPr/>
            </p:nvGrpSpPr>
            <p:grpSpPr>
              <a:xfrm>
                <a:off x="5476254" y="3473949"/>
                <a:ext cx="26835" cy="26930"/>
                <a:chOff x="5476254" y="3473949"/>
                <a:chExt cx="26835" cy="26930"/>
              </a:xfrm>
            </p:grpSpPr>
            <p:sp>
              <p:nvSpPr>
                <p:cNvPr id="7254" name="Google Shape;7254;p70"/>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0"/>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6" name="Google Shape;7256;p70"/>
              <p:cNvGrpSpPr/>
              <p:nvPr/>
            </p:nvGrpSpPr>
            <p:grpSpPr>
              <a:xfrm>
                <a:off x="5564547" y="3481594"/>
                <a:ext cx="31397" cy="26898"/>
                <a:chOff x="5564547" y="3481594"/>
                <a:chExt cx="31397" cy="26898"/>
              </a:xfrm>
            </p:grpSpPr>
            <p:sp>
              <p:nvSpPr>
                <p:cNvPr id="7257" name="Google Shape;7257;p70"/>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0"/>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9" name="Google Shape;7259;p70"/>
              <p:cNvGrpSpPr/>
              <p:nvPr/>
            </p:nvGrpSpPr>
            <p:grpSpPr>
              <a:xfrm>
                <a:off x="5534101" y="3470174"/>
                <a:ext cx="31397" cy="26906"/>
                <a:chOff x="5534101" y="3470174"/>
                <a:chExt cx="31397" cy="26906"/>
              </a:xfrm>
            </p:grpSpPr>
            <p:sp>
              <p:nvSpPr>
                <p:cNvPr id="7260" name="Google Shape;7260;p70"/>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0"/>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2" name="Google Shape;7262;p70"/>
              <p:cNvGrpSpPr/>
              <p:nvPr/>
            </p:nvGrpSpPr>
            <p:grpSpPr>
              <a:xfrm>
                <a:off x="5610879" y="3314486"/>
                <a:ext cx="31499" cy="26938"/>
                <a:chOff x="5610879" y="3314486"/>
                <a:chExt cx="31499" cy="26938"/>
              </a:xfrm>
            </p:grpSpPr>
            <p:sp>
              <p:nvSpPr>
                <p:cNvPr id="7263" name="Google Shape;7263;p70"/>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70"/>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5" name="Google Shape;7265;p70"/>
              <p:cNvGrpSpPr/>
              <p:nvPr/>
            </p:nvGrpSpPr>
            <p:grpSpPr>
              <a:xfrm>
                <a:off x="4834525" y="3501382"/>
                <a:ext cx="31499" cy="26898"/>
                <a:chOff x="4834525" y="3501382"/>
                <a:chExt cx="31499" cy="26898"/>
              </a:xfrm>
            </p:grpSpPr>
            <p:sp>
              <p:nvSpPr>
                <p:cNvPr id="7266" name="Google Shape;7266;p70"/>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0"/>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8" name="Google Shape;7268;p70"/>
              <p:cNvGrpSpPr/>
              <p:nvPr/>
            </p:nvGrpSpPr>
            <p:grpSpPr>
              <a:xfrm>
                <a:off x="4898460" y="3580158"/>
                <a:ext cx="31405" cy="26898"/>
                <a:chOff x="4898460" y="3580158"/>
                <a:chExt cx="31405" cy="26898"/>
              </a:xfrm>
            </p:grpSpPr>
            <p:sp>
              <p:nvSpPr>
                <p:cNvPr id="7269" name="Google Shape;7269;p70"/>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0"/>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1" name="Google Shape;7271;p70"/>
              <p:cNvGrpSpPr/>
              <p:nvPr/>
            </p:nvGrpSpPr>
            <p:grpSpPr>
              <a:xfrm>
                <a:off x="4882667" y="3608032"/>
                <a:ext cx="31499" cy="27001"/>
                <a:chOff x="4882667" y="3608032"/>
                <a:chExt cx="31499" cy="27001"/>
              </a:xfrm>
            </p:grpSpPr>
            <p:sp>
              <p:nvSpPr>
                <p:cNvPr id="7272" name="Google Shape;7272;p70"/>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0"/>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4" name="Google Shape;7274;p70"/>
              <p:cNvGrpSpPr/>
              <p:nvPr/>
            </p:nvGrpSpPr>
            <p:grpSpPr>
              <a:xfrm>
                <a:off x="4843373" y="3631407"/>
                <a:ext cx="16273" cy="16186"/>
                <a:chOff x="4843373" y="3631407"/>
                <a:chExt cx="16273" cy="16186"/>
              </a:xfrm>
            </p:grpSpPr>
            <p:sp>
              <p:nvSpPr>
                <p:cNvPr id="7275" name="Google Shape;7275;p70"/>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0"/>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7" name="Google Shape;7277;p70"/>
              <p:cNvGrpSpPr/>
              <p:nvPr/>
            </p:nvGrpSpPr>
            <p:grpSpPr>
              <a:xfrm>
                <a:off x="4727773" y="3591578"/>
                <a:ext cx="31499" cy="26898"/>
                <a:chOff x="4727773" y="3591578"/>
                <a:chExt cx="31499" cy="26898"/>
              </a:xfrm>
            </p:grpSpPr>
            <p:sp>
              <p:nvSpPr>
                <p:cNvPr id="7278" name="Google Shape;7278;p70"/>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0"/>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80" name="Google Shape;7280;p70"/>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0"/>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82" name="Google Shape;7282;p70"/>
              <p:cNvGrpSpPr/>
              <p:nvPr/>
            </p:nvGrpSpPr>
            <p:grpSpPr>
              <a:xfrm>
                <a:off x="4609421" y="3577398"/>
                <a:ext cx="31499" cy="27001"/>
                <a:chOff x="4609421" y="3577398"/>
                <a:chExt cx="31499" cy="27001"/>
              </a:xfrm>
            </p:grpSpPr>
            <p:sp>
              <p:nvSpPr>
                <p:cNvPr id="7283" name="Google Shape;7283;p70"/>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0"/>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5" name="Google Shape;7285;p70"/>
              <p:cNvGrpSpPr/>
              <p:nvPr/>
            </p:nvGrpSpPr>
            <p:grpSpPr>
              <a:xfrm>
                <a:off x="4649289" y="3577398"/>
                <a:ext cx="31499" cy="27001"/>
                <a:chOff x="4649289" y="3577398"/>
                <a:chExt cx="31499" cy="27001"/>
              </a:xfrm>
            </p:grpSpPr>
            <p:sp>
              <p:nvSpPr>
                <p:cNvPr id="7286" name="Google Shape;7286;p70"/>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0"/>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8" name="Google Shape;7288;p70"/>
              <p:cNvGrpSpPr/>
              <p:nvPr/>
            </p:nvGrpSpPr>
            <p:grpSpPr>
              <a:xfrm>
                <a:off x="4605614" y="3639523"/>
                <a:ext cx="31499" cy="26906"/>
                <a:chOff x="4605614" y="3639523"/>
                <a:chExt cx="31499" cy="26906"/>
              </a:xfrm>
            </p:grpSpPr>
            <p:sp>
              <p:nvSpPr>
                <p:cNvPr id="7289" name="Google Shape;7289;p70"/>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0"/>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1" name="Google Shape;7291;p70"/>
              <p:cNvGrpSpPr/>
              <p:nvPr/>
            </p:nvGrpSpPr>
            <p:grpSpPr>
              <a:xfrm>
                <a:off x="4785149" y="3618846"/>
                <a:ext cx="26930" cy="26843"/>
                <a:chOff x="4785149" y="3618846"/>
                <a:chExt cx="26930" cy="26843"/>
              </a:xfrm>
            </p:grpSpPr>
            <p:sp>
              <p:nvSpPr>
                <p:cNvPr id="7292" name="Google Shape;7292;p70"/>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0"/>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4" name="Google Shape;7294;p70"/>
              <p:cNvGrpSpPr/>
              <p:nvPr/>
            </p:nvGrpSpPr>
            <p:grpSpPr>
              <a:xfrm>
                <a:off x="4810167" y="3601567"/>
                <a:ext cx="31405" cy="26898"/>
                <a:chOff x="4810167" y="3601567"/>
                <a:chExt cx="31405" cy="26898"/>
              </a:xfrm>
            </p:grpSpPr>
            <p:sp>
              <p:nvSpPr>
                <p:cNvPr id="7295" name="Google Shape;7295;p70"/>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0"/>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7" name="Google Shape;7297;p70"/>
              <p:cNvGrpSpPr/>
              <p:nvPr/>
            </p:nvGrpSpPr>
            <p:grpSpPr>
              <a:xfrm>
                <a:off x="4831002" y="3373230"/>
                <a:ext cx="31405" cy="26898"/>
                <a:chOff x="4831002" y="3373230"/>
                <a:chExt cx="31405" cy="26898"/>
              </a:xfrm>
            </p:grpSpPr>
            <p:sp>
              <p:nvSpPr>
                <p:cNvPr id="7298" name="Google Shape;7298;p70"/>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70"/>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0" name="Google Shape;7300;p70"/>
              <p:cNvGrpSpPr/>
              <p:nvPr/>
            </p:nvGrpSpPr>
            <p:grpSpPr>
              <a:xfrm>
                <a:off x="4719311" y="3355054"/>
                <a:ext cx="31499" cy="27001"/>
                <a:chOff x="4719311" y="3355054"/>
                <a:chExt cx="31499" cy="27001"/>
              </a:xfrm>
            </p:grpSpPr>
            <p:sp>
              <p:nvSpPr>
                <p:cNvPr id="7301" name="Google Shape;7301;p70"/>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0"/>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3" name="Google Shape;7303;p70"/>
              <p:cNvGrpSpPr/>
              <p:nvPr/>
            </p:nvGrpSpPr>
            <p:grpSpPr>
              <a:xfrm>
                <a:off x="4798755" y="3450260"/>
                <a:ext cx="26930" cy="26930"/>
                <a:chOff x="4798755" y="3450260"/>
                <a:chExt cx="26930" cy="26930"/>
              </a:xfrm>
            </p:grpSpPr>
            <p:sp>
              <p:nvSpPr>
                <p:cNvPr id="7304" name="Google Shape;7304;p70"/>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70"/>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6" name="Google Shape;7306;p70"/>
              <p:cNvGrpSpPr/>
              <p:nvPr/>
            </p:nvGrpSpPr>
            <p:grpSpPr>
              <a:xfrm>
                <a:off x="4645576" y="3467555"/>
                <a:ext cx="31405" cy="26953"/>
                <a:chOff x="4645576" y="3467555"/>
                <a:chExt cx="31405" cy="26953"/>
              </a:xfrm>
            </p:grpSpPr>
            <p:sp>
              <p:nvSpPr>
                <p:cNvPr id="7307" name="Google Shape;7307;p70"/>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0"/>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9" name="Google Shape;7309;p70"/>
              <p:cNvGrpSpPr/>
              <p:nvPr/>
            </p:nvGrpSpPr>
            <p:grpSpPr>
              <a:xfrm>
                <a:off x="4687631" y="3583965"/>
                <a:ext cx="31499" cy="26898"/>
                <a:chOff x="4687631" y="3583965"/>
                <a:chExt cx="31499" cy="26898"/>
              </a:xfrm>
            </p:grpSpPr>
            <p:sp>
              <p:nvSpPr>
                <p:cNvPr id="7310" name="Google Shape;7310;p70"/>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0"/>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2" name="Google Shape;7312;p70"/>
              <p:cNvGrpSpPr/>
              <p:nvPr/>
            </p:nvGrpSpPr>
            <p:grpSpPr>
              <a:xfrm>
                <a:off x="4719311" y="3471314"/>
                <a:ext cx="31499" cy="27001"/>
                <a:chOff x="4719311" y="3471314"/>
                <a:chExt cx="31499" cy="27001"/>
              </a:xfrm>
            </p:grpSpPr>
            <p:sp>
              <p:nvSpPr>
                <p:cNvPr id="7313" name="Google Shape;7313;p70"/>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0"/>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5" name="Google Shape;7315;p70"/>
              <p:cNvGrpSpPr/>
              <p:nvPr/>
            </p:nvGrpSpPr>
            <p:grpSpPr>
              <a:xfrm>
                <a:off x="4719311" y="3434404"/>
                <a:ext cx="31499" cy="26898"/>
                <a:chOff x="4719311" y="3434404"/>
                <a:chExt cx="31499" cy="26898"/>
              </a:xfrm>
            </p:grpSpPr>
            <p:sp>
              <p:nvSpPr>
                <p:cNvPr id="7316" name="Google Shape;7316;p70"/>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70"/>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8" name="Google Shape;7318;p70"/>
              <p:cNvGrpSpPr/>
              <p:nvPr/>
            </p:nvGrpSpPr>
            <p:grpSpPr>
              <a:xfrm>
                <a:off x="4768876" y="3401772"/>
                <a:ext cx="31499" cy="26898"/>
                <a:chOff x="4768876" y="3401772"/>
                <a:chExt cx="31499" cy="26898"/>
              </a:xfrm>
            </p:grpSpPr>
            <p:sp>
              <p:nvSpPr>
                <p:cNvPr id="7319" name="Google Shape;7319;p70"/>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0"/>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1" name="Google Shape;7321;p70"/>
              <p:cNvGrpSpPr/>
              <p:nvPr/>
            </p:nvGrpSpPr>
            <p:grpSpPr>
              <a:xfrm>
                <a:off x="4762214" y="3471377"/>
                <a:ext cx="26938" cy="26938"/>
                <a:chOff x="4762214" y="3471377"/>
                <a:chExt cx="26938" cy="26938"/>
              </a:xfrm>
            </p:grpSpPr>
            <p:sp>
              <p:nvSpPr>
                <p:cNvPr id="7322" name="Google Shape;7322;p70"/>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70"/>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4" name="Google Shape;7324;p70"/>
              <p:cNvGrpSpPr/>
              <p:nvPr/>
            </p:nvGrpSpPr>
            <p:grpSpPr>
              <a:xfrm>
                <a:off x="4790473" y="3344782"/>
                <a:ext cx="31405" cy="26898"/>
                <a:chOff x="4790473" y="3344782"/>
                <a:chExt cx="31405" cy="26898"/>
              </a:xfrm>
            </p:grpSpPr>
            <p:sp>
              <p:nvSpPr>
                <p:cNvPr id="7325" name="Google Shape;7325;p70"/>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0"/>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7" name="Google Shape;7327;p70"/>
              <p:cNvGrpSpPr/>
              <p:nvPr/>
            </p:nvGrpSpPr>
            <p:grpSpPr>
              <a:xfrm>
                <a:off x="4823774" y="3950733"/>
                <a:ext cx="37398" cy="32034"/>
                <a:chOff x="4823774" y="3950733"/>
                <a:chExt cx="37398" cy="32034"/>
              </a:xfrm>
            </p:grpSpPr>
            <p:sp>
              <p:nvSpPr>
                <p:cNvPr id="7328" name="Google Shape;7328;p70"/>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70"/>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0" name="Google Shape;7330;p70"/>
              <p:cNvGrpSpPr/>
              <p:nvPr/>
            </p:nvGrpSpPr>
            <p:grpSpPr>
              <a:xfrm>
                <a:off x="4823396" y="4110566"/>
                <a:ext cx="31405" cy="26906"/>
                <a:chOff x="4823396" y="4110566"/>
                <a:chExt cx="31405" cy="26906"/>
              </a:xfrm>
            </p:grpSpPr>
            <p:sp>
              <p:nvSpPr>
                <p:cNvPr id="7331" name="Google Shape;7331;p70"/>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70"/>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3" name="Google Shape;7333;p70"/>
              <p:cNvGrpSpPr/>
              <p:nvPr/>
            </p:nvGrpSpPr>
            <p:grpSpPr>
              <a:xfrm>
                <a:off x="4838332" y="3821150"/>
                <a:ext cx="31499" cy="26898"/>
                <a:chOff x="4838332" y="3821150"/>
                <a:chExt cx="31499" cy="26898"/>
              </a:xfrm>
            </p:grpSpPr>
            <p:sp>
              <p:nvSpPr>
                <p:cNvPr id="7334" name="Google Shape;7334;p70"/>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70"/>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6" name="Google Shape;7336;p70"/>
              <p:cNvGrpSpPr/>
              <p:nvPr/>
            </p:nvGrpSpPr>
            <p:grpSpPr>
              <a:xfrm>
                <a:off x="4661275" y="3815007"/>
                <a:ext cx="36824" cy="31523"/>
                <a:chOff x="4661275" y="3815007"/>
                <a:chExt cx="36824" cy="31523"/>
              </a:xfrm>
            </p:grpSpPr>
            <p:sp>
              <p:nvSpPr>
                <p:cNvPr id="7337" name="Google Shape;7337;p70"/>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0"/>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9" name="Google Shape;7339;p70"/>
              <p:cNvGrpSpPr/>
              <p:nvPr/>
            </p:nvGrpSpPr>
            <p:grpSpPr>
              <a:xfrm>
                <a:off x="4558998" y="3851037"/>
                <a:ext cx="33591" cy="28699"/>
                <a:chOff x="4558998" y="3851037"/>
                <a:chExt cx="33591" cy="28699"/>
              </a:xfrm>
            </p:grpSpPr>
            <p:sp>
              <p:nvSpPr>
                <p:cNvPr id="7340" name="Google Shape;7340;p70"/>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0"/>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2" name="Google Shape;7342;p70"/>
              <p:cNvGrpSpPr/>
              <p:nvPr/>
            </p:nvGrpSpPr>
            <p:grpSpPr>
              <a:xfrm>
                <a:off x="4696762" y="3638587"/>
                <a:ext cx="33591" cy="28794"/>
                <a:chOff x="4696762" y="3638587"/>
                <a:chExt cx="33591" cy="28794"/>
              </a:xfrm>
            </p:grpSpPr>
            <p:sp>
              <p:nvSpPr>
                <p:cNvPr id="7343" name="Google Shape;7343;p70"/>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0"/>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5" name="Google Shape;7345;p70"/>
              <p:cNvGrpSpPr/>
              <p:nvPr/>
            </p:nvGrpSpPr>
            <p:grpSpPr>
              <a:xfrm>
                <a:off x="4929479" y="3939140"/>
                <a:ext cx="33497" cy="28692"/>
                <a:chOff x="4929479" y="3939140"/>
                <a:chExt cx="33497" cy="28692"/>
              </a:xfrm>
            </p:grpSpPr>
            <p:sp>
              <p:nvSpPr>
                <p:cNvPr id="7346" name="Google Shape;7346;p70"/>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0"/>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8" name="Google Shape;7348;p70"/>
              <p:cNvGrpSpPr/>
              <p:nvPr/>
            </p:nvGrpSpPr>
            <p:grpSpPr>
              <a:xfrm>
                <a:off x="4907119" y="3986039"/>
                <a:ext cx="33497" cy="28699"/>
                <a:chOff x="4907119" y="3986039"/>
                <a:chExt cx="33497" cy="28699"/>
              </a:xfrm>
            </p:grpSpPr>
            <p:sp>
              <p:nvSpPr>
                <p:cNvPr id="7349" name="Google Shape;7349;p70"/>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0"/>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1" name="Google Shape;7351;p70"/>
              <p:cNvGrpSpPr/>
              <p:nvPr/>
            </p:nvGrpSpPr>
            <p:grpSpPr>
              <a:xfrm>
                <a:off x="4911783" y="4048102"/>
                <a:ext cx="33591" cy="28762"/>
                <a:chOff x="4911783" y="4048102"/>
                <a:chExt cx="33591" cy="28762"/>
              </a:xfrm>
            </p:grpSpPr>
            <p:sp>
              <p:nvSpPr>
                <p:cNvPr id="7352" name="Google Shape;7352;p70"/>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70"/>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54" name="Google Shape;7354;p70"/>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0"/>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56" name="Google Shape;7356;p70"/>
              <p:cNvGrpSpPr/>
              <p:nvPr/>
            </p:nvGrpSpPr>
            <p:grpSpPr>
              <a:xfrm>
                <a:off x="4762623" y="3837847"/>
                <a:ext cx="42416" cy="36273"/>
                <a:chOff x="4762623" y="3837847"/>
                <a:chExt cx="42416" cy="36273"/>
              </a:xfrm>
            </p:grpSpPr>
            <p:sp>
              <p:nvSpPr>
                <p:cNvPr id="7357" name="Google Shape;7357;p70"/>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70"/>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9" name="Google Shape;7359;p70"/>
              <p:cNvGrpSpPr/>
              <p:nvPr/>
            </p:nvGrpSpPr>
            <p:grpSpPr>
              <a:xfrm>
                <a:off x="4746044" y="4104966"/>
                <a:ext cx="33497" cy="28699"/>
                <a:chOff x="4746044" y="4104966"/>
                <a:chExt cx="33497" cy="28699"/>
              </a:xfrm>
            </p:grpSpPr>
            <p:sp>
              <p:nvSpPr>
                <p:cNvPr id="7360" name="Google Shape;7360;p70"/>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0"/>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2" name="Google Shape;7362;p70"/>
              <p:cNvGrpSpPr/>
              <p:nvPr/>
            </p:nvGrpSpPr>
            <p:grpSpPr>
              <a:xfrm>
                <a:off x="4859646" y="4162554"/>
                <a:ext cx="33591" cy="28762"/>
                <a:chOff x="4859646" y="4162554"/>
                <a:chExt cx="33591" cy="28762"/>
              </a:xfrm>
            </p:grpSpPr>
            <p:sp>
              <p:nvSpPr>
                <p:cNvPr id="7363" name="Google Shape;7363;p70"/>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70"/>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365" name="Google Shape;7365;p70"/>
            <p:cNvGrpSpPr/>
            <p:nvPr/>
          </p:nvGrpSpPr>
          <p:grpSpPr>
            <a:xfrm>
              <a:off x="3597785" y="3274438"/>
              <a:ext cx="855610" cy="1122100"/>
              <a:chOff x="3597785" y="3274438"/>
              <a:chExt cx="855610" cy="1122100"/>
            </a:xfrm>
          </p:grpSpPr>
          <p:grpSp>
            <p:nvGrpSpPr>
              <p:cNvPr id="7366" name="Google Shape;7366;p70"/>
              <p:cNvGrpSpPr/>
              <p:nvPr/>
            </p:nvGrpSpPr>
            <p:grpSpPr>
              <a:xfrm>
                <a:off x="3617857" y="3284717"/>
                <a:ext cx="826785" cy="1099165"/>
                <a:chOff x="3617857" y="3284717"/>
                <a:chExt cx="826785" cy="1099165"/>
              </a:xfrm>
            </p:grpSpPr>
            <p:sp>
              <p:nvSpPr>
                <p:cNvPr id="7367" name="Google Shape;7367;p70"/>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0"/>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0"/>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0"/>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0"/>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70"/>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70"/>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0"/>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0"/>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70"/>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70"/>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70"/>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0"/>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0"/>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0"/>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0"/>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70"/>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70"/>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0"/>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0"/>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0"/>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0"/>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70"/>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70"/>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0"/>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0"/>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0"/>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0"/>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0"/>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0"/>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0"/>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0"/>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70"/>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70"/>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0"/>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0"/>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0"/>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0"/>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0"/>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0"/>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0"/>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70"/>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70"/>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0"/>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0"/>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0"/>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70"/>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70"/>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0"/>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0"/>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0"/>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0"/>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0"/>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0"/>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70"/>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70"/>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3" name="Google Shape;7423;p70"/>
              <p:cNvGrpSpPr/>
              <p:nvPr/>
            </p:nvGrpSpPr>
            <p:grpSpPr>
              <a:xfrm>
                <a:off x="4180904" y="4251758"/>
                <a:ext cx="37783" cy="32420"/>
                <a:chOff x="4180904" y="4251758"/>
                <a:chExt cx="37783" cy="32420"/>
              </a:xfrm>
            </p:grpSpPr>
            <p:sp>
              <p:nvSpPr>
                <p:cNvPr id="7424" name="Google Shape;7424;p70"/>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70"/>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6" name="Google Shape;7426;p70"/>
              <p:cNvGrpSpPr/>
              <p:nvPr/>
            </p:nvGrpSpPr>
            <p:grpSpPr>
              <a:xfrm>
                <a:off x="4201644" y="4081324"/>
                <a:ext cx="37783" cy="32364"/>
                <a:chOff x="4201644" y="4081324"/>
                <a:chExt cx="37783" cy="32364"/>
              </a:xfrm>
            </p:grpSpPr>
            <p:sp>
              <p:nvSpPr>
                <p:cNvPr id="7427" name="Google Shape;7427;p70"/>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0"/>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9" name="Google Shape;7429;p70"/>
              <p:cNvGrpSpPr/>
              <p:nvPr/>
            </p:nvGrpSpPr>
            <p:grpSpPr>
              <a:xfrm>
                <a:off x="4284416" y="3887428"/>
                <a:ext cx="37783" cy="32451"/>
                <a:chOff x="4284416" y="3887428"/>
                <a:chExt cx="37783" cy="32451"/>
              </a:xfrm>
            </p:grpSpPr>
            <p:sp>
              <p:nvSpPr>
                <p:cNvPr id="7430" name="Google Shape;7430;p70"/>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70"/>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2" name="Google Shape;7432;p70"/>
              <p:cNvGrpSpPr/>
              <p:nvPr/>
            </p:nvGrpSpPr>
            <p:grpSpPr>
              <a:xfrm>
                <a:off x="4223721" y="3860404"/>
                <a:ext cx="37870" cy="32364"/>
                <a:chOff x="4223721" y="3860404"/>
                <a:chExt cx="37870" cy="32364"/>
              </a:xfrm>
            </p:grpSpPr>
            <p:sp>
              <p:nvSpPr>
                <p:cNvPr id="7433" name="Google Shape;7433;p70"/>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0"/>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5" name="Google Shape;7435;p70"/>
              <p:cNvGrpSpPr/>
              <p:nvPr/>
            </p:nvGrpSpPr>
            <p:grpSpPr>
              <a:xfrm>
                <a:off x="4104889" y="3699242"/>
                <a:ext cx="37776" cy="32357"/>
                <a:chOff x="4104889" y="3699242"/>
                <a:chExt cx="37776" cy="32357"/>
              </a:xfrm>
            </p:grpSpPr>
            <p:sp>
              <p:nvSpPr>
                <p:cNvPr id="7436" name="Google Shape;7436;p70"/>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70"/>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8" name="Google Shape;7438;p70"/>
              <p:cNvGrpSpPr/>
              <p:nvPr/>
            </p:nvGrpSpPr>
            <p:grpSpPr>
              <a:xfrm>
                <a:off x="4143608" y="3475121"/>
                <a:ext cx="37878" cy="32420"/>
                <a:chOff x="4143608" y="3475121"/>
                <a:chExt cx="37878" cy="32420"/>
              </a:xfrm>
            </p:grpSpPr>
            <p:sp>
              <p:nvSpPr>
                <p:cNvPr id="7439" name="Google Shape;7439;p70"/>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70"/>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1" name="Google Shape;7441;p70"/>
              <p:cNvGrpSpPr/>
              <p:nvPr/>
            </p:nvGrpSpPr>
            <p:grpSpPr>
              <a:xfrm>
                <a:off x="4217248" y="3570893"/>
                <a:ext cx="37776" cy="32364"/>
                <a:chOff x="4217248" y="3570893"/>
                <a:chExt cx="37776" cy="32364"/>
              </a:xfrm>
            </p:grpSpPr>
            <p:sp>
              <p:nvSpPr>
                <p:cNvPr id="7442" name="Google Shape;7442;p70"/>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0"/>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4" name="Google Shape;7444;p70"/>
              <p:cNvGrpSpPr/>
              <p:nvPr/>
            </p:nvGrpSpPr>
            <p:grpSpPr>
              <a:xfrm>
                <a:off x="4255307" y="3431612"/>
                <a:ext cx="37776" cy="32451"/>
                <a:chOff x="4255307" y="3431612"/>
                <a:chExt cx="37776" cy="32451"/>
              </a:xfrm>
            </p:grpSpPr>
            <p:sp>
              <p:nvSpPr>
                <p:cNvPr id="7445" name="Google Shape;7445;p70"/>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0"/>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7" name="Google Shape;7447;p70"/>
              <p:cNvGrpSpPr/>
              <p:nvPr/>
            </p:nvGrpSpPr>
            <p:grpSpPr>
              <a:xfrm>
                <a:off x="3853052" y="3577398"/>
                <a:ext cx="37776" cy="32420"/>
                <a:chOff x="3853052" y="3577398"/>
                <a:chExt cx="37776" cy="32420"/>
              </a:xfrm>
            </p:grpSpPr>
            <p:sp>
              <p:nvSpPr>
                <p:cNvPr id="7448" name="Google Shape;7448;p70"/>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70"/>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0" name="Google Shape;7450;p70"/>
              <p:cNvGrpSpPr/>
              <p:nvPr/>
            </p:nvGrpSpPr>
            <p:grpSpPr>
              <a:xfrm>
                <a:off x="4039908" y="3412107"/>
                <a:ext cx="37776" cy="32357"/>
                <a:chOff x="4039908" y="3412107"/>
                <a:chExt cx="37776" cy="32357"/>
              </a:xfrm>
            </p:grpSpPr>
            <p:sp>
              <p:nvSpPr>
                <p:cNvPr id="7451" name="Google Shape;7451;p70"/>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70"/>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3" name="Google Shape;7453;p70"/>
              <p:cNvGrpSpPr/>
              <p:nvPr/>
            </p:nvGrpSpPr>
            <p:grpSpPr>
              <a:xfrm>
                <a:off x="4017360" y="3342061"/>
                <a:ext cx="37870" cy="32380"/>
                <a:chOff x="4017360" y="3342061"/>
                <a:chExt cx="37870" cy="32380"/>
              </a:xfrm>
            </p:grpSpPr>
            <p:sp>
              <p:nvSpPr>
                <p:cNvPr id="7454" name="Google Shape;7454;p70"/>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70"/>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56" name="Google Shape;7456;p70"/>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70"/>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58" name="Google Shape;7458;p70"/>
              <p:cNvGrpSpPr/>
              <p:nvPr/>
            </p:nvGrpSpPr>
            <p:grpSpPr>
              <a:xfrm>
                <a:off x="3750870" y="3418650"/>
                <a:ext cx="37776" cy="32380"/>
                <a:chOff x="3750870" y="3418650"/>
                <a:chExt cx="37776" cy="32380"/>
              </a:xfrm>
            </p:grpSpPr>
            <p:sp>
              <p:nvSpPr>
                <p:cNvPr id="7459" name="Google Shape;7459;p70"/>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0"/>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1" name="Google Shape;7461;p70"/>
              <p:cNvGrpSpPr/>
              <p:nvPr/>
            </p:nvGrpSpPr>
            <p:grpSpPr>
              <a:xfrm>
                <a:off x="3632509" y="3274438"/>
                <a:ext cx="37783" cy="32357"/>
                <a:chOff x="3632509" y="3274438"/>
                <a:chExt cx="37783" cy="32357"/>
              </a:xfrm>
            </p:grpSpPr>
            <p:sp>
              <p:nvSpPr>
                <p:cNvPr id="7462" name="Google Shape;7462;p70"/>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0"/>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4" name="Google Shape;7464;p70"/>
              <p:cNvGrpSpPr/>
              <p:nvPr/>
            </p:nvGrpSpPr>
            <p:grpSpPr>
              <a:xfrm>
                <a:off x="3906424" y="3297561"/>
                <a:ext cx="37776" cy="32451"/>
                <a:chOff x="3906424" y="3297561"/>
                <a:chExt cx="37776" cy="32451"/>
              </a:xfrm>
            </p:grpSpPr>
            <p:sp>
              <p:nvSpPr>
                <p:cNvPr id="7465" name="Google Shape;7465;p70"/>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70"/>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7" name="Google Shape;7467;p70"/>
              <p:cNvGrpSpPr/>
              <p:nvPr/>
            </p:nvGrpSpPr>
            <p:grpSpPr>
              <a:xfrm>
                <a:off x="3866084" y="3412107"/>
                <a:ext cx="37776" cy="32357"/>
                <a:chOff x="3866084" y="3412107"/>
                <a:chExt cx="37776" cy="32357"/>
              </a:xfrm>
            </p:grpSpPr>
            <p:sp>
              <p:nvSpPr>
                <p:cNvPr id="7468" name="Google Shape;7468;p70"/>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70"/>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70" name="Google Shape;7470;p70"/>
              <p:cNvGrpSpPr/>
              <p:nvPr/>
            </p:nvGrpSpPr>
            <p:grpSpPr>
              <a:xfrm>
                <a:off x="4023919" y="3766409"/>
                <a:ext cx="37783" cy="32357"/>
                <a:chOff x="4023919" y="3766409"/>
                <a:chExt cx="37783" cy="32357"/>
              </a:xfrm>
            </p:grpSpPr>
            <p:sp>
              <p:nvSpPr>
                <p:cNvPr id="7471" name="Google Shape;7471;p70"/>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70"/>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73" name="Google Shape;7473;p70"/>
              <p:cNvGrpSpPr/>
              <p:nvPr/>
            </p:nvGrpSpPr>
            <p:grpSpPr>
              <a:xfrm>
                <a:off x="3973882" y="3779449"/>
                <a:ext cx="37776" cy="32357"/>
                <a:chOff x="3973882" y="3779449"/>
                <a:chExt cx="37776" cy="32357"/>
              </a:xfrm>
            </p:grpSpPr>
            <p:sp>
              <p:nvSpPr>
                <p:cNvPr id="7474" name="Google Shape;7474;p70"/>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0"/>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76" name="Google Shape;7476;p70"/>
              <p:cNvGrpSpPr/>
              <p:nvPr/>
            </p:nvGrpSpPr>
            <p:grpSpPr>
              <a:xfrm>
                <a:off x="4073398" y="3838028"/>
                <a:ext cx="37776" cy="32380"/>
                <a:chOff x="4073398" y="3838028"/>
                <a:chExt cx="37776" cy="32380"/>
              </a:xfrm>
            </p:grpSpPr>
            <p:sp>
              <p:nvSpPr>
                <p:cNvPr id="7477" name="Google Shape;7477;p70"/>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0"/>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79" name="Google Shape;7479;p70"/>
              <p:cNvGrpSpPr/>
              <p:nvPr/>
            </p:nvGrpSpPr>
            <p:grpSpPr>
              <a:xfrm>
                <a:off x="4342672" y="4144496"/>
                <a:ext cx="37752" cy="32364"/>
                <a:chOff x="4342672" y="4144496"/>
                <a:chExt cx="37752" cy="32364"/>
              </a:xfrm>
            </p:grpSpPr>
            <p:sp>
              <p:nvSpPr>
                <p:cNvPr id="7480" name="Google Shape;7480;p70"/>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70"/>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2" name="Google Shape;7482;p70"/>
              <p:cNvGrpSpPr/>
              <p:nvPr/>
            </p:nvGrpSpPr>
            <p:grpSpPr>
              <a:xfrm>
                <a:off x="4406386" y="4056872"/>
                <a:ext cx="37783" cy="32364"/>
                <a:chOff x="4406386" y="4056872"/>
                <a:chExt cx="37783" cy="32364"/>
              </a:xfrm>
            </p:grpSpPr>
            <p:sp>
              <p:nvSpPr>
                <p:cNvPr id="7483" name="Google Shape;7483;p70"/>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0"/>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5" name="Google Shape;7485;p70"/>
              <p:cNvGrpSpPr/>
              <p:nvPr/>
            </p:nvGrpSpPr>
            <p:grpSpPr>
              <a:xfrm>
                <a:off x="4284416" y="4245254"/>
                <a:ext cx="37783" cy="32357"/>
                <a:chOff x="4284416" y="4245254"/>
                <a:chExt cx="37783" cy="32357"/>
              </a:xfrm>
            </p:grpSpPr>
            <p:sp>
              <p:nvSpPr>
                <p:cNvPr id="7486" name="Google Shape;7486;p70"/>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70"/>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8" name="Google Shape;7488;p70"/>
              <p:cNvGrpSpPr/>
              <p:nvPr/>
            </p:nvGrpSpPr>
            <p:grpSpPr>
              <a:xfrm>
                <a:off x="4219057" y="4331258"/>
                <a:ext cx="37776" cy="32364"/>
                <a:chOff x="4219057" y="4331258"/>
                <a:chExt cx="37776" cy="32364"/>
              </a:xfrm>
            </p:grpSpPr>
            <p:sp>
              <p:nvSpPr>
                <p:cNvPr id="7489" name="Google Shape;7489;p70"/>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0"/>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1" name="Google Shape;7491;p70"/>
              <p:cNvGrpSpPr/>
              <p:nvPr/>
            </p:nvGrpSpPr>
            <p:grpSpPr>
              <a:xfrm>
                <a:off x="4204122" y="4141688"/>
                <a:ext cx="33497" cy="28699"/>
                <a:chOff x="4204122" y="4141688"/>
                <a:chExt cx="33497" cy="28699"/>
              </a:xfrm>
            </p:grpSpPr>
            <p:sp>
              <p:nvSpPr>
                <p:cNvPr id="7492" name="Google Shape;7492;p70"/>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0"/>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4" name="Google Shape;7494;p70"/>
              <p:cNvGrpSpPr/>
              <p:nvPr/>
            </p:nvGrpSpPr>
            <p:grpSpPr>
              <a:xfrm>
                <a:off x="4301546" y="4003869"/>
                <a:ext cx="38916" cy="33324"/>
                <a:chOff x="4301546" y="4003869"/>
                <a:chExt cx="38916" cy="33324"/>
              </a:xfrm>
            </p:grpSpPr>
            <p:sp>
              <p:nvSpPr>
                <p:cNvPr id="7495" name="Google Shape;7495;p70"/>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70"/>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7" name="Google Shape;7497;p70"/>
              <p:cNvGrpSpPr/>
              <p:nvPr/>
            </p:nvGrpSpPr>
            <p:grpSpPr>
              <a:xfrm>
                <a:off x="4210681" y="3924669"/>
                <a:ext cx="36549" cy="31366"/>
                <a:chOff x="4210681" y="3924669"/>
                <a:chExt cx="36549" cy="31366"/>
              </a:xfrm>
            </p:grpSpPr>
            <p:sp>
              <p:nvSpPr>
                <p:cNvPr id="7498" name="Google Shape;7498;p70"/>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0"/>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0" name="Google Shape;7500;p70"/>
              <p:cNvGrpSpPr/>
              <p:nvPr/>
            </p:nvGrpSpPr>
            <p:grpSpPr>
              <a:xfrm>
                <a:off x="3987771" y="3628874"/>
                <a:ext cx="31499" cy="26993"/>
                <a:chOff x="3987771" y="3628874"/>
                <a:chExt cx="31499" cy="26993"/>
              </a:xfrm>
            </p:grpSpPr>
            <p:sp>
              <p:nvSpPr>
                <p:cNvPr id="7501" name="Google Shape;7501;p70"/>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70"/>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3" name="Google Shape;7503;p70"/>
              <p:cNvGrpSpPr/>
              <p:nvPr/>
            </p:nvGrpSpPr>
            <p:grpSpPr>
              <a:xfrm>
                <a:off x="4087382" y="3775674"/>
                <a:ext cx="31405" cy="26898"/>
                <a:chOff x="4087382" y="3775674"/>
                <a:chExt cx="31405" cy="26898"/>
              </a:xfrm>
            </p:grpSpPr>
            <p:sp>
              <p:nvSpPr>
                <p:cNvPr id="7504" name="Google Shape;7504;p70"/>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0"/>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6" name="Google Shape;7506;p70"/>
              <p:cNvGrpSpPr/>
              <p:nvPr/>
            </p:nvGrpSpPr>
            <p:grpSpPr>
              <a:xfrm>
                <a:off x="4118873" y="3856637"/>
                <a:ext cx="31405" cy="26906"/>
                <a:chOff x="4118873" y="3856637"/>
                <a:chExt cx="31405" cy="26906"/>
              </a:xfrm>
            </p:grpSpPr>
            <p:sp>
              <p:nvSpPr>
                <p:cNvPr id="7507" name="Google Shape;7507;p70"/>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70"/>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9" name="Google Shape;7509;p70"/>
              <p:cNvGrpSpPr/>
              <p:nvPr/>
            </p:nvGrpSpPr>
            <p:grpSpPr>
              <a:xfrm>
                <a:off x="4168541" y="3639523"/>
                <a:ext cx="31499" cy="26906"/>
                <a:chOff x="4168541" y="3639523"/>
                <a:chExt cx="31499" cy="26906"/>
              </a:xfrm>
            </p:grpSpPr>
            <p:sp>
              <p:nvSpPr>
                <p:cNvPr id="7510" name="Google Shape;7510;p70"/>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0"/>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2" name="Google Shape;7512;p70"/>
              <p:cNvGrpSpPr/>
              <p:nvPr/>
            </p:nvGrpSpPr>
            <p:grpSpPr>
              <a:xfrm>
                <a:off x="3965789" y="3393545"/>
                <a:ext cx="31405" cy="26945"/>
                <a:chOff x="3965789" y="3393545"/>
                <a:chExt cx="31405" cy="26945"/>
              </a:xfrm>
            </p:grpSpPr>
            <p:sp>
              <p:nvSpPr>
                <p:cNvPr id="7513" name="Google Shape;7513;p70"/>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0"/>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5" name="Google Shape;7515;p70"/>
              <p:cNvGrpSpPr/>
              <p:nvPr/>
            </p:nvGrpSpPr>
            <p:grpSpPr>
              <a:xfrm>
                <a:off x="3925166" y="3491008"/>
                <a:ext cx="31405" cy="27001"/>
                <a:chOff x="3925166" y="3491008"/>
                <a:chExt cx="31405" cy="27001"/>
              </a:xfrm>
            </p:grpSpPr>
            <p:sp>
              <p:nvSpPr>
                <p:cNvPr id="7516" name="Google Shape;7516;p70"/>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70"/>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8" name="Google Shape;7518;p70"/>
              <p:cNvGrpSpPr/>
              <p:nvPr/>
            </p:nvGrpSpPr>
            <p:grpSpPr>
              <a:xfrm>
                <a:off x="3682845" y="3340976"/>
                <a:ext cx="31397" cy="26898"/>
                <a:chOff x="3682845" y="3340976"/>
                <a:chExt cx="31397" cy="26898"/>
              </a:xfrm>
            </p:grpSpPr>
            <p:sp>
              <p:nvSpPr>
                <p:cNvPr id="7519" name="Google Shape;7519;p70"/>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0"/>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1" name="Google Shape;7521;p70"/>
              <p:cNvGrpSpPr/>
              <p:nvPr/>
            </p:nvGrpSpPr>
            <p:grpSpPr>
              <a:xfrm>
                <a:off x="3795393" y="3353725"/>
                <a:ext cx="31499" cy="26993"/>
                <a:chOff x="3795393" y="3353725"/>
                <a:chExt cx="31499" cy="26993"/>
              </a:xfrm>
            </p:grpSpPr>
            <p:sp>
              <p:nvSpPr>
                <p:cNvPr id="7522" name="Google Shape;7522;p70"/>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0"/>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4" name="Google Shape;7524;p70"/>
              <p:cNvGrpSpPr/>
              <p:nvPr/>
            </p:nvGrpSpPr>
            <p:grpSpPr>
              <a:xfrm>
                <a:off x="4176909" y="4363221"/>
                <a:ext cx="38924" cy="33316"/>
                <a:chOff x="4176909" y="4363221"/>
                <a:chExt cx="38924" cy="33316"/>
              </a:xfrm>
            </p:grpSpPr>
            <p:sp>
              <p:nvSpPr>
                <p:cNvPr id="7525" name="Google Shape;7525;p70"/>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0"/>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7" name="Google Shape;7527;p70"/>
              <p:cNvGrpSpPr/>
              <p:nvPr/>
            </p:nvGrpSpPr>
            <p:grpSpPr>
              <a:xfrm>
                <a:off x="4226191" y="4007660"/>
                <a:ext cx="33560" cy="28770"/>
                <a:chOff x="4226191" y="4007660"/>
                <a:chExt cx="33560" cy="28770"/>
              </a:xfrm>
            </p:grpSpPr>
            <p:sp>
              <p:nvSpPr>
                <p:cNvPr id="7528" name="Google Shape;7528;p70"/>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70"/>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30" name="Google Shape;7530;p70"/>
              <p:cNvGrpSpPr/>
              <p:nvPr/>
            </p:nvGrpSpPr>
            <p:grpSpPr>
              <a:xfrm>
                <a:off x="3597785" y="3377045"/>
                <a:ext cx="33591" cy="28699"/>
                <a:chOff x="3597785" y="3377045"/>
                <a:chExt cx="33591" cy="28699"/>
              </a:xfrm>
            </p:grpSpPr>
            <p:sp>
              <p:nvSpPr>
                <p:cNvPr id="7531" name="Google Shape;7531;p70"/>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0"/>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33" name="Google Shape;7533;p70"/>
              <p:cNvGrpSpPr/>
              <p:nvPr/>
            </p:nvGrpSpPr>
            <p:grpSpPr>
              <a:xfrm>
                <a:off x="3887870" y="3669796"/>
                <a:ext cx="33591" cy="28692"/>
                <a:chOff x="3887870" y="3669796"/>
                <a:chExt cx="33591" cy="28692"/>
              </a:xfrm>
            </p:grpSpPr>
            <p:sp>
              <p:nvSpPr>
                <p:cNvPr id="7534" name="Google Shape;7534;p70"/>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0"/>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36" name="Google Shape;7536;p70"/>
              <p:cNvGrpSpPr/>
              <p:nvPr/>
            </p:nvGrpSpPr>
            <p:grpSpPr>
              <a:xfrm>
                <a:off x="3818320" y="3481625"/>
                <a:ext cx="33497" cy="28770"/>
                <a:chOff x="3818320" y="3481625"/>
                <a:chExt cx="33497" cy="28770"/>
              </a:xfrm>
            </p:grpSpPr>
            <p:sp>
              <p:nvSpPr>
                <p:cNvPr id="7537" name="Google Shape;7537;p70"/>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0"/>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39" name="Google Shape;7539;p70"/>
              <p:cNvGrpSpPr/>
              <p:nvPr/>
            </p:nvGrpSpPr>
            <p:grpSpPr>
              <a:xfrm>
                <a:off x="4278139" y="4120948"/>
                <a:ext cx="37492" cy="32129"/>
                <a:chOff x="4278139" y="4120948"/>
                <a:chExt cx="37492" cy="32129"/>
              </a:xfrm>
            </p:grpSpPr>
            <p:sp>
              <p:nvSpPr>
                <p:cNvPr id="7540" name="Google Shape;7540;p70"/>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70"/>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2" name="Google Shape;7542;p70"/>
              <p:cNvGrpSpPr/>
              <p:nvPr/>
            </p:nvGrpSpPr>
            <p:grpSpPr>
              <a:xfrm>
                <a:off x="4419898" y="3977388"/>
                <a:ext cx="33497" cy="28692"/>
                <a:chOff x="4419898" y="3977388"/>
                <a:chExt cx="33497" cy="28692"/>
              </a:xfrm>
            </p:grpSpPr>
            <p:sp>
              <p:nvSpPr>
                <p:cNvPr id="7543" name="Google Shape;7543;p70"/>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0"/>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5" name="Google Shape;7545;p70"/>
              <p:cNvGrpSpPr/>
              <p:nvPr/>
            </p:nvGrpSpPr>
            <p:grpSpPr>
              <a:xfrm>
                <a:off x="4158930" y="4034684"/>
                <a:ext cx="33497" cy="28762"/>
                <a:chOff x="4158930" y="4034684"/>
                <a:chExt cx="33497" cy="28762"/>
              </a:xfrm>
            </p:grpSpPr>
            <p:sp>
              <p:nvSpPr>
                <p:cNvPr id="7546" name="Google Shape;7546;p70"/>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0"/>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8" name="Google Shape;7548;p70"/>
              <p:cNvGrpSpPr/>
              <p:nvPr/>
            </p:nvGrpSpPr>
            <p:grpSpPr>
              <a:xfrm>
                <a:off x="4134949" y="3957049"/>
                <a:ext cx="33497" cy="28770"/>
                <a:chOff x="4134949" y="3957049"/>
                <a:chExt cx="33497" cy="28770"/>
              </a:xfrm>
            </p:grpSpPr>
            <p:sp>
              <p:nvSpPr>
                <p:cNvPr id="7549" name="Google Shape;7549;p70"/>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0"/>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1" name="Google Shape;7551;p70"/>
              <p:cNvGrpSpPr/>
              <p:nvPr/>
            </p:nvGrpSpPr>
            <p:grpSpPr>
              <a:xfrm>
                <a:off x="4193653" y="4184403"/>
                <a:ext cx="43580" cy="37264"/>
                <a:chOff x="4193653" y="4184403"/>
                <a:chExt cx="43580" cy="37264"/>
              </a:xfrm>
            </p:grpSpPr>
            <p:sp>
              <p:nvSpPr>
                <p:cNvPr id="7552" name="Google Shape;7552;p70"/>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70"/>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4" name="Google Shape;7554;p70"/>
              <p:cNvGrpSpPr/>
              <p:nvPr/>
            </p:nvGrpSpPr>
            <p:grpSpPr>
              <a:xfrm>
                <a:off x="4343600" y="3943844"/>
                <a:ext cx="43580" cy="37312"/>
                <a:chOff x="4343600" y="3943844"/>
                <a:chExt cx="43580" cy="37312"/>
              </a:xfrm>
            </p:grpSpPr>
            <p:sp>
              <p:nvSpPr>
                <p:cNvPr id="7555" name="Google Shape;7555;p70"/>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0"/>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7" name="Google Shape;7557;p70"/>
              <p:cNvGrpSpPr/>
              <p:nvPr/>
            </p:nvGrpSpPr>
            <p:grpSpPr>
              <a:xfrm>
                <a:off x="4172339" y="3381693"/>
                <a:ext cx="31499" cy="27001"/>
                <a:chOff x="4172339" y="3381693"/>
                <a:chExt cx="31499" cy="27001"/>
              </a:xfrm>
            </p:grpSpPr>
            <p:sp>
              <p:nvSpPr>
                <p:cNvPr id="7558" name="Google Shape;7558;p70"/>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70"/>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7563"/>
        <p:cNvGrpSpPr/>
        <p:nvPr/>
      </p:nvGrpSpPr>
      <p:grpSpPr>
        <a:xfrm>
          <a:off x="0" y="0"/>
          <a:ext cx="0" cy="0"/>
          <a:chOff x="0" y="0"/>
          <a:chExt cx="0" cy="0"/>
        </a:xfrm>
      </p:grpSpPr>
      <p:grpSp>
        <p:nvGrpSpPr>
          <p:cNvPr id="7564" name="Google Shape;7564;p71"/>
          <p:cNvGrpSpPr/>
          <p:nvPr/>
        </p:nvGrpSpPr>
        <p:grpSpPr>
          <a:xfrm>
            <a:off x="2126623" y="3607908"/>
            <a:ext cx="1102891" cy="760337"/>
            <a:chOff x="4967783" y="2151471"/>
            <a:chExt cx="3920692" cy="2702940"/>
          </a:xfrm>
        </p:grpSpPr>
        <p:grpSp>
          <p:nvGrpSpPr>
            <p:cNvPr id="7565" name="Google Shape;7565;p71"/>
            <p:cNvGrpSpPr/>
            <p:nvPr/>
          </p:nvGrpSpPr>
          <p:grpSpPr>
            <a:xfrm>
              <a:off x="5045709" y="2252109"/>
              <a:ext cx="3761071" cy="2501708"/>
              <a:chOff x="2691784" y="1805334"/>
              <a:chExt cx="3761071" cy="2501708"/>
            </a:xfrm>
          </p:grpSpPr>
          <p:sp>
            <p:nvSpPr>
              <p:cNvPr id="7566" name="Google Shape;7566;p71"/>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1"/>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71"/>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71"/>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1"/>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1"/>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1"/>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3" name="Google Shape;7573;p71"/>
            <p:cNvGrpSpPr/>
            <p:nvPr/>
          </p:nvGrpSpPr>
          <p:grpSpPr>
            <a:xfrm>
              <a:off x="4967783" y="2151471"/>
              <a:ext cx="3920692" cy="2702940"/>
              <a:chOff x="2613858" y="1704696"/>
              <a:chExt cx="3920692" cy="2702940"/>
            </a:xfrm>
          </p:grpSpPr>
          <p:sp>
            <p:nvSpPr>
              <p:cNvPr id="7574" name="Google Shape;7574;p71"/>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71"/>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71"/>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1"/>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1"/>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9" name="Google Shape;7579;p71"/>
          <p:cNvGrpSpPr/>
          <p:nvPr/>
        </p:nvGrpSpPr>
        <p:grpSpPr>
          <a:xfrm>
            <a:off x="3530532" y="1496185"/>
            <a:ext cx="1561911" cy="708580"/>
            <a:chOff x="3530532" y="1496185"/>
            <a:chExt cx="1561911" cy="708580"/>
          </a:xfrm>
        </p:grpSpPr>
        <p:grpSp>
          <p:nvGrpSpPr>
            <p:cNvPr id="7580" name="Google Shape;7580;p71"/>
            <p:cNvGrpSpPr/>
            <p:nvPr/>
          </p:nvGrpSpPr>
          <p:grpSpPr>
            <a:xfrm>
              <a:off x="3720318" y="1857562"/>
              <a:ext cx="1372125" cy="54"/>
              <a:chOff x="3720318" y="1857562"/>
              <a:chExt cx="1372125" cy="54"/>
            </a:xfrm>
          </p:grpSpPr>
          <p:cxnSp>
            <p:nvCxnSpPr>
              <p:cNvPr id="7581" name="Google Shape;7581;p71"/>
              <p:cNvCxnSpPr>
                <a:endCxn id="7582"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583" name="Google Shape;7583;p71"/>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584" name="Google Shape;7584;p71"/>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585" name="Google Shape;7585;p71"/>
              <p:cNvCxnSpPr>
                <a:stCxn id="7582"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7586" name="Google Shape;7586;p71"/>
            <p:cNvGrpSpPr/>
            <p:nvPr/>
          </p:nvGrpSpPr>
          <p:grpSpPr>
            <a:xfrm>
              <a:off x="3567462" y="1496185"/>
              <a:ext cx="286587" cy="272914"/>
              <a:chOff x="3567462" y="1496185"/>
              <a:chExt cx="286587" cy="272914"/>
            </a:xfrm>
          </p:grpSpPr>
          <p:cxnSp>
            <p:nvCxnSpPr>
              <p:cNvPr id="7587" name="Google Shape;7587;p71"/>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7588" name="Google Shape;7588;p71"/>
              <p:cNvSpPr/>
              <p:nvPr/>
            </p:nvSpPr>
            <p:spPr>
              <a:xfrm>
                <a:off x="3567462" y="1496185"/>
                <a:ext cx="286587" cy="99936"/>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89" name="Google Shape;7589;p71"/>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1"/>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91" name="Google Shape;7591;p71"/>
            <p:cNvGrpSpPr/>
            <p:nvPr/>
          </p:nvGrpSpPr>
          <p:grpSpPr>
            <a:xfrm>
              <a:off x="3929014" y="1960574"/>
              <a:ext cx="286587" cy="242378"/>
              <a:chOff x="3929014" y="1960574"/>
              <a:chExt cx="286587" cy="242378"/>
            </a:xfrm>
          </p:grpSpPr>
          <p:cxnSp>
            <p:nvCxnSpPr>
              <p:cNvPr id="7592" name="Google Shape;7592;p71"/>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7593" name="Google Shape;7593;p71"/>
              <p:cNvSpPr/>
              <p:nvPr/>
            </p:nvSpPr>
            <p:spPr>
              <a:xfrm>
                <a:off x="3929014" y="2103016"/>
                <a:ext cx="286587" cy="99936"/>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94" name="Google Shape;7594;p71"/>
            <p:cNvGrpSpPr/>
            <p:nvPr/>
          </p:nvGrpSpPr>
          <p:grpSpPr>
            <a:xfrm>
              <a:off x="4290828" y="1496185"/>
              <a:ext cx="286587" cy="272914"/>
              <a:chOff x="4290828" y="1496185"/>
              <a:chExt cx="286587" cy="272914"/>
            </a:xfrm>
          </p:grpSpPr>
          <p:cxnSp>
            <p:nvCxnSpPr>
              <p:cNvPr id="7595" name="Google Shape;7595;p71"/>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7596" name="Google Shape;7596;p71"/>
              <p:cNvSpPr/>
              <p:nvPr/>
            </p:nvSpPr>
            <p:spPr>
              <a:xfrm>
                <a:off x="4290828" y="1496185"/>
                <a:ext cx="286587" cy="99936"/>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97" name="Google Shape;7597;p71"/>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1"/>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98" name="Google Shape;7598;p71"/>
            <p:cNvGrpSpPr/>
            <p:nvPr/>
          </p:nvGrpSpPr>
          <p:grpSpPr>
            <a:xfrm>
              <a:off x="4657726" y="1959674"/>
              <a:ext cx="286500" cy="245092"/>
              <a:chOff x="4657726" y="1959674"/>
              <a:chExt cx="286500" cy="245092"/>
            </a:xfrm>
          </p:grpSpPr>
          <p:cxnSp>
            <p:nvCxnSpPr>
              <p:cNvPr id="7599" name="Google Shape;7599;p71"/>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7600" name="Google Shape;7600;p71"/>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01" name="Google Shape;7601;p71"/>
          <p:cNvGrpSpPr/>
          <p:nvPr/>
        </p:nvGrpSpPr>
        <p:grpSpPr>
          <a:xfrm>
            <a:off x="3512551" y="2358282"/>
            <a:ext cx="1597045" cy="378522"/>
            <a:chOff x="3512551" y="2358282"/>
            <a:chExt cx="1597045" cy="378522"/>
          </a:xfrm>
        </p:grpSpPr>
        <p:grpSp>
          <p:nvGrpSpPr>
            <p:cNvPr id="7602" name="Google Shape;7602;p71"/>
            <p:cNvGrpSpPr/>
            <p:nvPr/>
          </p:nvGrpSpPr>
          <p:grpSpPr>
            <a:xfrm>
              <a:off x="3738198" y="2553002"/>
              <a:ext cx="1145834" cy="117"/>
              <a:chOff x="3738198" y="2553002"/>
              <a:chExt cx="1145834" cy="117"/>
            </a:xfrm>
          </p:grpSpPr>
          <p:cxnSp>
            <p:nvCxnSpPr>
              <p:cNvPr id="7603" name="Google Shape;7603;p71"/>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7604" name="Google Shape;7604;p71"/>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7605" name="Google Shape;7605;p71"/>
              <p:cNvCxnSpPr>
                <a:stCxn id="7606" idx="6"/>
                <a:endCxn id="7607"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7608" name="Google Shape;7608;p71"/>
            <p:cNvGrpSpPr/>
            <p:nvPr/>
          </p:nvGrpSpPr>
          <p:grpSpPr>
            <a:xfrm>
              <a:off x="3969644" y="2440153"/>
              <a:ext cx="225853" cy="296651"/>
              <a:chOff x="3969644" y="2440153"/>
              <a:chExt cx="225853" cy="296651"/>
            </a:xfrm>
          </p:grpSpPr>
          <p:cxnSp>
            <p:nvCxnSpPr>
              <p:cNvPr id="7609" name="Google Shape;7609;p71"/>
              <p:cNvCxnSpPr/>
              <p:nvPr/>
            </p:nvCxnSpPr>
            <p:spPr>
              <a:xfrm>
                <a:off x="4082390" y="2637031"/>
                <a:ext cx="0" cy="99772"/>
              </a:xfrm>
              <a:prstGeom prst="straightConnector1">
                <a:avLst/>
              </a:prstGeom>
              <a:noFill/>
              <a:ln w="9525" cap="flat" cmpd="sng">
                <a:solidFill>
                  <a:srgbClr val="435D74"/>
                </a:solidFill>
                <a:prstDash val="solid"/>
                <a:round/>
                <a:headEnd type="none" w="med" len="med"/>
                <a:tailEnd type="none" w="med" len="med"/>
              </a:ln>
            </p:spPr>
          </p:cxnSp>
          <p:sp>
            <p:nvSpPr>
              <p:cNvPr id="7607" name="Google Shape;7607;p71"/>
              <p:cNvSpPr/>
              <p:nvPr/>
            </p:nvSpPr>
            <p:spPr>
              <a:xfrm>
                <a:off x="3969644" y="2440153"/>
                <a:ext cx="225853" cy="225853"/>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1"/>
              <p:cNvSpPr/>
              <p:nvPr/>
            </p:nvSpPr>
            <p:spPr>
              <a:xfrm>
                <a:off x="3998471" y="2468982"/>
                <a:ext cx="168273" cy="168273"/>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1" name="Google Shape;7611;p71"/>
            <p:cNvGrpSpPr/>
            <p:nvPr/>
          </p:nvGrpSpPr>
          <p:grpSpPr>
            <a:xfrm>
              <a:off x="4426818" y="2358282"/>
              <a:ext cx="225613" cy="307569"/>
              <a:chOff x="4426818" y="2358282"/>
              <a:chExt cx="225613" cy="307569"/>
            </a:xfrm>
          </p:grpSpPr>
          <p:cxnSp>
            <p:nvCxnSpPr>
              <p:cNvPr id="7612" name="Google Shape;7612;p71"/>
              <p:cNvCxnSpPr>
                <a:stCxn id="7613" idx="0"/>
              </p:cNvCxnSpPr>
              <p:nvPr/>
            </p:nvCxnSpPr>
            <p:spPr>
              <a:xfrm rot="10800000">
                <a:off x="4539662"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7614" name="Google Shape;7614;p71"/>
              <p:cNvSpPr/>
              <p:nvPr/>
            </p:nvSpPr>
            <p:spPr>
              <a:xfrm>
                <a:off x="4426818" y="2440153"/>
                <a:ext cx="225613" cy="225698"/>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1"/>
              <p:cNvSpPr/>
              <p:nvPr/>
            </p:nvSpPr>
            <p:spPr>
              <a:xfrm>
                <a:off x="4455644" y="2468982"/>
                <a:ext cx="168035" cy="168035"/>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5" name="Google Shape;7615;p71"/>
            <p:cNvGrpSpPr/>
            <p:nvPr/>
          </p:nvGrpSpPr>
          <p:grpSpPr>
            <a:xfrm>
              <a:off x="4883984" y="2440153"/>
              <a:ext cx="225613" cy="296486"/>
              <a:chOff x="4883984" y="2440153"/>
              <a:chExt cx="225613" cy="296486"/>
            </a:xfrm>
          </p:grpSpPr>
          <p:cxnSp>
            <p:nvCxnSpPr>
              <p:cNvPr id="7616" name="Google Shape;7616;p71"/>
              <p:cNvCxnSpPr/>
              <p:nvPr/>
            </p:nvCxnSpPr>
            <p:spPr>
              <a:xfrm>
                <a:off x="4996858" y="2637031"/>
                <a:ext cx="0" cy="99608"/>
              </a:xfrm>
              <a:prstGeom prst="straightConnector1">
                <a:avLst/>
              </a:prstGeom>
              <a:noFill/>
              <a:ln w="9525" cap="flat" cmpd="sng">
                <a:solidFill>
                  <a:srgbClr val="435D74"/>
                </a:solidFill>
                <a:prstDash val="solid"/>
                <a:round/>
                <a:headEnd type="none" w="med" len="med"/>
                <a:tailEnd type="none" w="med" len="med"/>
              </a:ln>
            </p:spPr>
          </p:cxnSp>
          <p:sp>
            <p:nvSpPr>
              <p:cNvPr id="7617" name="Google Shape;7617;p71"/>
              <p:cNvSpPr/>
              <p:nvPr/>
            </p:nvSpPr>
            <p:spPr>
              <a:xfrm>
                <a:off x="4883984" y="2440153"/>
                <a:ext cx="225613" cy="225698"/>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1"/>
              <p:cNvSpPr/>
              <p:nvPr/>
            </p:nvSpPr>
            <p:spPr>
              <a:xfrm>
                <a:off x="4912810" y="2468982"/>
                <a:ext cx="168035" cy="168035"/>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9" name="Google Shape;7619;p71"/>
            <p:cNvGrpSpPr/>
            <p:nvPr/>
          </p:nvGrpSpPr>
          <p:grpSpPr>
            <a:xfrm>
              <a:off x="3512551" y="2358356"/>
              <a:ext cx="225647" cy="307629"/>
              <a:chOff x="2182679" y="2005014"/>
              <a:chExt cx="792300" cy="1080158"/>
            </a:xfrm>
          </p:grpSpPr>
          <p:cxnSp>
            <p:nvCxnSpPr>
              <p:cNvPr id="7620" name="Google Shape;7620;p71"/>
              <p:cNvCxnSpPr>
                <a:stCxn id="7621"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7606" name="Google Shape;7606;p71"/>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71"/>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22" name="Google Shape;7622;p71"/>
          <p:cNvGrpSpPr/>
          <p:nvPr/>
        </p:nvGrpSpPr>
        <p:grpSpPr>
          <a:xfrm>
            <a:off x="6872633" y="1182079"/>
            <a:ext cx="1559809" cy="722610"/>
            <a:chOff x="634175" y="2986275"/>
            <a:chExt cx="3147949" cy="1458344"/>
          </a:xfrm>
        </p:grpSpPr>
        <p:cxnSp>
          <p:nvCxnSpPr>
            <p:cNvPr id="7623" name="Google Shape;7623;p71"/>
            <p:cNvCxnSpPr>
              <a:stCxn id="7624" idx="4"/>
              <a:endCxn id="7625"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7626" name="Google Shape;7626;p71"/>
            <p:cNvCxnSpPr>
              <a:stCxn id="7625" idx="0"/>
              <a:endCxn id="7627"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7628" name="Google Shape;7628;p71"/>
            <p:cNvCxnSpPr>
              <a:stCxn id="7627" idx="4"/>
              <a:endCxn id="7629"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7630" name="Google Shape;7630;p71"/>
            <p:cNvCxnSpPr>
              <a:stCxn id="7629" idx="0"/>
              <a:endCxn id="7631"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7631" name="Google Shape;7631;p71"/>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7627" name="Google Shape;7627;p71"/>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7624" name="Google Shape;7624;p71"/>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7629" name="Google Shape;7629;p71"/>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7625" name="Google Shape;7625;p71"/>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7632" name="Google Shape;7632;p71"/>
          <p:cNvGrpSpPr/>
          <p:nvPr/>
        </p:nvGrpSpPr>
        <p:grpSpPr>
          <a:xfrm>
            <a:off x="3526424" y="2891987"/>
            <a:ext cx="1570719" cy="294123"/>
            <a:chOff x="998425" y="1182125"/>
            <a:chExt cx="1065400" cy="199500"/>
          </a:xfrm>
        </p:grpSpPr>
        <p:sp>
          <p:nvSpPr>
            <p:cNvPr id="7633" name="Google Shape;7633;p71"/>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71"/>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1"/>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1"/>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1"/>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8" name="Google Shape;7638;p71"/>
          <p:cNvGrpSpPr/>
          <p:nvPr/>
        </p:nvGrpSpPr>
        <p:grpSpPr>
          <a:xfrm>
            <a:off x="6869680" y="2009474"/>
            <a:ext cx="1565716" cy="366729"/>
            <a:chOff x="1247650" y="2075423"/>
            <a:chExt cx="6648477" cy="1557238"/>
          </a:xfrm>
        </p:grpSpPr>
        <p:sp>
          <p:nvSpPr>
            <p:cNvPr id="7639" name="Google Shape;7639;p71"/>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0" name="Google Shape;7640;p71"/>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1"/>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1"/>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1"/>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1"/>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5" name="Google Shape;7645;p71"/>
          <p:cNvGrpSpPr/>
          <p:nvPr/>
        </p:nvGrpSpPr>
        <p:grpSpPr>
          <a:xfrm>
            <a:off x="6853992" y="3158178"/>
            <a:ext cx="1597092" cy="663663"/>
            <a:chOff x="6796238" y="3158184"/>
            <a:chExt cx="1630351" cy="677483"/>
          </a:xfrm>
        </p:grpSpPr>
        <p:cxnSp>
          <p:nvCxnSpPr>
            <p:cNvPr id="7646" name="Google Shape;7646;p71"/>
            <p:cNvCxnSpPr/>
            <p:nvPr/>
          </p:nvCxnSpPr>
          <p:spPr>
            <a:xfrm>
              <a:off x="7012244" y="3664854"/>
              <a:ext cx="0" cy="170813"/>
            </a:xfrm>
            <a:prstGeom prst="straightConnector1">
              <a:avLst/>
            </a:prstGeom>
            <a:noFill/>
            <a:ln w="9525" cap="flat" cmpd="sng">
              <a:solidFill>
                <a:srgbClr val="A5B7C6"/>
              </a:solidFill>
              <a:prstDash val="solid"/>
              <a:round/>
              <a:headEnd type="none" w="med" len="med"/>
              <a:tailEnd type="diamond" w="med" len="med"/>
            </a:ln>
          </p:spPr>
        </p:cxnSp>
        <p:cxnSp>
          <p:nvCxnSpPr>
            <p:cNvPr id="7647" name="Google Shape;7647;p71"/>
            <p:cNvCxnSpPr/>
            <p:nvPr/>
          </p:nvCxnSpPr>
          <p:spPr>
            <a:xfrm>
              <a:off x="7810957" y="3664854"/>
              <a:ext cx="0" cy="170813"/>
            </a:xfrm>
            <a:prstGeom prst="straightConnector1">
              <a:avLst/>
            </a:prstGeom>
            <a:noFill/>
            <a:ln w="9525" cap="flat" cmpd="sng">
              <a:solidFill>
                <a:srgbClr val="A5B7C6"/>
              </a:solidFill>
              <a:prstDash val="solid"/>
              <a:round/>
              <a:headEnd type="none" w="med" len="med"/>
              <a:tailEnd type="diamond" w="med" len="med"/>
            </a:ln>
          </p:spPr>
        </p:cxnSp>
        <p:cxnSp>
          <p:nvCxnSpPr>
            <p:cNvPr id="7648" name="Google Shape;7648;p71"/>
            <p:cNvCxnSpPr/>
            <p:nvPr/>
          </p:nvCxnSpPr>
          <p:spPr>
            <a:xfrm rot="10800000">
              <a:off x="8196652" y="3170679"/>
              <a:ext cx="0" cy="169947"/>
            </a:xfrm>
            <a:prstGeom prst="straightConnector1">
              <a:avLst/>
            </a:prstGeom>
            <a:noFill/>
            <a:ln w="9525" cap="flat" cmpd="sng">
              <a:solidFill>
                <a:srgbClr val="A5B7C6"/>
              </a:solidFill>
              <a:prstDash val="solid"/>
              <a:round/>
              <a:headEnd type="none" w="med" len="med"/>
              <a:tailEnd type="diamond" w="med" len="med"/>
            </a:ln>
          </p:spPr>
        </p:cxnSp>
        <p:cxnSp>
          <p:nvCxnSpPr>
            <p:cNvPr id="7649" name="Google Shape;7649;p71"/>
            <p:cNvCxnSpPr/>
            <p:nvPr/>
          </p:nvCxnSpPr>
          <p:spPr>
            <a:xfrm rot="10800000">
              <a:off x="7411601" y="3158184"/>
              <a:ext cx="0" cy="170813"/>
            </a:xfrm>
            <a:prstGeom prst="straightConnector1">
              <a:avLst/>
            </a:prstGeom>
            <a:noFill/>
            <a:ln w="9525" cap="flat" cmpd="sng">
              <a:solidFill>
                <a:srgbClr val="A5B7C6"/>
              </a:solidFill>
              <a:prstDash val="solid"/>
              <a:round/>
              <a:headEnd type="none" w="med" len="med"/>
              <a:tailEnd type="diamond" w="med" len="med"/>
            </a:ln>
          </p:spPr>
        </p:cxnSp>
        <p:grpSp>
          <p:nvGrpSpPr>
            <p:cNvPr id="7650" name="Google Shape;7650;p71"/>
            <p:cNvGrpSpPr/>
            <p:nvPr/>
          </p:nvGrpSpPr>
          <p:grpSpPr>
            <a:xfrm>
              <a:off x="6796238" y="3311904"/>
              <a:ext cx="1630351" cy="377711"/>
              <a:chOff x="6796238" y="3311904"/>
              <a:chExt cx="1630351" cy="377711"/>
            </a:xfrm>
          </p:grpSpPr>
          <p:sp>
            <p:nvSpPr>
              <p:cNvPr id="7651" name="Google Shape;7651;p71"/>
              <p:cNvSpPr/>
              <p:nvPr/>
            </p:nvSpPr>
            <p:spPr>
              <a:xfrm>
                <a:off x="6796238" y="3311904"/>
                <a:ext cx="798057" cy="377711"/>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1"/>
              <p:cNvSpPr/>
              <p:nvPr/>
            </p:nvSpPr>
            <p:spPr>
              <a:xfrm>
                <a:off x="7628207" y="3311904"/>
                <a:ext cx="798382" cy="377711"/>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1"/>
              <p:cNvSpPr/>
              <p:nvPr/>
            </p:nvSpPr>
            <p:spPr>
              <a:xfrm>
                <a:off x="7229098" y="3311904"/>
                <a:ext cx="762854" cy="377711"/>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54" name="Google Shape;7654;p71"/>
          <p:cNvGrpSpPr/>
          <p:nvPr/>
        </p:nvGrpSpPr>
        <p:grpSpPr>
          <a:xfrm>
            <a:off x="5375130" y="1179681"/>
            <a:ext cx="1368606" cy="1593805"/>
            <a:chOff x="1839112" y="2209163"/>
            <a:chExt cx="1918159" cy="2233784"/>
          </a:xfrm>
        </p:grpSpPr>
        <p:sp>
          <p:nvSpPr>
            <p:cNvPr id="7655" name="Google Shape;7655;p71"/>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1"/>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7" name="Google Shape;7657;p71"/>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658" name="Google Shape;7658;p71"/>
            <p:cNvCxnSpPr>
              <a:stCxn id="7655" idx="6"/>
              <a:endCxn id="7656"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7659" name="Google Shape;7659;p71"/>
            <p:cNvCxnSpPr>
              <a:stCxn id="7656" idx="4"/>
              <a:endCxn id="7660"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7661" name="Google Shape;7661;p71"/>
            <p:cNvCxnSpPr>
              <a:stCxn id="7660" idx="6"/>
              <a:endCxn id="7657"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7662" name="Google Shape;7662;p71"/>
            <p:cNvCxnSpPr>
              <a:stCxn id="7657" idx="4"/>
              <a:endCxn id="7663"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7660" name="Google Shape;7660;p71"/>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1"/>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1"/>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665" name="Google Shape;7665;p71"/>
            <p:cNvCxnSpPr>
              <a:endCxn id="7664"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7666" name="Google Shape;7666;p71"/>
          <p:cNvGrpSpPr/>
          <p:nvPr/>
        </p:nvGrpSpPr>
        <p:grpSpPr>
          <a:xfrm>
            <a:off x="3507503" y="1185917"/>
            <a:ext cx="1637968" cy="154942"/>
            <a:chOff x="238125" y="2506075"/>
            <a:chExt cx="7115411" cy="673075"/>
          </a:xfrm>
        </p:grpSpPr>
        <p:sp>
          <p:nvSpPr>
            <p:cNvPr id="7667" name="Google Shape;7667;p71"/>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1"/>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1"/>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0" name="Google Shape;7670;p71"/>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1" name="Google Shape;7671;p71"/>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2" name="Google Shape;7672;p71"/>
          <p:cNvGrpSpPr/>
          <p:nvPr/>
        </p:nvGrpSpPr>
        <p:grpSpPr>
          <a:xfrm>
            <a:off x="746187" y="1507514"/>
            <a:ext cx="2476762" cy="91743"/>
            <a:chOff x="1464850" y="436376"/>
            <a:chExt cx="6001362" cy="222300"/>
          </a:xfrm>
        </p:grpSpPr>
        <p:sp>
          <p:nvSpPr>
            <p:cNvPr id="7673" name="Google Shape;7673;p71"/>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1"/>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1"/>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1"/>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1"/>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678" name="Google Shape;7678;p71"/>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7679" name="Google Shape;7679;p71"/>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7680" name="Google Shape;7680;p71"/>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7681" name="Google Shape;7681;p71"/>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7682" name="Google Shape;7682;p71"/>
          <p:cNvGrpSpPr/>
          <p:nvPr/>
        </p:nvGrpSpPr>
        <p:grpSpPr>
          <a:xfrm>
            <a:off x="732455" y="2742980"/>
            <a:ext cx="1452862" cy="651872"/>
            <a:chOff x="803162" y="2667727"/>
            <a:chExt cx="1412054" cy="633562"/>
          </a:xfrm>
        </p:grpSpPr>
        <p:cxnSp>
          <p:nvCxnSpPr>
            <p:cNvPr id="7683" name="Google Shape;7683;p71"/>
            <p:cNvCxnSpPr>
              <a:stCxn id="7684" idx="2"/>
              <a:endCxn id="7685" idx="0"/>
            </p:cNvCxnSpPr>
            <p:nvPr/>
          </p:nvCxnSpPr>
          <p:spPr>
            <a:xfrm rot="-5400000" flipH="1">
              <a:off x="1629188" y="267277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7686" name="Google Shape;7686;p71"/>
            <p:cNvCxnSpPr>
              <a:stCxn id="7687" idx="0"/>
              <a:endCxn id="7684" idx="2"/>
            </p:cNvCxnSpPr>
            <p:nvPr/>
          </p:nvCxnSpPr>
          <p:spPr>
            <a:xfrm rot="-5400000">
              <a:off x="1259904"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7688" name="Google Shape;7688;p71"/>
            <p:cNvCxnSpPr>
              <a:stCxn id="7687" idx="2"/>
              <a:endCxn id="7689" idx="0"/>
            </p:cNvCxnSpPr>
            <p:nvPr/>
          </p:nvCxnSpPr>
          <p:spPr>
            <a:xfrm rot="-5400000" flipH="1">
              <a:off x="1163454" y="3023483"/>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7690" name="Google Shape;7690;p71"/>
            <p:cNvCxnSpPr>
              <a:stCxn id="7691" idx="0"/>
              <a:endCxn id="7687" idx="2"/>
            </p:cNvCxnSpPr>
            <p:nvPr/>
          </p:nvCxnSpPr>
          <p:spPr>
            <a:xfrm rot="-5400000">
              <a:off x="987135"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7692" name="Google Shape;7692;p71"/>
            <p:cNvCxnSpPr>
              <a:stCxn id="7685" idx="2"/>
              <a:endCxn id="7693" idx="0"/>
            </p:cNvCxnSpPr>
            <p:nvPr/>
          </p:nvCxnSpPr>
          <p:spPr>
            <a:xfrm rot="-5400000" flipH="1">
              <a:off x="1902022" y="3023483"/>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7694" name="Google Shape;7694;p71"/>
            <p:cNvCxnSpPr>
              <a:stCxn id="7695" idx="0"/>
              <a:endCxn id="7685" idx="2"/>
            </p:cNvCxnSpPr>
            <p:nvPr/>
          </p:nvCxnSpPr>
          <p:spPr>
            <a:xfrm rot="-5400000">
              <a:off x="1725705"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7691" name="Google Shape;7691;p71"/>
            <p:cNvSpPr/>
            <p:nvPr/>
          </p:nvSpPr>
          <p:spPr>
            <a:xfrm>
              <a:off x="803162" y="3176238"/>
              <a:ext cx="320848" cy="125051"/>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89" name="Google Shape;7689;p71"/>
            <p:cNvSpPr/>
            <p:nvPr/>
          </p:nvSpPr>
          <p:spPr>
            <a:xfrm>
              <a:off x="1155799" y="3176238"/>
              <a:ext cx="320848" cy="125051"/>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95" name="Google Shape;7695;p71"/>
            <p:cNvSpPr/>
            <p:nvPr/>
          </p:nvSpPr>
          <p:spPr>
            <a:xfrm>
              <a:off x="1541731" y="3176238"/>
              <a:ext cx="320848" cy="125051"/>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93" name="Google Shape;7693;p71"/>
            <p:cNvSpPr/>
            <p:nvPr/>
          </p:nvSpPr>
          <p:spPr>
            <a:xfrm>
              <a:off x="1894368" y="3176238"/>
              <a:ext cx="320848" cy="125051"/>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85" name="Google Shape;7685;p71"/>
            <p:cNvSpPr/>
            <p:nvPr/>
          </p:nvSpPr>
          <p:spPr>
            <a:xfrm>
              <a:off x="1718048" y="2921982"/>
              <a:ext cx="320848" cy="125051"/>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87" name="Google Shape;7687;p71"/>
            <p:cNvSpPr/>
            <p:nvPr/>
          </p:nvSpPr>
          <p:spPr>
            <a:xfrm>
              <a:off x="979480" y="2921982"/>
              <a:ext cx="320848" cy="125051"/>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7684" name="Google Shape;7684;p71"/>
            <p:cNvSpPr/>
            <p:nvPr/>
          </p:nvSpPr>
          <p:spPr>
            <a:xfrm>
              <a:off x="1348764" y="2667727"/>
              <a:ext cx="320848" cy="125051"/>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7696" name="Google Shape;7696;p71"/>
          <p:cNvGrpSpPr/>
          <p:nvPr/>
        </p:nvGrpSpPr>
        <p:grpSpPr>
          <a:xfrm>
            <a:off x="732447" y="1178518"/>
            <a:ext cx="2518423" cy="209218"/>
            <a:chOff x="803154" y="1111966"/>
            <a:chExt cx="2447684" cy="203341"/>
          </a:xfrm>
        </p:grpSpPr>
        <p:grpSp>
          <p:nvGrpSpPr>
            <p:cNvPr id="7697" name="Google Shape;7697;p71"/>
            <p:cNvGrpSpPr/>
            <p:nvPr/>
          </p:nvGrpSpPr>
          <p:grpSpPr>
            <a:xfrm>
              <a:off x="1958180" y="1111966"/>
              <a:ext cx="588019" cy="121396"/>
              <a:chOff x="4808316" y="2800065"/>
              <a:chExt cx="1999386" cy="412910"/>
            </a:xfrm>
          </p:grpSpPr>
          <p:sp>
            <p:nvSpPr>
              <p:cNvPr id="7698" name="Google Shape;7698;p71"/>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99" name="Google Shape;7699;p71"/>
              <p:cNvGrpSpPr/>
              <p:nvPr/>
            </p:nvGrpSpPr>
            <p:grpSpPr>
              <a:xfrm>
                <a:off x="4808316" y="2800065"/>
                <a:ext cx="92400" cy="411825"/>
                <a:chOff x="845575" y="2563700"/>
                <a:chExt cx="92400" cy="411825"/>
              </a:xfrm>
            </p:grpSpPr>
            <p:cxnSp>
              <p:nvCxnSpPr>
                <p:cNvPr id="7700" name="Google Shape;7700;p71"/>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7701" name="Google Shape;7701;p71"/>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7702" name="Google Shape;7702;p71"/>
            <p:cNvCxnSpPr/>
            <p:nvPr/>
          </p:nvCxnSpPr>
          <p:spPr>
            <a:xfrm>
              <a:off x="3237251" y="1127387"/>
              <a:ext cx="0" cy="105664"/>
            </a:xfrm>
            <a:prstGeom prst="straightConnector1">
              <a:avLst/>
            </a:prstGeom>
            <a:noFill/>
            <a:ln w="9525" cap="flat" cmpd="sng">
              <a:solidFill>
                <a:srgbClr val="667E92"/>
              </a:solidFill>
              <a:prstDash val="solid"/>
              <a:round/>
              <a:headEnd type="none" w="sm" len="sm"/>
              <a:tailEnd type="none" w="sm" len="sm"/>
            </a:ln>
          </p:spPr>
        </p:cxnSp>
        <p:sp>
          <p:nvSpPr>
            <p:cNvPr id="7703" name="Google Shape;7703;p71"/>
            <p:cNvSpPr/>
            <p:nvPr/>
          </p:nvSpPr>
          <p:spPr>
            <a:xfrm>
              <a:off x="3223663" y="1111974"/>
              <a:ext cx="27175" cy="27166"/>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04" name="Google Shape;7704;p71"/>
            <p:cNvGrpSpPr/>
            <p:nvPr/>
          </p:nvGrpSpPr>
          <p:grpSpPr>
            <a:xfrm>
              <a:off x="803154" y="1112063"/>
              <a:ext cx="591111" cy="121410"/>
              <a:chOff x="803154" y="1112063"/>
              <a:chExt cx="591111" cy="121410"/>
            </a:xfrm>
          </p:grpSpPr>
          <p:grpSp>
            <p:nvGrpSpPr>
              <p:cNvPr id="7705" name="Google Shape;7705;p71"/>
              <p:cNvGrpSpPr/>
              <p:nvPr/>
            </p:nvGrpSpPr>
            <p:grpSpPr>
              <a:xfrm>
                <a:off x="803154" y="1112063"/>
                <a:ext cx="27174" cy="121091"/>
                <a:chOff x="845575" y="2563700"/>
                <a:chExt cx="92400" cy="411825"/>
              </a:xfrm>
            </p:grpSpPr>
            <p:cxnSp>
              <p:nvCxnSpPr>
                <p:cNvPr id="7706" name="Google Shape;7706;p71"/>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7707" name="Google Shape;7707;p71"/>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08" name="Google Shape;7708;p71"/>
              <p:cNvSpPr/>
              <p:nvPr/>
            </p:nvSpPr>
            <p:spPr>
              <a:xfrm>
                <a:off x="818321" y="1194219"/>
                <a:ext cx="575943" cy="39254"/>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9" name="Google Shape;7709;p71"/>
            <p:cNvGrpSpPr/>
            <p:nvPr/>
          </p:nvGrpSpPr>
          <p:grpSpPr>
            <a:xfrm>
              <a:off x="1381934" y="1194217"/>
              <a:ext cx="588259" cy="121091"/>
              <a:chOff x="1381934" y="1194217"/>
              <a:chExt cx="588259" cy="121091"/>
            </a:xfrm>
          </p:grpSpPr>
          <p:grpSp>
            <p:nvGrpSpPr>
              <p:cNvPr id="7710" name="Google Shape;7710;p71"/>
              <p:cNvGrpSpPr/>
              <p:nvPr/>
            </p:nvGrpSpPr>
            <p:grpSpPr>
              <a:xfrm rot="10800000">
                <a:off x="1381934" y="1194217"/>
                <a:ext cx="27174" cy="121091"/>
                <a:chOff x="2070100" y="2563700"/>
                <a:chExt cx="92400" cy="411825"/>
              </a:xfrm>
            </p:grpSpPr>
            <p:cxnSp>
              <p:nvCxnSpPr>
                <p:cNvPr id="7711" name="Google Shape;7711;p71"/>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7712" name="Google Shape;7712;p71"/>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13" name="Google Shape;7713;p71"/>
              <p:cNvSpPr/>
              <p:nvPr/>
            </p:nvSpPr>
            <p:spPr>
              <a:xfrm>
                <a:off x="1394250" y="1194219"/>
                <a:ext cx="575943" cy="39254"/>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71"/>
            <p:cNvGrpSpPr/>
            <p:nvPr/>
          </p:nvGrpSpPr>
          <p:grpSpPr>
            <a:xfrm>
              <a:off x="2532104" y="1194217"/>
              <a:ext cx="704905" cy="121091"/>
              <a:chOff x="2532104" y="1194217"/>
              <a:chExt cx="704905" cy="121091"/>
            </a:xfrm>
          </p:grpSpPr>
          <p:grpSp>
            <p:nvGrpSpPr>
              <p:cNvPr id="7715" name="Google Shape;7715;p71"/>
              <p:cNvGrpSpPr/>
              <p:nvPr/>
            </p:nvGrpSpPr>
            <p:grpSpPr>
              <a:xfrm rot="10800000">
                <a:off x="2532104" y="1194217"/>
                <a:ext cx="27174" cy="121091"/>
                <a:chOff x="2070100" y="2563700"/>
                <a:chExt cx="92400" cy="411825"/>
              </a:xfrm>
            </p:grpSpPr>
            <p:cxnSp>
              <p:nvCxnSpPr>
                <p:cNvPr id="7716" name="Google Shape;7716;p71"/>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7717" name="Google Shape;7717;p71"/>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18" name="Google Shape;7718;p71"/>
              <p:cNvSpPr/>
              <p:nvPr/>
            </p:nvSpPr>
            <p:spPr>
              <a:xfrm>
                <a:off x="2546107" y="1194219"/>
                <a:ext cx="690902" cy="39254"/>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19" name="Google Shape;7719;p71"/>
          <p:cNvGrpSpPr/>
          <p:nvPr/>
        </p:nvGrpSpPr>
        <p:grpSpPr>
          <a:xfrm>
            <a:off x="3525467" y="3875150"/>
            <a:ext cx="1567778" cy="491677"/>
            <a:chOff x="5194708" y="3484366"/>
            <a:chExt cx="3148148" cy="987304"/>
          </a:xfrm>
        </p:grpSpPr>
        <p:grpSp>
          <p:nvGrpSpPr>
            <p:cNvPr id="7720" name="Google Shape;7720;p71"/>
            <p:cNvGrpSpPr/>
            <p:nvPr/>
          </p:nvGrpSpPr>
          <p:grpSpPr>
            <a:xfrm>
              <a:off x="7531521" y="3484366"/>
              <a:ext cx="811335" cy="987304"/>
              <a:chOff x="3379425" y="1617275"/>
              <a:chExt cx="1090650" cy="1327200"/>
            </a:xfrm>
          </p:grpSpPr>
          <p:sp>
            <p:nvSpPr>
              <p:cNvPr id="7721" name="Google Shape;7721;p71"/>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71"/>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1"/>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4" name="Google Shape;7724;p71"/>
            <p:cNvGrpSpPr/>
            <p:nvPr/>
          </p:nvGrpSpPr>
          <p:grpSpPr>
            <a:xfrm>
              <a:off x="6752546" y="3484366"/>
              <a:ext cx="811428" cy="987304"/>
              <a:chOff x="2332275" y="1617275"/>
              <a:chExt cx="1090775" cy="1327200"/>
            </a:xfrm>
          </p:grpSpPr>
          <p:sp>
            <p:nvSpPr>
              <p:cNvPr id="7725" name="Google Shape;7725;p71"/>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1"/>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7" name="Google Shape;7727;p71"/>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8" name="Google Shape;7728;p71"/>
            <p:cNvGrpSpPr/>
            <p:nvPr/>
          </p:nvGrpSpPr>
          <p:grpSpPr>
            <a:xfrm>
              <a:off x="5973664" y="3484366"/>
              <a:ext cx="811335" cy="987304"/>
              <a:chOff x="1285250" y="1617275"/>
              <a:chExt cx="1090650" cy="1327200"/>
            </a:xfrm>
          </p:grpSpPr>
          <p:sp>
            <p:nvSpPr>
              <p:cNvPr id="7729" name="Google Shape;7729;p71"/>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1"/>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1"/>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2" name="Google Shape;7732;p71"/>
            <p:cNvGrpSpPr/>
            <p:nvPr/>
          </p:nvGrpSpPr>
          <p:grpSpPr>
            <a:xfrm>
              <a:off x="5194708" y="3484366"/>
              <a:ext cx="811409" cy="987304"/>
              <a:chOff x="238125" y="1617275"/>
              <a:chExt cx="1090750" cy="1327200"/>
            </a:xfrm>
          </p:grpSpPr>
          <p:sp>
            <p:nvSpPr>
              <p:cNvPr id="7733" name="Google Shape;7733;p71"/>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1"/>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5" name="Google Shape;7735;p71"/>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6" name="Google Shape;7736;p71"/>
          <p:cNvGrpSpPr/>
          <p:nvPr/>
        </p:nvGrpSpPr>
        <p:grpSpPr>
          <a:xfrm>
            <a:off x="3486076" y="3355561"/>
            <a:ext cx="1616964" cy="346256"/>
            <a:chOff x="1808063" y="4294338"/>
            <a:chExt cx="3370782" cy="721817"/>
          </a:xfrm>
        </p:grpSpPr>
        <p:sp>
          <p:nvSpPr>
            <p:cNvPr id="7737" name="Google Shape;7737;p71"/>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1"/>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1"/>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1"/>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1"/>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2" name="Google Shape;7742;p71"/>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71"/>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1"/>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1"/>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71"/>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7" name="Google Shape;7747;p71"/>
          <p:cNvGrpSpPr/>
          <p:nvPr/>
        </p:nvGrpSpPr>
        <p:grpSpPr>
          <a:xfrm>
            <a:off x="764288" y="3641590"/>
            <a:ext cx="1295882" cy="646587"/>
            <a:chOff x="834100" y="3642869"/>
            <a:chExt cx="1259483" cy="628426"/>
          </a:xfrm>
        </p:grpSpPr>
        <p:sp>
          <p:nvSpPr>
            <p:cNvPr id="7748" name="Google Shape;7748;p71"/>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1"/>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1"/>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1"/>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1"/>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1"/>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1"/>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5" name="Google Shape;7755;p71"/>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71"/>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1"/>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1"/>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1"/>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1"/>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1"/>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1"/>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1"/>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1"/>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1"/>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1"/>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7" name="Google Shape;7767;p71"/>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71"/>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1"/>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1"/>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1"/>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1"/>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73" name="Google Shape;7773;p71"/>
            <p:cNvGrpSpPr/>
            <p:nvPr/>
          </p:nvGrpSpPr>
          <p:grpSpPr>
            <a:xfrm>
              <a:off x="1360364" y="3847835"/>
              <a:ext cx="208119" cy="224359"/>
              <a:chOff x="1360769" y="3847100"/>
              <a:chExt cx="208119" cy="224359"/>
            </a:xfrm>
          </p:grpSpPr>
          <p:sp>
            <p:nvSpPr>
              <p:cNvPr id="7774" name="Google Shape;7774;p71"/>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5" name="Google Shape;7775;p71"/>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1"/>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1"/>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1"/>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1"/>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71"/>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71"/>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1"/>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1"/>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1"/>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1"/>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1"/>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1"/>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1"/>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71"/>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71"/>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1"/>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1"/>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1"/>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94" name="Google Shape;7794;p71"/>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1"/>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1"/>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7" name="Google Shape;7797;p71"/>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8" name="Google Shape;7798;p71"/>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1"/>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1"/>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1"/>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1"/>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1"/>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1"/>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71"/>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6" name="Google Shape;7806;p71"/>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1"/>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8" name="Google Shape;7808;p71"/>
          <p:cNvGrpSpPr/>
          <p:nvPr/>
        </p:nvGrpSpPr>
        <p:grpSpPr>
          <a:xfrm rot="5400000">
            <a:off x="5977401" y="3438087"/>
            <a:ext cx="164064" cy="1414916"/>
            <a:chOff x="4428249" y="1369375"/>
            <a:chExt cx="36905" cy="429569"/>
          </a:xfrm>
        </p:grpSpPr>
        <p:sp>
          <p:nvSpPr>
            <p:cNvPr id="7809" name="Google Shape;7809;p71"/>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1"/>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1"/>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1"/>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1"/>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71"/>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5" name="Google Shape;7815;p71"/>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1"/>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1"/>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1"/>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1"/>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1"/>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1"/>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1"/>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1"/>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4" name="Google Shape;7824;p71"/>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5" name="Google Shape;7825;p71"/>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71"/>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7" name="Google Shape;7827;p71"/>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8" name="Google Shape;7828;p71"/>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71"/>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0" name="Google Shape;7830;p71"/>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1" name="Google Shape;7831;p71"/>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1"/>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1"/>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4" name="Google Shape;7834;p71"/>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5" name="Google Shape;7835;p71"/>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1"/>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1"/>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1"/>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9" name="Google Shape;7839;p71"/>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71"/>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1" name="Google Shape;7841;p71"/>
          <p:cNvGrpSpPr/>
          <p:nvPr/>
        </p:nvGrpSpPr>
        <p:grpSpPr>
          <a:xfrm rot="10800000" flipH="1">
            <a:off x="5349830" y="3026630"/>
            <a:ext cx="1419207" cy="24808"/>
            <a:chOff x="219558" y="4738465"/>
            <a:chExt cx="5852400" cy="102300"/>
          </a:xfrm>
        </p:grpSpPr>
        <p:cxnSp>
          <p:nvCxnSpPr>
            <p:cNvPr id="7842" name="Google Shape;7842;p71"/>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7843" name="Google Shape;7843;p71"/>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1"/>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71"/>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71"/>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1"/>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8" name="Google Shape;7848;p71"/>
          <p:cNvGrpSpPr/>
          <p:nvPr/>
        </p:nvGrpSpPr>
        <p:grpSpPr>
          <a:xfrm>
            <a:off x="5361148" y="3399694"/>
            <a:ext cx="1396570" cy="385016"/>
            <a:chOff x="5286284" y="2966544"/>
            <a:chExt cx="1396570" cy="385016"/>
          </a:xfrm>
        </p:grpSpPr>
        <p:cxnSp>
          <p:nvCxnSpPr>
            <p:cNvPr id="7849" name="Google Shape;7849;p71"/>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7850" name="Google Shape;7850;p71"/>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7851" name="Google Shape;7851;p71"/>
            <p:cNvGrpSpPr/>
            <p:nvPr/>
          </p:nvGrpSpPr>
          <p:grpSpPr>
            <a:xfrm>
              <a:off x="5287688" y="3173364"/>
              <a:ext cx="1395166" cy="74015"/>
              <a:chOff x="5287688" y="3173364"/>
              <a:chExt cx="1395166" cy="74015"/>
            </a:xfrm>
          </p:grpSpPr>
          <p:cxnSp>
            <p:nvCxnSpPr>
              <p:cNvPr id="7852" name="Google Shape;7852;p71"/>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7853" name="Google Shape;7853;p71"/>
              <p:cNvCxnSpPr/>
              <p:nvPr/>
            </p:nvCxnSpPr>
            <p:spPr>
              <a:xfrm>
                <a:off x="5287688" y="3210371"/>
                <a:ext cx="1394835" cy="0"/>
              </a:xfrm>
              <a:prstGeom prst="straightConnector1">
                <a:avLst/>
              </a:prstGeom>
              <a:noFill/>
              <a:ln w="9525" cap="flat" cmpd="sng">
                <a:solidFill>
                  <a:srgbClr val="5F7D95"/>
                </a:solidFill>
                <a:prstDash val="solid"/>
                <a:round/>
                <a:headEnd type="none" w="med" len="med"/>
                <a:tailEnd type="none" w="med" len="med"/>
              </a:ln>
            </p:spPr>
          </p:cxnSp>
          <p:cxnSp>
            <p:nvCxnSpPr>
              <p:cNvPr id="7854" name="Google Shape;7854;p71"/>
              <p:cNvCxnSpPr/>
              <p:nvPr/>
            </p:nvCxnSpPr>
            <p:spPr>
              <a:xfrm>
                <a:off x="5518476" y="3173364"/>
                <a:ext cx="0" cy="74015"/>
              </a:xfrm>
              <a:prstGeom prst="straightConnector1">
                <a:avLst/>
              </a:prstGeom>
              <a:noFill/>
              <a:ln w="9525" cap="flat" cmpd="sng">
                <a:solidFill>
                  <a:srgbClr val="5F7D95"/>
                </a:solidFill>
                <a:prstDash val="solid"/>
                <a:round/>
                <a:headEnd type="none" w="med" len="med"/>
                <a:tailEnd type="none" w="med" len="med"/>
              </a:ln>
            </p:spPr>
          </p:cxnSp>
          <p:cxnSp>
            <p:nvCxnSpPr>
              <p:cNvPr id="7855" name="Google Shape;7855;p71"/>
              <p:cNvCxnSpPr/>
              <p:nvPr/>
            </p:nvCxnSpPr>
            <p:spPr>
              <a:xfrm>
                <a:off x="5287935" y="3173364"/>
                <a:ext cx="0" cy="74015"/>
              </a:xfrm>
              <a:prstGeom prst="straightConnector1">
                <a:avLst/>
              </a:prstGeom>
              <a:noFill/>
              <a:ln w="9525" cap="flat" cmpd="sng">
                <a:solidFill>
                  <a:srgbClr val="5F7D95"/>
                </a:solidFill>
                <a:prstDash val="solid"/>
                <a:round/>
                <a:headEnd type="none" w="med" len="med"/>
                <a:tailEnd type="none" w="med" len="med"/>
              </a:ln>
            </p:spPr>
          </p:cxnSp>
          <p:cxnSp>
            <p:nvCxnSpPr>
              <p:cNvPr id="7856" name="Google Shape;7856;p71"/>
              <p:cNvCxnSpPr/>
              <p:nvPr/>
            </p:nvCxnSpPr>
            <p:spPr>
              <a:xfrm>
                <a:off x="5751239" y="3173364"/>
                <a:ext cx="0" cy="74015"/>
              </a:xfrm>
              <a:prstGeom prst="straightConnector1">
                <a:avLst/>
              </a:prstGeom>
              <a:noFill/>
              <a:ln w="9525" cap="flat" cmpd="sng">
                <a:solidFill>
                  <a:srgbClr val="5F7D95"/>
                </a:solidFill>
                <a:prstDash val="solid"/>
                <a:round/>
                <a:headEnd type="none" w="med" len="med"/>
                <a:tailEnd type="none" w="med" len="med"/>
              </a:ln>
            </p:spPr>
          </p:cxnSp>
          <p:cxnSp>
            <p:nvCxnSpPr>
              <p:cNvPr id="7857" name="Google Shape;7857;p71"/>
              <p:cNvCxnSpPr/>
              <p:nvPr/>
            </p:nvCxnSpPr>
            <p:spPr>
              <a:xfrm>
                <a:off x="5982252" y="3173364"/>
                <a:ext cx="0" cy="74015"/>
              </a:xfrm>
              <a:prstGeom prst="straightConnector1">
                <a:avLst/>
              </a:prstGeom>
              <a:noFill/>
              <a:ln w="9525" cap="flat" cmpd="sng">
                <a:solidFill>
                  <a:srgbClr val="5F7D95"/>
                </a:solidFill>
                <a:prstDash val="solid"/>
                <a:round/>
                <a:headEnd type="none" w="med" len="med"/>
                <a:tailEnd type="none" w="med" len="med"/>
              </a:ln>
            </p:spPr>
          </p:cxnSp>
          <p:cxnSp>
            <p:nvCxnSpPr>
              <p:cNvPr id="7858" name="Google Shape;7858;p71"/>
              <p:cNvCxnSpPr/>
              <p:nvPr/>
            </p:nvCxnSpPr>
            <p:spPr>
              <a:xfrm>
                <a:off x="6216184" y="3173364"/>
                <a:ext cx="0" cy="74015"/>
              </a:xfrm>
              <a:prstGeom prst="straightConnector1">
                <a:avLst/>
              </a:prstGeom>
              <a:noFill/>
              <a:ln w="9525" cap="flat" cmpd="sng">
                <a:solidFill>
                  <a:srgbClr val="5F7D95"/>
                </a:solidFill>
                <a:prstDash val="solid"/>
                <a:round/>
                <a:headEnd type="none" w="med" len="med"/>
                <a:tailEnd type="none" w="med" len="med"/>
              </a:ln>
            </p:spPr>
          </p:cxnSp>
          <p:cxnSp>
            <p:nvCxnSpPr>
              <p:cNvPr id="7859" name="Google Shape;7859;p71"/>
              <p:cNvCxnSpPr/>
              <p:nvPr/>
            </p:nvCxnSpPr>
            <p:spPr>
              <a:xfrm>
                <a:off x="6449534" y="3173364"/>
                <a:ext cx="0" cy="74015"/>
              </a:xfrm>
              <a:prstGeom prst="straightConnector1">
                <a:avLst/>
              </a:prstGeom>
              <a:noFill/>
              <a:ln w="9525" cap="flat" cmpd="sng">
                <a:solidFill>
                  <a:srgbClr val="5F7D95"/>
                </a:solidFill>
                <a:prstDash val="solid"/>
                <a:round/>
                <a:headEnd type="none" w="med" len="med"/>
                <a:tailEnd type="none" w="med" len="med"/>
              </a:ln>
            </p:spPr>
          </p:cxnSp>
        </p:grpSp>
        <p:cxnSp>
          <p:nvCxnSpPr>
            <p:cNvPr id="7860" name="Google Shape;7860;p71"/>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7861" name="Google Shape;7861;p71"/>
          <p:cNvGrpSpPr/>
          <p:nvPr/>
        </p:nvGrpSpPr>
        <p:grpSpPr>
          <a:xfrm>
            <a:off x="2047214" y="1818470"/>
            <a:ext cx="1182276" cy="662027"/>
            <a:chOff x="2029517" y="1732295"/>
            <a:chExt cx="1149068" cy="643432"/>
          </a:xfrm>
        </p:grpSpPr>
        <p:grpSp>
          <p:nvGrpSpPr>
            <p:cNvPr id="7862" name="Google Shape;7862;p71"/>
            <p:cNvGrpSpPr/>
            <p:nvPr/>
          </p:nvGrpSpPr>
          <p:grpSpPr>
            <a:xfrm>
              <a:off x="2708660" y="1746937"/>
              <a:ext cx="455427" cy="244429"/>
              <a:chOff x="2700693" y="1746937"/>
              <a:chExt cx="455427" cy="244429"/>
            </a:xfrm>
          </p:grpSpPr>
          <p:grpSp>
            <p:nvGrpSpPr>
              <p:cNvPr id="7863" name="Google Shape;7863;p71"/>
              <p:cNvGrpSpPr/>
              <p:nvPr/>
            </p:nvGrpSpPr>
            <p:grpSpPr>
              <a:xfrm>
                <a:off x="2905682" y="1782817"/>
                <a:ext cx="250438" cy="208549"/>
                <a:chOff x="2905682" y="1782817"/>
                <a:chExt cx="250438" cy="208549"/>
              </a:xfrm>
            </p:grpSpPr>
            <p:cxnSp>
              <p:nvCxnSpPr>
                <p:cNvPr id="7864" name="Google Shape;7864;p71"/>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7865" name="Google Shape;7865;p71"/>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6" name="Google Shape;7866;p71"/>
              <p:cNvGrpSpPr/>
              <p:nvPr/>
            </p:nvGrpSpPr>
            <p:grpSpPr>
              <a:xfrm>
                <a:off x="2700693" y="1746937"/>
                <a:ext cx="449967" cy="72374"/>
                <a:chOff x="2700693" y="1746937"/>
                <a:chExt cx="449967" cy="72374"/>
              </a:xfrm>
            </p:grpSpPr>
            <p:cxnSp>
              <p:nvCxnSpPr>
                <p:cNvPr id="7867" name="Google Shape;7867;p71"/>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7868" name="Google Shape;7868;p71"/>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69" name="Google Shape;7869;p71"/>
            <p:cNvGrpSpPr/>
            <p:nvPr/>
          </p:nvGrpSpPr>
          <p:grpSpPr>
            <a:xfrm>
              <a:off x="2029517" y="1732295"/>
              <a:ext cx="1149068" cy="643432"/>
              <a:chOff x="2029517" y="1732295"/>
              <a:chExt cx="1149068" cy="643432"/>
            </a:xfrm>
          </p:grpSpPr>
          <p:grpSp>
            <p:nvGrpSpPr>
              <p:cNvPr id="7870" name="Google Shape;7870;p71"/>
              <p:cNvGrpSpPr/>
              <p:nvPr/>
            </p:nvGrpSpPr>
            <p:grpSpPr>
              <a:xfrm>
                <a:off x="2703618" y="2103152"/>
                <a:ext cx="474966" cy="260017"/>
                <a:chOff x="2703618" y="2103152"/>
                <a:chExt cx="474966" cy="260017"/>
              </a:xfrm>
            </p:grpSpPr>
            <p:grpSp>
              <p:nvGrpSpPr>
                <p:cNvPr id="7871" name="Google Shape;7871;p71"/>
                <p:cNvGrpSpPr/>
                <p:nvPr/>
              </p:nvGrpSpPr>
              <p:grpSpPr>
                <a:xfrm>
                  <a:off x="2703618" y="2290640"/>
                  <a:ext cx="450291" cy="72529"/>
                  <a:chOff x="2703618" y="2290640"/>
                  <a:chExt cx="450291" cy="72529"/>
                </a:xfrm>
              </p:grpSpPr>
              <p:cxnSp>
                <p:nvCxnSpPr>
                  <p:cNvPr id="7872" name="Google Shape;7872;p71"/>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7873" name="Google Shape;7873;p71"/>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4" name="Google Shape;7874;p71"/>
                <p:cNvGrpSpPr/>
                <p:nvPr/>
              </p:nvGrpSpPr>
              <p:grpSpPr>
                <a:xfrm>
                  <a:off x="2908607" y="2103152"/>
                  <a:ext cx="269977" cy="223538"/>
                  <a:chOff x="2908607" y="2103152"/>
                  <a:chExt cx="269977" cy="223538"/>
                </a:xfrm>
              </p:grpSpPr>
              <p:cxnSp>
                <p:nvCxnSpPr>
                  <p:cNvPr id="7875" name="Google Shape;7875;p71"/>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7876" name="Google Shape;7876;p71"/>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77" name="Google Shape;7877;p71"/>
              <p:cNvGrpSpPr/>
              <p:nvPr/>
            </p:nvGrpSpPr>
            <p:grpSpPr>
              <a:xfrm>
                <a:off x="2029517" y="1732295"/>
                <a:ext cx="685827" cy="643432"/>
                <a:chOff x="2029517" y="1732295"/>
                <a:chExt cx="685827" cy="643432"/>
              </a:xfrm>
            </p:grpSpPr>
            <p:sp>
              <p:nvSpPr>
                <p:cNvPr id="7878" name="Google Shape;7878;p71"/>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79" name="Google Shape;7879;p71"/>
                <p:cNvGrpSpPr/>
                <p:nvPr/>
              </p:nvGrpSpPr>
              <p:grpSpPr>
                <a:xfrm>
                  <a:off x="2158948" y="1732295"/>
                  <a:ext cx="556396" cy="333108"/>
                  <a:chOff x="2158948" y="1732295"/>
                  <a:chExt cx="556396" cy="333108"/>
                </a:xfrm>
              </p:grpSpPr>
              <p:cxnSp>
                <p:nvCxnSpPr>
                  <p:cNvPr id="7880" name="Google Shape;7880;p71"/>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7881" name="Google Shape;7881;p71"/>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82" name="Google Shape;7882;p71"/>
                <p:cNvGrpSpPr/>
                <p:nvPr/>
              </p:nvGrpSpPr>
              <p:grpSpPr>
                <a:xfrm>
                  <a:off x="2159908" y="2065057"/>
                  <a:ext cx="550884" cy="310670"/>
                  <a:chOff x="2159908" y="2065057"/>
                  <a:chExt cx="550884" cy="310670"/>
                </a:xfrm>
              </p:grpSpPr>
              <p:cxnSp>
                <p:nvCxnSpPr>
                  <p:cNvPr id="7883" name="Google Shape;7883;p71"/>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7884" name="Google Shape;7884;p71"/>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7885" name="Google Shape;7885;p71"/>
          <p:cNvGrpSpPr/>
          <p:nvPr/>
        </p:nvGrpSpPr>
        <p:grpSpPr>
          <a:xfrm>
            <a:off x="732462" y="1766083"/>
            <a:ext cx="962651" cy="810058"/>
            <a:chOff x="732462" y="1766083"/>
            <a:chExt cx="962651" cy="810058"/>
          </a:xfrm>
        </p:grpSpPr>
        <p:grpSp>
          <p:nvGrpSpPr>
            <p:cNvPr id="7886" name="Google Shape;7886;p71"/>
            <p:cNvGrpSpPr/>
            <p:nvPr/>
          </p:nvGrpSpPr>
          <p:grpSpPr>
            <a:xfrm>
              <a:off x="732462" y="1908333"/>
              <a:ext cx="339364" cy="524749"/>
              <a:chOff x="844912" y="1819635"/>
              <a:chExt cx="329831" cy="510010"/>
            </a:xfrm>
          </p:grpSpPr>
          <p:sp>
            <p:nvSpPr>
              <p:cNvPr id="7887" name="Google Shape;7887;p71"/>
              <p:cNvSpPr/>
              <p:nvPr/>
            </p:nvSpPr>
            <p:spPr>
              <a:xfrm>
                <a:off x="844912" y="2015566"/>
                <a:ext cx="118261" cy="11845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1"/>
              <p:cNvSpPr/>
              <p:nvPr/>
            </p:nvSpPr>
            <p:spPr>
              <a:xfrm>
                <a:off x="1013654" y="2074499"/>
                <a:ext cx="148123" cy="2382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1"/>
              <p:cNvSpPr/>
              <p:nvPr/>
            </p:nvSpPr>
            <p:spPr>
              <a:xfrm>
                <a:off x="1013654" y="1836607"/>
                <a:ext cx="148123" cy="2382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1"/>
              <p:cNvSpPr/>
              <p:nvPr/>
            </p:nvSpPr>
            <p:spPr>
              <a:xfrm>
                <a:off x="1004031" y="2056625"/>
                <a:ext cx="35952" cy="35952"/>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1"/>
              <p:cNvSpPr/>
              <p:nvPr/>
            </p:nvSpPr>
            <p:spPr>
              <a:xfrm>
                <a:off x="1149398" y="2295742"/>
                <a:ext cx="25346" cy="33902"/>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1"/>
              <p:cNvSpPr/>
              <p:nvPr/>
            </p:nvSpPr>
            <p:spPr>
              <a:xfrm>
                <a:off x="1149398" y="1819635"/>
                <a:ext cx="25346" cy="34026"/>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3" name="Google Shape;7893;p71"/>
            <p:cNvGrpSpPr/>
            <p:nvPr/>
          </p:nvGrpSpPr>
          <p:grpSpPr>
            <a:xfrm>
              <a:off x="1184858" y="2256650"/>
              <a:ext cx="510255" cy="319491"/>
              <a:chOff x="1284601" y="2158168"/>
              <a:chExt cx="495923" cy="310517"/>
            </a:xfrm>
          </p:grpSpPr>
          <p:sp>
            <p:nvSpPr>
              <p:cNvPr id="7894" name="Google Shape;7894;p71"/>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5" name="Google Shape;7895;p71"/>
              <p:cNvGrpSpPr/>
              <p:nvPr/>
            </p:nvGrpSpPr>
            <p:grpSpPr>
              <a:xfrm>
                <a:off x="1507666" y="2158168"/>
                <a:ext cx="272858" cy="310517"/>
                <a:chOff x="1507666" y="2158168"/>
                <a:chExt cx="272858" cy="310517"/>
              </a:xfrm>
            </p:grpSpPr>
            <p:grpSp>
              <p:nvGrpSpPr>
                <p:cNvPr id="7896" name="Google Shape;7896;p71"/>
                <p:cNvGrpSpPr/>
                <p:nvPr/>
              </p:nvGrpSpPr>
              <p:grpSpPr>
                <a:xfrm>
                  <a:off x="1507666" y="2176104"/>
                  <a:ext cx="166390" cy="273143"/>
                  <a:chOff x="1507666" y="2176104"/>
                  <a:chExt cx="166390" cy="273143"/>
                </a:xfrm>
              </p:grpSpPr>
              <p:sp>
                <p:nvSpPr>
                  <p:cNvPr id="7897" name="Google Shape;7897;p71"/>
                  <p:cNvSpPr/>
                  <p:nvPr/>
                </p:nvSpPr>
                <p:spPr>
                  <a:xfrm>
                    <a:off x="1512966" y="2312791"/>
                    <a:ext cx="75437" cy="66009"/>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1"/>
                  <p:cNvSpPr/>
                  <p:nvPr/>
                </p:nvSpPr>
                <p:spPr>
                  <a:xfrm>
                    <a:off x="1588205" y="2193153"/>
                    <a:ext cx="72887" cy="5402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71"/>
                  <p:cNvSpPr/>
                  <p:nvPr/>
                </p:nvSpPr>
                <p:spPr>
                  <a:xfrm>
                    <a:off x="1588205" y="2378202"/>
                    <a:ext cx="72887" cy="5403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0" name="Google Shape;7900;p71"/>
                  <p:cNvSpPr/>
                  <p:nvPr/>
                </p:nvSpPr>
                <p:spPr>
                  <a:xfrm>
                    <a:off x="1512966" y="2246980"/>
                    <a:ext cx="75437" cy="6580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1"/>
                  <p:cNvSpPr/>
                  <p:nvPr/>
                </p:nvSpPr>
                <p:spPr>
                  <a:xfrm>
                    <a:off x="1507666" y="2294782"/>
                    <a:ext cx="37919" cy="35816"/>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1"/>
                  <p:cNvSpPr/>
                  <p:nvPr/>
                </p:nvSpPr>
                <p:spPr>
                  <a:xfrm>
                    <a:off x="1648710" y="2415180"/>
                    <a:ext cx="25346" cy="34067"/>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71"/>
                  <p:cNvSpPr/>
                  <p:nvPr/>
                </p:nvSpPr>
                <p:spPr>
                  <a:xfrm>
                    <a:off x="1648710" y="2176104"/>
                    <a:ext cx="25346" cy="3409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04" name="Google Shape;7904;p71"/>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1"/>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06" name="Google Shape;7906;p71"/>
            <p:cNvGrpSpPr/>
            <p:nvPr/>
          </p:nvGrpSpPr>
          <p:grpSpPr>
            <a:xfrm>
              <a:off x="1184858" y="1766083"/>
              <a:ext cx="510255" cy="319491"/>
              <a:chOff x="1284601" y="1681380"/>
              <a:chExt cx="495923" cy="310517"/>
            </a:xfrm>
          </p:grpSpPr>
          <p:sp>
            <p:nvSpPr>
              <p:cNvPr id="7907" name="Google Shape;7907;p71"/>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8" name="Google Shape;7908;p71"/>
              <p:cNvGrpSpPr/>
              <p:nvPr/>
            </p:nvGrpSpPr>
            <p:grpSpPr>
              <a:xfrm>
                <a:off x="1507666" y="1681380"/>
                <a:ext cx="272858" cy="310517"/>
                <a:chOff x="1507666" y="1681380"/>
                <a:chExt cx="272858" cy="310517"/>
              </a:xfrm>
            </p:grpSpPr>
            <p:grpSp>
              <p:nvGrpSpPr>
                <p:cNvPr id="7909" name="Google Shape;7909;p71"/>
                <p:cNvGrpSpPr/>
                <p:nvPr/>
              </p:nvGrpSpPr>
              <p:grpSpPr>
                <a:xfrm>
                  <a:off x="1507666" y="1700120"/>
                  <a:ext cx="166390" cy="272978"/>
                  <a:chOff x="1507666" y="1700120"/>
                  <a:chExt cx="166390" cy="272978"/>
                </a:xfrm>
              </p:grpSpPr>
              <p:sp>
                <p:nvSpPr>
                  <p:cNvPr id="7910" name="Google Shape;7910;p71"/>
                  <p:cNvSpPr/>
                  <p:nvPr/>
                </p:nvSpPr>
                <p:spPr>
                  <a:xfrm>
                    <a:off x="1512966" y="1836607"/>
                    <a:ext cx="75437" cy="66009"/>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1"/>
                  <p:cNvSpPr/>
                  <p:nvPr/>
                </p:nvSpPr>
                <p:spPr>
                  <a:xfrm>
                    <a:off x="1588205" y="1716969"/>
                    <a:ext cx="72887" cy="5422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1"/>
                  <p:cNvSpPr/>
                  <p:nvPr/>
                </p:nvSpPr>
                <p:spPr>
                  <a:xfrm>
                    <a:off x="1588205" y="1902024"/>
                    <a:ext cx="72887" cy="5402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71"/>
                  <p:cNvSpPr/>
                  <p:nvPr/>
                </p:nvSpPr>
                <p:spPr>
                  <a:xfrm>
                    <a:off x="1512966" y="1770990"/>
                    <a:ext cx="75437" cy="65620"/>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4" name="Google Shape;7914;p71"/>
                  <p:cNvSpPr/>
                  <p:nvPr/>
                </p:nvSpPr>
                <p:spPr>
                  <a:xfrm>
                    <a:off x="1507666" y="1818598"/>
                    <a:ext cx="37919" cy="36016"/>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1"/>
                  <p:cNvSpPr/>
                  <p:nvPr/>
                </p:nvSpPr>
                <p:spPr>
                  <a:xfrm>
                    <a:off x="1648710" y="1939072"/>
                    <a:ext cx="25346" cy="34026"/>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1"/>
                  <p:cNvSpPr/>
                  <p:nvPr/>
                </p:nvSpPr>
                <p:spPr>
                  <a:xfrm>
                    <a:off x="1648710" y="1700120"/>
                    <a:ext cx="25346" cy="33902"/>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17" name="Google Shape;7917;p71"/>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71"/>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7919" name="Google Shape;7919;p71"/>
          <p:cNvGrpSpPr/>
          <p:nvPr/>
        </p:nvGrpSpPr>
        <p:grpSpPr>
          <a:xfrm>
            <a:off x="6841403" y="2533512"/>
            <a:ext cx="1622269" cy="552443"/>
            <a:chOff x="6894650" y="2574740"/>
            <a:chExt cx="1445100" cy="492111"/>
          </a:xfrm>
        </p:grpSpPr>
        <p:sp>
          <p:nvSpPr>
            <p:cNvPr id="7920" name="Google Shape;7920;p71"/>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1"/>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2" name="Google Shape;7922;p71"/>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3" name="Google Shape;7923;p71"/>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1"/>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925" name="Google Shape;7925;p71"/>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7926" name="Google Shape;7926;p71"/>
          <p:cNvGrpSpPr/>
          <p:nvPr/>
        </p:nvGrpSpPr>
        <p:grpSpPr>
          <a:xfrm>
            <a:off x="6860923" y="3907631"/>
            <a:ext cx="1583229" cy="475842"/>
            <a:chOff x="6953899" y="3907783"/>
            <a:chExt cx="1377320" cy="475842"/>
          </a:xfrm>
        </p:grpSpPr>
        <p:cxnSp>
          <p:nvCxnSpPr>
            <p:cNvPr id="7927" name="Google Shape;7927;p71"/>
            <p:cNvCxnSpPr/>
            <p:nvPr/>
          </p:nvCxnSpPr>
          <p:spPr>
            <a:xfrm rot="10800000">
              <a:off x="7118546" y="4100552"/>
              <a:ext cx="0" cy="185236"/>
            </a:xfrm>
            <a:prstGeom prst="straightConnector1">
              <a:avLst/>
            </a:prstGeom>
            <a:noFill/>
            <a:ln w="19050" cap="flat" cmpd="sng">
              <a:solidFill>
                <a:srgbClr val="5F7D95"/>
              </a:solidFill>
              <a:prstDash val="solid"/>
              <a:round/>
              <a:headEnd type="none" w="med" len="med"/>
              <a:tailEnd type="none" w="med" len="med"/>
            </a:ln>
          </p:spPr>
        </p:cxnSp>
        <p:cxnSp>
          <p:nvCxnSpPr>
            <p:cNvPr id="7928" name="Google Shape;7928;p71"/>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7929" name="Google Shape;7929;p71"/>
            <p:cNvCxnSpPr/>
            <p:nvPr/>
          </p:nvCxnSpPr>
          <p:spPr>
            <a:xfrm rot="10800000">
              <a:off x="7848574" y="3907783"/>
              <a:ext cx="0" cy="185236"/>
            </a:xfrm>
            <a:prstGeom prst="straightConnector1">
              <a:avLst/>
            </a:prstGeom>
            <a:noFill/>
            <a:ln w="19050" cap="flat" cmpd="sng">
              <a:solidFill>
                <a:srgbClr val="5F7D95"/>
              </a:solidFill>
              <a:prstDash val="solid"/>
              <a:round/>
              <a:headEnd type="none" w="med" len="med"/>
              <a:tailEnd type="none" w="med" len="med"/>
            </a:ln>
          </p:spPr>
        </p:cxnSp>
        <p:cxnSp>
          <p:nvCxnSpPr>
            <p:cNvPr id="7930" name="Google Shape;7930;p71"/>
            <p:cNvCxnSpPr/>
            <p:nvPr/>
          </p:nvCxnSpPr>
          <p:spPr>
            <a:xfrm>
              <a:off x="8218032" y="3997243"/>
              <a:ext cx="0" cy="197219"/>
            </a:xfrm>
            <a:prstGeom prst="straightConnector1">
              <a:avLst/>
            </a:prstGeom>
            <a:noFill/>
            <a:ln w="19050" cap="flat" cmpd="sng">
              <a:solidFill>
                <a:srgbClr val="5F7D95"/>
              </a:solidFill>
              <a:prstDash val="solid"/>
              <a:round/>
              <a:headEnd type="none" w="med" len="med"/>
              <a:tailEnd type="none" w="med" len="med"/>
            </a:ln>
          </p:spPr>
        </p:cxnSp>
        <p:cxnSp>
          <p:nvCxnSpPr>
            <p:cNvPr id="7931" name="Google Shape;7931;p71"/>
            <p:cNvCxnSpPr/>
            <p:nvPr/>
          </p:nvCxnSpPr>
          <p:spPr>
            <a:xfrm flipH="1">
              <a:off x="6953899" y="3961822"/>
              <a:ext cx="1377320" cy="376718"/>
            </a:xfrm>
            <a:prstGeom prst="straightConnector1">
              <a:avLst/>
            </a:prstGeom>
            <a:noFill/>
            <a:ln w="19050" cap="flat" cmpd="sng">
              <a:solidFill>
                <a:srgbClr val="435D74"/>
              </a:solidFill>
              <a:prstDash val="solid"/>
              <a:round/>
              <a:headEnd type="none" w="med" len="med"/>
              <a:tailEnd type="none" w="med" len="med"/>
            </a:ln>
          </p:spPr>
        </p:cxnSp>
      </p:grpSp>
      <p:grpSp>
        <p:nvGrpSpPr>
          <p:cNvPr id="7932" name="Google Shape;7932;p71"/>
          <p:cNvGrpSpPr/>
          <p:nvPr/>
        </p:nvGrpSpPr>
        <p:grpSpPr>
          <a:xfrm>
            <a:off x="2364534" y="2668913"/>
            <a:ext cx="836286" cy="824529"/>
            <a:chOff x="2389399" y="2595741"/>
            <a:chExt cx="812796" cy="801369"/>
          </a:xfrm>
        </p:grpSpPr>
        <p:grpSp>
          <p:nvGrpSpPr>
            <p:cNvPr id="7933" name="Google Shape;7933;p71"/>
            <p:cNvGrpSpPr/>
            <p:nvPr/>
          </p:nvGrpSpPr>
          <p:grpSpPr>
            <a:xfrm>
              <a:off x="2492145" y="2881565"/>
              <a:ext cx="607243" cy="229690"/>
              <a:chOff x="2492145" y="2881565"/>
              <a:chExt cx="607243" cy="229690"/>
            </a:xfrm>
          </p:grpSpPr>
          <p:sp>
            <p:nvSpPr>
              <p:cNvPr id="7934" name="Google Shape;7934;p71"/>
              <p:cNvSpPr/>
              <p:nvPr/>
            </p:nvSpPr>
            <p:spPr>
              <a:xfrm>
                <a:off x="2530550" y="2913581"/>
                <a:ext cx="530449" cy="165654"/>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71"/>
              <p:cNvSpPr/>
              <p:nvPr/>
            </p:nvSpPr>
            <p:spPr>
              <a:xfrm>
                <a:off x="2886492" y="2881565"/>
                <a:ext cx="212896" cy="229690"/>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1"/>
              <p:cNvSpPr/>
              <p:nvPr/>
            </p:nvSpPr>
            <p:spPr>
              <a:xfrm>
                <a:off x="2492145" y="2881565"/>
                <a:ext cx="212878" cy="229690"/>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7" name="Google Shape;7937;p71"/>
            <p:cNvGrpSpPr/>
            <p:nvPr/>
          </p:nvGrpSpPr>
          <p:grpSpPr>
            <a:xfrm>
              <a:off x="2389399" y="2595741"/>
              <a:ext cx="812737" cy="296821"/>
              <a:chOff x="2389399" y="2595741"/>
              <a:chExt cx="812737" cy="296821"/>
            </a:xfrm>
          </p:grpSpPr>
          <p:grpSp>
            <p:nvGrpSpPr>
              <p:cNvPr id="7938" name="Google Shape;7938;p71"/>
              <p:cNvGrpSpPr/>
              <p:nvPr/>
            </p:nvGrpSpPr>
            <p:grpSpPr>
              <a:xfrm>
                <a:off x="2389399" y="2595741"/>
                <a:ext cx="363634" cy="296821"/>
                <a:chOff x="2389399" y="2595741"/>
                <a:chExt cx="363634" cy="296821"/>
              </a:xfrm>
            </p:grpSpPr>
            <p:grpSp>
              <p:nvGrpSpPr>
                <p:cNvPr id="7939" name="Google Shape;7939;p71"/>
                <p:cNvGrpSpPr/>
                <p:nvPr/>
              </p:nvGrpSpPr>
              <p:grpSpPr>
                <a:xfrm>
                  <a:off x="2493852" y="2794333"/>
                  <a:ext cx="259181" cy="98228"/>
                  <a:chOff x="2493852" y="2794333"/>
                  <a:chExt cx="259181" cy="98228"/>
                </a:xfrm>
              </p:grpSpPr>
              <p:sp>
                <p:nvSpPr>
                  <p:cNvPr id="7940" name="Google Shape;7940;p71"/>
                  <p:cNvSpPr/>
                  <p:nvPr/>
                </p:nvSpPr>
                <p:spPr>
                  <a:xfrm>
                    <a:off x="2500419" y="2800896"/>
                    <a:ext cx="246071" cy="85100"/>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1"/>
                  <p:cNvSpPr/>
                  <p:nvPr/>
                </p:nvSpPr>
                <p:spPr>
                  <a:xfrm>
                    <a:off x="2493852" y="2794333"/>
                    <a:ext cx="15356" cy="15352"/>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1"/>
                  <p:cNvSpPr/>
                  <p:nvPr/>
                </p:nvSpPr>
                <p:spPr>
                  <a:xfrm>
                    <a:off x="2737686" y="2877210"/>
                    <a:ext cx="15347" cy="15352"/>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71"/>
                <p:cNvGrpSpPr/>
                <p:nvPr/>
              </p:nvGrpSpPr>
              <p:grpSpPr>
                <a:xfrm>
                  <a:off x="2389399" y="2595741"/>
                  <a:ext cx="224284" cy="182006"/>
                  <a:chOff x="2389399" y="2595741"/>
                  <a:chExt cx="224284" cy="182006"/>
                </a:xfrm>
              </p:grpSpPr>
              <p:sp>
                <p:nvSpPr>
                  <p:cNvPr id="7944" name="Google Shape;7944;p71"/>
                  <p:cNvSpPr/>
                  <p:nvPr/>
                </p:nvSpPr>
                <p:spPr>
                  <a:xfrm>
                    <a:off x="2389399" y="2595741"/>
                    <a:ext cx="224284" cy="18200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1"/>
                  <p:cNvSpPr/>
                  <p:nvPr/>
                </p:nvSpPr>
                <p:spPr>
                  <a:xfrm>
                    <a:off x="2430284" y="2686181"/>
                    <a:ext cx="140289"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46" name="Google Shape;7946;p71"/>
              <p:cNvGrpSpPr/>
              <p:nvPr/>
            </p:nvGrpSpPr>
            <p:grpSpPr>
              <a:xfrm>
                <a:off x="2683630" y="2595741"/>
                <a:ext cx="224274" cy="296821"/>
                <a:chOff x="2683630" y="2595741"/>
                <a:chExt cx="224274" cy="296821"/>
              </a:xfrm>
            </p:grpSpPr>
            <p:grpSp>
              <p:nvGrpSpPr>
                <p:cNvPr id="7947" name="Google Shape;7947;p71"/>
                <p:cNvGrpSpPr/>
                <p:nvPr/>
              </p:nvGrpSpPr>
              <p:grpSpPr>
                <a:xfrm>
                  <a:off x="2788083" y="2794333"/>
                  <a:ext cx="15352" cy="98228"/>
                  <a:chOff x="2788083" y="2794333"/>
                  <a:chExt cx="15352" cy="98228"/>
                </a:xfrm>
              </p:grpSpPr>
              <p:sp>
                <p:nvSpPr>
                  <p:cNvPr id="7948" name="Google Shape;7948;p71"/>
                  <p:cNvSpPr/>
                  <p:nvPr/>
                </p:nvSpPr>
                <p:spPr>
                  <a:xfrm>
                    <a:off x="2794655" y="2800905"/>
                    <a:ext cx="2212" cy="85091"/>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1"/>
                  <p:cNvSpPr/>
                  <p:nvPr/>
                </p:nvSpPr>
                <p:spPr>
                  <a:xfrm>
                    <a:off x="2788083" y="2794333"/>
                    <a:ext cx="15352" cy="15352"/>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1"/>
                  <p:cNvSpPr/>
                  <p:nvPr/>
                </p:nvSpPr>
                <p:spPr>
                  <a:xfrm>
                    <a:off x="2788083" y="2877210"/>
                    <a:ext cx="15352" cy="15352"/>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1" name="Google Shape;7951;p71"/>
                <p:cNvGrpSpPr/>
                <p:nvPr/>
              </p:nvGrpSpPr>
              <p:grpSpPr>
                <a:xfrm>
                  <a:off x="2683630" y="2595741"/>
                  <a:ext cx="224274" cy="182006"/>
                  <a:chOff x="2683630" y="2595741"/>
                  <a:chExt cx="224274" cy="182006"/>
                </a:xfrm>
              </p:grpSpPr>
              <p:sp>
                <p:nvSpPr>
                  <p:cNvPr id="7952" name="Google Shape;7952;p71"/>
                  <p:cNvSpPr/>
                  <p:nvPr/>
                </p:nvSpPr>
                <p:spPr>
                  <a:xfrm>
                    <a:off x="2683630" y="2595741"/>
                    <a:ext cx="224274" cy="182006"/>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3" name="Google Shape;7953;p71"/>
                  <p:cNvSpPr/>
                  <p:nvPr/>
                </p:nvSpPr>
                <p:spPr>
                  <a:xfrm>
                    <a:off x="2724889" y="2686181"/>
                    <a:ext cx="140285"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54" name="Google Shape;7954;p71"/>
              <p:cNvGrpSpPr/>
              <p:nvPr/>
            </p:nvGrpSpPr>
            <p:grpSpPr>
              <a:xfrm>
                <a:off x="2838475" y="2595741"/>
                <a:ext cx="363660" cy="296821"/>
                <a:chOff x="2838475" y="2595741"/>
                <a:chExt cx="363660" cy="296821"/>
              </a:xfrm>
            </p:grpSpPr>
            <p:grpSp>
              <p:nvGrpSpPr>
                <p:cNvPr id="7955" name="Google Shape;7955;p71"/>
                <p:cNvGrpSpPr/>
                <p:nvPr/>
              </p:nvGrpSpPr>
              <p:grpSpPr>
                <a:xfrm>
                  <a:off x="2838475" y="2794333"/>
                  <a:ext cx="259181" cy="98228"/>
                  <a:chOff x="2838475" y="2794333"/>
                  <a:chExt cx="259181" cy="98228"/>
                </a:xfrm>
              </p:grpSpPr>
              <p:sp>
                <p:nvSpPr>
                  <p:cNvPr id="7956" name="Google Shape;7956;p71"/>
                  <p:cNvSpPr/>
                  <p:nvPr/>
                </p:nvSpPr>
                <p:spPr>
                  <a:xfrm>
                    <a:off x="2845042" y="2800896"/>
                    <a:ext cx="246057" cy="85100"/>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1"/>
                  <p:cNvSpPr/>
                  <p:nvPr/>
                </p:nvSpPr>
                <p:spPr>
                  <a:xfrm>
                    <a:off x="3082301" y="2794333"/>
                    <a:ext cx="15356" cy="15352"/>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1"/>
                  <p:cNvSpPr/>
                  <p:nvPr/>
                </p:nvSpPr>
                <p:spPr>
                  <a:xfrm>
                    <a:off x="2838475" y="2877210"/>
                    <a:ext cx="15347" cy="15352"/>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9" name="Google Shape;7959;p71"/>
                <p:cNvGrpSpPr/>
                <p:nvPr/>
              </p:nvGrpSpPr>
              <p:grpSpPr>
                <a:xfrm>
                  <a:off x="2977852" y="2595741"/>
                  <a:ext cx="224284" cy="182006"/>
                  <a:chOff x="2977852" y="2595741"/>
                  <a:chExt cx="224284" cy="182006"/>
                </a:xfrm>
              </p:grpSpPr>
              <p:sp>
                <p:nvSpPr>
                  <p:cNvPr id="7960" name="Google Shape;7960;p71"/>
                  <p:cNvSpPr/>
                  <p:nvPr/>
                </p:nvSpPr>
                <p:spPr>
                  <a:xfrm>
                    <a:off x="2977852" y="2595741"/>
                    <a:ext cx="224284" cy="182006"/>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1"/>
                  <p:cNvSpPr/>
                  <p:nvPr/>
                </p:nvSpPr>
                <p:spPr>
                  <a:xfrm>
                    <a:off x="3020572" y="2686181"/>
                    <a:ext cx="140289"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7962" name="Google Shape;7962;p71"/>
            <p:cNvGrpSpPr/>
            <p:nvPr/>
          </p:nvGrpSpPr>
          <p:grpSpPr>
            <a:xfrm>
              <a:off x="2389399" y="3100241"/>
              <a:ext cx="812796" cy="296869"/>
              <a:chOff x="2389399" y="3100241"/>
              <a:chExt cx="812796" cy="296869"/>
            </a:xfrm>
          </p:grpSpPr>
          <p:grpSp>
            <p:nvGrpSpPr>
              <p:cNvPr id="7963" name="Google Shape;7963;p71"/>
              <p:cNvGrpSpPr/>
              <p:nvPr/>
            </p:nvGrpSpPr>
            <p:grpSpPr>
              <a:xfrm>
                <a:off x="2683630" y="3100241"/>
                <a:ext cx="224334" cy="296869"/>
                <a:chOff x="2683630" y="3100241"/>
                <a:chExt cx="224334" cy="296869"/>
              </a:xfrm>
            </p:grpSpPr>
            <p:grpSp>
              <p:nvGrpSpPr>
                <p:cNvPr id="7964" name="Google Shape;7964;p71"/>
                <p:cNvGrpSpPr/>
                <p:nvPr/>
              </p:nvGrpSpPr>
              <p:grpSpPr>
                <a:xfrm>
                  <a:off x="2788083" y="3100241"/>
                  <a:ext cx="15356" cy="98237"/>
                  <a:chOff x="2788083" y="3100241"/>
                  <a:chExt cx="15356" cy="98237"/>
                </a:xfrm>
              </p:grpSpPr>
              <p:sp>
                <p:nvSpPr>
                  <p:cNvPr id="7965" name="Google Shape;7965;p71"/>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71"/>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1"/>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8" name="Google Shape;7968;p71"/>
                <p:cNvGrpSpPr/>
                <p:nvPr/>
              </p:nvGrpSpPr>
              <p:grpSpPr>
                <a:xfrm>
                  <a:off x="2683630" y="3215065"/>
                  <a:ext cx="224334" cy="182045"/>
                  <a:chOff x="2683630" y="3215065"/>
                  <a:chExt cx="224334" cy="182045"/>
                </a:xfrm>
              </p:grpSpPr>
              <p:sp>
                <p:nvSpPr>
                  <p:cNvPr id="7969" name="Google Shape;7969;p71"/>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0" name="Google Shape;7970;p71"/>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71" name="Google Shape;7971;p71"/>
              <p:cNvGrpSpPr/>
              <p:nvPr/>
            </p:nvGrpSpPr>
            <p:grpSpPr>
              <a:xfrm>
                <a:off x="2389399" y="3100241"/>
                <a:ext cx="363638" cy="296869"/>
                <a:chOff x="2389399" y="3100241"/>
                <a:chExt cx="363638" cy="296869"/>
              </a:xfrm>
            </p:grpSpPr>
            <p:grpSp>
              <p:nvGrpSpPr>
                <p:cNvPr id="7972" name="Google Shape;7972;p71"/>
                <p:cNvGrpSpPr/>
                <p:nvPr/>
              </p:nvGrpSpPr>
              <p:grpSpPr>
                <a:xfrm>
                  <a:off x="2493852" y="3100241"/>
                  <a:ext cx="259185" cy="98237"/>
                  <a:chOff x="2493852" y="3100241"/>
                  <a:chExt cx="259185" cy="98237"/>
                </a:xfrm>
              </p:grpSpPr>
              <p:sp>
                <p:nvSpPr>
                  <p:cNvPr id="7973" name="Google Shape;7973;p71"/>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1"/>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1"/>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71"/>
                <p:cNvGrpSpPr/>
                <p:nvPr/>
              </p:nvGrpSpPr>
              <p:grpSpPr>
                <a:xfrm>
                  <a:off x="2389399" y="3215065"/>
                  <a:ext cx="224343" cy="182045"/>
                  <a:chOff x="2389399" y="3215065"/>
                  <a:chExt cx="224343" cy="182045"/>
                </a:xfrm>
              </p:grpSpPr>
              <p:sp>
                <p:nvSpPr>
                  <p:cNvPr id="7977" name="Google Shape;7977;p71"/>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71"/>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79" name="Google Shape;7979;p71"/>
              <p:cNvGrpSpPr/>
              <p:nvPr/>
            </p:nvGrpSpPr>
            <p:grpSpPr>
              <a:xfrm>
                <a:off x="2838475" y="3100241"/>
                <a:ext cx="363719" cy="296869"/>
                <a:chOff x="2838475" y="3100241"/>
                <a:chExt cx="363719" cy="296869"/>
              </a:xfrm>
            </p:grpSpPr>
            <p:grpSp>
              <p:nvGrpSpPr>
                <p:cNvPr id="7980" name="Google Shape;7980;p71"/>
                <p:cNvGrpSpPr/>
                <p:nvPr/>
              </p:nvGrpSpPr>
              <p:grpSpPr>
                <a:xfrm>
                  <a:off x="2838475" y="3100241"/>
                  <a:ext cx="259185" cy="98237"/>
                  <a:chOff x="2838475" y="3100241"/>
                  <a:chExt cx="259185" cy="98237"/>
                </a:xfrm>
              </p:grpSpPr>
              <p:sp>
                <p:nvSpPr>
                  <p:cNvPr id="7981" name="Google Shape;7981;p71"/>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1"/>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1"/>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4" name="Google Shape;7984;p71"/>
                <p:cNvGrpSpPr/>
                <p:nvPr/>
              </p:nvGrpSpPr>
              <p:grpSpPr>
                <a:xfrm>
                  <a:off x="2977852" y="3215065"/>
                  <a:ext cx="224343" cy="182045"/>
                  <a:chOff x="2977852" y="3215065"/>
                  <a:chExt cx="224343" cy="182045"/>
                </a:xfrm>
              </p:grpSpPr>
              <p:sp>
                <p:nvSpPr>
                  <p:cNvPr id="7985" name="Google Shape;7985;p71"/>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1"/>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7990"/>
        <p:cNvGrpSpPr/>
        <p:nvPr/>
      </p:nvGrpSpPr>
      <p:grpSpPr>
        <a:xfrm>
          <a:off x="0" y="0"/>
          <a:ext cx="0" cy="0"/>
          <a:chOff x="0" y="0"/>
          <a:chExt cx="0" cy="0"/>
        </a:xfrm>
      </p:grpSpPr>
      <p:grpSp>
        <p:nvGrpSpPr>
          <p:cNvPr id="7991" name="Google Shape;7991;p72"/>
          <p:cNvGrpSpPr/>
          <p:nvPr/>
        </p:nvGrpSpPr>
        <p:grpSpPr>
          <a:xfrm>
            <a:off x="718875" y="3363288"/>
            <a:ext cx="2390414" cy="1024800"/>
            <a:chOff x="728925" y="3296613"/>
            <a:chExt cx="2390414" cy="1024800"/>
          </a:xfrm>
        </p:grpSpPr>
        <p:grpSp>
          <p:nvGrpSpPr>
            <p:cNvPr id="7992" name="Google Shape;7992;p72"/>
            <p:cNvGrpSpPr/>
            <p:nvPr/>
          </p:nvGrpSpPr>
          <p:grpSpPr>
            <a:xfrm>
              <a:off x="728925" y="3619800"/>
              <a:ext cx="2390414" cy="500893"/>
              <a:chOff x="728925" y="3619800"/>
              <a:chExt cx="2390414" cy="500893"/>
            </a:xfrm>
          </p:grpSpPr>
          <p:sp>
            <p:nvSpPr>
              <p:cNvPr id="7993" name="Google Shape;7993;p72"/>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7994" name="Google Shape;7994;p72"/>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7995" name="Google Shape;7995;p72"/>
            <p:cNvGrpSpPr/>
            <p:nvPr/>
          </p:nvGrpSpPr>
          <p:grpSpPr>
            <a:xfrm>
              <a:off x="1348050" y="3296613"/>
              <a:ext cx="1706152" cy="1024800"/>
              <a:chOff x="1348050" y="3296613"/>
              <a:chExt cx="1706152" cy="1024800"/>
            </a:xfrm>
          </p:grpSpPr>
          <p:sp>
            <p:nvSpPr>
              <p:cNvPr id="7996" name="Google Shape;7996;p72"/>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7997" name="Google Shape;7997;p72"/>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7998" name="Google Shape;7998;p72"/>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7999" name="Google Shape;7999;p72"/>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000" name="Google Shape;8000;p72"/>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001" name="Google Shape;8001;p72"/>
            <p:cNvGrpSpPr/>
            <p:nvPr/>
          </p:nvGrpSpPr>
          <p:grpSpPr>
            <a:xfrm>
              <a:off x="1455707" y="3654858"/>
              <a:ext cx="1491153" cy="417660"/>
              <a:chOff x="1455707" y="3654858"/>
              <a:chExt cx="1491153" cy="417660"/>
            </a:xfrm>
          </p:grpSpPr>
          <p:sp>
            <p:nvSpPr>
              <p:cNvPr id="8002" name="Google Shape;8002;p72"/>
              <p:cNvSpPr/>
              <p:nvPr/>
            </p:nvSpPr>
            <p:spPr>
              <a:xfrm>
                <a:off x="1472938" y="3687620"/>
                <a:ext cx="60034" cy="35798"/>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2"/>
              <p:cNvSpPr/>
              <p:nvPr/>
            </p:nvSpPr>
            <p:spPr>
              <a:xfrm>
                <a:off x="1490853" y="3669628"/>
                <a:ext cx="54215" cy="34570"/>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2"/>
              <p:cNvSpPr/>
              <p:nvPr/>
            </p:nvSpPr>
            <p:spPr>
              <a:xfrm>
                <a:off x="1819181" y="4031425"/>
                <a:ext cx="60034" cy="35798"/>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72"/>
              <p:cNvSpPr/>
              <p:nvPr/>
            </p:nvSpPr>
            <p:spPr>
              <a:xfrm>
                <a:off x="1837096" y="4013433"/>
                <a:ext cx="54215" cy="34570"/>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6" name="Google Shape;8006;p72"/>
              <p:cNvSpPr/>
              <p:nvPr/>
            </p:nvSpPr>
            <p:spPr>
              <a:xfrm>
                <a:off x="1478676" y="4008202"/>
                <a:ext cx="41354" cy="64317"/>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2"/>
              <p:cNvSpPr/>
              <p:nvPr/>
            </p:nvSpPr>
            <p:spPr>
              <a:xfrm>
                <a:off x="1455707" y="4007971"/>
                <a:ext cx="39515" cy="64169"/>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2"/>
              <p:cNvSpPr/>
              <p:nvPr/>
            </p:nvSpPr>
            <p:spPr>
              <a:xfrm>
                <a:off x="1841579" y="3655090"/>
                <a:ext cx="41354" cy="64317"/>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2"/>
              <p:cNvSpPr/>
              <p:nvPr/>
            </p:nvSpPr>
            <p:spPr>
              <a:xfrm>
                <a:off x="1818610" y="3654858"/>
                <a:ext cx="39515" cy="64169"/>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2"/>
              <p:cNvSpPr/>
              <p:nvPr/>
            </p:nvSpPr>
            <p:spPr>
              <a:xfrm>
                <a:off x="2172491" y="4031425"/>
                <a:ext cx="60034" cy="35798"/>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2"/>
              <p:cNvSpPr/>
              <p:nvPr/>
            </p:nvSpPr>
            <p:spPr>
              <a:xfrm>
                <a:off x="2190406" y="4013433"/>
                <a:ext cx="54215" cy="34570"/>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2"/>
              <p:cNvSpPr/>
              <p:nvPr/>
            </p:nvSpPr>
            <p:spPr>
              <a:xfrm>
                <a:off x="2194889" y="3655090"/>
                <a:ext cx="41354" cy="64317"/>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2"/>
              <p:cNvSpPr/>
              <p:nvPr/>
            </p:nvSpPr>
            <p:spPr>
              <a:xfrm>
                <a:off x="2171920" y="3654858"/>
                <a:ext cx="39515" cy="64169"/>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2"/>
              <p:cNvSpPr/>
              <p:nvPr/>
            </p:nvSpPr>
            <p:spPr>
              <a:xfrm>
                <a:off x="2874730" y="3687620"/>
                <a:ext cx="60034" cy="35798"/>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2"/>
              <p:cNvSpPr/>
              <p:nvPr/>
            </p:nvSpPr>
            <p:spPr>
              <a:xfrm>
                <a:off x="2892645" y="3669628"/>
                <a:ext cx="54215" cy="34570"/>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6" name="Google Shape;8016;p72"/>
              <p:cNvSpPr/>
              <p:nvPr/>
            </p:nvSpPr>
            <p:spPr>
              <a:xfrm>
                <a:off x="2901559" y="4005512"/>
                <a:ext cx="41354" cy="64317"/>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72"/>
              <p:cNvSpPr/>
              <p:nvPr/>
            </p:nvSpPr>
            <p:spPr>
              <a:xfrm>
                <a:off x="2878589" y="4005281"/>
                <a:ext cx="39515" cy="64169"/>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2"/>
              <p:cNvSpPr/>
              <p:nvPr/>
            </p:nvSpPr>
            <p:spPr>
              <a:xfrm>
                <a:off x="2525796" y="4031425"/>
                <a:ext cx="60034" cy="35798"/>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2"/>
              <p:cNvSpPr/>
              <p:nvPr/>
            </p:nvSpPr>
            <p:spPr>
              <a:xfrm>
                <a:off x="2543711" y="4013433"/>
                <a:ext cx="54215" cy="34570"/>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2"/>
              <p:cNvSpPr/>
              <p:nvPr/>
            </p:nvSpPr>
            <p:spPr>
              <a:xfrm>
                <a:off x="2548194" y="3655090"/>
                <a:ext cx="41354" cy="64317"/>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2"/>
              <p:cNvSpPr/>
              <p:nvPr/>
            </p:nvSpPr>
            <p:spPr>
              <a:xfrm>
                <a:off x="2525225" y="3654858"/>
                <a:ext cx="39515" cy="64169"/>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022" name="Google Shape;8022;p72"/>
          <p:cNvGraphicFramePr/>
          <p:nvPr/>
        </p:nvGraphicFramePr>
        <p:xfrm>
          <a:off x="5954575" y="2361200"/>
          <a:ext cx="2504100" cy="868600"/>
        </p:xfrm>
        <a:graphic>
          <a:graphicData uri="http://schemas.openxmlformats.org/drawingml/2006/table">
            <a:tbl>
              <a:tblPr>
                <a:noFill/>
                <a:tableStyleId>{0D388EE7-05B4-4AC6-A653-FD656CC95793}</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023" name="Google Shape;8023;p72"/>
          <p:cNvGrpSpPr/>
          <p:nvPr/>
        </p:nvGrpSpPr>
        <p:grpSpPr>
          <a:xfrm>
            <a:off x="727251" y="1188964"/>
            <a:ext cx="2396505" cy="976502"/>
            <a:chOff x="749309" y="1112739"/>
            <a:chExt cx="2371603" cy="976502"/>
          </a:xfrm>
        </p:grpSpPr>
        <p:grpSp>
          <p:nvGrpSpPr>
            <p:cNvPr id="8024" name="Google Shape;8024;p72"/>
            <p:cNvGrpSpPr/>
            <p:nvPr/>
          </p:nvGrpSpPr>
          <p:grpSpPr>
            <a:xfrm>
              <a:off x="1092126" y="1112739"/>
              <a:ext cx="2028786" cy="975464"/>
              <a:chOff x="1092126" y="1112739"/>
              <a:chExt cx="2028786" cy="975464"/>
            </a:xfrm>
          </p:grpSpPr>
          <p:sp>
            <p:nvSpPr>
              <p:cNvPr id="8025" name="Google Shape;8025;p72"/>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2"/>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2"/>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2"/>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2"/>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2"/>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1" name="Google Shape;8031;p72"/>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72"/>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2"/>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2"/>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2"/>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2"/>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2"/>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2"/>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2"/>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2"/>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2"/>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2"/>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3" name="Google Shape;8043;p72"/>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72"/>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2"/>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2"/>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2"/>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2"/>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9" name="Google Shape;8049;p72"/>
            <p:cNvGrpSpPr/>
            <p:nvPr/>
          </p:nvGrpSpPr>
          <p:grpSpPr>
            <a:xfrm>
              <a:off x="749309" y="1112739"/>
              <a:ext cx="314700" cy="975464"/>
              <a:chOff x="749309" y="1112739"/>
              <a:chExt cx="314700" cy="975464"/>
            </a:xfrm>
          </p:grpSpPr>
          <p:sp>
            <p:nvSpPr>
              <p:cNvPr id="8050" name="Google Shape;8050;p72"/>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1" name="Google Shape;8051;p72"/>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2" name="Google Shape;8052;p72"/>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2"/>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054" name="Google Shape;8054;p72"/>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2"/>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2"/>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2"/>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058" name="Google Shape;8058;p72"/>
          <p:cNvGraphicFramePr/>
          <p:nvPr/>
        </p:nvGraphicFramePr>
        <p:xfrm>
          <a:off x="5954600" y="1188950"/>
          <a:ext cx="2504100" cy="976500"/>
        </p:xfrm>
        <a:graphic>
          <a:graphicData uri="http://schemas.openxmlformats.org/drawingml/2006/table">
            <a:tbl>
              <a:tblPr>
                <a:noFill/>
                <a:tableStyleId>{0D388EE7-05B4-4AC6-A653-FD656CC95793}</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059" name="Google Shape;8059;p72"/>
          <p:cNvGraphicFramePr/>
          <p:nvPr/>
        </p:nvGraphicFramePr>
        <p:xfrm>
          <a:off x="3375463" y="2361200"/>
          <a:ext cx="2363400" cy="868575"/>
        </p:xfrm>
        <a:graphic>
          <a:graphicData uri="http://schemas.openxmlformats.org/drawingml/2006/table">
            <a:tbl>
              <a:tblPr>
                <a:noFill/>
                <a:tableStyleId>{0D388EE7-05B4-4AC6-A653-FD656CC95793}</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060" name="Google Shape;8060;p72"/>
          <p:cNvGrpSpPr/>
          <p:nvPr/>
        </p:nvGrpSpPr>
        <p:grpSpPr>
          <a:xfrm>
            <a:off x="3377449" y="3352160"/>
            <a:ext cx="2363401" cy="1047062"/>
            <a:chOff x="3358399" y="3285485"/>
            <a:chExt cx="2363401" cy="1047062"/>
          </a:xfrm>
        </p:grpSpPr>
        <p:grpSp>
          <p:nvGrpSpPr>
            <p:cNvPr id="8061" name="Google Shape;8061;p72"/>
            <p:cNvGrpSpPr/>
            <p:nvPr/>
          </p:nvGrpSpPr>
          <p:grpSpPr>
            <a:xfrm>
              <a:off x="3358412" y="3285485"/>
              <a:ext cx="2363388" cy="139537"/>
              <a:chOff x="3358412" y="3285485"/>
              <a:chExt cx="2363388" cy="139537"/>
            </a:xfrm>
          </p:grpSpPr>
          <p:sp>
            <p:nvSpPr>
              <p:cNvPr id="8062" name="Google Shape;8062;p72"/>
              <p:cNvSpPr/>
              <p:nvPr/>
            </p:nvSpPr>
            <p:spPr>
              <a:xfrm>
                <a:off x="3358412" y="3285485"/>
                <a:ext cx="441443" cy="139537"/>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2"/>
              <p:cNvSpPr/>
              <p:nvPr/>
            </p:nvSpPr>
            <p:spPr>
              <a:xfrm>
                <a:off x="3838898" y="3285485"/>
                <a:ext cx="441443" cy="139537"/>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2"/>
              <p:cNvSpPr/>
              <p:nvPr/>
            </p:nvSpPr>
            <p:spPr>
              <a:xfrm>
                <a:off x="4319384" y="3285485"/>
                <a:ext cx="441443" cy="139537"/>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72"/>
              <p:cNvSpPr/>
              <p:nvPr/>
            </p:nvSpPr>
            <p:spPr>
              <a:xfrm>
                <a:off x="4799870" y="3285485"/>
                <a:ext cx="441443" cy="139537"/>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6" name="Google Shape;8066;p72"/>
              <p:cNvSpPr/>
              <p:nvPr/>
            </p:nvSpPr>
            <p:spPr>
              <a:xfrm>
                <a:off x="5280356" y="3285485"/>
                <a:ext cx="441443" cy="139537"/>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7" name="Google Shape;8067;p72"/>
            <p:cNvGrpSpPr/>
            <p:nvPr/>
          </p:nvGrpSpPr>
          <p:grpSpPr>
            <a:xfrm>
              <a:off x="3358412" y="3466996"/>
              <a:ext cx="2363388" cy="139537"/>
              <a:chOff x="3358412" y="3466996"/>
              <a:chExt cx="2363388" cy="139537"/>
            </a:xfrm>
          </p:grpSpPr>
          <p:sp>
            <p:nvSpPr>
              <p:cNvPr id="8068" name="Google Shape;8068;p72"/>
              <p:cNvSpPr/>
              <p:nvPr/>
            </p:nvSpPr>
            <p:spPr>
              <a:xfrm>
                <a:off x="3358412" y="3466996"/>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2"/>
              <p:cNvSpPr/>
              <p:nvPr/>
            </p:nvSpPr>
            <p:spPr>
              <a:xfrm>
                <a:off x="3838898" y="3466996"/>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2"/>
              <p:cNvSpPr/>
              <p:nvPr/>
            </p:nvSpPr>
            <p:spPr>
              <a:xfrm>
                <a:off x="4319384" y="3466996"/>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72"/>
              <p:cNvSpPr/>
              <p:nvPr/>
            </p:nvSpPr>
            <p:spPr>
              <a:xfrm>
                <a:off x="4799870" y="3466996"/>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2" name="Google Shape;8072;p72"/>
              <p:cNvSpPr/>
              <p:nvPr/>
            </p:nvSpPr>
            <p:spPr>
              <a:xfrm>
                <a:off x="5280356" y="3466996"/>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3" name="Google Shape;8073;p72"/>
            <p:cNvGrpSpPr/>
            <p:nvPr/>
          </p:nvGrpSpPr>
          <p:grpSpPr>
            <a:xfrm>
              <a:off x="3358412" y="3648507"/>
              <a:ext cx="2363388" cy="139537"/>
              <a:chOff x="3358412" y="3648507"/>
              <a:chExt cx="2363388" cy="139537"/>
            </a:xfrm>
          </p:grpSpPr>
          <p:sp>
            <p:nvSpPr>
              <p:cNvPr id="8074" name="Google Shape;8074;p72"/>
              <p:cNvSpPr/>
              <p:nvPr/>
            </p:nvSpPr>
            <p:spPr>
              <a:xfrm>
                <a:off x="3358412" y="3648507"/>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2"/>
              <p:cNvSpPr/>
              <p:nvPr/>
            </p:nvSpPr>
            <p:spPr>
              <a:xfrm>
                <a:off x="3838898" y="3648507"/>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2"/>
              <p:cNvSpPr/>
              <p:nvPr/>
            </p:nvSpPr>
            <p:spPr>
              <a:xfrm>
                <a:off x="4319384" y="3648507"/>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72"/>
              <p:cNvSpPr/>
              <p:nvPr/>
            </p:nvSpPr>
            <p:spPr>
              <a:xfrm>
                <a:off x="4799870" y="3648507"/>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8" name="Google Shape;8078;p72"/>
              <p:cNvSpPr/>
              <p:nvPr/>
            </p:nvSpPr>
            <p:spPr>
              <a:xfrm>
                <a:off x="5280356" y="3648507"/>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9" name="Google Shape;8079;p72"/>
            <p:cNvGrpSpPr/>
            <p:nvPr/>
          </p:nvGrpSpPr>
          <p:grpSpPr>
            <a:xfrm>
              <a:off x="3358412" y="3830018"/>
              <a:ext cx="2363388" cy="139537"/>
              <a:chOff x="3358412" y="3830018"/>
              <a:chExt cx="2363388" cy="139537"/>
            </a:xfrm>
          </p:grpSpPr>
          <p:sp>
            <p:nvSpPr>
              <p:cNvPr id="8080" name="Google Shape;8080;p72"/>
              <p:cNvSpPr/>
              <p:nvPr/>
            </p:nvSpPr>
            <p:spPr>
              <a:xfrm>
                <a:off x="3358412" y="3830018"/>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1" name="Google Shape;8081;p72"/>
              <p:cNvSpPr/>
              <p:nvPr/>
            </p:nvSpPr>
            <p:spPr>
              <a:xfrm>
                <a:off x="3838898" y="3830018"/>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2" name="Google Shape;8082;p72"/>
              <p:cNvSpPr/>
              <p:nvPr/>
            </p:nvSpPr>
            <p:spPr>
              <a:xfrm>
                <a:off x="4319384" y="3830018"/>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2"/>
              <p:cNvSpPr/>
              <p:nvPr/>
            </p:nvSpPr>
            <p:spPr>
              <a:xfrm>
                <a:off x="4799870" y="3830018"/>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4" name="Google Shape;8084;p72"/>
              <p:cNvSpPr/>
              <p:nvPr/>
            </p:nvSpPr>
            <p:spPr>
              <a:xfrm>
                <a:off x="5280356" y="3830018"/>
                <a:ext cx="441443" cy="139537"/>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5" name="Google Shape;8085;p72"/>
            <p:cNvGrpSpPr/>
            <p:nvPr/>
          </p:nvGrpSpPr>
          <p:grpSpPr>
            <a:xfrm>
              <a:off x="3358399" y="4011514"/>
              <a:ext cx="2363377" cy="139537"/>
              <a:chOff x="3294800" y="4134603"/>
              <a:chExt cx="2638876" cy="152400"/>
            </a:xfrm>
          </p:grpSpPr>
          <p:sp>
            <p:nvSpPr>
              <p:cNvPr id="8086" name="Google Shape;8086;p72"/>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2"/>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2"/>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2"/>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2"/>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1" name="Google Shape;8091;p72"/>
            <p:cNvGrpSpPr/>
            <p:nvPr/>
          </p:nvGrpSpPr>
          <p:grpSpPr>
            <a:xfrm>
              <a:off x="3358412" y="4193010"/>
              <a:ext cx="2363388" cy="139537"/>
              <a:chOff x="3294800" y="4134603"/>
              <a:chExt cx="2638876" cy="152400"/>
            </a:xfrm>
          </p:grpSpPr>
          <p:sp>
            <p:nvSpPr>
              <p:cNvPr id="8092" name="Google Shape;8092;p72"/>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2"/>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2"/>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72"/>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6" name="Google Shape;8096;p72"/>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097" name="Google Shape;8097;p72"/>
          <p:cNvGraphicFramePr/>
          <p:nvPr/>
        </p:nvGraphicFramePr>
        <p:xfrm>
          <a:off x="728250" y="2361200"/>
          <a:ext cx="2369800" cy="889350"/>
        </p:xfrm>
        <a:graphic>
          <a:graphicData uri="http://schemas.openxmlformats.org/drawingml/2006/table">
            <a:tbl>
              <a:tblPr>
                <a:noFill/>
                <a:tableStyleId>{0D388EE7-05B4-4AC6-A653-FD656CC95793}</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098" name="Google Shape;8098;p72"/>
          <p:cNvGrpSpPr/>
          <p:nvPr/>
        </p:nvGrpSpPr>
        <p:grpSpPr>
          <a:xfrm>
            <a:off x="4177919" y="2765014"/>
            <a:ext cx="1302095" cy="60959"/>
            <a:chOff x="3558802" y="4011427"/>
            <a:chExt cx="1866000" cy="111300"/>
          </a:xfrm>
        </p:grpSpPr>
        <p:sp>
          <p:nvSpPr>
            <p:cNvPr id="8099" name="Google Shape;8099;p72"/>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0" name="Google Shape;8100;p72"/>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1" name="Google Shape;8101;p72"/>
          <p:cNvGrpSpPr/>
          <p:nvPr/>
        </p:nvGrpSpPr>
        <p:grpSpPr>
          <a:xfrm>
            <a:off x="4723407" y="3047174"/>
            <a:ext cx="914340" cy="60959"/>
            <a:chOff x="3558802" y="4011427"/>
            <a:chExt cx="1866000" cy="111300"/>
          </a:xfrm>
        </p:grpSpPr>
        <p:sp>
          <p:nvSpPr>
            <p:cNvPr id="8102" name="Google Shape;8102;p72"/>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2"/>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4" name="Google Shape;8104;p72"/>
          <p:cNvGrpSpPr/>
          <p:nvPr/>
        </p:nvGrpSpPr>
        <p:grpSpPr>
          <a:xfrm>
            <a:off x="5926924" y="3381697"/>
            <a:ext cx="2519825" cy="1001454"/>
            <a:chOff x="1906114" y="789980"/>
            <a:chExt cx="1487676" cy="606868"/>
          </a:xfrm>
        </p:grpSpPr>
        <p:cxnSp>
          <p:nvCxnSpPr>
            <p:cNvPr id="8105" name="Google Shape;8105;p72"/>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106" name="Google Shape;8106;p72"/>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107" name="Google Shape;8107;p72"/>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108" name="Google Shape;8108;p72"/>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109" name="Google Shape;8109;p72"/>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110" name="Google Shape;8110;p72"/>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8111" name="Google Shape;8111;p72"/>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8112" name="Google Shape;8112;p72"/>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2"/>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2"/>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2"/>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2"/>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2"/>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8" name="Google Shape;8118;p72"/>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8119" name="Google Shape;8119;p72"/>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8120" name="Google Shape;8120;p72"/>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8121" name="Google Shape;8121;p72"/>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2" name="Google Shape;8122;p72"/>
          <p:cNvGrpSpPr/>
          <p:nvPr/>
        </p:nvGrpSpPr>
        <p:grpSpPr>
          <a:xfrm>
            <a:off x="3372612" y="1159008"/>
            <a:ext cx="2363393" cy="1005865"/>
            <a:chOff x="3292400" y="1193188"/>
            <a:chExt cx="2615240" cy="1131075"/>
          </a:xfrm>
        </p:grpSpPr>
        <p:sp>
          <p:nvSpPr>
            <p:cNvPr id="8123" name="Google Shape;8123;p72"/>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24" name="Google Shape;8124;p72"/>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25" name="Google Shape;8125;p72"/>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8126" name="Google Shape;8126;p72"/>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8127" name="Google Shape;8127;p72"/>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8128" name="Google Shape;8128;p72"/>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8129" name="Google Shape;8129;p72"/>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8130" name="Google Shape;8130;p72"/>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8131" name="Google Shape;8131;p72"/>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8132" name="Google Shape;8132;p72"/>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8133" name="Google Shape;8133;p72"/>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8134" name="Google Shape;8134;p72"/>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8135" name="Google Shape;8135;p72"/>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8136" name="Google Shape;8136;p72"/>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8137" name="Google Shape;8137;p72"/>
            <p:cNvGrpSpPr/>
            <p:nvPr/>
          </p:nvGrpSpPr>
          <p:grpSpPr>
            <a:xfrm>
              <a:off x="3748438" y="1378608"/>
              <a:ext cx="2159202" cy="903971"/>
              <a:chOff x="1683525" y="2179850"/>
              <a:chExt cx="4519050" cy="2134525"/>
            </a:xfrm>
          </p:grpSpPr>
          <p:sp>
            <p:nvSpPr>
              <p:cNvPr id="8138" name="Google Shape;8138;p72"/>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39" name="Google Shape;8139;p72"/>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0" name="Google Shape;8140;p72"/>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1" name="Google Shape;8141;p72"/>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2" name="Google Shape;8142;p72"/>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3" name="Google Shape;8143;p72"/>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4" name="Google Shape;8144;p72"/>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5" name="Google Shape;8145;p72"/>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6" name="Google Shape;8146;p72"/>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7" name="Google Shape;8147;p72"/>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8" name="Google Shape;8148;p72"/>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8149" name="Google Shape;8149;p72"/>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8153"/>
        <p:cNvGrpSpPr/>
        <p:nvPr/>
      </p:nvGrpSpPr>
      <p:grpSpPr>
        <a:xfrm>
          <a:off x="0" y="0"/>
          <a:ext cx="0" cy="0"/>
          <a:chOff x="0" y="0"/>
          <a:chExt cx="0" cy="0"/>
        </a:xfrm>
      </p:grpSpPr>
      <p:grpSp>
        <p:nvGrpSpPr>
          <p:cNvPr id="8154" name="Google Shape;8154;p73"/>
          <p:cNvGrpSpPr/>
          <p:nvPr/>
        </p:nvGrpSpPr>
        <p:grpSpPr>
          <a:xfrm>
            <a:off x="4814684" y="1191441"/>
            <a:ext cx="745431" cy="718863"/>
            <a:chOff x="4249973" y="1201875"/>
            <a:chExt cx="1958568" cy="1888762"/>
          </a:xfrm>
        </p:grpSpPr>
        <p:sp>
          <p:nvSpPr>
            <p:cNvPr id="8155" name="Google Shape;8155;p73"/>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56" name="Google Shape;8156;p73"/>
            <p:cNvGrpSpPr/>
            <p:nvPr/>
          </p:nvGrpSpPr>
          <p:grpSpPr>
            <a:xfrm>
              <a:off x="5853086" y="1789142"/>
              <a:ext cx="355454" cy="1048099"/>
              <a:chOff x="5576108" y="2016725"/>
              <a:chExt cx="565200" cy="1666560"/>
            </a:xfrm>
          </p:grpSpPr>
          <p:sp>
            <p:nvSpPr>
              <p:cNvPr id="8157" name="Google Shape;8157;p73"/>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8158" name="Google Shape;8158;p73"/>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9" name="Google Shape;8159;p73"/>
            <p:cNvGrpSpPr/>
            <p:nvPr/>
          </p:nvGrpSpPr>
          <p:grpSpPr>
            <a:xfrm>
              <a:off x="4869455" y="2691676"/>
              <a:ext cx="1013897" cy="398961"/>
              <a:chOff x="4012057" y="3451825"/>
              <a:chExt cx="1612175" cy="634379"/>
            </a:xfrm>
          </p:grpSpPr>
          <p:sp>
            <p:nvSpPr>
              <p:cNvPr id="8160" name="Google Shape;8160;p73"/>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8161" name="Google Shape;8161;p73"/>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2" name="Google Shape;8162;p73"/>
            <p:cNvGrpSpPr/>
            <p:nvPr/>
          </p:nvGrpSpPr>
          <p:grpSpPr>
            <a:xfrm>
              <a:off x="4276937" y="2155961"/>
              <a:ext cx="651965" cy="891358"/>
              <a:chOff x="3069908" y="2599997"/>
              <a:chExt cx="1036675" cy="1417328"/>
            </a:xfrm>
          </p:grpSpPr>
          <p:sp>
            <p:nvSpPr>
              <p:cNvPr id="8163" name="Google Shape;8163;p73"/>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8164" name="Google Shape;8164;p73"/>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5" name="Google Shape;8165;p73"/>
            <p:cNvGrpSpPr/>
            <p:nvPr/>
          </p:nvGrpSpPr>
          <p:grpSpPr>
            <a:xfrm>
              <a:off x="5054918" y="1201875"/>
              <a:ext cx="999548" cy="602711"/>
              <a:chOff x="4306958" y="1082925"/>
              <a:chExt cx="1589359" cy="958358"/>
            </a:xfrm>
          </p:grpSpPr>
          <p:sp>
            <p:nvSpPr>
              <p:cNvPr id="8166" name="Google Shape;8166;p73"/>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8167" name="Google Shape;8167;p73"/>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8" name="Google Shape;8168;p73"/>
            <p:cNvGrpSpPr/>
            <p:nvPr/>
          </p:nvGrpSpPr>
          <p:grpSpPr>
            <a:xfrm>
              <a:off x="4249973" y="1303451"/>
              <a:ext cx="799317" cy="841334"/>
              <a:chOff x="3027033" y="1244439"/>
              <a:chExt cx="1270977" cy="1337786"/>
            </a:xfrm>
          </p:grpSpPr>
          <p:sp>
            <p:nvSpPr>
              <p:cNvPr id="8169" name="Google Shape;8169;p73"/>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8170" name="Google Shape;8170;p73"/>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171" name="Google Shape;8171;p73"/>
          <p:cNvGrpSpPr/>
          <p:nvPr/>
        </p:nvGrpSpPr>
        <p:grpSpPr>
          <a:xfrm>
            <a:off x="731057" y="2069890"/>
            <a:ext cx="761767" cy="729896"/>
            <a:chOff x="2657744" y="2337745"/>
            <a:chExt cx="832987" cy="798137"/>
          </a:xfrm>
        </p:grpSpPr>
        <p:sp>
          <p:nvSpPr>
            <p:cNvPr id="8172" name="Google Shape;8172;p73"/>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3"/>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3"/>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3"/>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73"/>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7" name="Google Shape;8177;p73"/>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8" name="Google Shape;8178;p73"/>
          <p:cNvGrpSpPr/>
          <p:nvPr/>
        </p:nvGrpSpPr>
        <p:grpSpPr>
          <a:xfrm>
            <a:off x="3242022" y="2073097"/>
            <a:ext cx="685569" cy="723586"/>
            <a:chOff x="3398134" y="2057755"/>
            <a:chExt cx="704087" cy="743130"/>
          </a:xfrm>
        </p:grpSpPr>
        <p:grpSp>
          <p:nvGrpSpPr>
            <p:cNvPr id="8179" name="Google Shape;8179;p73"/>
            <p:cNvGrpSpPr/>
            <p:nvPr/>
          </p:nvGrpSpPr>
          <p:grpSpPr>
            <a:xfrm>
              <a:off x="3398134" y="2290183"/>
              <a:ext cx="315300" cy="219900"/>
              <a:chOff x="3398134" y="2290183"/>
              <a:chExt cx="315300" cy="219900"/>
            </a:xfrm>
          </p:grpSpPr>
          <p:sp>
            <p:nvSpPr>
              <p:cNvPr id="8180" name="Google Shape;8180;p73"/>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8181" name="Google Shape;8181;p73"/>
              <p:cNvCxnSpPr>
                <a:stCxn id="8180"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8182" name="Google Shape;8182;p73"/>
            <p:cNvGrpSpPr/>
            <p:nvPr/>
          </p:nvGrpSpPr>
          <p:grpSpPr>
            <a:xfrm>
              <a:off x="3547823" y="2467358"/>
              <a:ext cx="219900" cy="333527"/>
              <a:chOff x="3547823" y="2467358"/>
              <a:chExt cx="219900" cy="333527"/>
            </a:xfrm>
          </p:grpSpPr>
          <p:sp>
            <p:nvSpPr>
              <p:cNvPr id="8183" name="Google Shape;8183;p73"/>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8184" name="Google Shape;8184;p73"/>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8185" name="Google Shape;8185;p73"/>
            <p:cNvGrpSpPr/>
            <p:nvPr/>
          </p:nvGrpSpPr>
          <p:grpSpPr>
            <a:xfrm>
              <a:off x="3734138" y="2467358"/>
              <a:ext cx="219900" cy="333527"/>
              <a:chOff x="3734138" y="2467358"/>
              <a:chExt cx="219900" cy="333527"/>
            </a:xfrm>
          </p:grpSpPr>
          <p:sp>
            <p:nvSpPr>
              <p:cNvPr id="8186" name="Google Shape;8186;p73"/>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8187" name="Google Shape;8187;p73"/>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8188" name="Google Shape;8188;p73"/>
            <p:cNvGrpSpPr/>
            <p:nvPr/>
          </p:nvGrpSpPr>
          <p:grpSpPr>
            <a:xfrm>
              <a:off x="3787560" y="2288011"/>
              <a:ext cx="314661" cy="219900"/>
              <a:chOff x="3787560" y="2288011"/>
              <a:chExt cx="314661" cy="219900"/>
            </a:xfrm>
          </p:grpSpPr>
          <p:sp>
            <p:nvSpPr>
              <p:cNvPr id="8189" name="Google Shape;8189;p73"/>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8190" name="Google Shape;8190;p73"/>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8191" name="Google Shape;8191;p73"/>
            <p:cNvGrpSpPr/>
            <p:nvPr/>
          </p:nvGrpSpPr>
          <p:grpSpPr>
            <a:xfrm>
              <a:off x="3637290" y="2057755"/>
              <a:ext cx="219900" cy="335499"/>
              <a:chOff x="3637290" y="2057755"/>
              <a:chExt cx="219900" cy="335499"/>
            </a:xfrm>
          </p:grpSpPr>
          <p:sp>
            <p:nvSpPr>
              <p:cNvPr id="8192" name="Google Shape;8192;p73"/>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8193" name="Google Shape;8193;p73"/>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8194" name="Google Shape;8194;p73"/>
          <p:cNvGrpSpPr/>
          <p:nvPr/>
        </p:nvGrpSpPr>
        <p:grpSpPr>
          <a:xfrm>
            <a:off x="4917244" y="2079792"/>
            <a:ext cx="710255" cy="710092"/>
            <a:chOff x="5007123" y="2079403"/>
            <a:chExt cx="687698" cy="687541"/>
          </a:xfrm>
        </p:grpSpPr>
        <p:sp>
          <p:nvSpPr>
            <p:cNvPr id="8195" name="Google Shape;8195;p73"/>
            <p:cNvSpPr/>
            <p:nvPr/>
          </p:nvSpPr>
          <p:spPr>
            <a:xfrm>
              <a:off x="5007123" y="2079403"/>
              <a:ext cx="687698" cy="687541"/>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3"/>
            <p:cNvSpPr/>
            <p:nvPr/>
          </p:nvSpPr>
          <p:spPr>
            <a:xfrm>
              <a:off x="5069448" y="2141702"/>
              <a:ext cx="563048" cy="562943"/>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3"/>
            <p:cNvSpPr/>
            <p:nvPr/>
          </p:nvSpPr>
          <p:spPr>
            <a:xfrm>
              <a:off x="5146403" y="2218605"/>
              <a:ext cx="409137" cy="409137"/>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3"/>
            <p:cNvSpPr/>
            <p:nvPr/>
          </p:nvSpPr>
          <p:spPr>
            <a:xfrm>
              <a:off x="5221891" y="2294066"/>
              <a:ext cx="258162" cy="258215"/>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9" name="Google Shape;8199;p73"/>
          <p:cNvGrpSpPr/>
          <p:nvPr/>
        </p:nvGrpSpPr>
        <p:grpSpPr>
          <a:xfrm>
            <a:off x="5726681" y="2074299"/>
            <a:ext cx="721079" cy="721079"/>
            <a:chOff x="5797446" y="2063053"/>
            <a:chExt cx="698179" cy="698179"/>
          </a:xfrm>
        </p:grpSpPr>
        <p:sp>
          <p:nvSpPr>
            <p:cNvPr id="8200" name="Google Shape;8200;p73"/>
            <p:cNvSpPr/>
            <p:nvPr/>
          </p:nvSpPr>
          <p:spPr>
            <a:xfrm>
              <a:off x="5797446" y="2063053"/>
              <a:ext cx="698179" cy="698179"/>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1" name="Google Shape;8201;p73"/>
            <p:cNvSpPr/>
            <p:nvPr/>
          </p:nvSpPr>
          <p:spPr>
            <a:xfrm>
              <a:off x="5872067" y="2212295"/>
              <a:ext cx="548937" cy="548937"/>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3"/>
            <p:cNvSpPr/>
            <p:nvPr/>
          </p:nvSpPr>
          <p:spPr>
            <a:xfrm>
              <a:off x="5921353" y="2310867"/>
              <a:ext cx="450365" cy="450365"/>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3"/>
            <p:cNvSpPr/>
            <p:nvPr/>
          </p:nvSpPr>
          <p:spPr>
            <a:xfrm>
              <a:off x="5967936" y="2404033"/>
              <a:ext cx="357199" cy="357199"/>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73"/>
          <p:cNvGrpSpPr/>
          <p:nvPr/>
        </p:nvGrpSpPr>
        <p:grpSpPr>
          <a:xfrm>
            <a:off x="8171828" y="3719904"/>
            <a:ext cx="280576" cy="673160"/>
            <a:chOff x="8075075" y="3754290"/>
            <a:chExt cx="255604" cy="613190"/>
          </a:xfrm>
        </p:grpSpPr>
        <p:grpSp>
          <p:nvGrpSpPr>
            <p:cNvPr id="8205" name="Google Shape;8205;p73"/>
            <p:cNvGrpSpPr/>
            <p:nvPr/>
          </p:nvGrpSpPr>
          <p:grpSpPr>
            <a:xfrm>
              <a:off x="8075075" y="3754290"/>
              <a:ext cx="255604" cy="613190"/>
              <a:chOff x="8075075" y="3754290"/>
              <a:chExt cx="255604" cy="613190"/>
            </a:xfrm>
          </p:grpSpPr>
          <p:sp>
            <p:nvSpPr>
              <p:cNvPr id="8206" name="Google Shape;8206;p73"/>
              <p:cNvSpPr/>
              <p:nvPr/>
            </p:nvSpPr>
            <p:spPr>
              <a:xfrm>
                <a:off x="8075075" y="4252967"/>
                <a:ext cx="255604" cy="114513"/>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7" name="Google Shape;8207;p73"/>
              <p:cNvSpPr/>
              <p:nvPr/>
            </p:nvSpPr>
            <p:spPr>
              <a:xfrm>
                <a:off x="8075075" y="3754290"/>
                <a:ext cx="255604" cy="498698"/>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08" name="Google Shape;8208;p73"/>
            <p:cNvSpPr/>
            <p:nvPr/>
          </p:nvSpPr>
          <p:spPr>
            <a:xfrm>
              <a:off x="8107762" y="3782257"/>
              <a:ext cx="190275" cy="190275"/>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9" name="Google Shape;8209;p73"/>
          <p:cNvGrpSpPr/>
          <p:nvPr/>
        </p:nvGrpSpPr>
        <p:grpSpPr>
          <a:xfrm>
            <a:off x="5288887" y="3708700"/>
            <a:ext cx="470352" cy="683745"/>
            <a:chOff x="1697726" y="3244179"/>
            <a:chExt cx="788124" cy="1146069"/>
          </a:xfrm>
        </p:grpSpPr>
        <p:sp>
          <p:nvSpPr>
            <p:cNvPr id="8210" name="Google Shape;8210;p73"/>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3"/>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12" name="Google Shape;8212;p73"/>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13" name="Google Shape;8213;p73"/>
          <p:cNvGrpSpPr/>
          <p:nvPr/>
        </p:nvGrpSpPr>
        <p:grpSpPr>
          <a:xfrm>
            <a:off x="5910037" y="3719902"/>
            <a:ext cx="293891" cy="293845"/>
            <a:chOff x="6134814" y="3754290"/>
            <a:chExt cx="293891" cy="293845"/>
          </a:xfrm>
        </p:grpSpPr>
        <p:sp>
          <p:nvSpPr>
            <p:cNvPr id="8214" name="Google Shape;8214;p73"/>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3"/>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73"/>
          <p:cNvGrpSpPr/>
          <p:nvPr/>
        </p:nvGrpSpPr>
        <p:grpSpPr>
          <a:xfrm>
            <a:off x="5910037" y="4098574"/>
            <a:ext cx="293891" cy="293891"/>
            <a:chOff x="6134814" y="4086186"/>
            <a:chExt cx="293891" cy="293891"/>
          </a:xfrm>
        </p:grpSpPr>
        <p:sp>
          <p:nvSpPr>
            <p:cNvPr id="8217" name="Google Shape;8217;p73"/>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73"/>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19" name="Google Shape;8219;p73"/>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3"/>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21" name="Google Shape;8221;p73"/>
          <p:cNvGrpSpPr/>
          <p:nvPr/>
        </p:nvGrpSpPr>
        <p:grpSpPr>
          <a:xfrm>
            <a:off x="7835013" y="2927266"/>
            <a:ext cx="622883" cy="621944"/>
            <a:chOff x="1187048" y="238125"/>
            <a:chExt cx="5256397" cy="5248476"/>
          </a:xfrm>
        </p:grpSpPr>
        <p:sp>
          <p:nvSpPr>
            <p:cNvPr id="8222" name="Google Shape;8222;p73"/>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3"/>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3"/>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3"/>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6" name="Google Shape;8226;p73"/>
          <p:cNvGrpSpPr/>
          <p:nvPr/>
        </p:nvGrpSpPr>
        <p:grpSpPr>
          <a:xfrm>
            <a:off x="2292118" y="2936875"/>
            <a:ext cx="1310987" cy="612407"/>
            <a:chOff x="238125" y="1188750"/>
            <a:chExt cx="7140450" cy="3335550"/>
          </a:xfrm>
        </p:grpSpPr>
        <p:sp>
          <p:nvSpPr>
            <p:cNvPr id="8227" name="Google Shape;8227;p73"/>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3"/>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3"/>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73"/>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1" name="Google Shape;8231;p73"/>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2" name="Google Shape;8232;p73"/>
          <p:cNvGrpSpPr/>
          <p:nvPr/>
        </p:nvGrpSpPr>
        <p:grpSpPr>
          <a:xfrm>
            <a:off x="6617990" y="2927430"/>
            <a:ext cx="1110299" cy="621702"/>
            <a:chOff x="238125" y="1335475"/>
            <a:chExt cx="5418735" cy="3034175"/>
          </a:xfrm>
        </p:grpSpPr>
        <p:sp>
          <p:nvSpPr>
            <p:cNvPr id="8233" name="Google Shape;8233;p73"/>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3"/>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3"/>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6" name="Google Shape;8236;p73"/>
          <p:cNvGrpSpPr/>
          <p:nvPr/>
        </p:nvGrpSpPr>
        <p:grpSpPr>
          <a:xfrm>
            <a:off x="5434485" y="2924327"/>
            <a:ext cx="1076781" cy="624726"/>
            <a:chOff x="5357937" y="2910889"/>
            <a:chExt cx="1100103" cy="638322"/>
          </a:xfrm>
        </p:grpSpPr>
        <p:grpSp>
          <p:nvGrpSpPr>
            <p:cNvPr id="8237" name="Google Shape;8237;p73"/>
            <p:cNvGrpSpPr/>
            <p:nvPr/>
          </p:nvGrpSpPr>
          <p:grpSpPr>
            <a:xfrm>
              <a:off x="5929791" y="3263088"/>
              <a:ext cx="528250" cy="286122"/>
              <a:chOff x="5929791" y="3263088"/>
              <a:chExt cx="528250" cy="286122"/>
            </a:xfrm>
          </p:grpSpPr>
          <p:sp>
            <p:nvSpPr>
              <p:cNvPr id="8238" name="Google Shape;8238;p73"/>
              <p:cNvSpPr/>
              <p:nvPr/>
            </p:nvSpPr>
            <p:spPr>
              <a:xfrm>
                <a:off x="5929791" y="3263088"/>
                <a:ext cx="330335" cy="28612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8239" name="Google Shape;8239;p73"/>
              <p:cNvSpPr/>
              <p:nvPr/>
            </p:nvSpPr>
            <p:spPr>
              <a:xfrm>
                <a:off x="6247886" y="3331025"/>
                <a:ext cx="210154" cy="216576"/>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8240" name="Google Shape;8240;p73"/>
            <p:cNvGrpSpPr/>
            <p:nvPr/>
          </p:nvGrpSpPr>
          <p:grpSpPr>
            <a:xfrm>
              <a:off x="5357937" y="3263089"/>
              <a:ext cx="529488" cy="286122"/>
              <a:chOff x="5357937" y="3263089"/>
              <a:chExt cx="529488" cy="286122"/>
            </a:xfrm>
          </p:grpSpPr>
          <p:sp>
            <p:nvSpPr>
              <p:cNvPr id="8241" name="Google Shape;8241;p73"/>
              <p:cNvSpPr/>
              <p:nvPr/>
            </p:nvSpPr>
            <p:spPr>
              <a:xfrm>
                <a:off x="5557090" y="3263089"/>
                <a:ext cx="330335" cy="28612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8242" name="Google Shape;8242;p73"/>
              <p:cNvSpPr/>
              <p:nvPr/>
            </p:nvSpPr>
            <p:spPr>
              <a:xfrm flipH="1">
                <a:off x="5357937" y="3332559"/>
                <a:ext cx="210154" cy="216576"/>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8243" name="Google Shape;8243;p73"/>
            <p:cNvGrpSpPr/>
            <p:nvPr/>
          </p:nvGrpSpPr>
          <p:grpSpPr>
            <a:xfrm>
              <a:off x="5550335" y="2910889"/>
              <a:ext cx="523962" cy="611903"/>
              <a:chOff x="5550335" y="2910889"/>
              <a:chExt cx="523962" cy="611903"/>
            </a:xfrm>
          </p:grpSpPr>
          <p:sp>
            <p:nvSpPr>
              <p:cNvPr id="8244" name="Google Shape;8244;p73"/>
              <p:cNvSpPr/>
              <p:nvPr/>
            </p:nvSpPr>
            <p:spPr>
              <a:xfrm>
                <a:off x="5743962" y="3236669"/>
                <a:ext cx="330335" cy="28612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8245" name="Google Shape;8245;p73"/>
              <p:cNvSpPr/>
              <p:nvPr/>
            </p:nvSpPr>
            <p:spPr>
              <a:xfrm flipH="1">
                <a:off x="5550335" y="2910889"/>
                <a:ext cx="210154" cy="327506"/>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8246" name="Google Shape;8246;p73"/>
            <p:cNvGrpSpPr/>
            <p:nvPr/>
          </p:nvGrpSpPr>
          <p:grpSpPr>
            <a:xfrm>
              <a:off x="5743962" y="2919100"/>
              <a:ext cx="624099" cy="286122"/>
              <a:chOff x="5743962" y="2919100"/>
              <a:chExt cx="624099" cy="286122"/>
            </a:xfrm>
          </p:grpSpPr>
          <p:sp>
            <p:nvSpPr>
              <p:cNvPr id="8247" name="Google Shape;8247;p73"/>
              <p:cNvSpPr/>
              <p:nvPr/>
            </p:nvSpPr>
            <p:spPr>
              <a:xfrm>
                <a:off x="5743962" y="2919100"/>
                <a:ext cx="330335" cy="28612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8248" name="Google Shape;8248;p73"/>
              <p:cNvSpPr/>
              <p:nvPr/>
            </p:nvSpPr>
            <p:spPr>
              <a:xfrm>
                <a:off x="6060335" y="2920591"/>
                <a:ext cx="307725" cy="283486"/>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8249" name="Google Shape;8249;p73"/>
          <p:cNvGrpSpPr/>
          <p:nvPr/>
        </p:nvGrpSpPr>
        <p:grpSpPr>
          <a:xfrm>
            <a:off x="7586863" y="2075038"/>
            <a:ext cx="874976" cy="719600"/>
            <a:chOff x="7608988" y="2093194"/>
            <a:chExt cx="817276" cy="672147"/>
          </a:xfrm>
        </p:grpSpPr>
        <p:cxnSp>
          <p:nvCxnSpPr>
            <p:cNvPr id="8250" name="Google Shape;8250;p73"/>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251" name="Google Shape;8251;p73"/>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252" name="Google Shape;8252;p73"/>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253" name="Google Shape;8253;p73"/>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254" name="Google Shape;8254;p73"/>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8255" name="Google Shape;8255;p73"/>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8256" name="Google Shape;8256;p73"/>
            <p:cNvGrpSpPr/>
            <p:nvPr/>
          </p:nvGrpSpPr>
          <p:grpSpPr>
            <a:xfrm>
              <a:off x="7721175" y="2093194"/>
              <a:ext cx="599587" cy="623846"/>
              <a:chOff x="7721175" y="2093194"/>
              <a:chExt cx="599587" cy="623846"/>
            </a:xfrm>
          </p:grpSpPr>
          <p:grpSp>
            <p:nvGrpSpPr>
              <p:cNvPr id="8257" name="Google Shape;8257;p73"/>
              <p:cNvGrpSpPr/>
              <p:nvPr/>
            </p:nvGrpSpPr>
            <p:grpSpPr>
              <a:xfrm>
                <a:off x="7721175" y="2093194"/>
                <a:ext cx="291605" cy="623846"/>
                <a:chOff x="9405575" y="2061418"/>
                <a:chExt cx="291605" cy="623846"/>
              </a:xfrm>
            </p:grpSpPr>
            <p:sp>
              <p:nvSpPr>
                <p:cNvPr id="8258" name="Google Shape;8258;p73"/>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3"/>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73"/>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73"/>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3"/>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73"/>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73"/>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5" name="Google Shape;8265;p73"/>
              <p:cNvGrpSpPr/>
              <p:nvPr/>
            </p:nvGrpSpPr>
            <p:grpSpPr>
              <a:xfrm flipH="1">
                <a:off x="8029157" y="2093194"/>
                <a:ext cx="291605" cy="623846"/>
                <a:chOff x="9405575" y="2061418"/>
                <a:chExt cx="291605" cy="623846"/>
              </a:xfrm>
            </p:grpSpPr>
            <p:sp>
              <p:nvSpPr>
                <p:cNvPr id="8266" name="Google Shape;8266;p73"/>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73"/>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73"/>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73"/>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73"/>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73"/>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73"/>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273" name="Google Shape;8273;p73"/>
          <p:cNvGrpSpPr/>
          <p:nvPr/>
        </p:nvGrpSpPr>
        <p:grpSpPr>
          <a:xfrm>
            <a:off x="4031299" y="1191441"/>
            <a:ext cx="712557" cy="785901"/>
            <a:chOff x="4206459" y="1191441"/>
            <a:chExt cx="712557" cy="785901"/>
          </a:xfrm>
        </p:grpSpPr>
        <p:sp>
          <p:nvSpPr>
            <p:cNvPr id="8274" name="Google Shape;8274;p73"/>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3"/>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73"/>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73"/>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78" name="Google Shape;8278;p73"/>
            <p:cNvGrpSpPr/>
            <p:nvPr/>
          </p:nvGrpSpPr>
          <p:grpSpPr>
            <a:xfrm>
              <a:off x="4644280" y="1290523"/>
              <a:ext cx="143716" cy="29463"/>
              <a:chOff x="4644280" y="1290523"/>
              <a:chExt cx="143716" cy="29463"/>
            </a:xfrm>
          </p:grpSpPr>
          <p:sp>
            <p:nvSpPr>
              <p:cNvPr id="8279" name="Google Shape;8279;p73"/>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73"/>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73"/>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73"/>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3" name="Google Shape;8283;p73"/>
            <p:cNvGrpSpPr/>
            <p:nvPr/>
          </p:nvGrpSpPr>
          <p:grpSpPr>
            <a:xfrm>
              <a:off x="4356567" y="1191441"/>
              <a:ext cx="143690" cy="29488"/>
              <a:chOff x="4356567" y="1191441"/>
              <a:chExt cx="143690" cy="29488"/>
            </a:xfrm>
          </p:grpSpPr>
          <p:sp>
            <p:nvSpPr>
              <p:cNvPr id="8284" name="Google Shape;8284;p73"/>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3"/>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73"/>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73"/>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8" name="Google Shape;8288;p73"/>
            <p:cNvGrpSpPr/>
            <p:nvPr/>
          </p:nvGrpSpPr>
          <p:grpSpPr>
            <a:xfrm>
              <a:off x="4339009" y="1863727"/>
              <a:ext cx="143703" cy="29476"/>
              <a:chOff x="4339009" y="1863727"/>
              <a:chExt cx="143703" cy="29476"/>
            </a:xfrm>
          </p:grpSpPr>
          <p:sp>
            <p:nvSpPr>
              <p:cNvPr id="8289" name="Google Shape;8289;p73"/>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73"/>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3"/>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73"/>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3" name="Google Shape;8293;p73"/>
            <p:cNvGrpSpPr/>
            <p:nvPr/>
          </p:nvGrpSpPr>
          <p:grpSpPr>
            <a:xfrm>
              <a:off x="4206459" y="1607315"/>
              <a:ext cx="29539" cy="142899"/>
              <a:chOff x="4206459" y="1607315"/>
              <a:chExt cx="29539" cy="142899"/>
            </a:xfrm>
          </p:grpSpPr>
          <p:sp>
            <p:nvSpPr>
              <p:cNvPr id="8294" name="Google Shape;8294;p73"/>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73"/>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73"/>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73"/>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8" name="Google Shape;8298;p73"/>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73"/>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73"/>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3"/>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02" name="Google Shape;8302;p73"/>
            <p:cNvGrpSpPr/>
            <p:nvPr/>
          </p:nvGrpSpPr>
          <p:grpSpPr>
            <a:xfrm>
              <a:off x="4889463" y="1423737"/>
              <a:ext cx="29552" cy="142899"/>
              <a:chOff x="4889463" y="1423737"/>
              <a:chExt cx="29552" cy="142899"/>
            </a:xfrm>
          </p:grpSpPr>
          <p:sp>
            <p:nvSpPr>
              <p:cNvPr id="8303" name="Google Shape;8303;p73"/>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73"/>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3"/>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73"/>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7" name="Google Shape;8307;p73"/>
            <p:cNvGrpSpPr/>
            <p:nvPr/>
          </p:nvGrpSpPr>
          <p:grpSpPr>
            <a:xfrm>
              <a:off x="4771663" y="1876896"/>
              <a:ext cx="108651" cy="100447"/>
              <a:chOff x="4771663" y="1876896"/>
              <a:chExt cx="108651" cy="100447"/>
            </a:xfrm>
          </p:grpSpPr>
          <p:sp>
            <p:nvSpPr>
              <p:cNvPr id="8308" name="Google Shape;8308;p73"/>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73"/>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73"/>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3"/>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12" name="Google Shape;8312;p73"/>
          <p:cNvGrpSpPr/>
          <p:nvPr/>
        </p:nvGrpSpPr>
        <p:grpSpPr>
          <a:xfrm>
            <a:off x="4026774" y="2074664"/>
            <a:ext cx="791287" cy="720350"/>
            <a:chOff x="267375" y="1071875"/>
            <a:chExt cx="470500" cy="428550"/>
          </a:xfrm>
        </p:grpSpPr>
        <p:sp>
          <p:nvSpPr>
            <p:cNvPr id="8313" name="Google Shape;8313;p73"/>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3"/>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5" name="Google Shape;8315;p73"/>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6" name="Google Shape;8316;p73"/>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73"/>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3"/>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3"/>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3"/>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73"/>
          <p:cNvGrpSpPr/>
          <p:nvPr/>
        </p:nvGrpSpPr>
        <p:grpSpPr>
          <a:xfrm>
            <a:off x="727269" y="3719294"/>
            <a:ext cx="1408444" cy="673166"/>
            <a:chOff x="712664" y="3693287"/>
            <a:chExt cx="1460738" cy="698160"/>
          </a:xfrm>
        </p:grpSpPr>
        <p:grpSp>
          <p:nvGrpSpPr>
            <p:cNvPr id="8322" name="Google Shape;8322;p73"/>
            <p:cNvGrpSpPr/>
            <p:nvPr/>
          </p:nvGrpSpPr>
          <p:grpSpPr>
            <a:xfrm>
              <a:off x="1380079" y="4133090"/>
              <a:ext cx="234048" cy="258099"/>
              <a:chOff x="1380079" y="4133090"/>
              <a:chExt cx="234048" cy="258099"/>
            </a:xfrm>
          </p:grpSpPr>
          <p:sp>
            <p:nvSpPr>
              <p:cNvPr id="8323" name="Google Shape;8323;p73"/>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4" name="Google Shape;8324;p73"/>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5" name="Google Shape;8325;p73"/>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6" name="Google Shape;8326;p73"/>
            <p:cNvGrpSpPr/>
            <p:nvPr/>
          </p:nvGrpSpPr>
          <p:grpSpPr>
            <a:xfrm>
              <a:off x="884610" y="3864082"/>
              <a:ext cx="1118583" cy="527293"/>
              <a:chOff x="890961" y="3865463"/>
              <a:chExt cx="1115237" cy="525715"/>
            </a:xfrm>
          </p:grpSpPr>
          <p:sp>
            <p:nvSpPr>
              <p:cNvPr id="8327" name="Google Shape;8327;p73"/>
              <p:cNvSpPr/>
              <p:nvPr/>
            </p:nvSpPr>
            <p:spPr>
              <a:xfrm>
                <a:off x="1070568" y="3865463"/>
                <a:ext cx="756508" cy="33008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8" name="Google Shape;8328;p73"/>
              <p:cNvSpPr/>
              <p:nvPr/>
            </p:nvSpPr>
            <p:spPr>
              <a:xfrm>
                <a:off x="890961" y="4013171"/>
                <a:ext cx="362022" cy="378007"/>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3"/>
              <p:cNvSpPr/>
              <p:nvPr/>
            </p:nvSpPr>
            <p:spPr>
              <a:xfrm>
                <a:off x="1645508" y="4013554"/>
                <a:ext cx="360690" cy="377624"/>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3"/>
            <p:cNvGrpSpPr/>
            <p:nvPr/>
          </p:nvGrpSpPr>
          <p:grpSpPr>
            <a:xfrm>
              <a:off x="712664" y="3693287"/>
              <a:ext cx="1460738" cy="698160"/>
              <a:chOff x="712664" y="3693025"/>
              <a:chExt cx="1460738" cy="698160"/>
            </a:xfrm>
          </p:grpSpPr>
          <p:sp>
            <p:nvSpPr>
              <p:cNvPr id="8331" name="Google Shape;8331;p73"/>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3"/>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3" name="Google Shape;8333;p73"/>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4" name="Google Shape;8334;p73"/>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3"/>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6" name="Google Shape;8336;p73"/>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37" name="Google Shape;8337;p73"/>
          <p:cNvGrpSpPr/>
          <p:nvPr/>
        </p:nvGrpSpPr>
        <p:grpSpPr>
          <a:xfrm>
            <a:off x="3164985" y="1191441"/>
            <a:ext cx="795485" cy="738831"/>
            <a:chOff x="3348603" y="1236445"/>
            <a:chExt cx="749256" cy="695894"/>
          </a:xfrm>
        </p:grpSpPr>
        <p:grpSp>
          <p:nvGrpSpPr>
            <p:cNvPr id="8338" name="Google Shape;8338;p73"/>
            <p:cNvGrpSpPr/>
            <p:nvPr/>
          </p:nvGrpSpPr>
          <p:grpSpPr>
            <a:xfrm>
              <a:off x="3583779" y="1236445"/>
              <a:ext cx="293795" cy="285811"/>
              <a:chOff x="3750225" y="1774000"/>
              <a:chExt cx="149575" cy="145525"/>
            </a:xfrm>
          </p:grpSpPr>
          <p:sp>
            <p:nvSpPr>
              <p:cNvPr id="8339" name="Google Shape;8339;p73"/>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0" name="Google Shape;8340;p73"/>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1" name="Google Shape;8341;p73"/>
            <p:cNvGrpSpPr/>
            <p:nvPr/>
          </p:nvGrpSpPr>
          <p:grpSpPr>
            <a:xfrm>
              <a:off x="3775534" y="1462599"/>
              <a:ext cx="322325" cy="285958"/>
              <a:chOff x="3847850" y="1889150"/>
              <a:chExt cx="164100" cy="145600"/>
            </a:xfrm>
          </p:grpSpPr>
          <p:sp>
            <p:nvSpPr>
              <p:cNvPr id="8342" name="Google Shape;8342;p73"/>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3" name="Google Shape;8343;p73"/>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4" name="Google Shape;8344;p73"/>
            <p:cNvGrpSpPr/>
            <p:nvPr/>
          </p:nvGrpSpPr>
          <p:grpSpPr>
            <a:xfrm>
              <a:off x="3545329" y="1646528"/>
              <a:ext cx="293746" cy="285811"/>
              <a:chOff x="3730650" y="1982800"/>
              <a:chExt cx="149550" cy="145525"/>
            </a:xfrm>
          </p:grpSpPr>
          <p:sp>
            <p:nvSpPr>
              <p:cNvPr id="8345" name="Google Shape;8345;p73"/>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3"/>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7" name="Google Shape;8347;p73"/>
            <p:cNvGrpSpPr/>
            <p:nvPr/>
          </p:nvGrpSpPr>
          <p:grpSpPr>
            <a:xfrm>
              <a:off x="3348603" y="1415046"/>
              <a:ext cx="294384" cy="284387"/>
              <a:chOff x="3630494" y="1864938"/>
              <a:chExt cx="149875" cy="144800"/>
            </a:xfrm>
          </p:grpSpPr>
          <p:sp>
            <p:nvSpPr>
              <p:cNvPr id="8348" name="Google Shape;8348;p73"/>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73"/>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50" name="Google Shape;8350;p73"/>
          <p:cNvGrpSpPr/>
          <p:nvPr/>
        </p:nvGrpSpPr>
        <p:grpSpPr>
          <a:xfrm>
            <a:off x="2286512" y="3714337"/>
            <a:ext cx="1324924" cy="678123"/>
            <a:chOff x="2413923" y="3711366"/>
            <a:chExt cx="1374117" cy="703301"/>
          </a:xfrm>
        </p:grpSpPr>
        <p:grpSp>
          <p:nvGrpSpPr>
            <p:cNvPr id="8351" name="Google Shape;8351;p73"/>
            <p:cNvGrpSpPr/>
            <p:nvPr/>
          </p:nvGrpSpPr>
          <p:grpSpPr>
            <a:xfrm>
              <a:off x="2413923" y="3711366"/>
              <a:ext cx="1374117" cy="703301"/>
              <a:chOff x="2413923" y="3711366"/>
              <a:chExt cx="1374117" cy="703301"/>
            </a:xfrm>
          </p:grpSpPr>
          <p:sp>
            <p:nvSpPr>
              <p:cNvPr id="8352" name="Google Shape;8352;p73"/>
              <p:cNvSpPr/>
              <p:nvPr/>
            </p:nvSpPr>
            <p:spPr>
              <a:xfrm>
                <a:off x="2484774" y="3827200"/>
                <a:ext cx="1231176" cy="58746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53" name="Google Shape;8353;p73"/>
              <p:cNvGrpSpPr/>
              <p:nvPr/>
            </p:nvGrpSpPr>
            <p:grpSpPr>
              <a:xfrm>
                <a:off x="2600284" y="3808654"/>
                <a:ext cx="234394" cy="137897"/>
                <a:chOff x="2600284" y="3808654"/>
                <a:chExt cx="234394" cy="137897"/>
              </a:xfrm>
            </p:grpSpPr>
            <p:sp>
              <p:nvSpPr>
                <p:cNvPr id="8354" name="Google Shape;8354;p73"/>
                <p:cNvSpPr/>
                <p:nvPr/>
              </p:nvSpPr>
              <p:spPr>
                <a:xfrm>
                  <a:off x="2767890" y="3879764"/>
                  <a:ext cx="66788" cy="66788"/>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355" name="Google Shape;8355;p73"/>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356" name="Google Shape;8356;p73"/>
              <p:cNvGrpSpPr/>
              <p:nvPr/>
            </p:nvGrpSpPr>
            <p:grpSpPr>
              <a:xfrm>
                <a:off x="3359659" y="3805664"/>
                <a:ext cx="232294" cy="140888"/>
                <a:chOff x="3359659" y="3805664"/>
                <a:chExt cx="232294" cy="140888"/>
              </a:xfrm>
            </p:grpSpPr>
            <p:sp>
              <p:nvSpPr>
                <p:cNvPr id="8357" name="Google Shape;8357;p73"/>
                <p:cNvSpPr/>
                <p:nvPr/>
              </p:nvSpPr>
              <p:spPr>
                <a:xfrm>
                  <a:off x="3359659" y="3879764"/>
                  <a:ext cx="66788" cy="66788"/>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358" name="Google Shape;8358;p73"/>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359" name="Google Shape;8359;p73"/>
              <p:cNvGrpSpPr/>
              <p:nvPr/>
            </p:nvGrpSpPr>
            <p:grpSpPr>
              <a:xfrm>
                <a:off x="3067316" y="3711366"/>
                <a:ext cx="66788" cy="166697"/>
                <a:chOff x="3067316" y="3711366"/>
                <a:chExt cx="66788" cy="166697"/>
              </a:xfrm>
            </p:grpSpPr>
            <p:sp>
              <p:nvSpPr>
                <p:cNvPr id="8360" name="Google Shape;8360;p73"/>
                <p:cNvSpPr/>
                <p:nvPr/>
              </p:nvSpPr>
              <p:spPr>
                <a:xfrm>
                  <a:off x="3067316" y="3811276"/>
                  <a:ext cx="66788" cy="66788"/>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361" name="Google Shape;8361;p73"/>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362" name="Google Shape;8362;p73"/>
              <p:cNvGrpSpPr/>
              <p:nvPr/>
            </p:nvGrpSpPr>
            <p:grpSpPr>
              <a:xfrm>
                <a:off x="2413923" y="4058666"/>
                <a:ext cx="224007" cy="66788"/>
                <a:chOff x="2413923" y="4058666"/>
                <a:chExt cx="224007" cy="66788"/>
              </a:xfrm>
            </p:grpSpPr>
            <p:sp>
              <p:nvSpPr>
                <p:cNvPr id="8363" name="Google Shape;8363;p73"/>
                <p:cNvSpPr/>
                <p:nvPr/>
              </p:nvSpPr>
              <p:spPr>
                <a:xfrm>
                  <a:off x="2571142" y="4058666"/>
                  <a:ext cx="66788" cy="66788"/>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364" name="Google Shape;8364;p73"/>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365" name="Google Shape;8365;p73"/>
              <p:cNvGrpSpPr/>
              <p:nvPr/>
            </p:nvGrpSpPr>
            <p:grpSpPr>
              <a:xfrm>
                <a:off x="3564643" y="4058666"/>
                <a:ext cx="223397" cy="66788"/>
                <a:chOff x="3564643" y="4058666"/>
                <a:chExt cx="223397" cy="66788"/>
              </a:xfrm>
            </p:grpSpPr>
            <p:sp>
              <p:nvSpPr>
                <p:cNvPr id="8366" name="Google Shape;8366;p73"/>
                <p:cNvSpPr/>
                <p:nvPr/>
              </p:nvSpPr>
              <p:spPr>
                <a:xfrm>
                  <a:off x="3564643" y="4058666"/>
                  <a:ext cx="66788" cy="66788"/>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367" name="Google Shape;8367;p73"/>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8368" name="Google Shape;8368;p73"/>
            <p:cNvGrpSpPr/>
            <p:nvPr/>
          </p:nvGrpSpPr>
          <p:grpSpPr>
            <a:xfrm>
              <a:off x="2633353" y="3965763"/>
              <a:ext cx="934017" cy="445681"/>
              <a:chOff x="2633353" y="3965763"/>
              <a:chExt cx="934017" cy="445681"/>
            </a:xfrm>
          </p:grpSpPr>
          <p:sp>
            <p:nvSpPr>
              <p:cNvPr id="8369" name="Google Shape;8369;p73"/>
              <p:cNvSpPr/>
              <p:nvPr/>
            </p:nvSpPr>
            <p:spPr>
              <a:xfrm>
                <a:off x="2633353" y="3965763"/>
                <a:ext cx="934017" cy="44568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73"/>
              <p:cNvSpPr/>
              <p:nvPr/>
            </p:nvSpPr>
            <p:spPr>
              <a:xfrm>
                <a:off x="2702006" y="4030399"/>
                <a:ext cx="798563" cy="381034"/>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71" name="Google Shape;8371;p73"/>
          <p:cNvGrpSpPr/>
          <p:nvPr/>
        </p:nvGrpSpPr>
        <p:grpSpPr>
          <a:xfrm>
            <a:off x="6410784" y="1264884"/>
            <a:ext cx="1131087" cy="587383"/>
            <a:chOff x="238125" y="999450"/>
            <a:chExt cx="7140700" cy="3708225"/>
          </a:xfrm>
        </p:grpSpPr>
        <p:sp>
          <p:nvSpPr>
            <p:cNvPr id="8372" name="Google Shape;8372;p73"/>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73"/>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4" name="Google Shape;8374;p73"/>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5" name="Google Shape;8375;p73"/>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73"/>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7" name="Google Shape;8377;p73"/>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3"/>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73"/>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0" name="Google Shape;8380;p73"/>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1" name="Google Shape;8381;p73"/>
          <p:cNvGrpSpPr/>
          <p:nvPr/>
        </p:nvGrpSpPr>
        <p:grpSpPr>
          <a:xfrm>
            <a:off x="3762234" y="3714379"/>
            <a:ext cx="1375854" cy="678131"/>
            <a:chOff x="3913765" y="3641905"/>
            <a:chExt cx="1522805" cy="750560"/>
          </a:xfrm>
        </p:grpSpPr>
        <p:grpSp>
          <p:nvGrpSpPr>
            <p:cNvPr id="8382" name="Google Shape;8382;p73"/>
            <p:cNvGrpSpPr/>
            <p:nvPr/>
          </p:nvGrpSpPr>
          <p:grpSpPr>
            <a:xfrm>
              <a:off x="3913765" y="3997002"/>
              <a:ext cx="1522805" cy="395463"/>
              <a:chOff x="3913765" y="3997002"/>
              <a:chExt cx="1522805" cy="395463"/>
            </a:xfrm>
          </p:grpSpPr>
          <p:grpSp>
            <p:nvGrpSpPr>
              <p:cNvPr id="8383" name="Google Shape;8383;p73"/>
              <p:cNvGrpSpPr/>
              <p:nvPr/>
            </p:nvGrpSpPr>
            <p:grpSpPr>
              <a:xfrm>
                <a:off x="3913765" y="4138659"/>
                <a:ext cx="507602" cy="253806"/>
                <a:chOff x="3913765" y="4138659"/>
                <a:chExt cx="507602" cy="253806"/>
              </a:xfrm>
            </p:grpSpPr>
            <p:sp>
              <p:nvSpPr>
                <p:cNvPr id="8384" name="Google Shape;8384;p73"/>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73"/>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8386" name="Google Shape;8386;p73"/>
              <p:cNvGrpSpPr/>
              <p:nvPr/>
            </p:nvGrpSpPr>
            <p:grpSpPr>
              <a:xfrm>
                <a:off x="4421361" y="3997002"/>
                <a:ext cx="507618" cy="395463"/>
                <a:chOff x="4421361" y="3997002"/>
                <a:chExt cx="507618" cy="395463"/>
              </a:xfrm>
            </p:grpSpPr>
            <p:sp>
              <p:nvSpPr>
                <p:cNvPr id="8387" name="Google Shape;8387;p73"/>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3"/>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73"/>
              <p:cNvGrpSpPr/>
              <p:nvPr/>
            </p:nvGrpSpPr>
            <p:grpSpPr>
              <a:xfrm>
                <a:off x="4928973" y="4189418"/>
                <a:ext cx="507596" cy="203047"/>
                <a:chOff x="4928973" y="4189418"/>
                <a:chExt cx="507596" cy="203047"/>
              </a:xfrm>
            </p:grpSpPr>
            <p:sp>
              <p:nvSpPr>
                <p:cNvPr id="8390" name="Google Shape;8390;p73"/>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73"/>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92" name="Google Shape;8392;p73"/>
            <p:cNvGrpSpPr/>
            <p:nvPr/>
          </p:nvGrpSpPr>
          <p:grpSpPr>
            <a:xfrm>
              <a:off x="4482186" y="3641905"/>
              <a:ext cx="397605" cy="349784"/>
              <a:chOff x="2906375" y="1159725"/>
              <a:chExt cx="1860575" cy="1636800"/>
            </a:xfrm>
          </p:grpSpPr>
          <p:sp>
            <p:nvSpPr>
              <p:cNvPr id="8393" name="Google Shape;8393;p73"/>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3"/>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3"/>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3"/>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397" name="Google Shape;8397;p73"/>
          <p:cNvGrpSpPr/>
          <p:nvPr/>
        </p:nvGrpSpPr>
        <p:grpSpPr>
          <a:xfrm>
            <a:off x="6546943" y="2074305"/>
            <a:ext cx="940737" cy="721067"/>
            <a:chOff x="6599718" y="2068734"/>
            <a:chExt cx="940737" cy="721067"/>
          </a:xfrm>
        </p:grpSpPr>
        <p:sp>
          <p:nvSpPr>
            <p:cNvPr id="8398" name="Google Shape;8398;p73"/>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3"/>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3"/>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1" name="Google Shape;8401;p73"/>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2" name="Google Shape;8402;p73"/>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73"/>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04" name="Google Shape;8404;p73"/>
            <p:cNvGrpSpPr/>
            <p:nvPr/>
          </p:nvGrpSpPr>
          <p:grpSpPr>
            <a:xfrm>
              <a:off x="6836957" y="2068734"/>
              <a:ext cx="461892" cy="721067"/>
              <a:chOff x="6836957" y="2068734"/>
              <a:chExt cx="461892" cy="721067"/>
            </a:xfrm>
          </p:grpSpPr>
          <p:sp>
            <p:nvSpPr>
              <p:cNvPr id="8405" name="Google Shape;8405;p73"/>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73"/>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7" name="Google Shape;8407;p73"/>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8" name="Google Shape;8408;p73"/>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3"/>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0" name="Google Shape;8410;p73"/>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11" name="Google Shape;8411;p73"/>
              <p:cNvGrpSpPr/>
              <p:nvPr/>
            </p:nvGrpSpPr>
            <p:grpSpPr>
              <a:xfrm>
                <a:off x="6836957" y="2068734"/>
                <a:ext cx="461892" cy="721067"/>
                <a:chOff x="6836957" y="2068734"/>
                <a:chExt cx="461892" cy="721067"/>
              </a:xfrm>
            </p:grpSpPr>
            <p:sp>
              <p:nvSpPr>
                <p:cNvPr id="8412" name="Google Shape;8412;p73"/>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3" name="Google Shape;8413;p73"/>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4" name="Google Shape;8414;p73"/>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3"/>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6" name="Google Shape;8416;p73"/>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7" name="Google Shape;8417;p73"/>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73"/>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419" name="Google Shape;8419;p73"/>
          <p:cNvGrpSpPr/>
          <p:nvPr/>
        </p:nvGrpSpPr>
        <p:grpSpPr>
          <a:xfrm>
            <a:off x="2430262" y="2078652"/>
            <a:ext cx="712577" cy="712374"/>
            <a:chOff x="2559249" y="2069323"/>
            <a:chExt cx="685566" cy="685634"/>
          </a:xfrm>
        </p:grpSpPr>
        <p:sp>
          <p:nvSpPr>
            <p:cNvPr id="8420" name="Google Shape;8420;p73"/>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73"/>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2" name="Google Shape;8422;p73"/>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3" name="Google Shape;8423;p73"/>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73"/>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5" name="Google Shape;8425;p73"/>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6" name="Google Shape;8426;p73"/>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3"/>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8" name="Google Shape;8428;p73"/>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9" name="Google Shape;8429;p73"/>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73"/>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1" name="Google Shape;8431;p73"/>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2" name="Google Shape;8432;p73"/>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3" name="Google Shape;8433;p73"/>
          <p:cNvGrpSpPr/>
          <p:nvPr/>
        </p:nvGrpSpPr>
        <p:grpSpPr>
          <a:xfrm>
            <a:off x="7612699" y="1191441"/>
            <a:ext cx="845645" cy="711911"/>
            <a:chOff x="951975" y="315800"/>
            <a:chExt cx="5860325" cy="4933550"/>
          </a:xfrm>
        </p:grpSpPr>
        <p:sp>
          <p:nvSpPr>
            <p:cNvPr id="8434" name="Google Shape;8434;p73"/>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5" name="Google Shape;8435;p73"/>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3"/>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7" name="Google Shape;8437;p73"/>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8" name="Google Shape;8438;p73"/>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3"/>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0" name="Google Shape;8440;p73"/>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1" name="Google Shape;8441;p73"/>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2" name="Google Shape;8442;p73"/>
          <p:cNvGrpSpPr/>
          <p:nvPr/>
        </p:nvGrpSpPr>
        <p:grpSpPr>
          <a:xfrm>
            <a:off x="3709828" y="2927550"/>
            <a:ext cx="1617932" cy="621701"/>
            <a:chOff x="3862800" y="3038525"/>
            <a:chExt cx="1329006" cy="510680"/>
          </a:xfrm>
        </p:grpSpPr>
        <p:sp>
          <p:nvSpPr>
            <p:cNvPr id="8443" name="Google Shape;8443;p73"/>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4" name="Google Shape;8444;p73"/>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45" name="Google Shape;8445;p73"/>
            <p:cNvGrpSpPr/>
            <p:nvPr/>
          </p:nvGrpSpPr>
          <p:grpSpPr>
            <a:xfrm>
              <a:off x="3967075" y="3040337"/>
              <a:ext cx="1019927" cy="402126"/>
              <a:chOff x="3967075" y="3040337"/>
              <a:chExt cx="1019927" cy="402126"/>
            </a:xfrm>
          </p:grpSpPr>
          <p:sp>
            <p:nvSpPr>
              <p:cNvPr id="8446" name="Google Shape;8446;p73"/>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3"/>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8" name="Google Shape;8448;p73"/>
            <p:cNvGrpSpPr/>
            <p:nvPr/>
          </p:nvGrpSpPr>
          <p:grpSpPr>
            <a:xfrm>
              <a:off x="4186700" y="3040337"/>
              <a:ext cx="390475" cy="183289"/>
              <a:chOff x="4186700" y="3040337"/>
              <a:chExt cx="390475" cy="183289"/>
            </a:xfrm>
          </p:grpSpPr>
          <p:sp>
            <p:nvSpPr>
              <p:cNvPr id="8449" name="Google Shape;8449;p73"/>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3"/>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1" name="Google Shape;8451;p73"/>
            <p:cNvGrpSpPr/>
            <p:nvPr/>
          </p:nvGrpSpPr>
          <p:grpSpPr>
            <a:xfrm>
              <a:off x="4073727" y="3040337"/>
              <a:ext cx="697794" cy="296263"/>
              <a:chOff x="4073727" y="3040337"/>
              <a:chExt cx="697794" cy="296263"/>
            </a:xfrm>
          </p:grpSpPr>
          <p:sp>
            <p:nvSpPr>
              <p:cNvPr id="8452" name="Google Shape;8452;p73"/>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3" name="Google Shape;8453;p73"/>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4" name="Google Shape;8454;p73"/>
            <p:cNvGrpSpPr/>
            <p:nvPr/>
          </p:nvGrpSpPr>
          <p:grpSpPr>
            <a:xfrm>
              <a:off x="3862800" y="3038525"/>
              <a:ext cx="1329006" cy="510680"/>
              <a:chOff x="3862800" y="3038525"/>
              <a:chExt cx="1329006" cy="510680"/>
            </a:xfrm>
          </p:grpSpPr>
          <p:sp>
            <p:nvSpPr>
              <p:cNvPr id="8455" name="Google Shape;8455;p73"/>
              <p:cNvSpPr/>
              <p:nvPr/>
            </p:nvSpPr>
            <p:spPr>
              <a:xfrm>
                <a:off x="4370175" y="3441875"/>
                <a:ext cx="821631" cy="107330"/>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3"/>
              <p:cNvSpPr/>
              <p:nvPr/>
            </p:nvSpPr>
            <p:spPr>
              <a:xfrm>
                <a:off x="3862800" y="3038525"/>
                <a:ext cx="507990" cy="510584"/>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57" name="Google Shape;8457;p73"/>
          <p:cNvGrpSpPr/>
          <p:nvPr/>
        </p:nvGrpSpPr>
        <p:grpSpPr>
          <a:xfrm>
            <a:off x="718150" y="1191441"/>
            <a:ext cx="883205" cy="775176"/>
            <a:chOff x="649648" y="271400"/>
            <a:chExt cx="6215377" cy="5455143"/>
          </a:xfrm>
        </p:grpSpPr>
        <p:sp>
          <p:nvSpPr>
            <p:cNvPr id="8458" name="Google Shape;8458;p73"/>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3"/>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3"/>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3"/>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3"/>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3"/>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73"/>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73"/>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3"/>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3"/>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3"/>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3"/>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0" name="Google Shape;8470;p73"/>
          <p:cNvGrpSpPr/>
          <p:nvPr/>
        </p:nvGrpSpPr>
        <p:grpSpPr>
          <a:xfrm>
            <a:off x="2326452" y="1191441"/>
            <a:ext cx="767704" cy="815489"/>
            <a:chOff x="2499700" y="1135950"/>
            <a:chExt cx="732402" cy="777990"/>
          </a:xfrm>
        </p:grpSpPr>
        <p:grpSp>
          <p:nvGrpSpPr>
            <p:cNvPr id="8471" name="Google Shape;8471;p73"/>
            <p:cNvGrpSpPr/>
            <p:nvPr/>
          </p:nvGrpSpPr>
          <p:grpSpPr>
            <a:xfrm>
              <a:off x="2499700" y="1135950"/>
              <a:ext cx="732402" cy="694705"/>
              <a:chOff x="2499700" y="1135950"/>
              <a:chExt cx="732402" cy="694705"/>
            </a:xfrm>
          </p:grpSpPr>
          <p:sp>
            <p:nvSpPr>
              <p:cNvPr id="8472" name="Google Shape;8472;p73"/>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3" name="Google Shape;8473;p73"/>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3"/>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3"/>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3"/>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3"/>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8" name="Google Shape;8478;p73"/>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73"/>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3"/>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3"/>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3"/>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3"/>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3"/>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5" name="Google Shape;8485;p73"/>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6" name="Google Shape;8486;p73"/>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3"/>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3"/>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3"/>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3"/>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3"/>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3"/>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3"/>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3"/>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5" name="Google Shape;8495;p73"/>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6" name="Google Shape;8496;p73"/>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7" name="Google Shape;8497;p73"/>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8" name="Google Shape;8498;p73"/>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9" name="Google Shape;8499;p73"/>
            <p:cNvGrpSpPr/>
            <p:nvPr/>
          </p:nvGrpSpPr>
          <p:grpSpPr>
            <a:xfrm>
              <a:off x="2517909" y="1188726"/>
              <a:ext cx="702702" cy="725214"/>
              <a:chOff x="2517909" y="1188726"/>
              <a:chExt cx="702702" cy="725214"/>
            </a:xfrm>
          </p:grpSpPr>
          <p:sp>
            <p:nvSpPr>
              <p:cNvPr id="8500" name="Google Shape;8500;p73"/>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1" name="Google Shape;8501;p73"/>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3"/>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3"/>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3"/>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05" name="Google Shape;8505;p73"/>
          <p:cNvGrpSpPr/>
          <p:nvPr/>
        </p:nvGrpSpPr>
        <p:grpSpPr>
          <a:xfrm>
            <a:off x="1672184" y="1191441"/>
            <a:ext cx="583439" cy="870229"/>
            <a:chOff x="1716825" y="1121550"/>
            <a:chExt cx="622800" cy="928938"/>
          </a:xfrm>
        </p:grpSpPr>
        <p:grpSp>
          <p:nvGrpSpPr>
            <p:cNvPr id="8506" name="Google Shape;8506;p73"/>
            <p:cNvGrpSpPr/>
            <p:nvPr/>
          </p:nvGrpSpPr>
          <p:grpSpPr>
            <a:xfrm>
              <a:off x="1716825" y="1121550"/>
              <a:ext cx="622800" cy="928938"/>
              <a:chOff x="1716825" y="1121550"/>
              <a:chExt cx="622800" cy="928938"/>
            </a:xfrm>
          </p:grpSpPr>
          <p:cxnSp>
            <p:nvCxnSpPr>
              <p:cNvPr id="8507" name="Google Shape;8507;p73"/>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8508" name="Google Shape;8508;p73"/>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9" name="Google Shape;8509;p73"/>
            <p:cNvGrpSpPr/>
            <p:nvPr/>
          </p:nvGrpSpPr>
          <p:grpSpPr>
            <a:xfrm>
              <a:off x="1768050" y="1172775"/>
              <a:ext cx="520200" cy="832000"/>
              <a:chOff x="1768050" y="1172775"/>
              <a:chExt cx="520200" cy="832000"/>
            </a:xfrm>
          </p:grpSpPr>
          <p:cxnSp>
            <p:nvCxnSpPr>
              <p:cNvPr id="8510" name="Google Shape;8510;p73"/>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8511" name="Google Shape;8511;p73"/>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2" name="Google Shape;8512;p73"/>
            <p:cNvGrpSpPr/>
            <p:nvPr/>
          </p:nvGrpSpPr>
          <p:grpSpPr>
            <a:xfrm>
              <a:off x="1820100" y="1225475"/>
              <a:ext cx="416400" cy="729575"/>
              <a:chOff x="1820100" y="1225475"/>
              <a:chExt cx="416400" cy="729575"/>
            </a:xfrm>
          </p:grpSpPr>
          <p:cxnSp>
            <p:nvCxnSpPr>
              <p:cNvPr id="8513" name="Google Shape;8513;p73"/>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8514" name="Google Shape;8514;p73"/>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5" name="Google Shape;8515;p73"/>
            <p:cNvGrpSpPr/>
            <p:nvPr/>
          </p:nvGrpSpPr>
          <p:grpSpPr>
            <a:xfrm>
              <a:off x="1874250" y="1278825"/>
              <a:ext cx="308100" cy="605275"/>
              <a:chOff x="1874250" y="1278825"/>
              <a:chExt cx="308100" cy="605275"/>
            </a:xfrm>
          </p:grpSpPr>
          <p:cxnSp>
            <p:nvCxnSpPr>
              <p:cNvPr id="8516" name="Google Shape;8516;p73"/>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8517" name="Google Shape;8517;p73"/>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18" name="Google Shape;8518;p73"/>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9" name="Google Shape;8519;p73"/>
          <p:cNvGrpSpPr/>
          <p:nvPr/>
        </p:nvGrpSpPr>
        <p:grpSpPr>
          <a:xfrm>
            <a:off x="1592007" y="2077763"/>
            <a:ext cx="739072" cy="714152"/>
            <a:chOff x="4334725" y="1355875"/>
            <a:chExt cx="3106650" cy="3001900"/>
          </a:xfrm>
        </p:grpSpPr>
        <p:grpSp>
          <p:nvGrpSpPr>
            <p:cNvPr id="8520" name="Google Shape;8520;p73"/>
            <p:cNvGrpSpPr/>
            <p:nvPr/>
          </p:nvGrpSpPr>
          <p:grpSpPr>
            <a:xfrm>
              <a:off x="4516050" y="1724875"/>
              <a:ext cx="2693725" cy="2632900"/>
              <a:chOff x="4516050" y="1724875"/>
              <a:chExt cx="2693725" cy="2632900"/>
            </a:xfrm>
          </p:grpSpPr>
          <p:sp>
            <p:nvSpPr>
              <p:cNvPr id="8521" name="Google Shape;8521;p73"/>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2" name="Google Shape;8522;p73"/>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3"/>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4" name="Google Shape;8524;p73"/>
            <p:cNvGrpSpPr/>
            <p:nvPr/>
          </p:nvGrpSpPr>
          <p:grpSpPr>
            <a:xfrm>
              <a:off x="4334725" y="1355875"/>
              <a:ext cx="3106650" cy="2709650"/>
              <a:chOff x="4334725" y="1355875"/>
              <a:chExt cx="3106650" cy="2709650"/>
            </a:xfrm>
          </p:grpSpPr>
          <p:sp>
            <p:nvSpPr>
              <p:cNvPr id="8525" name="Google Shape;8525;p73"/>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3"/>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7" name="Google Shape;8527;p73"/>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28" name="Google Shape;8528;p73"/>
          <p:cNvGrpSpPr/>
          <p:nvPr/>
        </p:nvGrpSpPr>
        <p:grpSpPr>
          <a:xfrm>
            <a:off x="7708956" y="3708534"/>
            <a:ext cx="312074" cy="684173"/>
            <a:chOff x="7645573" y="3754300"/>
            <a:chExt cx="293855" cy="644170"/>
          </a:xfrm>
        </p:grpSpPr>
        <p:sp>
          <p:nvSpPr>
            <p:cNvPr id="8529" name="Google Shape;8529;p73"/>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73"/>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1" name="Google Shape;8531;p73"/>
          <p:cNvGrpSpPr/>
          <p:nvPr/>
        </p:nvGrpSpPr>
        <p:grpSpPr>
          <a:xfrm>
            <a:off x="5630944" y="1191441"/>
            <a:ext cx="709011" cy="739359"/>
            <a:chOff x="5830645" y="1256617"/>
            <a:chExt cx="530340" cy="553040"/>
          </a:xfrm>
        </p:grpSpPr>
        <p:grpSp>
          <p:nvGrpSpPr>
            <p:cNvPr id="8532" name="Google Shape;8532;p73"/>
            <p:cNvGrpSpPr/>
            <p:nvPr/>
          </p:nvGrpSpPr>
          <p:grpSpPr>
            <a:xfrm>
              <a:off x="5830645" y="1256617"/>
              <a:ext cx="259743" cy="269909"/>
              <a:chOff x="5830645" y="1256617"/>
              <a:chExt cx="259743" cy="269909"/>
            </a:xfrm>
          </p:grpSpPr>
          <p:sp>
            <p:nvSpPr>
              <p:cNvPr id="8533" name="Google Shape;8533;p73"/>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3"/>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5" name="Google Shape;8535;p73"/>
            <p:cNvGrpSpPr/>
            <p:nvPr/>
          </p:nvGrpSpPr>
          <p:grpSpPr>
            <a:xfrm>
              <a:off x="6101293" y="1256617"/>
              <a:ext cx="259692" cy="269909"/>
              <a:chOff x="6101293" y="1256617"/>
              <a:chExt cx="259692" cy="269909"/>
            </a:xfrm>
          </p:grpSpPr>
          <p:sp>
            <p:nvSpPr>
              <p:cNvPr id="8536" name="Google Shape;8536;p73"/>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3"/>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8" name="Google Shape;8538;p73"/>
            <p:cNvGrpSpPr/>
            <p:nvPr/>
          </p:nvGrpSpPr>
          <p:grpSpPr>
            <a:xfrm>
              <a:off x="5830645" y="1539749"/>
              <a:ext cx="259692" cy="269909"/>
              <a:chOff x="5830645" y="1539749"/>
              <a:chExt cx="259692" cy="269909"/>
            </a:xfrm>
          </p:grpSpPr>
          <p:sp>
            <p:nvSpPr>
              <p:cNvPr id="8539" name="Google Shape;8539;p73"/>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0" name="Google Shape;8540;p73"/>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41" name="Google Shape;8541;p73"/>
            <p:cNvGrpSpPr/>
            <p:nvPr/>
          </p:nvGrpSpPr>
          <p:grpSpPr>
            <a:xfrm>
              <a:off x="6101293" y="1539749"/>
              <a:ext cx="259692" cy="269909"/>
              <a:chOff x="6101293" y="1539749"/>
              <a:chExt cx="259692" cy="269909"/>
            </a:xfrm>
          </p:grpSpPr>
          <p:sp>
            <p:nvSpPr>
              <p:cNvPr id="8542" name="Google Shape;8542;p73"/>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3" name="Google Shape;8543;p73"/>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44" name="Google Shape;8544;p73"/>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45" name="Google Shape;8545;p73"/>
          <p:cNvGrpSpPr/>
          <p:nvPr/>
        </p:nvGrpSpPr>
        <p:grpSpPr>
          <a:xfrm>
            <a:off x="732438" y="2927557"/>
            <a:ext cx="1452955" cy="621360"/>
            <a:chOff x="732422" y="2990152"/>
            <a:chExt cx="1337773" cy="572102"/>
          </a:xfrm>
        </p:grpSpPr>
        <p:sp>
          <p:nvSpPr>
            <p:cNvPr id="8546" name="Google Shape;8546;p73"/>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7" name="Google Shape;8547;p73"/>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8" name="Google Shape;8548;p73"/>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3"/>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0" name="Google Shape;8550;p73"/>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1" name="Google Shape;8551;p73"/>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555"/>
        <p:cNvGrpSpPr/>
        <p:nvPr/>
      </p:nvGrpSpPr>
      <p:grpSpPr>
        <a:xfrm>
          <a:off x="0" y="0"/>
          <a:ext cx="0" cy="0"/>
          <a:chOff x="0" y="0"/>
          <a:chExt cx="0" cy="0"/>
        </a:xfrm>
      </p:grpSpPr>
      <p:grpSp>
        <p:nvGrpSpPr>
          <p:cNvPr id="8556" name="Google Shape;8556;p74"/>
          <p:cNvGrpSpPr/>
          <p:nvPr/>
        </p:nvGrpSpPr>
        <p:grpSpPr>
          <a:xfrm>
            <a:off x="729238" y="1179665"/>
            <a:ext cx="1636188" cy="1526215"/>
            <a:chOff x="729238" y="1179665"/>
            <a:chExt cx="1636188" cy="1526215"/>
          </a:xfrm>
        </p:grpSpPr>
        <p:grpSp>
          <p:nvGrpSpPr>
            <p:cNvPr id="8557" name="Google Shape;8557;p74"/>
            <p:cNvGrpSpPr/>
            <p:nvPr/>
          </p:nvGrpSpPr>
          <p:grpSpPr>
            <a:xfrm>
              <a:off x="729238" y="1179665"/>
              <a:ext cx="80771" cy="1526215"/>
              <a:chOff x="729238" y="1179665"/>
              <a:chExt cx="80771" cy="1526215"/>
            </a:xfrm>
          </p:grpSpPr>
          <p:sp>
            <p:nvSpPr>
              <p:cNvPr id="8558" name="Google Shape;8558;p74"/>
              <p:cNvSpPr/>
              <p:nvPr/>
            </p:nvSpPr>
            <p:spPr>
              <a:xfrm>
                <a:off x="729238"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74"/>
              <p:cNvSpPr/>
              <p:nvPr/>
            </p:nvSpPr>
            <p:spPr>
              <a:xfrm>
                <a:off x="729238"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74"/>
              <p:cNvSpPr/>
              <p:nvPr/>
            </p:nvSpPr>
            <p:spPr>
              <a:xfrm>
                <a:off x="729238"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4"/>
              <p:cNvSpPr/>
              <p:nvPr/>
            </p:nvSpPr>
            <p:spPr>
              <a:xfrm>
                <a:off x="729238"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2" name="Google Shape;8562;p74"/>
              <p:cNvSpPr/>
              <p:nvPr/>
            </p:nvSpPr>
            <p:spPr>
              <a:xfrm>
                <a:off x="729238" y="1821630"/>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74"/>
              <p:cNvSpPr/>
              <p:nvPr/>
            </p:nvSpPr>
            <p:spPr>
              <a:xfrm>
                <a:off x="729238" y="1982326"/>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74"/>
              <p:cNvSpPr/>
              <p:nvPr/>
            </p:nvSpPr>
            <p:spPr>
              <a:xfrm>
                <a:off x="729238"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74"/>
              <p:cNvSpPr/>
              <p:nvPr/>
            </p:nvSpPr>
            <p:spPr>
              <a:xfrm>
                <a:off x="729238"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74"/>
              <p:cNvSpPr/>
              <p:nvPr/>
            </p:nvSpPr>
            <p:spPr>
              <a:xfrm>
                <a:off x="729238"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7" name="Google Shape;8567;p74"/>
              <p:cNvSpPr/>
              <p:nvPr/>
            </p:nvSpPr>
            <p:spPr>
              <a:xfrm>
                <a:off x="729238"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8" name="Google Shape;8568;p74"/>
            <p:cNvGrpSpPr/>
            <p:nvPr/>
          </p:nvGrpSpPr>
          <p:grpSpPr>
            <a:xfrm>
              <a:off x="903098" y="1179665"/>
              <a:ext cx="80771" cy="1526215"/>
              <a:chOff x="903098" y="1179665"/>
              <a:chExt cx="80771" cy="1526215"/>
            </a:xfrm>
          </p:grpSpPr>
          <p:sp>
            <p:nvSpPr>
              <p:cNvPr id="8569" name="Google Shape;8569;p74"/>
              <p:cNvSpPr/>
              <p:nvPr/>
            </p:nvSpPr>
            <p:spPr>
              <a:xfrm>
                <a:off x="903098"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4"/>
              <p:cNvSpPr/>
              <p:nvPr/>
            </p:nvSpPr>
            <p:spPr>
              <a:xfrm>
                <a:off x="903098"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1" name="Google Shape;8571;p74"/>
              <p:cNvSpPr/>
              <p:nvPr/>
            </p:nvSpPr>
            <p:spPr>
              <a:xfrm>
                <a:off x="903098"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2" name="Google Shape;8572;p74"/>
              <p:cNvSpPr/>
              <p:nvPr/>
            </p:nvSpPr>
            <p:spPr>
              <a:xfrm>
                <a:off x="903098"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4"/>
              <p:cNvSpPr/>
              <p:nvPr/>
            </p:nvSpPr>
            <p:spPr>
              <a:xfrm>
                <a:off x="903098"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4" name="Google Shape;8574;p74"/>
              <p:cNvSpPr/>
              <p:nvPr/>
            </p:nvSpPr>
            <p:spPr>
              <a:xfrm>
                <a:off x="903098"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5" name="Google Shape;8575;p74"/>
              <p:cNvSpPr/>
              <p:nvPr/>
            </p:nvSpPr>
            <p:spPr>
              <a:xfrm>
                <a:off x="903098"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4"/>
              <p:cNvSpPr/>
              <p:nvPr/>
            </p:nvSpPr>
            <p:spPr>
              <a:xfrm>
                <a:off x="903098"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7" name="Google Shape;8577;p74"/>
              <p:cNvSpPr/>
              <p:nvPr/>
            </p:nvSpPr>
            <p:spPr>
              <a:xfrm>
                <a:off x="903098"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8" name="Google Shape;8578;p74"/>
              <p:cNvSpPr/>
              <p:nvPr/>
            </p:nvSpPr>
            <p:spPr>
              <a:xfrm>
                <a:off x="903098"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9" name="Google Shape;8579;p74"/>
            <p:cNvGrpSpPr/>
            <p:nvPr/>
          </p:nvGrpSpPr>
          <p:grpSpPr>
            <a:xfrm>
              <a:off x="1076958" y="1179665"/>
              <a:ext cx="80771" cy="1526215"/>
              <a:chOff x="1076958" y="1179665"/>
              <a:chExt cx="80771" cy="1526215"/>
            </a:xfrm>
          </p:grpSpPr>
          <p:sp>
            <p:nvSpPr>
              <p:cNvPr id="8580" name="Google Shape;8580;p74"/>
              <p:cNvSpPr/>
              <p:nvPr/>
            </p:nvSpPr>
            <p:spPr>
              <a:xfrm>
                <a:off x="1076958"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1" name="Google Shape;8581;p74"/>
              <p:cNvSpPr/>
              <p:nvPr/>
            </p:nvSpPr>
            <p:spPr>
              <a:xfrm>
                <a:off x="1076958"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2" name="Google Shape;8582;p74"/>
              <p:cNvSpPr/>
              <p:nvPr/>
            </p:nvSpPr>
            <p:spPr>
              <a:xfrm>
                <a:off x="1076958"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3" name="Google Shape;8583;p74"/>
              <p:cNvSpPr/>
              <p:nvPr/>
            </p:nvSpPr>
            <p:spPr>
              <a:xfrm>
                <a:off x="1076958"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4" name="Google Shape;8584;p74"/>
              <p:cNvSpPr/>
              <p:nvPr/>
            </p:nvSpPr>
            <p:spPr>
              <a:xfrm>
                <a:off x="1076958"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4"/>
              <p:cNvSpPr/>
              <p:nvPr/>
            </p:nvSpPr>
            <p:spPr>
              <a:xfrm>
                <a:off x="1076958"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6" name="Google Shape;8586;p74"/>
              <p:cNvSpPr/>
              <p:nvPr/>
            </p:nvSpPr>
            <p:spPr>
              <a:xfrm>
                <a:off x="1076958" y="214302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7" name="Google Shape;8587;p74"/>
              <p:cNvSpPr/>
              <p:nvPr/>
            </p:nvSpPr>
            <p:spPr>
              <a:xfrm>
                <a:off x="1076958"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8" name="Google Shape;8588;p74"/>
              <p:cNvSpPr/>
              <p:nvPr/>
            </p:nvSpPr>
            <p:spPr>
              <a:xfrm>
                <a:off x="1076958"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9" name="Google Shape;8589;p74"/>
              <p:cNvSpPr/>
              <p:nvPr/>
            </p:nvSpPr>
            <p:spPr>
              <a:xfrm>
                <a:off x="1076958"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0" name="Google Shape;8590;p74"/>
            <p:cNvGrpSpPr/>
            <p:nvPr/>
          </p:nvGrpSpPr>
          <p:grpSpPr>
            <a:xfrm>
              <a:off x="1247707" y="1179665"/>
              <a:ext cx="80771" cy="1526215"/>
              <a:chOff x="1247707" y="1179665"/>
              <a:chExt cx="80771" cy="1526215"/>
            </a:xfrm>
          </p:grpSpPr>
          <p:sp>
            <p:nvSpPr>
              <p:cNvPr id="8591" name="Google Shape;8591;p74"/>
              <p:cNvSpPr/>
              <p:nvPr/>
            </p:nvSpPr>
            <p:spPr>
              <a:xfrm>
                <a:off x="1247707"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2" name="Google Shape;8592;p74"/>
              <p:cNvSpPr/>
              <p:nvPr/>
            </p:nvSpPr>
            <p:spPr>
              <a:xfrm>
                <a:off x="1247707"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3" name="Google Shape;8593;p74"/>
              <p:cNvSpPr/>
              <p:nvPr/>
            </p:nvSpPr>
            <p:spPr>
              <a:xfrm>
                <a:off x="1247707"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4"/>
              <p:cNvSpPr/>
              <p:nvPr/>
            </p:nvSpPr>
            <p:spPr>
              <a:xfrm>
                <a:off x="1247707" y="166175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5" name="Google Shape;8595;p74"/>
              <p:cNvSpPr/>
              <p:nvPr/>
            </p:nvSpPr>
            <p:spPr>
              <a:xfrm>
                <a:off x="1247707" y="1821630"/>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6" name="Google Shape;8596;p74"/>
              <p:cNvSpPr/>
              <p:nvPr/>
            </p:nvSpPr>
            <p:spPr>
              <a:xfrm>
                <a:off x="1247707" y="1982326"/>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4"/>
              <p:cNvSpPr/>
              <p:nvPr/>
            </p:nvSpPr>
            <p:spPr>
              <a:xfrm>
                <a:off x="1247707"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8" name="Google Shape;8598;p74"/>
              <p:cNvSpPr/>
              <p:nvPr/>
            </p:nvSpPr>
            <p:spPr>
              <a:xfrm>
                <a:off x="1247707"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9" name="Google Shape;8599;p74"/>
              <p:cNvSpPr/>
              <p:nvPr/>
            </p:nvSpPr>
            <p:spPr>
              <a:xfrm>
                <a:off x="1247707"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0" name="Google Shape;8600;p74"/>
              <p:cNvSpPr/>
              <p:nvPr/>
            </p:nvSpPr>
            <p:spPr>
              <a:xfrm>
                <a:off x="1247707"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1" name="Google Shape;8601;p74"/>
            <p:cNvGrpSpPr/>
            <p:nvPr/>
          </p:nvGrpSpPr>
          <p:grpSpPr>
            <a:xfrm>
              <a:off x="1421567" y="1179665"/>
              <a:ext cx="80771" cy="1526215"/>
              <a:chOff x="1421567" y="1179665"/>
              <a:chExt cx="80771" cy="1526215"/>
            </a:xfrm>
          </p:grpSpPr>
          <p:sp>
            <p:nvSpPr>
              <p:cNvPr id="8602" name="Google Shape;8602;p74"/>
              <p:cNvSpPr/>
              <p:nvPr/>
            </p:nvSpPr>
            <p:spPr>
              <a:xfrm>
                <a:off x="1421567"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4"/>
              <p:cNvSpPr/>
              <p:nvPr/>
            </p:nvSpPr>
            <p:spPr>
              <a:xfrm>
                <a:off x="1421567"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4" name="Google Shape;8604;p74"/>
              <p:cNvSpPr/>
              <p:nvPr/>
            </p:nvSpPr>
            <p:spPr>
              <a:xfrm>
                <a:off x="1421567"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5" name="Google Shape;8605;p74"/>
              <p:cNvSpPr/>
              <p:nvPr/>
            </p:nvSpPr>
            <p:spPr>
              <a:xfrm>
                <a:off x="1421567"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4"/>
              <p:cNvSpPr/>
              <p:nvPr/>
            </p:nvSpPr>
            <p:spPr>
              <a:xfrm>
                <a:off x="1421567"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7" name="Google Shape;8607;p74"/>
              <p:cNvSpPr/>
              <p:nvPr/>
            </p:nvSpPr>
            <p:spPr>
              <a:xfrm>
                <a:off x="1421567"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8" name="Google Shape;8608;p74"/>
              <p:cNvSpPr/>
              <p:nvPr/>
            </p:nvSpPr>
            <p:spPr>
              <a:xfrm>
                <a:off x="1421567" y="214302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9" name="Google Shape;8609;p74"/>
              <p:cNvSpPr/>
              <p:nvPr/>
            </p:nvSpPr>
            <p:spPr>
              <a:xfrm>
                <a:off x="1421567" y="2303717"/>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0" name="Google Shape;8610;p74"/>
              <p:cNvSpPr/>
              <p:nvPr/>
            </p:nvSpPr>
            <p:spPr>
              <a:xfrm>
                <a:off x="1421567"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74"/>
              <p:cNvSpPr/>
              <p:nvPr/>
            </p:nvSpPr>
            <p:spPr>
              <a:xfrm>
                <a:off x="1421567"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2" name="Google Shape;8612;p74"/>
            <p:cNvGrpSpPr/>
            <p:nvPr/>
          </p:nvGrpSpPr>
          <p:grpSpPr>
            <a:xfrm>
              <a:off x="1592327" y="1179665"/>
              <a:ext cx="80771" cy="1526215"/>
              <a:chOff x="1592327" y="1179665"/>
              <a:chExt cx="80771" cy="1526215"/>
            </a:xfrm>
          </p:grpSpPr>
          <p:sp>
            <p:nvSpPr>
              <p:cNvPr id="8613" name="Google Shape;8613;p74"/>
              <p:cNvSpPr/>
              <p:nvPr/>
            </p:nvSpPr>
            <p:spPr>
              <a:xfrm>
                <a:off x="1592327"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4" name="Google Shape;8614;p74"/>
              <p:cNvSpPr/>
              <p:nvPr/>
            </p:nvSpPr>
            <p:spPr>
              <a:xfrm>
                <a:off x="1592327"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4"/>
              <p:cNvSpPr/>
              <p:nvPr/>
            </p:nvSpPr>
            <p:spPr>
              <a:xfrm>
                <a:off x="1592327"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74"/>
              <p:cNvSpPr/>
              <p:nvPr/>
            </p:nvSpPr>
            <p:spPr>
              <a:xfrm>
                <a:off x="1592327"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7" name="Google Shape;8617;p74"/>
              <p:cNvSpPr/>
              <p:nvPr/>
            </p:nvSpPr>
            <p:spPr>
              <a:xfrm>
                <a:off x="1592327"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8" name="Google Shape;8618;p74"/>
              <p:cNvSpPr/>
              <p:nvPr/>
            </p:nvSpPr>
            <p:spPr>
              <a:xfrm>
                <a:off x="1592327"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74"/>
              <p:cNvSpPr/>
              <p:nvPr/>
            </p:nvSpPr>
            <p:spPr>
              <a:xfrm>
                <a:off x="1592327"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74"/>
              <p:cNvSpPr/>
              <p:nvPr/>
            </p:nvSpPr>
            <p:spPr>
              <a:xfrm>
                <a:off x="1592327"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4"/>
              <p:cNvSpPr/>
              <p:nvPr/>
            </p:nvSpPr>
            <p:spPr>
              <a:xfrm>
                <a:off x="1592327"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2" name="Google Shape;8622;p74"/>
              <p:cNvSpPr/>
              <p:nvPr/>
            </p:nvSpPr>
            <p:spPr>
              <a:xfrm>
                <a:off x="1592327"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3" name="Google Shape;8623;p74"/>
            <p:cNvGrpSpPr/>
            <p:nvPr/>
          </p:nvGrpSpPr>
          <p:grpSpPr>
            <a:xfrm>
              <a:off x="1766187" y="1179665"/>
              <a:ext cx="80771" cy="1526215"/>
              <a:chOff x="1766187" y="1179665"/>
              <a:chExt cx="80771" cy="1526215"/>
            </a:xfrm>
          </p:grpSpPr>
          <p:sp>
            <p:nvSpPr>
              <p:cNvPr id="8624" name="Google Shape;8624;p74"/>
              <p:cNvSpPr/>
              <p:nvPr/>
            </p:nvSpPr>
            <p:spPr>
              <a:xfrm>
                <a:off x="1766187"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5" name="Google Shape;8625;p74"/>
              <p:cNvSpPr/>
              <p:nvPr/>
            </p:nvSpPr>
            <p:spPr>
              <a:xfrm>
                <a:off x="1766187"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6" name="Google Shape;8626;p74"/>
              <p:cNvSpPr/>
              <p:nvPr/>
            </p:nvSpPr>
            <p:spPr>
              <a:xfrm>
                <a:off x="1766187"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74"/>
              <p:cNvSpPr/>
              <p:nvPr/>
            </p:nvSpPr>
            <p:spPr>
              <a:xfrm>
                <a:off x="1766187"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74"/>
              <p:cNvSpPr/>
              <p:nvPr/>
            </p:nvSpPr>
            <p:spPr>
              <a:xfrm>
                <a:off x="1766187"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74"/>
              <p:cNvSpPr/>
              <p:nvPr/>
            </p:nvSpPr>
            <p:spPr>
              <a:xfrm>
                <a:off x="1766187"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4"/>
              <p:cNvSpPr/>
              <p:nvPr/>
            </p:nvSpPr>
            <p:spPr>
              <a:xfrm>
                <a:off x="1766187" y="214302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74"/>
              <p:cNvSpPr/>
              <p:nvPr/>
            </p:nvSpPr>
            <p:spPr>
              <a:xfrm>
                <a:off x="1766187" y="2303717"/>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74"/>
              <p:cNvSpPr/>
              <p:nvPr/>
            </p:nvSpPr>
            <p:spPr>
              <a:xfrm>
                <a:off x="1766187" y="2464413"/>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4"/>
              <p:cNvSpPr/>
              <p:nvPr/>
            </p:nvSpPr>
            <p:spPr>
              <a:xfrm>
                <a:off x="1766187"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4"/>
            <p:cNvGrpSpPr/>
            <p:nvPr/>
          </p:nvGrpSpPr>
          <p:grpSpPr>
            <a:xfrm>
              <a:off x="1936935" y="1179665"/>
              <a:ext cx="80771" cy="1526215"/>
              <a:chOff x="1936935" y="1179665"/>
              <a:chExt cx="80771" cy="1526215"/>
            </a:xfrm>
          </p:grpSpPr>
          <p:sp>
            <p:nvSpPr>
              <p:cNvPr id="8635" name="Google Shape;8635;p74"/>
              <p:cNvSpPr/>
              <p:nvPr/>
            </p:nvSpPr>
            <p:spPr>
              <a:xfrm>
                <a:off x="1936935"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4"/>
              <p:cNvSpPr/>
              <p:nvPr/>
            </p:nvSpPr>
            <p:spPr>
              <a:xfrm>
                <a:off x="1936935"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7" name="Google Shape;8637;p74"/>
              <p:cNvSpPr/>
              <p:nvPr/>
            </p:nvSpPr>
            <p:spPr>
              <a:xfrm>
                <a:off x="1936935"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74"/>
              <p:cNvSpPr/>
              <p:nvPr/>
            </p:nvSpPr>
            <p:spPr>
              <a:xfrm>
                <a:off x="1936935"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4"/>
              <p:cNvSpPr/>
              <p:nvPr/>
            </p:nvSpPr>
            <p:spPr>
              <a:xfrm>
                <a:off x="1936935"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74"/>
              <p:cNvSpPr/>
              <p:nvPr/>
            </p:nvSpPr>
            <p:spPr>
              <a:xfrm>
                <a:off x="1936935" y="1982326"/>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74"/>
              <p:cNvSpPr/>
              <p:nvPr/>
            </p:nvSpPr>
            <p:spPr>
              <a:xfrm>
                <a:off x="1936935"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4"/>
              <p:cNvSpPr/>
              <p:nvPr/>
            </p:nvSpPr>
            <p:spPr>
              <a:xfrm>
                <a:off x="1936935"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74"/>
              <p:cNvSpPr/>
              <p:nvPr/>
            </p:nvSpPr>
            <p:spPr>
              <a:xfrm>
                <a:off x="1936935"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74"/>
              <p:cNvSpPr/>
              <p:nvPr/>
            </p:nvSpPr>
            <p:spPr>
              <a:xfrm>
                <a:off x="1936935"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5" name="Google Shape;8645;p74"/>
            <p:cNvGrpSpPr/>
            <p:nvPr/>
          </p:nvGrpSpPr>
          <p:grpSpPr>
            <a:xfrm>
              <a:off x="2110795" y="1179665"/>
              <a:ext cx="80771" cy="1526215"/>
              <a:chOff x="2110795" y="1179665"/>
              <a:chExt cx="80771" cy="1526215"/>
            </a:xfrm>
          </p:grpSpPr>
          <p:sp>
            <p:nvSpPr>
              <p:cNvPr id="8646" name="Google Shape;8646;p74"/>
              <p:cNvSpPr/>
              <p:nvPr/>
            </p:nvSpPr>
            <p:spPr>
              <a:xfrm>
                <a:off x="2110795"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74"/>
              <p:cNvSpPr/>
              <p:nvPr/>
            </p:nvSpPr>
            <p:spPr>
              <a:xfrm>
                <a:off x="2110795"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4"/>
              <p:cNvSpPr/>
              <p:nvPr/>
            </p:nvSpPr>
            <p:spPr>
              <a:xfrm>
                <a:off x="2110795"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74"/>
              <p:cNvSpPr/>
              <p:nvPr/>
            </p:nvSpPr>
            <p:spPr>
              <a:xfrm>
                <a:off x="2110795"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74"/>
              <p:cNvSpPr/>
              <p:nvPr/>
            </p:nvSpPr>
            <p:spPr>
              <a:xfrm>
                <a:off x="2110795" y="1821630"/>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4"/>
              <p:cNvSpPr/>
              <p:nvPr/>
            </p:nvSpPr>
            <p:spPr>
              <a:xfrm>
                <a:off x="2110795" y="1982326"/>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74"/>
              <p:cNvSpPr/>
              <p:nvPr/>
            </p:nvSpPr>
            <p:spPr>
              <a:xfrm>
                <a:off x="2110795"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74"/>
              <p:cNvSpPr/>
              <p:nvPr/>
            </p:nvSpPr>
            <p:spPr>
              <a:xfrm>
                <a:off x="2110795"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4"/>
              <p:cNvSpPr/>
              <p:nvPr/>
            </p:nvSpPr>
            <p:spPr>
              <a:xfrm>
                <a:off x="2110795"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74"/>
              <p:cNvSpPr/>
              <p:nvPr/>
            </p:nvSpPr>
            <p:spPr>
              <a:xfrm>
                <a:off x="2110795"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6" name="Google Shape;8656;p74"/>
            <p:cNvGrpSpPr/>
            <p:nvPr/>
          </p:nvGrpSpPr>
          <p:grpSpPr>
            <a:xfrm>
              <a:off x="2284655" y="1179665"/>
              <a:ext cx="80771" cy="1526215"/>
              <a:chOff x="2284655" y="1179665"/>
              <a:chExt cx="80771" cy="1526215"/>
            </a:xfrm>
          </p:grpSpPr>
          <p:sp>
            <p:nvSpPr>
              <p:cNvPr id="8657" name="Google Shape;8657;p74"/>
              <p:cNvSpPr/>
              <p:nvPr/>
            </p:nvSpPr>
            <p:spPr>
              <a:xfrm>
                <a:off x="2284655" y="1179665"/>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74"/>
              <p:cNvSpPr/>
              <p:nvPr/>
            </p:nvSpPr>
            <p:spPr>
              <a:xfrm>
                <a:off x="2284655" y="134036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74"/>
              <p:cNvSpPr/>
              <p:nvPr/>
            </p:nvSpPr>
            <p:spPr>
              <a:xfrm>
                <a:off x="2284655" y="150105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74"/>
              <p:cNvSpPr/>
              <p:nvPr/>
            </p:nvSpPr>
            <p:spPr>
              <a:xfrm>
                <a:off x="2284655" y="1661752"/>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74"/>
              <p:cNvSpPr/>
              <p:nvPr/>
            </p:nvSpPr>
            <p:spPr>
              <a:xfrm>
                <a:off x="2284655" y="1821630"/>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2" name="Google Shape;8662;p74"/>
              <p:cNvSpPr/>
              <p:nvPr/>
            </p:nvSpPr>
            <p:spPr>
              <a:xfrm>
                <a:off x="2284655" y="1982326"/>
                <a:ext cx="80771" cy="80771"/>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4"/>
              <p:cNvSpPr/>
              <p:nvPr/>
            </p:nvSpPr>
            <p:spPr>
              <a:xfrm>
                <a:off x="2284655" y="2143022"/>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74"/>
              <p:cNvSpPr/>
              <p:nvPr/>
            </p:nvSpPr>
            <p:spPr>
              <a:xfrm>
                <a:off x="2284655" y="2303717"/>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74"/>
              <p:cNvSpPr/>
              <p:nvPr/>
            </p:nvSpPr>
            <p:spPr>
              <a:xfrm>
                <a:off x="2284655" y="2464413"/>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4"/>
              <p:cNvSpPr/>
              <p:nvPr/>
            </p:nvSpPr>
            <p:spPr>
              <a:xfrm>
                <a:off x="2284655" y="2625109"/>
                <a:ext cx="80771" cy="80771"/>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67" name="Google Shape;8667;p74"/>
          <p:cNvGrpSpPr/>
          <p:nvPr/>
        </p:nvGrpSpPr>
        <p:grpSpPr>
          <a:xfrm>
            <a:off x="2623904" y="1198803"/>
            <a:ext cx="1364147" cy="1102032"/>
            <a:chOff x="2623904" y="1198803"/>
            <a:chExt cx="1364147" cy="1102032"/>
          </a:xfrm>
        </p:grpSpPr>
        <p:grpSp>
          <p:nvGrpSpPr>
            <p:cNvPr id="8668" name="Google Shape;8668;p74"/>
            <p:cNvGrpSpPr/>
            <p:nvPr/>
          </p:nvGrpSpPr>
          <p:grpSpPr>
            <a:xfrm>
              <a:off x="2623907" y="1198803"/>
              <a:ext cx="1364144" cy="272899"/>
              <a:chOff x="2623907" y="1198803"/>
              <a:chExt cx="1364144" cy="272899"/>
            </a:xfrm>
          </p:grpSpPr>
          <p:sp>
            <p:nvSpPr>
              <p:cNvPr id="8669" name="Google Shape;8669;p74"/>
              <p:cNvSpPr/>
              <p:nvPr/>
            </p:nvSpPr>
            <p:spPr>
              <a:xfrm>
                <a:off x="3715152" y="1198803"/>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74"/>
              <p:cNvSpPr/>
              <p:nvPr/>
            </p:nvSpPr>
            <p:spPr>
              <a:xfrm>
                <a:off x="2623907" y="1198803"/>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74"/>
              <p:cNvSpPr/>
              <p:nvPr/>
            </p:nvSpPr>
            <p:spPr>
              <a:xfrm>
                <a:off x="2896718" y="1198803"/>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4"/>
              <p:cNvSpPr/>
              <p:nvPr/>
            </p:nvSpPr>
            <p:spPr>
              <a:xfrm>
                <a:off x="3169529" y="1198803"/>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74"/>
              <p:cNvSpPr/>
              <p:nvPr/>
            </p:nvSpPr>
            <p:spPr>
              <a:xfrm>
                <a:off x="3442341" y="1198803"/>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4" name="Google Shape;8674;p74"/>
            <p:cNvGrpSpPr/>
            <p:nvPr/>
          </p:nvGrpSpPr>
          <p:grpSpPr>
            <a:xfrm>
              <a:off x="2623904" y="1476964"/>
              <a:ext cx="1364144" cy="272899"/>
              <a:chOff x="2623904" y="1476964"/>
              <a:chExt cx="1364144" cy="272899"/>
            </a:xfrm>
          </p:grpSpPr>
          <p:sp>
            <p:nvSpPr>
              <p:cNvPr id="8675" name="Google Shape;8675;p74"/>
              <p:cNvSpPr/>
              <p:nvPr/>
            </p:nvSpPr>
            <p:spPr>
              <a:xfrm>
                <a:off x="3169527" y="1476964"/>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74"/>
              <p:cNvSpPr/>
              <p:nvPr/>
            </p:nvSpPr>
            <p:spPr>
              <a:xfrm>
                <a:off x="3442338" y="1476964"/>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74"/>
              <p:cNvSpPr/>
              <p:nvPr/>
            </p:nvSpPr>
            <p:spPr>
              <a:xfrm>
                <a:off x="3715149" y="1476964"/>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4"/>
              <p:cNvSpPr/>
              <p:nvPr/>
            </p:nvSpPr>
            <p:spPr>
              <a:xfrm>
                <a:off x="2623904" y="1476964"/>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74"/>
              <p:cNvSpPr/>
              <p:nvPr/>
            </p:nvSpPr>
            <p:spPr>
              <a:xfrm>
                <a:off x="2896716" y="1476964"/>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0" name="Google Shape;8680;p74"/>
            <p:cNvGrpSpPr/>
            <p:nvPr/>
          </p:nvGrpSpPr>
          <p:grpSpPr>
            <a:xfrm>
              <a:off x="2623907" y="1749775"/>
              <a:ext cx="1364144" cy="272899"/>
              <a:chOff x="2623907" y="1749775"/>
              <a:chExt cx="1364144" cy="272899"/>
            </a:xfrm>
          </p:grpSpPr>
          <p:sp>
            <p:nvSpPr>
              <p:cNvPr id="8681" name="Google Shape;8681;p74"/>
              <p:cNvSpPr/>
              <p:nvPr/>
            </p:nvSpPr>
            <p:spPr>
              <a:xfrm>
                <a:off x="3442341" y="1749775"/>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74"/>
              <p:cNvSpPr/>
              <p:nvPr/>
            </p:nvSpPr>
            <p:spPr>
              <a:xfrm>
                <a:off x="3715152" y="1749775"/>
                <a:ext cx="272899" cy="272899"/>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3" name="Google Shape;8683;p74"/>
              <p:cNvSpPr/>
              <p:nvPr/>
            </p:nvSpPr>
            <p:spPr>
              <a:xfrm>
                <a:off x="2623907" y="1749775"/>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74"/>
              <p:cNvSpPr/>
              <p:nvPr/>
            </p:nvSpPr>
            <p:spPr>
              <a:xfrm>
                <a:off x="2896718" y="1749775"/>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74"/>
              <p:cNvSpPr/>
              <p:nvPr/>
            </p:nvSpPr>
            <p:spPr>
              <a:xfrm>
                <a:off x="3169529" y="1749775"/>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6" name="Google Shape;8686;p74"/>
            <p:cNvGrpSpPr/>
            <p:nvPr/>
          </p:nvGrpSpPr>
          <p:grpSpPr>
            <a:xfrm>
              <a:off x="2623904" y="2027936"/>
              <a:ext cx="1364144" cy="272899"/>
              <a:chOff x="2623904" y="2027936"/>
              <a:chExt cx="1364144" cy="272899"/>
            </a:xfrm>
          </p:grpSpPr>
          <p:sp>
            <p:nvSpPr>
              <p:cNvPr id="8687" name="Google Shape;8687;p74"/>
              <p:cNvSpPr/>
              <p:nvPr/>
            </p:nvSpPr>
            <p:spPr>
              <a:xfrm>
                <a:off x="2623904" y="2027936"/>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74"/>
              <p:cNvSpPr/>
              <p:nvPr/>
            </p:nvSpPr>
            <p:spPr>
              <a:xfrm>
                <a:off x="2896716" y="2027936"/>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74"/>
              <p:cNvSpPr/>
              <p:nvPr/>
            </p:nvSpPr>
            <p:spPr>
              <a:xfrm>
                <a:off x="3169527" y="2027936"/>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74"/>
              <p:cNvSpPr/>
              <p:nvPr/>
            </p:nvSpPr>
            <p:spPr>
              <a:xfrm>
                <a:off x="3442338" y="2027936"/>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74"/>
              <p:cNvSpPr/>
              <p:nvPr/>
            </p:nvSpPr>
            <p:spPr>
              <a:xfrm>
                <a:off x="3715149" y="2027936"/>
                <a:ext cx="272899" cy="272899"/>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92" name="Google Shape;8692;p74"/>
          <p:cNvGrpSpPr/>
          <p:nvPr/>
        </p:nvGrpSpPr>
        <p:grpSpPr>
          <a:xfrm>
            <a:off x="2613365" y="2657986"/>
            <a:ext cx="1387541" cy="159124"/>
            <a:chOff x="3200660" y="2180272"/>
            <a:chExt cx="2563824" cy="378237"/>
          </a:xfrm>
        </p:grpSpPr>
        <p:sp>
          <p:nvSpPr>
            <p:cNvPr id="8693" name="Google Shape;8693;p74"/>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74"/>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74"/>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4"/>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7" name="Google Shape;8697;p74"/>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8" name="Google Shape;8698;p74"/>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4"/>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74"/>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74"/>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4"/>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74"/>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74"/>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4"/>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74"/>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74"/>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74"/>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74"/>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74"/>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1" name="Google Shape;8711;p74"/>
          <p:cNvGrpSpPr/>
          <p:nvPr/>
        </p:nvGrpSpPr>
        <p:grpSpPr>
          <a:xfrm>
            <a:off x="2609890" y="2935811"/>
            <a:ext cx="1390502" cy="159625"/>
            <a:chOff x="3530150" y="2790075"/>
            <a:chExt cx="1962600" cy="225300"/>
          </a:xfrm>
        </p:grpSpPr>
        <p:sp>
          <p:nvSpPr>
            <p:cNvPr id="8712" name="Google Shape;8712;p74"/>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74"/>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4" name="Google Shape;8714;p74"/>
          <p:cNvGrpSpPr/>
          <p:nvPr/>
        </p:nvGrpSpPr>
        <p:grpSpPr>
          <a:xfrm>
            <a:off x="2610543" y="3214137"/>
            <a:ext cx="1411629" cy="153761"/>
            <a:chOff x="3558802" y="4011427"/>
            <a:chExt cx="1866000" cy="111300"/>
          </a:xfrm>
        </p:grpSpPr>
        <p:sp>
          <p:nvSpPr>
            <p:cNvPr id="8715" name="Google Shape;8715;p74"/>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74"/>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7" name="Google Shape;8717;p74"/>
          <p:cNvGrpSpPr/>
          <p:nvPr/>
        </p:nvGrpSpPr>
        <p:grpSpPr>
          <a:xfrm>
            <a:off x="2610235" y="2419536"/>
            <a:ext cx="1383503" cy="119749"/>
            <a:chOff x="3465975" y="2270276"/>
            <a:chExt cx="1986364" cy="171929"/>
          </a:xfrm>
        </p:grpSpPr>
        <p:sp>
          <p:nvSpPr>
            <p:cNvPr id="8718" name="Google Shape;8718;p74"/>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74"/>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74"/>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74"/>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74"/>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4"/>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74"/>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74"/>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6" name="Google Shape;8726;p74"/>
          <p:cNvGrpSpPr/>
          <p:nvPr/>
        </p:nvGrpSpPr>
        <p:grpSpPr>
          <a:xfrm>
            <a:off x="2621243" y="3783187"/>
            <a:ext cx="1369531" cy="195460"/>
            <a:chOff x="723300" y="4253549"/>
            <a:chExt cx="2276482" cy="324900"/>
          </a:xfrm>
        </p:grpSpPr>
        <p:sp>
          <p:nvSpPr>
            <p:cNvPr id="8727" name="Google Shape;8727;p74"/>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74"/>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74"/>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0" name="Google Shape;8730;p74"/>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4"/>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2" name="Google Shape;8732;p74"/>
          <p:cNvGrpSpPr/>
          <p:nvPr/>
        </p:nvGrpSpPr>
        <p:grpSpPr>
          <a:xfrm>
            <a:off x="2610803" y="3484367"/>
            <a:ext cx="1389066" cy="180119"/>
            <a:chOff x="705948" y="3788465"/>
            <a:chExt cx="2308953" cy="299400"/>
          </a:xfrm>
        </p:grpSpPr>
        <p:sp>
          <p:nvSpPr>
            <p:cNvPr id="8733" name="Google Shape;8733;p74"/>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74"/>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74"/>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74"/>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4"/>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8" name="Google Shape;8738;p74"/>
          <p:cNvGrpSpPr/>
          <p:nvPr/>
        </p:nvGrpSpPr>
        <p:grpSpPr>
          <a:xfrm>
            <a:off x="2658741" y="4097347"/>
            <a:ext cx="1304609" cy="294074"/>
            <a:chOff x="2658741" y="4097347"/>
            <a:chExt cx="1304609" cy="294074"/>
          </a:xfrm>
        </p:grpSpPr>
        <p:grpSp>
          <p:nvGrpSpPr>
            <p:cNvPr id="8739" name="Google Shape;8739;p74"/>
            <p:cNvGrpSpPr/>
            <p:nvPr/>
          </p:nvGrpSpPr>
          <p:grpSpPr>
            <a:xfrm>
              <a:off x="2658741" y="4097347"/>
              <a:ext cx="118572" cy="294074"/>
              <a:chOff x="3343310" y="4475555"/>
              <a:chExt cx="127717" cy="316753"/>
            </a:xfrm>
          </p:grpSpPr>
          <p:sp>
            <p:nvSpPr>
              <p:cNvPr id="8740" name="Google Shape;8740;p74"/>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1" name="Google Shape;8741;p74"/>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2" name="Google Shape;8742;p74"/>
            <p:cNvGrpSpPr/>
            <p:nvPr/>
          </p:nvGrpSpPr>
          <p:grpSpPr>
            <a:xfrm>
              <a:off x="3815519" y="4098388"/>
              <a:ext cx="147831" cy="291991"/>
              <a:chOff x="3527539" y="4476677"/>
              <a:chExt cx="159232" cy="314510"/>
            </a:xfrm>
          </p:grpSpPr>
          <p:sp>
            <p:nvSpPr>
              <p:cNvPr id="8743" name="Google Shape;8743;p74"/>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4" name="Google Shape;8744;p74"/>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5" name="Google Shape;8745;p74"/>
            <p:cNvGrpSpPr/>
            <p:nvPr/>
          </p:nvGrpSpPr>
          <p:grpSpPr>
            <a:xfrm>
              <a:off x="3511696" y="4098388"/>
              <a:ext cx="147831" cy="291991"/>
              <a:chOff x="3527539" y="4476677"/>
              <a:chExt cx="159232" cy="314510"/>
            </a:xfrm>
          </p:grpSpPr>
          <p:sp>
            <p:nvSpPr>
              <p:cNvPr id="8746" name="Google Shape;8746;p74"/>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7" name="Google Shape;8747;p74"/>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8" name="Google Shape;8748;p74"/>
            <p:cNvGrpSpPr/>
            <p:nvPr/>
          </p:nvGrpSpPr>
          <p:grpSpPr>
            <a:xfrm>
              <a:off x="3207874" y="4098388"/>
              <a:ext cx="147831" cy="291991"/>
              <a:chOff x="3527539" y="4476677"/>
              <a:chExt cx="159232" cy="314510"/>
            </a:xfrm>
          </p:grpSpPr>
          <p:sp>
            <p:nvSpPr>
              <p:cNvPr id="8749" name="Google Shape;8749;p74"/>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0" name="Google Shape;8750;p74"/>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1" name="Google Shape;8751;p74"/>
            <p:cNvGrpSpPr/>
            <p:nvPr/>
          </p:nvGrpSpPr>
          <p:grpSpPr>
            <a:xfrm>
              <a:off x="2933305" y="4097347"/>
              <a:ext cx="118572" cy="294074"/>
              <a:chOff x="3343310" y="4475555"/>
              <a:chExt cx="127717" cy="316753"/>
            </a:xfrm>
          </p:grpSpPr>
          <p:sp>
            <p:nvSpPr>
              <p:cNvPr id="8752" name="Google Shape;8752;p74"/>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3" name="Google Shape;8753;p74"/>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4" name="Google Shape;8754;p74"/>
          <p:cNvGrpSpPr/>
          <p:nvPr/>
        </p:nvGrpSpPr>
        <p:grpSpPr>
          <a:xfrm>
            <a:off x="4277571" y="2080469"/>
            <a:ext cx="1433821" cy="191501"/>
            <a:chOff x="4273350" y="2080469"/>
            <a:chExt cx="1433821" cy="191501"/>
          </a:xfrm>
        </p:grpSpPr>
        <p:grpSp>
          <p:nvGrpSpPr>
            <p:cNvPr id="8755" name="Google Shape;8755;p74"/>
            <p:cNvGrpSpPr/>
            <p:nvPr/>
          </p:nvGrpSpPr>
          <p:grpSpPr>
            <a:xfrm>
              <a:off x="4273350" y="2080469"/>
              <a:ext cx="1433821" cy="0"/>
              <a:chOff x="5224975" y="2962250"/>
              <a:chExt cx="1544400" cy="0"/>
            </a:xfrm>
          </p:grpSpPr>
          <p:cxnSp>
            <p:nvCxnSpPr>
              <p:cNvPr id="8756" name="Google Shape;8756;p74"/>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8757" name="Google Shape;8757;p74"/>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8758" name="Google Shape;8758;p74"/>
            <p:cNvGrpSpPr/>
            <p:nvPr/>
          </p:nvGrpSpPr>
          <p:grpSpPr>
            <a:xfrm>
              <a:off x="4273350" y="2271969"/>
              <a:ext cx="1433821" cy="0"/>
              <a:chOff x="5224975" y="2962250"/>
              <a:chExt cx="1544400" cy="0"/>
            </a:xfrm>
          </p:grpSpPr>
          <p:cxnSp>
            <p:nvCxnSpPr>
              <p:cNvPr id="8759" name="Google Shape;8759;p74"/>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8760" name="Google Shape;8760;p74"/>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8761" name="Google Shape;8761;p74"/>
          <p:cNvGrpSpPr/>
          <p:nvPr/>
        </p:nvGrpSpPr>
        <p:grpSpPr>
          <a:xfrm>
            <a:off x="4279126" y="1183038"/>
            <a:ext cx="1430711" cy="743390"/>
            <a:chOff x="5159450" y="1919950"/>
            <a:chExt cx="1541050" cy="862500"/>
          </a:xfrm>
        </p:grpSpPr>
        <p:sp>
          <p:nvSpPr>
            <p:cNvPr id="8762" name="Google Shape;8762;p74"/>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txBody>
            <a:bodyPr/>
            <a:lstStyle/>
            <a:p>
              <a:endParaRPr lang="de-DE"/>
            </a:p>
          </p:txBody>
        </p:sp>
        <p:grpSp>
          <p:nvGrpSpPr>
            <p:cNvPr id="8763" name="Google Shape;8763;p74"/>
            <p:cNvGrpSpPr/>
            <p:nvPr/>
          </p:nvGrpSpPr>
          <p:grpSpPr>
            <a:xfrm>
              <a:off x="5159450" y="1919950"/>
              <a:ext cx="1541050" cy="862500"/>
              <a:chOff x="5159450" y="1919950"/>
              <a:chExt cx="1541050" cy="862500"/>
            </a:xfrm>
          </p:grpSpPr>
          <p:cxnSp>
            <p:nvCxnSpPr>
              <p:cNvPr id="8764" name="Google Shape;8764;p74"/>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8765" name="Google Shape;8765;p74"/>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8766" name="Google Shape;8766;p74"/>
          <p:cNvGrpSpPr/>
          <p:nvPr/>
        </p:nvGrpSpPr>
        <p:grpSpPr>
          <a:xfrm>
            <a:off x="4269239" y="2406364"/>
            <a:ext cx="1450484" cy="1052087"/>
            <a:chOff x="5230575" y="1554475"/>
            <a:chExt cx="2137150" cy="1550150"/>
          </a:xfrm>
        </p:grpSpPr>
        <p:sp>
          <p:nvSpPr>
            <p:cNvPr id="8767" name="Google Shape;8767;p74"/>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8" name="Google Shape;8768;p74"/>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9" name="Google Shape;8769;p74"/>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0" name="Google Shape;8770;p74"/>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1" name="Google Shape;8771;p74"/>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2" name="Google Shape;8772;p74"/>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3" name="Google Shape;8773;p74"/>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4" name="Google Shape;8774;p74"/>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4"/>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6" name="Google Shape;8776;p74"/>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4"/>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74"/>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74"/>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0" name="Google Shape;8780;p74"/>
          <p:cNvGrpSpPr/>
          <p:nvPr/>
        </p:nvGrpSpPr>
        <p:grpSpPr>
          <a:xfrm rot="10800000">
            <a:off x="4285790" y="3498553"/>
            <a:ext cx="1417383" cy="887946"/>
            <a:chOff x="5645403" y="2920021"/>
            <a:chExt cx="2650800" cy="2180614"/>
          </a:xfrm>
        </p:grpSpPr>
        <p:sp>
          <p:nvSpPr>
            <p:cNvPr id="8781" name="Google Shape;8781;p74"/>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782" name="Google Shape;8782;p74"/>
            <p:cNvCxnSpPr>
              <a:stCxn id="8781"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8783" name="Google Shape;8783;p74"/>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784" name="Google Shape;8784;p74"/>
            <p:cNvCxnSpPr>
              <a:endCxn id="8783" idx="3"/>
            </p:cNvCxnSpPr>
            <p:nvPr/>
          </p:nvCxnSpPr>
          <p:spPr>
            <a:xfrm rot="10800000">
              <a:off x="8059040" y="3735532"/>
              <a:ext cx="135300" cy="0"/>
            </a:xfrm>
            <a:prstGeom prst="straightConnector1">
              <a:avLst/>
            </a:prstGeom>
            <a:noFill/>
            <a:ln w="9525" cap="flat" cmpd="sng">
              <a:solidFill>
                <a:srgbClr val="5F7D95"/>
              </a:solidFill>
              <a:prstDash val="solid"/>
              <a:round/>
              <a:headEnd type="none" w="med" len="med"/>
              <a:tailEnd type="none" w="med" len="med"/>
            </a:ln>
          </p:spPr>
        </p:cxnSp>
        <p:sp>
          <p:nvSpPr>
            <p:cNvPr id="8785" name="Google Shape;8785;p74"/>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786" name="Google Shape;8786;p74"/>
            <p:cNvCxnSpPr>
              <a:stCxn id="8785" idx="1"/>
            </p:cNvCxnSpPr>
            <p:nvPr/>
          </p:nvCxnSpPr>
          <p:spPr>
            <a:xfrm rot="10800000">
              <a:off x="6175223"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8787" name="Google Shape;8787;p74"/>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788" name="Google Shape;8788;p74"/>
            <p:cNvCxnSpPr>
              <a:endCxn id="8787"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8789" name="Google Shape;8789;p74"/>
          <p:cNvGrpSpPr/>
          <p:nvPr/>
        </p:nvGrpSpPr>
        <p:grpSpPr>
          <a:xfrm>
            <a:off x="7386150" y="2401908"/>
            <a:ext cx="1071743" cy="1021579"/>
            <a:chOff x="7189833" y="2022667"/>
            <a:chExt cx="1251159" cy="1192597"/>
          </a:xfrm>
        </p:grpSpPr>
        <p:sp>
          <p:nvSpPr>
            <p:cNvPr id="8790" name="Google Shape;8790;p74"/>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74"/>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74"/>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3" name="Google Shape;8793;p74"/>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4" name="Google Shape;8794;p74"/>
          <p:cNvGrpSpPr/>
          <p:nvPr/>
        </p:nvGrpSpPr>
        <p:grpSpPr>
          <a:xfrm>
            <a:off x="727421" y="2828315"/>
            <a:ext cx="1695374" cy="1560837"/>
            <a:chOff x="727421" y="2828315"/>
            <a:chExt cx="1695374" cy="1560837"/>
          </a:xfrm>
        </p:grpSpPr>
        <p:grpSp>
          <p:nvGrpSpPr>
            <p:cNvPr id="8795" name="Google Shape;8795;p74"/>
            <p:cNvGrpSpPr/>
            <p:nvPr/>
          </p:nvGrpSpPr>
          <p:grpSpPr>
            <a:xfrm>
              <a:off x="819108" y="2882501"/>
              <a:ext cx="103104" cy="1426186"/>
              <a:chOff x="4674013" y="3100904"/>
              <a:chExt cx="122758" cy="1698043"/>
            </a:xfrm>
          </p:grpSpPr>
          <p:sp>
            <p:nvSpPr>
              <p:cNvPr id="8796" name="Google Shape;8796;p74"/>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7" name="Google Shape;8797;p74"/>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8" name="Google Shape;8798;p74"/>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9" name="Google Shape;8799;p74"/>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74"/>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74"/>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74"/>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3" name="Google Shape;8803;p74"/>
            <p:cNvGrpSpPr/>
            <p:nvPr/>
          </p:nvGrpSpPr>
          <p:grpSpPr>
            <a:xfrm>
              <a:off x="1062475" y="2882501"/>
              <a:ext cx="103104" cy="1426186"/>
              <a:chOff x="4940438" y="3100904"/>
              <a:chExt cx="122758" cy="1698043"/>
            </a:xfrm>
          </p:grpSpPr>
          <p:sp>
            <p:nvSpPr>
              <p:cNvPr id="8804" name="Google Shape;8804;p74"/>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74"/>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6" name="Google Shape;8806;p74"/>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4"/>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8" name="Google Shape;8808;p74"/>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9" name="Google Shape;8809;p74"/>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74"/>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1" name="Google Shape;8811;p74"/>
            <p:cNvGrpSpPr/>
            <p:nvPr/>
          </p:nvGrpSpPr>
          <p:grpSpPr>
            <a:xfrm>
              <a:off x="1299324" y="2882501"/>
              <a:ext cx="103104" cy="1426186"/>
              <a:chOff x="5206863" y="3100904"/>
              <a:chExt cx="122758" cy="1698043"/>
            </a:xfrm>
          </p:grpSpPr>
          <p:sp>
            <p:nvSpPr>
              <p:cNvPr id="8812" name="Google Shape;8812;p74"/>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4"/>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4" name="Google Shape;8814;p74"/>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5" name="Google Shape;8815;p74"/>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4"/>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7" name="Google Shape;8817;p74"/>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8" name="Google Shape;8818;p74"/>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9" name="Google Shape;8819;p74"/>
            <p:cNvGrpSpPr/>
            <p:nvPr/>
          </p:nvGrpSpPr>
          <p:grpSpPr>
            <a:xfrm>
              <a:off x="1786057" y="2882501"/>
              <a:ext cx="103104" cy="1426186"/>
              <a:chOff x="6006138" y="3143629"/>
              <a:chExt cx="122758" cy="1698043"/>
            </a:xfrm>
          </p:grpSpPr>
          <p:sp>
            <p:nvSpPr>
              <p:cNvPr id="8820" name="Google Shape;8820;p74"/>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1" name="Google Shape;8821;p74"/>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2" name="Google Shape;8822;p74"/>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3" name="Google Shape;8823;p74"/>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74"/>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4"/>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6" name="Google Shape;8826;p74"/>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7" name="Google Shape;8827;p74"/>
            <p:cNvGrpSpPr/>
            <p:nvPr/>
          </p:nvGrpSpPr>
          <p:grpSpPr>
            <a:xfrm>
              <a:off x="2029422" y="2882501"/>
              <a:ext cx="103104" cy="1426186"/>
              <a:chOff x="6805413" y="3100904"/>
              <a:chExt cx="122758" cy="1698043"/>
            </a:xfrm>
          </p:grpSpPr>
          <p:sp>
            <p:nvSpPr>
              <p:cNvPr id="8828" name="Google Shape;8828;p74"/>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9" name="Google Shape;8829;p74"/>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74"/>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74"/>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2" name="Google Shape;8832;p74"/>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3" name="Google Shape;8833;p74"/>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4"/>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4"/>
            <p:cNvGrpSpPr/>
            <p:nvPr/>
          </p:nvGrpSpPr>
          <p:grpSpPr>
            <a:xfrm>
              <a:off x="727421" y="2828315"/>
              <a:ext cx="1695374" cy="1560837"/>
              <a:chOff x="734799" y="2782450"/>
              <a:chExt cx="1571100" cy="1577400"/>
            </a:xfrm>
          </p:grpSpPr>
          <p:cxnSp>
            <p:nvCxnSpPr>
              <p:cNvPr id="8836" name="Google Shape;8836;p74"/>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8837" name="Google Shape;8837;p74"/>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8838" name="Google Shape;8838;p74"/>
            <p:cNvGrpSpPr/>
            <p:nvPr/>
          </p:nvGrpSpPr>
          <p:grpSpPr>
            <a:xfrm>
              <a:off x="2272795" y="2882501"/>
              <a:ext cx="103104" cy="1426186"/>
              <a:chOff x="5206863" y="3100904"/>
              <a:chExt cx="122758" cy="1698043"/>
            </a:xfrm>
          </p:grpSpPr>
          <p:sp>
            <p:nvSpPr>
              <p:cNvPr id="8839" name="Google Shape;8839;p74"/>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4"/>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1" name="Google Shape;8841;p74"/>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74"/>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4"/>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4" name="Google Shape;8844;p74"/>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5" name="Google Shape;8845;p74"/>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6" name="Google Shape;8846;p74"/>
            <p:cNvGrpSpPr/>
            <p:nvPr/>
          </p:nvGrpSpPr>
          <p:grpSpPr>
            <a:xfrm>
              <a:off x="1542694" y="2882501"/>
              <a:ext cx="103104" cy="1426186"/>
              <a:chOff x="6006138" y="3143629"/>
              <a:chExt cx="122758" cy="1698043"/>
            </a:xfrm>
          </p:grpSpPr>
          <p:sp>
            <p:nvSpPr>
              <p:cNvPr id="8847" name="Google Shape;8847;p74"/>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8" name="Google Shape;8848;p74"/>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9" name="Google Shape;8849;p74"/>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74"/>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4"/>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2" name="Google Shape;8852;p74"/>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3" name="Google Shape;8853;p74"/>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54" name="Google Shape;8854;p74"/>
          <p:cNvGrpSpPr/>
          <p:nvPr/>
        </p:nvGrpSpPr>
        <p:grpSpPr>
          <a:xfrm>
            <a:off x="5936000" y="2405887"/>
            <a:ext cx="1248543" cy="1025319"/>
            <a:chOff x="5183758" y="1210600"/>
            <a:chExt cx="3605380" cy="2960783"/>
          </a:xfrm>
        </p:grpSpPr>
        <p:sp>
          <p:nvSpPr>
            <p:cNvPr id="8855" name="Google Shape;8855;p74"/>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74"/>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7" name="Google Shape;8857;p74"/>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8" name="Google Shape;8858;p74"/>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59" name="Google Shape;8859;p74"/>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8860" name="Google Shape;8860;p74"/>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8861" name="Google Shape;8861;p74"/>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8862" name="Google Shape;8862;p74"/>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8863" name="Google Shape;8863;p74"/>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4" name="Google Shape;8864;p74"/>
          <p:cNvGrpSpPr/>
          <p:nvPr/>
        </p:nvGrpSpPr>
        <p:grpSpPr>
          <a:xfrm>
            <a:off x="5793062" y="3544204"/>
            <a:ext cx="2664831" cy="843440"/>
            <a:chOff x="5916567" y="1099697"/>
            <a:chExt cx="2556683" cy="809211"/>
          </a:xfrm>
        </p:grpSpPr>
        <p:sp>
          <p:nvSpPr>
            <p:cNvPr id="8865" name="Google Shape;8865;p74"/>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4"/>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4"/>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4"/>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9" name="Google Shape;8869;p74"/>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0" name="Google Shape;8870;p74"/>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4"/>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74"/>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74"/>
          <p:cNvGrpSpPr/>
          <p:nvPr/>
        </p:nvGrpSpPr>
        <p:grpSpPr>
          <a:xfrm>
            <a:off x="5900602" y="1193063"/>
            <a:ext cx="1299869" cy="1023338"/>
            <a:chOff x="5900602" y="1193063"/>
            <a:chExt cx="1299869" cy="1023338"/>
          </a:xfrm>
        </p:grpSpPr>
        <p:grpSp>
          <p:nvGrpSpPr>
            <p:cNvPr id="8874" name="Google Shape;8874;p74"/>
            <p:cNvGrpSpPr/>
            <p:nvPr/>
          </p:nvGrpSpPr>
          <p:grpSpPr>
            <a:xfrm>
              <a:off x="6743564" y="1193063"/>
              <a:ext cx="456907" cy="700379"/>
              <a:chOff x="6743564" y="1193063"/>
              <a:chExt cx="456907" cy="700379"/>
            </a:xfrm>
          </p:grpSpPr>
          <p:grpSp>
            <p:nvGrpSpPr>
              <p:cNvPr id="8875" name="Google Shape;8875;p74"/>
              <p:cNvGrpSpPr/>
              <p:nvPr/>
            </p:nvGrpSpPr>
            <p:grpSpPr>
              <a:xfrm>
                <a:off x="6743564" y="1690724"/>
                <a:ext cx="214416" cy="202717"/>
                <a:chOff x="6743564" y="1690724"/>
                <a:chExt cx="214416" cy="202717"/>
              </a:xfrm>
            </p:grpSpPr>
            <p:sp>
              <p:nvSpPr>
                <p:cNvPr id="8876" name="Google Shape;8876;p74"/>
                <p:cNvSpPr/>
                <p:nvPr/>
              </p:nvSpPr>
              <p:spPr>
                <a:xfrm rot="-5400000">
                  <a:off x="6796935" y="1637353"/>
                  <a:ext cx="107673" cy="214416"/>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7" name="Google Shape;8877;p74"/>
                <p:cNvSpPr/>
                <p:nvPr/>
              </p:nvSpPr>
              <p:spPr>
                <a:xfrm rot="-5400000">
                  <a:off x="6797062" y="1744953"/>
                  <a:ext cx="95052" cy="201926"/>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8" name="Google Shape;8878;p74"/>
              <p:cNvGrpSpPr/>
              <p:nvPr/>
            </p:nvGrpSpPr>
            <p:grpSpPr>
              <a:xfrm>
                <a:off x="6915505" y="1193063"/>
                <a:ext cx="284966" cy="589637"/>
                <a:chOff x="6915505" y="1193063"/>
                <a:chExt cx="284966" cy="589637"/>
              </a:xfrm>
            </p:grpSpPr>
            <p:sp>
              <p:nvSpPr>
                <p:cNvPr id="8879" name="Google Shape;8879;p74"/>
                <p:cNvSpPr/>
                <p:nvPr/>
              </p:nvSpPr>
              <p:spPr>
                <a:xfrm>
                  <a:off x="6915505" y="1193063"/>
                  <a:ext cx="284966" cy="63652"/>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80" name="Google Shape;8880;p74"/>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8881" name="Google Shape;8881;p74"/>
            <p:cNvGrpSpPr/>
            <p:nvPr/>
          </p:nvGrpSpPr>
          <p:grpSpPr>
            <a:xfrm>
              <a:off x="6520337" y="1193063"/>
              <a:ext cx="341833" cy="801589"/>
              <a:chOff x="6520337" y="1193063"/>
              <a:chExt cx="341833" cy="801589"/>
            </a:xfrm>
          </p:grpSpPr>
          <p:grpSp>
            <p:nvGrpSpPr>
              <p:cNvPr id="8882" name="Google Shape;8882;p74"/>
              <p:cNvGrpSpPr/>
              <p:nvPr/>
            </p:nvGrpSpPr>
            <p:grpSpPr>
              <a:xfrm>
                <a:off x="6520337" y="1589514"/>
                <a:ext cx="213964" cy="405138"/>
                <a:chOff x="6520337" y="1589514"/>
                <a:chExt cx="213964" cy="405138"/>
              </a:xfrm>
            </p:grpSpPr>
            <p:sp>
              <p:nvSpPr>
                <p:cNvPr id="8883" name="Google Shape;8883;p74"/>
                <p:cNvSpPr/>
                <p:nvPr/>
              </p:nvSpPr>
              <p:spPr>
                <a:xfrm rot="-5400000">
                  <a:off x="6522864" y="1586987"/>
                  <a:ext cx="208867" cy="213920"/>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4"/>
                <p:cNvSpPr/>
                <p:nvPr/>
              </p:nvSpPr>
              <p:spPr>
                <a:xfrm rot="-5400000">
                  <a:off x="6529205" y="1789556"/>
                  <a:ext cx="196263" cy="213929"/>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5" name="Google Shape;8885;p74"/>
              <p:cNvGrpSpPr/>
              <p:nvPr/>
            </p:nvGrpSpPr>
            <p:grpSpPr>
              <a:xfrm>
                <a:off x="6577204" y="1193063"/>
                <a:ext cx="284966" cy="453562"/>
                <a:chOff x="6577204" y="1193063"/>
                <a:chExt cx="284966" cy="453562"/>
              </a:xfrm>
            </p:grpSpPr>
            <p:sp>
              <p:nvSpPr>
                <p:cNvPr id="8886" name="Google Shape;8886;p74"/>
                <p:cNvSpPr/>
                <p:nvPr/>
              </p:nvSpPr>
              <p:spPr>
                <a:xfrm>
                  <a:off x="6577204" y="1193063"/>
                  <a:ext cx="284966" cy="63652"/>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87" name="Google Shape;8887;p74"/>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8888" name="Google Shape;8888;p74"/>
            <p:cNvGrpSpPr/>
            <p:nvPr/>
          </p:nvGrpSpPr>
          <p:grpSpPr>
            <a:xfrm>
              <a:off x="6238903" y="1193063"/>
              <a:ext cx="300491" cy="901782"/>
              <a:chOff x="6238903" y="1193063"/>
              <a:chExt cx="300491" cy="901782"/>
            </a:xfrm>
          </p:grpSpPr>
          <p:grpSp>
            <p:nvGrpSpPr>
              <p:cNvPr id="8889" name="Google Shape;8889;p74"/>
              <p:cNvGrpSpPr/>
              <p:nvPr/>
            </p:nvGrpSpPr>
            <p:grpSpPr>
              <a:xfrm>
                <a:off x="6290865" y="1489295"/>
                <a:ext cx="248530" cy="605550"/>
                <a:chOff x="6290865" y="1489295"/>
                <a:chExt cx="248530" cy="605550"/>
              </a:xfrm>
            </p:grpSpPr>
            <p:sp>
              <p:nvSpPr>
                <p:cNvPr id="8890" name="Google Shape;8890;p74"/>
                <p:cNvSpPr/>
                <p:nvPr/>
              </p:nvSpPr>
              <p:spPr>
                <a:xfrm rot="-5400000">
                  <a:off x="6260587" y="1519573"/>
                  <a:ext cx="309086" cy="248530"/>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4"/>
                <p:cNvSpPr/>
                <p:nvPr/>
              </p:nvSpPr>
              <p:spPr>
                <a:xfrm rot="-5400000">
                  <a:off x="6266915" y="1822365"/>
                  <a:ext cx="296456" cy="248504"/>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2" name="Google Shape;8892;p74"/>
              <p:cNvGrpSpPr/>
              <p:nvPr/>
            </p:nvGrpSpPr>
            <p:grpSpPr>
              <a:xfrm>
                <a:off x="6238903" y="1193063"/>
                <a:ext cx="284966" cy="327512"/>
                <a:chOff x="6238903" y="1193063"/>
                <a:chExt cx="284966" cy="327512"/>
              </a:xfrm>
            </p:grpSpPr>
            <p:sp>
              <p:nvSpPr>
                <p:cNvPr id="8893" name="Google Shape;8893;p74"/>
                <p:cNvSpPr/>
                <p:nvPr/>
              </p:nvSpPr>
              <p:spPr>
                <a:xfrm>
                  <a:off x="6238903" y="1193063"/>
                  <a:ext cx="284966" cy="63652"/>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94" name="Google Shape;8894;p74"/>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8895" name="Google Shape;8895;p74"/>
            <p:cNvGrpSpPr/>
            <p:nvPr/>
          </p:nvGrpSpPr>
          <p:grpSpPr>
            <a:xfrm>
              <a:off x="5900602" y="1193063"/>
              <a:ext cx="444365" cy="1023338"/>
              <a:chOff x="5900602" y="1193063"/>
              <a:chExt cx="444365" cy="1023338"/>
            </a:xfrm>
          </p:grpSpPr>
          <p:grpSp>
            <p:nvGrpSpPr>
              <p:cNvPr id="8896" name="Google Shape;8896;p74"/>
              <p:cNvGrpSpPr/>
              <p:nvPr/>
            </p:nvGrpSpPr>
            <p:grpSpPr>
              <a:xfrm>
                <a:off x="6046501" y="1367757"/>
                <a:ext cx="298465" cy="848644"/>
                <a:chOff x="6046501" y="1367757"/>
                <a:chExt cx="298465" cy="848644"/>
              </a:xfrm>
            </p:grpSpPr>
            <p:sp>
              <p:nvSpPr>
                <p:cNvPr id="8897" name="Google Shape;8897;p74"/>
                <p:cNvSpPr/>
                <p:nvPr/>
              </p:nvSpPr>
              <p:spPr>
                <a:xfrm rot="-5400000">
                  <a:off x="5980413" y="1433845"/>
                  <a:ext cx="430641" cy="298465"/>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74"/>
                <p:cNvSpPr/>
                <p:nvPr/>
              </p:nvSpPr>
              <p:spPr>
                <a:xfrm rot="-5400000">
                  <a:off x="5986741" y="1858175"/>
                  <a:ext cx="418012" cy="298439"/>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9" name="Google Shape;8899;p74"/>
              <p:cNvGrpSpPr/>
              <p:nvPr/>
            </p:nvGrpSpPr>
            <p:grpSpPr>
              <a:xfrm>
                <a:off x="5900602" y="1193063"/>
                <a:ext cx="284966" cy="182312"/>
                <a:chOff x="5900602" y="1193063"/>
                <a:chExt cx="284966" cy="182312"/>
              </a:xfrm>
            </p:grpSpPr>
            <p:sp>
              <p:nvSpPr>
                <p:cNvPr id="8900" name="Google Shape;8900;p74"/>
                <p:cNvSpPr/>
                <p:nvPr/>
              </p:nvSpPr>
              <p:spPr>
                <a:xfrm>
                  <a:off x="5900602" y="1193063"/>
                  <a:ext cx="284966" cy="63652"/>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901" name="Google Shape;8901;p74"/>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8902" name="Google Shape;8902;p74"/>
          <p:cNvGrpSpPr/>
          <p:nvPr/>
        </p:nvGrpSpPr>
        <p:grpSpPr>
          <a:xfrm>
            <a:off x="7238484" y="1193208"/>
            <a:ext cx="1219413" cy="1051379"/>
            <a:chOff x="7287122" y="1165658"/>
            <a:chExt cx="1219413" cy="1051379"/>
          </a:xfrm>
        </p:grpSpPr>
        <p:grpSp>
          <p:nvGrpSpPr>
            <p:cNvPr id="8903" name="Google Shape;8903;p74"/>
            <p:cNvGrpSpPr/>
            <p:nvPr/>
          </p:nvGrpSpPr>
          <p:grpSpPr>
            <a:xfrm>
              <a:off x="7287162" y="1969723"/>
              <a:ext cx="1219372" cy="247314"/>
              <a:chOff x="7287162" y="1969723"/>
              <a:chExt cx="1219372" cy="247314"/>
            </a:xfrm>
          </p:grpSpPr>
          <p:sp>
            <p:nvSpPr>
              <p:cNvPr id="8904" name="Google Shape;8904;p74"/>
              <p:cNvSpPr/>
              <p:nvPr/>
            </p:nvSpPr>
            <p:spPr>
              <a:xfrm flipH="1">
                <a:off x="8366239" y="1969723"/>
                <a:ext cx="140295" cy="247314"/>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905" name="Google Shape;8905;p74"/>
              <p:cNvGrpSpPr/>
              <p:nvPr/>
            </p:nvGrpSpPr>
            <p:grpSpPr>
              <a:xfrm>
                <a:off x="7287162" y="2063892"/>
                <a:ext cx="1151713" cy="73432"/>
                <a:chOff x="7287162" y="2063892"/>
                <a:chExt cx="1151713" cy="73432"/>
              </a:xfrm>
            </p:grpSpPr>
            <p:sp>
              <p:nvSpPr>
                <p:cNvPr id="8906" name="Google Shape;8906;p74"/>
                <p:cNvSpPr/>
                <p:nvPr/>
              </p:nvSpPr>
              <p:spPr>
                <a:xfrm flipH="1">
                  <a:off x="7287162" y="2063892"/>
                  <a:ext cx="507062" cy="73432"/>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907" name="Google Shape;8907;p74"/>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8908" name="Google Shape;8908;p74"/>
            <p:cNvGrpSpPr/>
            <p:nvPr/>
          </p:nvGrpSpPr>
          <p:grpSpPr>
            <a:xfrm>
              <a:off x="7287122" y="1712201"/>
              <a:ext cx="1219403" cy="246780"/>
              <a:chOff x="7287122" y="1712201"/>
              <a:chExt cx="1219403" cy="246780"/>
            </a:xfrm>
          </p:grpSpPr>
          <p:sp>
            <p:nvSpPr>
              <p:cNvPr id="8909" name="Google Shape;8909;p74"/>
              <p:cNvSpPr/>
              <p:nvPr/>
            </p:nvSpPr>
            <p:spPr>
              <a:xfrm flipH="1">
                <a:off x="8226234" y="1712201"/>
                <a:ext cx="280291" cy="246780"/>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910" name="Google Shape;8910;p74"/>
              <p:cNvGrpSpPr/>
              <p:nvPr/>
            </p:nvGrpSpPr>
            <p:grpSpPr>
              <a:xfrm>
                <a:off x="7287122" y="1842861"/>
                <a:ext cx="1005303" cy="73419"/>
                <a:chOff x="7287122" y="1842861"/>
                <a:chExt cx="1005303" cy="73419"/>
              </a:xfrm>
            </p:grpSpPr>
            <p:sp>
              <p:nvSpPr>
                <p:cNvPr id="8911" name="Google Shape;8911;p74"/>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912" name="Google Shape;8912;p74"/>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8913" name="Google Shape;8913;p74"/>
            <p:cNvGrpSpPr/>
            <p:nvPr/>
          </p:nvGrpSpPr>
          <p:grpSpPr>
            <a:xfrm>
              <a:off x="7287162" y="1447520"/>
              <a:ext cx="1219363" cy="286683"/>
              <a:chOff x="7287162" y="1447520"/>
              <a:chExt cx="1219363" cy="286683"/>
            </a:xfrm>
          </p:grpSpPr>
          <p:sp>
            <p:nvSpPr>
              <p:cNvPr id="8914" name="Google Shape;8914;p74"/>
              <p:cNvSpPr/>
              <p:nvPr/>
            </p:nvSpPr>
            <p:spPr>
              <a:xfrm flipH="1">
                <a:off x="8087641" y="1447520"/>
                <a:ext cx="418884" cy="286683"/>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915" name="Google Shape;8915;p74"/>
              <p:cNvGrpSpPr/>
              <p:nvPr/>
            </p:nvGrpSpPr>
            <p:grpSpPr>
              <a:xfrm>
                <a:off x="7287162" y="1581977"/>
                <a:ext cx="852763" cy="73432"/>
                <a:chOff x="7287162" y="1581977"/>
                <a:chExt cx="852763" cy="73432"/>
              </a:xfrm>
            </p:grpSpPr>
            <p:sp>
              <p:nvSpPr>
                <p:cNvPr id="8916" name="Google Shape;8916;p74"/>
                <p:cNvSpPr/>
                <p:nvPr/>
              </p:nvSpPr>
              <p:spPr>
                <a:xfrm flipH="1">
                  <a:off x="7287162" y="1581977"/>
                  <a:ext cx="507062" cy="73432"/>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917" name="Google Shape;8917;p74"/>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8918" name="Google Shape;8918;p74"/>
            <p:cNvGrpSpPr/>
            <p:nvPr/>
          </p:nvGrpSpPr>
          <p:grpSpPr>
            <a:xfrm>
              <a:off x="7287162" y="1165658"/>
              <a:ext cx="1219363" cy="344284"/>
              <a:chOff x="7287162" y="1165658"/>
              <a:chExt cx="1219363" cy="344284"/>
            </a:xfrm>
          </p:grpSpPr>
          <p:sp>
            <p:nvSpPr>
              <p:cNvPr id="8919" name="Google Shape;8919;p74"/>
              <p:cNvSpPr/>
              <p:nvPr/>
            </p:nvSpPr>
            <p:spPr>
              <a:xfrm flipH="1">
                <a:off x="7919504" y="1165658"/>
                <a:ext cx="587021" cy="344284"/>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920" name="Google Shape;8920;p74"/>
              <p:cNvGrpSpPr/>
              <p:nvPr/>
            </p:nvGrpSpPr>
            <p:grpSpPr>
              <a:xfrm>
                <a:off x="7287162" y="1341025"/>
                <a:ext cx="695663" cy="73423"/>
                <a:chOff x="7287162" y="1341025"/>
                <a:chExt cx="695663" cy="73423"/>
              </a:xfrm>
            </p:grpSpPr>
            <p:sp>
              <p:nvSpPr>
                <p:cNvPr id="8921" name="Google Shape;8921;p74"/>
                <p:cNvSpPr/>
                <p:nvPr/>
              </p:nvSpPr>
              <p:spPr>
                <a:xfrm flipH="1">
                  <a:off x="7287162" y="1341025"/>
                  <a:ext cx="507062" cy="73423"/>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922" name="Google Shape;8922;p74"/>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8926"/>
        <p:cNvGrpSpPr/>
        <p:nvPr/>
      </p:nvGrpSpPr>
      <p:grpSpPr>
        <a:xfrm>
          <a:off x="0" y="0"/>
          <a:ext cx="0" cy="0"/>
          <a:chOff x="0" y="0"/>
          <a:chExt cx="0" cy="0"/>
        </a:xfrm>
      </p:grpSpPr>
      <p:sp>
        <p:nvSpPr>
          <p:cNvPr id="8927" name="Google Shape;8927;p75"/>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8928" name="Google Shape;8928;p75"/>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8929" name="Google Shape;8929;p75"/>
          <p:cNvGrpSpPr/>
          <p:nvPr/>
        </p:nvGrpSpPr>
        <p:grpSpPr>
          <a:xfrm>
            <a:off x="845855" y="2307733"/>
            <a:ext cx="340168" cy="298978"/>
            <a:chOff x="892750" y="267400"/>
            <a:chExt cx="483125" cy="424625"/>
          </a:xfrm>
        </p:grpSpPr>
        <p:sp>
          <p:nvSpPr>
            <p:cNvPr id="8930" name="Google Shape;8930;p75"/>
            <p:cNvSpPr/>
            <p:nvPr/>
          </p:nvSpPr>
          <p:spPr>
            <a:xfrm>
              <a:off x="892750" y="267400"/>
              <a:ext cx="483125" cy="424625"/>
            </a:xfrm>
            <a:custGeom>
              <a:avLst/>
              <a:gdLst/>
              <a:ahLst/>
              <a:cxnLst/>
              <a:rect l="l" t="t" r="r" b="b"/>
              <a:pathLst>
                <a:path w="19325" h="16985" extrusionOk="0">
                  <a:moveTo>
                    <a:pt x="2832" y="1133"/>
                  </a:moveTo>
                  <a:cubicBezTo>
                    <a:pt x="3143" y="1133"/>
                    <a:pt x="3397" y="1383"/>
                    <a:pt x="3397" y="1697"/>
                  </a:cubicBezTo>
                  <a:lnTo>
                    <a:pt x="3397" y="2265"/>
                  </a:lnTo>
                  <a:lnTo>
                    <a:pt x="2265" y="2265"/>
                  </a:lnTo>
                  <a:lnTo>
                    <a:pt x="2265" y="1697"/>
                  </a:lnTo>
                  <a:cubicBezTo>
                    <a:pt x="2265" y="1383"/>
                    <a:pt x="2518" y="1133"/>
                    <a:pt x="2832" y="1133"/>
                  </a:cubicBezTo>
                  <a:close/>
                  <a:moveTo>
                    <a:pt x="11927" y="1133"/>
                  </a:moveTo>
                  <a:cubicBezTo>
                    <a:pt x="12241" y="1133"/>
                    <a:pt x="12494" y="1383"/>
                    <a:pt x="12494" y="1697"/>
                  </a:cubicBezTo>
                  <a:lnTo>
                    <a:pt x="12494" y="2265"/>
                  </a:lnTo>
                  <a:lnTo>
                    <a:pt x="6833" y="2265"/>
                  </a:lnTo>
                  <a:lnTo>
                    <a:pt x="6833" y="1697"/>
                  </a:lnTo>
                  <a:cubicBezTo>
                    <a:pt x="6833" y="1383"/>
                    <a:pt x="7084" y="1133"/>
                    <a:pt x="7398" y="1133"/>
                  </a:cubicBezTo>
                  <a:close/>
                  <a:moveTo>
                    <a:pt x="17628" y="3397"/>
                  </a:moveTo>
                  <a:cubicBezTo>
                    <a:pt x="17939" y="3397"/>
                    <a:pt x="18192" y="3648"/>
                    <a:pt x="18192" y="3962"/>
                  </a:cubicBezTo>
                  <a:lnTo>
                    <a:pt x="18192" y="4530"/>
                  </a:lnTo>
                  <a:lnTo>
                    <a:pt x="17628" y="4530"/>
                  </a:lnTo>
                  <a:cubicBezTo>
                    <a:pt x="16688" y="4530"/>
                    <a:pt x="15928" y="5288"/>
                    <a:pt x="15928" y="6227"/>
                  </a:cubicBezTo>
                  <a:lnTo>
                    <a:pt x="15928" y="9059"/>
                  </a:lnTo>
                  <a:lnTo>
                    <a:pt x="13584" y="9059"/>
                  </a:lnTo>
                  <a:cubicBezTo>
                    <a:pt x="13304" y="7108"/>
                    <a:pt x="11631" y="5662"/>
                    <a:pt x="9662" y="5662"/>
                  </a:cubicBezTo>
                  <a:cubicBezTo>
                    <a:pt x="7694" y="5662"/>
                    <a:pt x="6021" y="7108"/>
                    <a:pt x="5740" y="9059"/>
                  </a:cubicBezTo>
                  <a:lnTo>
                    <a:pt x="3397" y="9059"/>
                  </a:lnTo>
                  <a:lnTo>
                    <a:pt x="3397" y="6227"/>
                  </a:lnTo>
                  <a:cubicBezTo>
                    <a:pt x="3397" y="5288"/>
                    <a:pt x="2636" y="4530"/>
                    <a:pt x="1700" y="4530"/>
                  </a:cubicBezTo>
                  <a:lnTo>
                    <a:pt x="1132" y="4530"/>
                  </a:lnTo>
                  <a:lnTo>
                    <a:pt x="1132" y="3962"/>
                  </a:lnTo>
                  <a:cubicBezTo>
                    <a:pt x="1132" y="3648"/>
                    <a:pt x="1386" y="3397"/>
                    <a:pt x="1700" y="3397"/>
                  </a:cubicBezTo>
                  <a:close/>
                  <a:moveTo>
                    <a:pt x="9663" y="6793"/>
                  </a:moveTo>
                  <a:cubicBezTo>
                    <a:pt x="10399" y="6793"/>
                    <a:pt x="11123" y="7080"/>
                    <a:pt x="11664" y="7622"/>
                  </a:cubicBezTo>
                  <a:cubicBezTo>
                    <a:pt x="12473" y="8431"/>
                    <a:pt x="12715" y="9648"/>
                    <a:pt x="12277" y="10708"/>
                  </a:cubicBezTo>
                  <a:cubicBezTo>
                    <a:pt x="11839" y="11764"/>
                    <a:pt x="10807" y="12456"/>
                    <a:pt x="9662" y="12456"/>
                  </a:cubicBezTo>
                  <a:cubicBezTo>
                    <a:pt x="8098" y="12453"/>
                    <a:pt x="6833" y="11188"/>
                    <a:pt x="6833" y="9624"/>
                  </a:cubicBezTo>
                  <a:cubicBezTo>
                    <a:pt x="6833" y="8479"/>
                    <a:pt x="7521" y="7447"/>
                    <a:pt x="8578" y="7009"/>
                  </a:cubicBezTo>
                  <a:cubicBezTo>
                    <a:pt x="8929" y="6864"/>
                    <a:pt x="9298" y="6793"/>
                    <a:pt x="9663" y="6793"/>
                  </a:cubicBezTo>
                  <a:close/>
                  <a:moveTo>
                    <a:pt x="1700" y="5662"/>
                  </a:moveTo>
                  <a:cubicBezTo>
                    <a:pt x="2011" y="5662"/>
                    <a:pt x="2265" y="5913"/>
                    <a:pt x="2265" y="6227"/>
                  </a:cubicBezTo>
                  <a:lnTo>
                    <a:pt x="2265" y="13020"/>
                  </a:lnTo>
                  <a:cubicBezTo>
                    <a:pt x="2265" y="13334"/>
                    <a:pt x="2011" y="13588"/>
                    <a:pt x="1700" y="13588"/>
                  </a:cubicBezTo>
                  <a:lnTo>
                    <a:pt x="1132" y="13588"/>
                  </a:lnTo>
                  <a:lnTo>
                    <a:pt x="1132" y="5662"/>
                  </a:lnTo>
                  <a:close/>
                  <a:moveTo>
                    <a:pt x="18192" y="5662"/>
                  </a:moveTo>
                  <a:lnTo>
                    <a:pt x="18192" y="13588"/>
                  </a:lnTo>
                  <a:lnTo>
                    <a:pt x="17628" y="13588"/>
                  </a:lnTo>
                  <a:cubicBezTo>
                    <a:pt x="17314" y="13588"/>
                    <a:pt x="17060" y="13334"/>
                    <a:pt x="17060" y="13020"/>
                  </a:cubicBezTo>
                  <a:lnTo>
                    <a:pt x="17060" y="6227"/>
                  </a:lnTo>
                  <a:cubicBezTo>
                    <a:pt x="17060" y="5913"/>
                    <a:pt x="17314" y="5662"/>
                    <a:pt x="17628" y="5662"/>
                  </a:cubicBezTo>
                  <a:close/>
                  <a:moveTo>
                    <a:pt x="15928" y="10191"/>
                  </a:moveTo>
                  <a:lnTo>
                    <a:pt x="15928" y="13020"/>
                  </a:lnTo>
                  <a:cubicBezTo>
                    <a:pt x="15928" y="13959"/>
                    <a:pt x="16688" y="14717"/>
                    <a:pt x="17628" y="14720"/>
                  </a:cubicBezTo>
                  <a:lnTo>
                    <a:pt x="18192" y="14720"/>
                  </a:lnTo>
                  <a:lnTo>
                    <a:pt x="18192" y="15285"/>
                  </a:lnTo>
                  <a:cubicBezTo>
                    <a:pt x="18192" y="15599"/>
                    <a:pt x="17939" y="15853"/>
                    <a:pt x="17628" y="15853"/>
                  </a:cubicBezTo>
                  <a:lnTo>
                    <a:pt x="1700" y="15853"/>
                  </a:lnTo>
                  <a:cubicBezTo>
                    <a:pt x="1386" y="15853"/>
                    <a:pt x="1132" y="15599"/>
                    <a:pt x="1132" y="15285"/>
                  </a:cubicBezTo>
                  <a:lnTo>
                    <a:pt x="1132" y="14720"/>
                  </a:lnTo>
                  <a:lnTo>
                    <a:pt x="1700" y="14720"/>
                  </a:lnTo>
                  <a:cubicBezTo>
                    <a:pt x="2636" y="14717"/>
                    <a:pt x="3397" y="13959"/>
                    <a:pt x="3397" y="13020"/>
                  </a:cubicBezTo>
                  <a:lnTo>
                    <a:pt x="3397" y="10191"/>
                  </a:lnTo>
                  <a:lnTo>
                    <a:pt x="5740" y="10191"/>
                  </a:lnTo>
                  <a:cubicBezTo>
                    <a:pt x="6021" y="12139"/>
                    <a:pt x="7694" y="13585"/>
                    <a:pt x="9662" y="13585"/>
                  </a:cubicBezTo>
                  <a:cubicBezTo>
                    <a:pt x="11631" y="13585"/>
                    <a:pt x="13304" y="12139"/>
                    <a:pt x="13584" y="10191"/>
                  </a:cubicBezTo>
                  <a:close/>
                  <a:moveTo>
                    <a:pt x="2832" y="1"/>
                  </a:moveTo>
                  <a:cubicBezTo>
                    <a:pt x="1893" y="1"/>
                    <a:pt x="1132" y="758"/>
                    <a:pt x="1132" y="1697"/>
                  </a:cubicBezTo>
                  <a:lnTo>
                    <a:pt x="1132" y="2362"/>
                  </a:lnTo>
                  <a:cubicBezTo>
                    <a:pt x="453" y="2600"/>
                    <a:pt x="0" y="3243"/>
                    <a:pt x="0" y="3962"/>
                  </a:cubicBezTo>
                  <a:lnTo>
                    <a:pt x="0" y="15285"/>
                  </a:lnTo>
                  <a:cubicBezTo>
                    <a:pt x="0" y="16224"/>
                    <a:pt x="761" y="16982"/>
                    <a:pt x="1700" y="16985"/>
                  </a:cubicBezTo>
                  <a:lnTo>
                    <a:pt x="17628" y="16985"/>
                  </a:lnTo>
                  <a:cubicBezTo>
                    <a:pt x="18564" y="16982"/>
                    <a:pt x="19324" y="16224"/>
                    <a:pt x="19324" y="15285"/>
                  </a:cubicBezTo>
                  <a:lnTo>
                    <a:pt x="19324" y="3962"/>
                  </a:lnTo>
                  <a:cubicBezTo>
                    <a:pt x="19324" y="3023"/>
                    <a:pt x="18564" y="2265"/>
                    <a:pt x="17628" y="2265"/>
                  </a:cubicBezTo>
                  <a:lnTo>
                    <a:pt x="13627" y="2265"/>
                  </a:lnTo>
                  <a:lnTo>
                    <a:pt x="13627" y="1697"/>
                  </a:lnTo>
                  <a:cubicBezTo>
                    <a:pt x="13624" y="758"/>
                    <a:pt x="12866" y="1"/>
                    <a:pt x="11927" y="1"/>
                  </a:cubicBezTo>
                  <a:lnTo>
                    <a:pt x="7398" y="1"/>
                  </a:lnTo>
                  <a:cubicBezTo>
                    <a:pt x="6459" y="1"/>
                    <a:pt x="5701" y="758"/>
                    <a:pt x="5701" y="1697"/>
                  </a:cubicBezTo>
                  <a:lnTo>
                    <a:pt x="5701" y="2265"/>
                  </a:lnTo>
                  <a:lnTo>
                    <a:pt x="4529" y="2265"/>
                  </a:lnTo>
                  <a:lnTo>
                    <a:pt x="4529" y="1697"/>
                  </a:lnTo>
                  <a:cubicBezTo>
                    <a:pt x="4529" y="758"/>
                    <a:pt x="3768" y="1"/>
                    <a:pt x="28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31" name="Google Shape;8931;p75"/>
            <p:cNvSpPr/>
            <p:nvPr/>
          </p:nvSpPr>
          <p:spPr>
            <a:xfrm>
              <a:off x="1091875" y="465500"/>
              <a:ext cx="88275" cy="85000"/>
            </a:xfrm>
            <a:custGeom>
              <a:avLst/>
              <a:gdLst/>
              <a:ahLst/>
              <a:cxnLst/>
              <a:rect l="l" t="t" r="r" b="b"/>
              <a:pathLst>
                <a:path w="3531"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2"/>
                    <a:pt x="1048" y="129"/>
                  </a:cubicBezTo>
                  <a:cubicBezTo>
                    <a:pt x="414" y="392"/>
                    <a:pt x="0" y="1011"/>
                    <a:pt x="0" y="1700"/>
                  </a:cubicBezTo>
                  <a:cubicBezTo>
                    <a:pt x="0" y="2639"/>
                    <a:pt x="758" y="3396"/>
                    <a:pt x="1697" y="3399"/>
                  </a:cubicBezTo>
                  <a:cubicBezTo>
                    <a:pt x="2386" y="3399"/>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32" name="Google Shape;8932;p75"/>
            <p:cNvSpPr/>
            <p:nvPr/>
          </p:nvSpPr>
          <p:spPr>
            <a:xfrm>
              <a:off x="1005975" y="380625"/>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2" y="879"/>
                    <a:pt x="1132" y="565"/>
                  </a:cubicBezTo>
                  <a:cubicBezTo>
                    <a:pt x="1132" y="251"/>
                    <a:pt x="879" y="1"/>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33" name="Google Shape;8933;p75"/>
          <p:cNvGrpSpPr/>
          <p:nvPr/>
        </p:nvGrpSpPr>
        <p:grpSpPr>
          <a:xfrm>
            <a:off x="1284289" y="2287121"/>
            <a:ext cx="298996" cy="340204"/>
            <a:chOff x="1516475" y="238075"/>
            <a:chExt cx="424650" cy="483175"/>
          </a:xfrm>
        </p:grpSpPr>
        <p:sp>
          <p:nvSpPr>
            <p:cNvPr id="8934" name="Google Shape;8934;p75"/>
            <p:cNvSpPr/>
            <p:nvPr/>
          </p:nvSpPr>
          <p:spPr>
            <a:xfrm>
              <a:off x="1516475" y="238075"/>
              <a:ext cx="424650" cy="483175"/>
            </a:xfrm>
            <a:custGeom>
              <a:avLst/>
              <a:gdLst/>
              <a:ahLst/>
              <a:cxnLst/>
              <a:rect l="l" t="t" r="r" b="b"/>
              <a:pathLst>
                <a:path w="16986" h="19327" extrusionOk="0">
                  <a:moveTo>
                    <a:pt x="8491" y="1134"/>
                  </a:moveTo>
                  <a:cubicBezTo>
                    <a:pt x="11302" y="1134"/>
                    <a:pt x="13588" y="3438"/>
                    <a:pt x="13588" y="6267"/>
                  </a:cubicBezTo>
                  <a:cubicBezTo>
                    <a:pt x="13588" y="7318"/>
                    <a:pt x="13262" y="8342"/>
                    <a:pt x="12655" y="9199"/>
                  </a:cubicBezTo>
                  <a:cubicBezTo>
                    <a:pt x="12625" y="9242"/>
                    <a:pt x="12604" y="9272"/>
                    <a:pt x="12595" y="9284"/>
                  </a:cubicBezTo>
                  <a:lnTo>
                    <a:pt x="8491" y="15724"/>
                  </a:lnTo>
                  <a:lnTo>
                    <a:pt x="4388" y="9287"/>
                  </a:lnTo>
                  <a:cubicBezTo>
                    <a:pt x="4382" y="9275"/>
                    <a:pt x="4373" y="9266"/>
                    <a:pt x="4367" y="9257"/>
                  </a:cubicBezTo>
                  <a:cubicBezTo>
                    <a:pt x="4249" y="9091"/>
                    <a:pt x="4140" y="8921"/>
                    <a:pt x="4041" y="8743"/>
                  </a:cubicBezTo>
                  <a:cubicBezTo>
                    <a:pt x="3618" y="7985"/>
                    <a:pt x="3398" y="7134"/>
                    <a:pt x="3398" y="6267"/>
                  </a:cubicBezTo>
                  <a:cubicBezTo>
                    <a:pt x="3398" y="6174"/>
                    <a:pt x="3398" y="6080"/>
                    <a:pt x="3404" y="5990"/>
                  </a:cubicBezTo>
                  <a:cubicBezTo>
                    <a:pt x="3552" y="3266"/>
                    <a:pt x="5786" y="1134"/>
                    <a:pt x="8491" y="1134"/>
                  </a:cubicBezTo>
                  <a:close/>
                  <a:moveTo>
                    <a:pt x="11049" y="13819"/>
                  </a:moveTo>
                  <a:cubicBezTo>
                    <a:pt x="14358" y="14233"/>
                    <a:pt x="15853" y="15289"/>
                    <a:pt x="15853" y="15930"/>
                  </a:cubicBezTo>
                  <a:cubicBezTo>
                    <a:pt x="15853" y="16304"/>
                    <a:pt x="15339" y="16887"/>
                    <a:pt x="13905" y="17397"/>
                  </a:cubicBezTo>
                  <a:cubicBezTo>
                    <a:pt x="12471" y="17910"/>
                    <a:pt x="10545" y="18194"/>
                    <a:pt x="8491" y="18194"/>
                  </a:cubicBezTo>
                  <a:cubicBezTo>
                    <a:pt x="6438" y="18194"/>
                    <a:pt x="4515" y="17910"/>
                    <a:pt x="3077" y="17397"/>
                  </a:cubicBezTo>
                  <a:cubicBezTo>
                    <a:pt x="1640" y="16884"/>
                    <a:pt x="1133" y="16304"/>
                    <a:pt x="1133" y="15930"/>
                  </a:cubicBezTo>
                  <a:cubicBezTo>
                    <a:pt x="1133" y="15289"/>
                    <a:pt x="2625" y="14233"/>
                    <a:pt x="5934" y="13819"/>
                  </a:cubicBezTo>
                  <a:lnTo>
                    <a:pt x="8014" y="17083"/>
                  </a:lnTo>
                  <a:cubicBezTo>
                    <a:pt x="8126" y="17258"/>
                    <a:pt x="8309" y="17346"/>
                    <a:pt x="8491" y="17346"/>
                  </a:cubicBezTo>
                  <a:cubicBezTo>
                    <a:pt x="8674" y="17346"/>
                    <a:pt x="8857" y="17258"/>
                    <a:pt x="8968" y="17083"/>
                  </a:cubicBezTo>
                  <a:lnTo>
                    <a:pt x="11049" y="13819"/>
                  </a:lnTo>
                  <a:close/>
                  <a:moveTo>
                    <a:pt x="8494" y="1"/>
                  </a:moveTo>
                  <a:cubicBezTo>
                    <a:pt x="6947" y="1"/>
                    <a:pt x="5399" y="578"/>
                    <a:pt x="4201" y="1738"/>
                  </a:cubicBezTo>
                  <a:cubicBezTo>
                    <a:pt x="3050" y="2837"/>
                    <a:pt x="2359" y="4338"/>
                    <a:pt x="2274" y="5929"/>
                  </a:cubicBezTo>
                  <a:cubicBezTo>
                    <a:pt x="2268" y="6041"/>
                    <a:pt x="2265" y="6156"/>
                    <a:pt x="2265" y="6267"/>
                  </a:cubicBezTo>
                  <a:cubicBezTo>
                    <a:pt x="2265" y="7327"/>
                    <a:pt x="2534" y="8372"/>
                    <a:pt x="3050" y="9296"/>
                  </a:cubicBezTo>
                  <a:cubicBezTo>
                    <a:pt x="3168" y="9507"/>
                    <a:pt x="3301" y="9713"/>
                    <a:pt x="3440" y="9909"/>
                  </a:cubicBezTo>
                  <a:lnTo>
                    <a:pt x="5267" y="12771"/>
                  </a:lnTo>
                  <a:cubicBezTo>
                    <a:pt x="3953" y="12971"/>
                    <a:pt x="2809" y="13294"/>
                    <a:pt x="1921" y="13713"/>
                  </a:cubicBezTo>
                  <a:cubicBezTo>
                    <a:pt x="333" y="14465"/>
                    <a:pt x="1" y="15332"/>
                    <a:pt x="1" y="15930"/>
                  </a:cubicBezTo>
                  <a:cubicBezTo>
                    <a:pt x="1" y="16648"/>
                    <a:pt x="469" y="17669"/>
                    <a:pt x="2697" y="18466"/>
                  </a:cubicBezTo>
                  <a:cubicBezTo>
                    <a:pt x="4252" y="19022"/>
                    <a:pt x="6311" y="19326"/>
                    <a:pt x="8491" y="19326"/>
                  </a:cubicBezTo>
                  <a:cubicBezTo>
                    <a:pt x="10671" y="19326"/>
                    <a:pt x="12731" y="19022"/>
                    <a:pt x="14286" y="18466"/>
                  </a:cubicBezTo>
                  <a:cubicBezTo>
                    <a:pt x="16514" y="17669"/>
                    <a:pt x="16985" y="16648"/>
                    <a:pt x="16985" y="15930"/>
                  </a:cubicBezTo>
                  <a:cubicBezTo>
                    <a:pt x="16985" y="15332"/>
                    <a:pt x="16650" y="14465"/>
                    <a:pt x="15062" y="13713"/>
                  </a:cubicBezTo>
                  <a:cubicBezTo>
                    <a:pt x="14174" y="13294"/>
                    <a:pt x="13030" y="12971"/>
                    <a:pt x="11716" y="12768"/>
                  </a:cubicBezTo>
                  <a:lnTo>
                    <a:pt x="13549" y="9897"/>
                  </a:lnTo>
                  <a:lnTo>
                    <a:pt x="13561" y="9879"/>
                  </a:lnTo>
                  <a:cubicBezTo>
                    <a:pt x="13567" y="9873"/>
                    <a:pt x="13570" y="9867"/>
                    <a:pt x="13576" y="9861"/>
                  </a:cubicBezTo>
                  <a:cubicBezTo>
                    <a:pt x="15327" y="7382"/>
                    <a:pt x="15041" y="3997"/>
                    <a:pt x="12897" y="1847"/>
                  </a:cubicBezTo>
                  <a:cubicBezTo>
                    <a:pt x="11689" y="618"/>
                    <a:pt x="10092" y="1"/>
                    <a:pt x="84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35" name="Google Shape;8935;p75"/>
            <p:cNvSpPr/>
            <p:nvPr/>
          </p:nvSpPr>
          <p:spPr>
            <a:xfrm>
              <a:off x="1652425" y="324000"/>
              <a:ext cx="147150" cy="141575"/>
            </a:xfrm>
            <a:custGeom>
              <a:avLst/>
              <a:gdLst/>
              <a:ahLst/>
              <a:cxnLst/>
              <a:rect l="l" t="t" r="r" b="b"/>
              <a:pathLst>
                <a:path w="5886" h="5663" extrusionOk="0">
                  <a:moveTo>
                    <a:pt x="3054" y="1131"/>
                  </a:moveTo>
                  <a:cubicBezTo>
                    <a:pt x="3495" y="1131"/>
                    <a:pt x="3930" y="1303"/>
                    <a:pt x="4255" y="1629"/>
                  </a:cubicBezTo>
                  <a:cubicBezTo>
                    <a:pt x="4741" y="2115"/>
                    <a:pt x="4886" y="2845"/>
                    <a:pt x="4623" y="3480"/>
                  </a:cubicBezTo>
                  <a:cubicBezTo>
                    <a:pt x="4361" y="4114"/>
                    <a:pt x="3742" y="4530"/>
                    <a:pt x="3053" y="4530"/>
                  </a:cubicBezTo>
                  <a:cubicBezTo>
                    <a:pt x="2114" y="4527"/>
                    <a:pt x="1356" y="3769"/>
                    <a:pt x="1356" y="2830"/>
                  </a:cubicBezTo>
                  <a:cubicBezTo>
                    <a:pt x="1356" y="2142"/>
                    <a:pt x="1770" y="1523"/>
                    <a:pt x="2404" y="1260"/>
                  </a:cubicBezTo>
                  <a:cubicBezTo>
                    <a:pt x="2614" y="1173"/>
                    <a:pt x="2835" y="1131"/>
                    <a:pt x="3054" y="1131"/>
                  </a:cubicBezTo>
                  <a:close/>
                  <a:moveTo>
                    <a:pt x="3053" y="0"/>
                  </a:moveTo>
                  <a:cubicBezTo>
                    <a:pt x="2316" y="0"/>
                    <a:pt x="1593" y="287"/>
                    <a:pt x="1051" y="828"/>
                  </a:cubicBezTo>
                  <a:cubicBezTo>
                    <a:pt x="242" y="1638"/>
                    <a:pt x="1" y="2855"/>
                    <a:pt x="439" y="3914"/>
                  </a:cubicBezTo>
                  <a:cubicBezTo>
                    <a:pt x="876" y="4971"/>
                    <a:pt x="1909" y="5663"/>
                    <a:pt x="3053" y="5663"/>
                  </a:cubicBezTo>
                  <a:cubicBezTo>
                    <a:pt x="4617" y="5660"/>
                    <a:pt x="5883" y="4394"/>
                    <a:pt x="5886" y="2830"/>
                  </a:cubicBezTo>
                  <a:cubicBezTo>
                    <a:pt x="5886" y="1686"/>
                    <a:pt x="5194" y="653"/>
                    <a:pt x="4137" y="216"/>
                  </a:cubicBezTo>
                  <a:cubicBezTo>
                    <a:pt x="3786" y="70"/>
                    <a:pt x="3418" y="0"/>
                    <a:pt x="30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36" name="Google Shape;8936;p75"/>
          <p:cNvGrpSpPr/>
          <p:nvPr/>
        </p:nvGrpSpPr>
        <p:grpSpPr>
          <a:xfrm>
            <a:off x="1677380" y="2367520"/>
            <a:ext cx="341488" cy="179405"/>
            <a:chOff x="2080675" y="352325"/>
            <a:chExt cx="485000" cy="254800"/>
          </a:xfrm>
        </p:grpSpPr>
        <p:sp>
          <p:nvSpPr>
            <p:cNvPr id="8937" name="Google Shape;8937;p75"/>
            <p:cNvSpPr/>
            <p:nvPr/>
          </p:nvSpPr>
          <p:spPr>
            <a:xfrm>
              <a:off x="2080675" y="352325"/>
              <a:ext cx="485000" cy="254800"/>
            </a:xfrm>
            <a:custGeom>
              <a:avLst/>
              <a:gdLst/>
              <a:ahLst/>
              <a:cxnLst/>
              <a:rect l="l" t="t" r="r" b="b"/>
              <a:pathLst>
                <a:path w="19400" h="10192" extrusionOk="0">
                  <a:moveTo>
                    <a:pt x="5514" y="2183"/>
                  </a:moveTo>
                  <a:cubicBezTo>
                    <a:pt x="4291" y="3932"/>
                    <a:pt x="4291" y="6254"/>
                    <a:pt x="5514" y="8002"/>
                  </a:cubicBezTo>
                  <a:cubicBezTo>
                    <a:pt x="4858" y="7685"/>
                    <a:pt x="4230" y="7320"/>
                    <a:pt x="3632" y="6909"/>
                  </a:cubicBezTo>
                  <a:cubicBezTo>
                    <a:pt x="2841" y="6368"/>
                    <a:pt x="2099" y="5762"/>
                    <a:pt x="1410" y="5097"/>
                  </a:cubicBezTo>
                  <a:cubicBezTo>
                    <a:pt x="2071" y="4454"/>
                    <a:pt x="3572" y="3126"/>
                    <a:pt x="5514" y="2183"/>
                  </a:cubicBezTo>
                  <a:close/>
                  <a:moveTo>
                    <a:pt x="13865" y="2171"/>
                  </a:moveTo>
                  <a:cubicBezTo>
                    <a:pt x="14527" y="2491"/>
                    <a:pt x="15167" y="2866"/>
                    <a:pt x="15774" y="3283"/>
                  </a:cubicBezTo>
                  <a:cubicBezTo>
                    <a:pt x="16562" y="3823"/>
                    <a:pt x="17304" y="4430"/>
                    <a:pt x="17996" y="5094"/>
                  </a:cubicBezTo>
                  <a:cubicBezTo>
                    <a:pt x="17307" y="5759"/>
                    <a:pt x="16565" y="6365"/>
                    <a:pt x="15774" y="6909"/>
                  </a:cubicBezTo>
                  <a:cubicBezTo>
                    <a:pt x="15167" y="7326"/>
                    <a:pt x="14530" y="7697"/>
                    <a:pt x="13865" y="8017"/>
                  </a:cubicBezTo>
                  <a:cubicBezTo>
                    <a:pt x="15097" y="6263"/>
                    <a:pt x="15097" y="3926"/>
                    <a:pt x="13865" y="2171"/>
                  </a:cubicBezTo>
                  <a:close/>
                  <a:moveTo>
                    <a:pt x="9801" y="1133"/>
                  </a:moveTo>
                  <a:cubicBezTo>
                    <a:pt x="11948" y="1190"/>
                    <a:pt x="13657" y="2947"/>
                    <a:pt x="13657" y="5091"/>
                  </a:cubicBezTo>
                  <a:cubicBezTo>
                    <a:pt x="13657" y="7238"/>
                    <a:pt x="11948" y="8995"/>
                    <a:pt x="9801" y="9053"/>
                  </a:cubicBezTo>
                  <a:lnTo>
                    <a:pt x="9566" y="9053"/>
                  </a:lnTo>
                  <a:cubicBezTo>
                    <a:pt x="7431" y="8983"/>
                    <a:pt x="5734" y="7232"/>
                    <a:pt x="5728" y="5094"/>
                  </a:cubicBezTo>
                  <a:cubicBezTo>
                    <a:pt x="5731" y="2947"/>
                    <a:pt x="7440" y="1190"/>
                    <a:pt x="9587" y="1133"/>
                  </a:cubicBezTo>
                  <a:close/>
                  <a:moveTo>
                    <a:pt x="9557" y="0"/>
                  </a:moveTo>
                  <a:cubicBezTo>
                    <a:pt x="7440" y="37"/>
                    <a:pt x="5166" y="852"/>
                    <a:pt x="2965" y="2362"/>
                  </a:cubicBezTo>
                  <a:cubicBezTo>
                    <a:pt x="1283" y="3518"/>
                    <a:pt x="239" y="4665"/>
                    <a:pt x="196" y="4714"/>
                  </a:cubicBezTo>
                  <a:cubicBezTo>
                    <a:pt x="0" y="4928"/>
                    <a:pt x="0" y="5257"/>
                    <a:pt x="196" y="5472"/>
                  </a:cubicBezTo>
                  <a:cubicBezTo>
                    <a:pt x="239" y="5523"/>
                    <a:pt x="1283" y="6670"/>
                    <a:pt x="2965" y="7827"/>
                  </a:cubicBezTo>
                  <a:cubicBezTo>
                    <a:pt x="5166" y="9337"/>
                    <a:pt x="7440" y="10149"/>
                    <a:pt x="9557" y="10188"/>
                  </a:cubicBezTo>
                  <a:cubicBezTo>
                    <a:pt x="9602" y="10188"/>
                    <a:pt x="9647" y="10191"/>
                    <a:pt x="9692" y="10191"/>
                  </a:cubicBezTo>
                  <a:lnTo>
                    <a:pt x="9717" y="10191"/>
                  </a:lnTo>
                  <a:cubicBezTo>
                    <a:pt x="11869" y="10185"/>
                    <a:pt x="14194" y="9367"/>
                    <a:pt x="16435" y="7827"/>
                  </a:cubicBezTo>
                  <a:cubicBezTo>
                    <a:pt x="18120" y="6670"/>
                    <a:pt x="19161" y="5523"/>
                    <a:pt x="19207" y="5475"/>
                  </a:cubicBezTo>
                  <a:cubicBezTo>
                    <a:pt x="19400" y="5257"/>
                    <a:pt x="19400" y="4931"/>
                    <a:pt x="19207" y="4714"/>
                  </a:cubicBezTo>
                  <a:cubicBezTo>
                    <a:pt x="19161" y="4665"/>
                    <a:pt x="18120" y="3521"/>
                    <a:pt x="16435" y="2365"/>
                  </a:cubicBezTo>
                  <a:cubicBezTo>
                    <a:pt x="14191" y="822"/>
                    <a:pt x="11869" y="6"/>
                    <a:pt x="97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38" name="Google Shape;8938;p75"/>
            <p:cNvSpPr/>
            <p:nvPr/>
          </p:nvSpPr>
          <p:spPr>
            <a:xfrm>
              <a:off x="2246650" y="408900"/>
              <a:ext cx="147075" cy="141600"/>
            </a:xfrm>
            <a:custGeom>
              <a:avLst/>
              <a:gdLst/>
              <a:ahLst/>
              <a:cxnLst/>
              <a:rect l="l" t="t" r="r" b="b"/>
              <a:pathLst>
                <a:path w="5883" h="5664" extrusionOk="0">
                  <a:moveTo>
                    <a:pt x="3054" y="1132"/>
                  </a:moveTo>
                  <a:cubicBezTo>
                    <a:pt x="3495" y="1132"/>
                    <a:pt x="3930" y="1304"/>
                    <a:pt x="4255" y="1630"/>
                  </a:cubicBezTo>
                  <a:cubicBezTo>
                    <a:pt x="4738" y="2116"/>
                    <a:pt x="4886" y="2846"/>
                    <a:pt x="4624" y="3480"/>
                  </a:cubicBezTo>
                  <a:cubicBezTo>
                    <a:pt x="4358" y="4115"/>
                    <a:pt x="3739" y="4531"/>
                    <a:pt x="3053" y="4531"/>
                  </a:cubicBezTo>
                  <a:cubicBezTo>
                    <a:pt x="2114" y="4528"/>
                    <a:pt x="1357" y="3770"/>
                    <a:pt x="1353" y="2831"/>
                  </a:cubicBezTo>
                  <a:cubicBezTo>
                    <a:pt x="1353" y="2143"/>
                    <a:pt x="1767" y="1524"/>
                    <a:pt x="2404" y="1261"/>
                  </a:cubicBezTo>
                  <a:cubicBezTo>
                    <a:pt x="2614" y="1174"/>
                    <a:pt x="2835" y="1132"/>
                    <a:pt x="3054" y="1132"/>
                  </a:cubicBezTo>
                  <a:close/>
                  <a:moveTo>
                    <a:pt x="3053" y="1"/>
                  </a:moveTo>
                  <a:cubicBezTo>
                    <a:pt x="2316" y="1"/>
                    <a:pt x="1593" y="288"/>
                    <a:pt x="1052" y="829"/>
                  </a:cubicBezTo>
                  <a:cubicBezTo>
                    <a:pt x="242" y="1639"/>
                    <a:pt x="1" y="2855"/>
                    <a:pt x="439" y="3915"/>
                  </a:cubicBezTo>
                  <a:cubicBezTo>
                    <a:pt x="876" y="4972"/>
                    <a:pt x="1909" y="5663"/>
                    <a:pt x="3053" y="5663"/>
                  </a:cubicBezTo>
                  <a:cubicBezTo>
                    <a:pt x="4614" y="5660"/>
                    <a:pt x="5883" y="4395"/>
                    <a:pt x="5883" y="2831"/>
                  </a:cubicBezTo>
                  <a:cubicBezTo>
                    <a:pt x="5883" y="1687"/>
                    <a:pt x="5194" y="654"/>
                    <a:pt x="4137" y="216"/>
                  </a:cubicBezTo>
                  <a:cubicBezTo>
                    <a:pt x="3786" y="71"/>
                    <a:pt x="3418" y="1"/>
                    <a:pt x="30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39" name="Google Shape;8939;p75"/>
          <p:cNvGrpSpPr/>
          <p:nvPr/>
        </p:nvGrpSpPr>
        <p:grpSpPr>
          <a:xfrm>
            <a:off x="2126559" y="2287138"/>
            <a:ext cx="298996" cy="340168"/>
            <a:chOff x="2705375" y="238125"/>
            <a:chExt cx="424650" cy="483125"/>
          </a:xfrm>
        </p:grpSpPr>
        <p:sp>
          <p:nvSpPr>
            <p:cNvPr id="8940" name="Google Shape;8940;p75"/>
            <p:cNvSpPr/>
            <p:nvPr/>
          </p:nvSpPr>
          <p:spPr>
            <a:xfrm>
              <a:off x="2705375" y="238125"/>
              <a:ext cx="424650" cy="483125"/>
            </a:xfrm>
            <a:custGeom>
              <a:avLst/>
              <a:gdLst/>
              <a:ahLst/>
              <a:cxnLst/>
              <a:rect l="l" t="t" r="r" b="b"/>
              <a:pathLst>
                <a:path w="16986" h="19325" extrusionOk="0">
                  <a:moveTo>
                    <a:pt x="10192" y="1132"/>
                  </a:moveTo>
                  <a:cubicBezTo>
                    <a:pt x="10503" y="1132"/>
                    <a:pt x="10756" y="1386"/>
                    <a:pt x="10756" y="1700"/>
                  </a:cubicBezTo>
                  <a:lnTo>
                    <a:pt x="10756" y="2265"/>
                  </a:lnTo>
                  <a:lnTo>
                    <a:pt x="6227" y="2265"/>
                  </a:lnTo>
                  <a:lnTo>
                    <a:pt x="6227" y="1700"/>
                  </a:lnTo>
                  <a:cubicBezTo>
                    <a:pt x="6227" y="1386"/>
                    <a:pt x="6481" y="1132"/>
                    <a:pt x="6795" y="1132"/>
                  </a:cubicBezTo>
                  <a:close/>
                  <a:moveTo>
                    <a:pt x="15285" y="3397"/>
                  </a:moveTo>
                  <a:cubicBezTo>
                    <a:pt x="15599" y="3397"/>
                    <a:pt x="15853" y="3651"/>
                    <a:pt x="15853" y="3965"/>
                  </a:cubicBezTo>
                  <a:lnTo>
                    <a:pt x="15853" y="4529"/>
                  </a:lnTo>
                  <a:lnTo>
                    <a:pt x="1133" y="4529"/>
                  </a:lnTo>
                  <a:lnTo>
                    <a:pt x="1133" y="3965"/>
                  </a:lnTo>
                  <a:cubicBezTo>
                    <a:pt x="1133" y="3651"/>
                    <a:pt x="1384" y="3397"/>
                    <a:pt x="1698" y="3397"/>
                  </a:cubicBezTo>
                  <a:close/>
                  <a:moveTo>
                    <a:pt x="14669" y="5661"/>
                  </a:moveTo>
                  <a:lnTo>
                    <a:pt x="13682" y="17679"/>
                  </a:lnTo>
                  <a:cubicBezTo>
                    <a:pt x="13658" y="17972"/>
                    <a:pt x="13410" y="18192"/>
                    <a:pt x="13120" y="18192"/>
                  </a:cubicBezTo>
                  <a:lnTo>
                    <a:pt x="3866" y="18192"/>
                  </a:lnTo>
                  <a:cubicBezTo>
                    <a:pt x="3573" y="18192"/>
                    <a:pt x="3325" y="17972"/>
                    <a:pt x="3301" y="17679"/>
                  </a:cubicBezTo>
                  <a:lnTo>
                    <a:pt x="2314" y="5661"/>
                  </a:lnTo>
                  <a:close/>
                  <a:moveTo>
                    <a:pt x="6795" y="0"/>
                  </a:moveTo>
                  <a:cubicBezTo>
                    <a:pt x="5856" y="0"/>
                    <a:pt x="5095" y="761"/>
                    <a:pt x="5095" y="1700"/>
                  </a:cubicBezTo>
                  <a:lnTo>
                    <a:pt x="5095" y="2265"/>
                  </a:lnTo>
                  <a:lnTo>
                    <a:pt x="1698" y="2265"/>
                  </a:lnTo>
                  <a:cubicBezTo>
                    <a:pt x="759" y="2265"/>
                    <a:pt x="1" y="3025"/>
                    <a:pt x="1" y="3965"/>
                  </a:cubicBezTo>
                  <a:lnTo>
                    <a:pt x="1" y="5097"/>
                  </a:lnTo>
                  <a:cubicBezTo>
                    <a:pt x="1" y="5408"/>
                    <a:pt x="252" y="5661"/>
                    <a:pt x="566" y="5661"/>
                  </a:cubicBezTo>
                  <a:lnTo>
                    <a:pt x="1176" y="5661"/>
                  </a:lnTo>
                  <a:lnTo>
                    <a:pt x="2172" y="17779"/>
                  </a:lnTo>
                  <a:lnTo>
                    <a:pt x="2172" y="17782"/>
                  </a:lnTo>
                  <a:cubicBezTo>
                    <a:pt x="2247" y="18655"/>
                    <a:pt x="2981" y="19325"/>
                    <a:pt x="3860" y="19325"/>
                  </a:cubicBezTo>
                  <a:cubicBezTo>
                    <a:pt x="3862" y="19325"/>
                    <a:pt x="3864" y="19325"/>
                    <a:pt x="3866" y="19324"/>
                  </a:cubicBezTo>
                  <a:lnTo>
                    <a:pt x="13120" y="19324"/>
                  </a:lnTo>
                  <a:cubicBezTo>
                    <a:pt x="13122" y="19325"/>
                    <a:pt x="13124" y="19325"/>
                    <a:pt x="13126" y="19325"/>
                  </a:cubicBezTo>
                  <a:cubicBezTo>
                    <a:pt x="14002" y="19325"/>
                    <a:pt x="14736" y="18655"/>
                    <a:pt x="14811" y="17779"/>
                  </a:cubicBezTo>
                  <a:lnTo>
                    <a:pt x="14811" y="17776"/>
                  </a:lnTo>
                  <a:lnTo>
                    <a:pt x="15808" y="5661"/>
                  </a:lnTo>
                  <a:lnTo>
                    <a:pt x="16418" y="5661"/>
                  </a:lnTo>
                  <a:cubicBezTo>
                    <a:pt x="16732" y="5661"/>
                    <a:pt x="16985" y="5408"/>
                    <a:pt x="16985" y="5097"/>
                  </a:cubicBezTo>
                  <a:lnTo>
                    <a:pt x="16985" y="3965"/>
                  </a:lnTo>
                  <a:cubicBezTo>
                    <a:pt x="16982" y="3025"/>
                    <a:pt x="16224" y="2265"/>
                    <a:pt x="15285" y="2265"/>
                  </a:cubicBezTo>
                  <a:lnTo>
                    <a:pt x="11889" y="2265"/>
                  </a:lnTo>
                  <a:lnTo>
                    <a:pt x="11889" y="1700"/>
                  </a:lnTo>
                  <a:cubicBezTo>
                    <a:pt x="11889" y="761"/>
                    <a:pt x="11128" y="0"/>
                    <a:pt x="101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1" name="Google Shape;8941;p75"/>
            <p:cNvSpPr/>
            <p:nvPr/>
          </p:nvSpPr>
          <p:spPr>
            <a:xfrm>
              <a:off x="2903525" y="407950"/>
              <a:ext cx="28350" cy="228375"/>
            </a:xfrm>
            <a:custGeom>
              <a:avLst/>
              <a:gdLst/>
              <a:ahLst/>
              <a:cxnLst/>
              <a:rect l="l" t="t" r="r" b="b"/>
              <a:pathLst>
                <a:path w="1134" h="9135" extrusionOk="0">
                  <a:moveTo>
                    <a:pt x="566" y="1"/>
                  </a:moveTo>
                  <a:cubicBezTo>
                    <a:pt x="252" y="1"/>
                    <a:pt x="1" y="254"/>
                    <a:pt x="1" y="568"/>
                  </a:cubicBezTo>
                  <a:lnTo>
                    <a:pt x="1" y="8570"/>
                  </a:lnTo>
                  <a:cubicBezTo>
                    <a:pt x="1" y="8881"/>
                    <a:pt x="252"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2" name="Google Shape;8942;p75"/>
            <p:cNvSpPr/>
            <p:nvPr/>
          </p:nvSpPr>
          <p:spPr>
            <a:xfrm>
              <a:off x="2988450" y="407950"/>
              <a:ext cx="28350" cy="228375"/>
            </a:xfrm>
            <a:custGeom>
              <a:avLst/>
              <a:gdLst/>
              <a:ahLst/>
              <a:cxnLst/>
              <a:rect l="l" t="t" r="r" b="b"/>
              <a:pathLst>
                <a:path w="1134" h="9135" extrusionOk="0">
                  <a:moveTo>
                    <a:pt x="566" y="1"/>
                  </a:moveTo>
                  <a:cubicBezTo>
                    <a:pt x="251" y="1"/>
                    <a:pt x="1" y="254"/>
                    <a:pt x="1" y="568"/>
                  </a:cubicBezTo>
                  <a:lnTo>
                    <a:pt x="1" y="8570"/>
                  </a:lnTo>
                  <a:cubicBezTo>
                    <a:pt x="1" y="8881"/>
                    <a:pt x="251"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3" name="Google Shape;8943;p75"/>
            <p:cNvSpPr/>
            <p:nvPr/>
          </p:nvSpPr>
          <p:spPr>
            <a:xfrm>
              <a:off x="2818625" y="407950"/>
              <a:ext cx="28325" cy="228375"/>
            </a:xfrm>
            <a:custGeom>
              <a:avLst/>
              <a:gdLst/>
              <a:ahLst/>
              <a:cxnLst/>
              <a:rect l="l" t="t" r="r" b="b"/>
              <a:pathLst>
                <a:path w="1133" h="9135" extrusionOk="0">
                  <a:moveTo>
                    <a:pt x="565" y="1"/>
                  </a:moveTo>
                  <a:cubicBezTo>
                    <a:pt x="251" y="1"/>
                    <a:pt x="0" y="254"/>
                    <a:pt x="0" y="568"/>
                  </a:cubicBezTo>
                  <a:lnTo>
                    <a:pt x="0" y="8570"/>
                  </a:lnTo>
                  <a:cubicBezTo>
                    <a:pt x="0" y="8881"/>
                    <a:pt x="251" y="9135"/>
                    <a:pt x="565" y="9135"/>
                  </a:cubicBezTo>
                  <a:cubicBezTo>
                    <a:pt x="879" y="9135"/>
                    <a:pt x="1132" y="8881"/>
                    <a:pt x="1132" y="8570"/>
                  </a:cubicBezTo>
                  <a:lnTo>
                    <a:pt x="1132" y="568"/>
                  </a:lnTo>
                  <a:cubicBezTo>
                    <a:pt x="1132" y="254"/>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44" name="Google Shape;8944;p75"/>
          <p:cNvGrpSpPr/>
          <p:nvPr/>
        </p:nvGrpSpPr>
        <p:grpSpPr>
          <a:xfrm>
            <a:off x="2542700" y="2287455"/>
            <a:ext cx="301161" cy="339535"/>
            <a:chOff x="3299850" y="238575"/>
            <a:chExt cx="427725" cy="482225"/>
          </a:xfrm>
        </p:grpSpPr>
        <p:sp>
          <p:nvSpPr>
            <p:cNvPr id="8945" name="Google Shape;8945;p75"/>
            <p:cNvSpPr/>
            <p:nvPr/>
          </p:nvSpPr>
          <p:spPr>
            <a:xfrm>
              <a:off x="3299850" y="323500"/>
              <a:ext cx="427725" cy="397300"/>
            </a:xfrm>
            <a:custGeom>
              <a:avLst/>
              <a:gdLst/>
              <a:ahLst/>
              <a:cxnLst/>
              <a:rect l="l" t="t" r="r" b="b"/>
              <a:pathLst>
                <a:path w="17109" h="15892" extrusionOk="0">
                  <a:moveTo>
                    <a:pt x="3397" y="6794"/>
                  </a:moveTo>
                  <a:lnTo>
                    <a:pt x="3397" y="14759"/>
                  </a:lnTo>
                  <a:lnTo>
                    <a:pt x="1132" y="14759"/>
                  </a:lnTo>
                  <a:lnTo>
                    <a:pt x="1132" y="6794"/>
                  </a:lnTo>
                  <a:close/>
                  <a:moveTo>
                    <a:pt x="9034" y="1132"/>
                  </a:moveTo>
                  <a:cubicBezTo>
                    <a:pt x="9683" y="1175"/>
                    <a:pt x="10191" y="1712"/>
                    <a:pt x="10191" y="2364"/>
                  </a:cubicBezTo>
                  <a:cubicBezTo>
                    <a:pt x="10191" y="3346"/>
                    <a:pt x="9774" y="5275"/>
                    <a:pt x="9221" y="5828"/>
                  </a:cubicBezTo>
                  <a:cubicBezTo>
                    <a:pt x="8865" y="6184"/>
                    <a:pt x="9119" y="6794"/>
                    <a:pt x="9623" y="6794"/>
                  </a:cubicBezTo>
                  <a:lnTo>
                    <a:pt x="15285" y="6794"/>
                  </a:lnTo>
                  <a:cubicBezTo>
                    <a:pt x="15599" y="6794"/>
                    <a:pt x="15849" y="7047"/>
                    <a:pt x="15849" y="7361"/>
                  </a:cubicBezTo>
                  <a:cubicBezTo>
                    <a:pt x="15849" y="7672"/>
                    <a:pt x="15599" y="7926"/>
                    <a:pt x="15285" y="7926"/>
                  </a:cubicBezTo>
                  <a:lnTo>
                    <a:pt x="11888" y="7926"/>
                  </a:lnTo>
                  <a:cubicBezTo>
                    <a:pt x="11574" y="7926"/>
                    <a:pt x="11323" y="8180"/>
                    <a:pt x="11323" y="8494"/>
                  </a:cubicBezTo>
                  <a:cubicBezTo>
                    <a:pt x="11323" y="8805"/>
                    <a:pt x="11574" y="9058"/>
                    <a:pt x="11888" y="9058"/>
                  </a:cubicBezTo>
                  <a:lnTo>
                    <a:pt x="15285" y="9058"/>
                  </a:lnTo>
                  <a:cubicBezTo>
                    <a:pt x="15586" y="9058"/>
                    <a:pt x="15852" y="9342"/>
                    <a:pt x="15852" y="9662"/>
                  </a:cubicBezTo>
                  <a:cubicBezTo>
                    <a:pt x="15852" y="9976"/>
                    <a:pt x="15599" y="10230"/>
                    <a:pt x="15285" y="10230"/>
                  </a:cubicBezTo>
                  <a:lnTo>
                    <a:pt x="11888" y="10230"/>
                  </a:lnTo>
                  <a:cubicBezTo>
                    <a:pt x="11574" y="10230"/>
                    <a:pt x="11323" y="10484"/>
                    <a:pt x="11323" y="10795"/>
                  </a:cubicBezTo>
                  <a:cubicBezTo>
                    <a:pt x="11323" y="11109"/>
                    <a:pt x="11574" y="11362"/>
                    <a:pt x="11888" y="11362"/>
                  </a:cubicBezTo>
                  <a:lnTo>
                    <a:pt x="14152" y="11362"/>
                  </a:lnTo>
                  <a:cubicBezTo>
                    <a:pt x="14466" y="11362"/>
                    <a:pt x="14717" y="11616"/>
                    <a:pt x="14717" y="11927"/>
                  </a:cubicBezTo>
                  <a:cubicBezTo>
                    <a:pt x="14717" y="12241"/>
                    <a:pt x="14466" y="12494"/>
                    <a:pt x="14152" y="12494"/>
                  </a:cubicBezTo>
                  <a:lnTo>
                    <a:pt x="11888" y="12494"/>
                  </a:lnTo>
                  <a:cubicBezTo>
                    <a:pt x="11574" y="12494"/>
                    <a:pt x="11323" y="12748"/>
                    <a:pt x="11323" y="13059"/>
                  </a:cubicBezTo>
                  <a:cubicBezTo>
                    <a:pt x="11323" y="13373"/>
                    <a:pt x="11574" y="13627"/>
                    <a:pt x="11888" y="13627"/>
                  </a:cubicBezTo>
                  <a:lnTo>
                    <a:pt x="13020" y="13627"/>
                  </a:lnTo>
                  <a:cubicBezTo>
                    <a:pt x="13334" y="13627"/>
                    <a:pt x="13585" y="13880"/>
                    <a:pt x="13585" y="14191"/>
                  </a:cubicBezTo>
                  <a:cubicBezTo>
                    <a:pt x="13585" y="14505"/>
                    <a:pt x="13334" y="14759"/>
                    <a:pt x="13020" y="14759"/>
                  </a:cubicBezTo>
                  <a:lnTo>
                    <a:pt x="9197" y="14759"/>
                  </a:lnTo>
                  <a:cubicBezTo>
                    <a:pt x="8041" y="14759"/>
                    <a:pt x="6890" y="14572"/>
                    <a:pt x="5794" y="14207"/>
                  </a:cubicBezTo>
                  <a:lnTo>
                    <a:pt x="4529" y="13784"/>
                  </a:lnTo>
                  <a:lnTo>
                    <a:pt x="4529" y="7712"/>
                  </a:lnTo>
                  <a:lnTo>
                    <a:pt x="5686" y="7132"/>
                  </a:lnTo>
                  <a:cubicBezTo>
                    <a:pt x="6265" y="6842"/>
                    <a:pt x="6797" y="6459"/>
                    <a:pt x="7253" y="6003"/>
                  </a:cubicBezTo>
                  <a:lnTo>
                    <a:pt x="7289" y="5963"/>
                  </a:lnTo>
                  <a:cubicBezTo>
                    <a:pt x="8352" y="4901"/>
                    <a:pt x="8917" y="2654"/>
                    <a:pt x="9034" y="1132"/>
                  </a:cubicBezTo>
                  <a:close/>
                  <a:moveTo>
                    <a:pt x="8491" y="0"/>
                  </a:moveTo>
                  <a:cubicBezTo>
                    <a:pt x="8177" y="0"/>
                    <a:pt x="7926" y="254"/>
                    <a:pt x="7926" y="568"/>
                  </a:cubicBezTo>
                  <a:cubicBezTo>
                    <a:pt x="7926" y="1887"/>
                    <a:pt x="7380" y="4276"/>
                    <a:pt x="6492" y="5166"/>
                  </a:cubicBezTo>
                  <a:lnTo>
                    <a:pt x="6456" y="5203"/>
                  </a:lnTo>
                  <a:cubicBezTo>
                    <a:pt x="6081" y="5574"/>
                    <a:pt x="5652" y="5885"/>
                    <a:pt x="5181" y="6120"/>
                  </a:cubicBezTo>
                  <a:lnTo>
                    <a:pt x="4529" y="6444"/>
                  </a:lnTo>
                  <a:lnTo>
                    <a:pt x="4529" y="6229"/>
                  </a:lnTo>
                  <a:cubicBezTo>
                    <a:pt x="4529" y="5915"/>
                    <a:pt x="4276" y="5661"/>
                    <a:pt x="3962" y="5661"/>
                  </a:cubicBezTo>
                  <a:lnTo>
                    <a:pt x="565" y="5661"/>
                  </a:lnTo>
                  <a:cubicBezTo>
                    <a:pt x="251" y="5661"/>
                    <a:pt x="0" y="5915"/>
                    <a:pt x="0" y="6229"/>
                  </a:cubicBezTo>
                  <a:lnTo>
                    <a:pt x="0" y="15324"/>
                  </a:lnTo>
                  <a:cubicBezTo>
                    <a:pt x="0" y="15638"/>
                    <a:pt x="251" y="15891"/>
                    <a:pt x="565" y="15891"/>
                  </a:cubicBezTo>
                  <a:lnTo>
                    <a:pt x="3962" y="15891"/>
                  </a:lnTo>
                  <a:cubicBezTo>
                    <a:pt x="4276" y="15891"/>
                    <a:pt x="4529" y="15638"/>
                    <a:pt x="4529" y="15324"/>
                  </a:cubicBezTo>
                  <a:lnTo>
                    <a:pt x="4529" y="14976"/>
                  </a:lnTo>
                  <a:lnTo>
                    <a:pt x="5435" y="15278"/>
                  </a:lnTo>
                  <a:cubicBezTo>
                    <a:pt x="6649" y="15683"/>
                    <a:pt x="7917" y="15888"/>
                    <a:pt x="9197" y="15888"/>
                  </a:cubicBezTo>
                  <a:lnTo>
                    <a:pt x="13020" y="15888"/>
                  </a:lnTo>
                  <a:cubicBezTo>
                    <a:pt x="14219" y="15888"/>
                    <a:pt x="15040" y="14681"/>
                    <a:pt x="14599" y="13566"/>
                  </a:cubicBezTo>
                  <a:cubicBezTo>
                    <a:pt x="15577" y="13298"/>
                    <a:pt x="16106" y="12241"/>
                    <a:pt x="15731" y="11302"/>
                  </a:cubicBezTo>
                  <a:cubicBezTo>
                    <a:pt x="16468" y="11100"/>
                    <a:pt x="16981" y="10429"/>
                    <a:pt x="16984" y="9662"/>
                  </a:cubicBezTo>
                  <a:cubicBezTo>
                    <a:pt x="16981" y="9233"/>
                    <a:pt x="16824" y="8823"/>
                    <a:pt x="16541" y="8503"/>
                  </a:cubicBezTo>
                  <a:cubicBezTo>
                    <a:pt x="16994" y="8005"/>
                    <a:pt x="17108" y="7289"/>
                    <a:pt x="16837" y="6673"/>
                  </a:cubicBezTo>
                  <a:cubicBezTo>
                    <a:pt x="16565" y="6060"/>
                    <a:pt x="15958" y="5661"/>
                    <a:pt x="15285" y="5661"/>
                  </a:cubicBezTo>
                  <a:lnTo>
                    <a:pt x="10635" y="5661"/>
                  </a:lnTo>
                  <a:cubicBezTo>
                    <a:pt x="11109" y="4577"/>
                    <a:pt x="11323" y="3104"/>
                    <a:pt x="11323" y="2364"/>
                  </a:cubicBezTo>
                  <a:cubicBezTo>
                    <a:pt x="11320" y="1060"/>
                    <a:pt x="10263" y="3"/>
                    <a:pt x="89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6" name="Google Shape;8946;p75"/>
            <p:cNvSpPr/>
            <p:nvPr/>
          </p:nvSpPr>
          <p:spPr>
            <a:xfrm>
              <a:off x="3467650" y="238575"/>
              <a:ext cx="46525" cy="56650"/>
            </a:xfrm>
            <a:custGeom>
              <a:avLst/>
              <a:gdLst/>
              <a:ahLst/>
              <a:cxnLst/>
              <a:rect l="l" t="t" r="r" b="b"/>
              <a:pathLst>
                <a:path w="1861" h="2266" extrusionOk="0">
                  <a:moveTo>
                    <a:pt x="646" y="1"/>
                  </a:moveTo>
                  <a:cubicBezTo>
                    <a:pt x="561" y="1"/>
                    <a:pt x="475" y="20"/>
                    <a:pt x="393" y="61"/>
                  </a:cubicBezTo>
                  <a:cubicBezTo>
                    <a:pt x="112" y="199"/>
                    <a:pt x="0" y="541"/>
                    <a:pt x="139" y="821"/>
                  </a:cubicBezTo>
                  <a:lnTo>
                    <a:pt x="707" y="1954"/>
                  </a:lnTo>
                  <a:cubicBezTo>
                    <a:pt x="805" y="2150"/>
                    <a:pt x="1005" y="2265"/>
                    <a:pt x="1212" y="2265"/>
                  </a:cubicBezTo>
                  <a:cubicBezTo>
                    <a:pt x="1297" y="2265"/>
                    <a:pt x="1384" y="2246"/>
                    <a:pt x="1465" y="2204"/>
                  </a:cubicBezTo>
                  <a:cubicBezTo>
                    <a:pt x="1746" y="2065"/>
                    <a:pt x="1860" y="1727"/>
                    <a:pt x="1718" y="1446"/>
                  </a:cubicBezTo>
                  <a:lnTo>
                    <a:pt x="1154" y="314"/>
                  </a:lnTo>
                  <a:cubicBezTo>
                    <a:pt x="1053" y="115"/>
                    <a:pt x="854" y="1"/>
                    <a:pt x="6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7" name="Google Shape;8947;p75"/>
            <p:cNvSpPr/>
            <p:nvPr/>
          </p:nvSpPr>
          <p:spPr>
            <a:xfrm>
              <a:off x="3566675" y="238575"/>
              <a:ext cx="46525" cy="56675"/>
            </a:xfrm>
            <a:custGeom>
              <a:avLst/>
              <a:gdLst/>
              <a:ahLst/>
              <a:cxnLst/>
              <a:rect l="l" t="t" r="r" b="b"/>
              <a:pathLst>
                <a:path w="1861" h="2267" extrusionOk="0">
                  <a:moveTo>
                    <a:pt x="1215" y="1"/>
                  </a:moveTo>
                  <a:cubicBezTo>
                    <a:pt x="1007" y="1"/>
                    <a:pt x="808" y="115"/>
                    <a:pt x="707" y="314"/>
                  </a:cubicBezTo>
                  <a:lnTo>
                    <a:pt x="143" y="1446"/>
                  </a:lnTo>
                  <a:cubicBezTo>
                    <a:pt x="1" y="1727"/>
                    <a:pt x="116" y="2065"/>
                    <a:pt x="396" y="2207"/>
                  </a:cubicBezTo>
                  <a:cubicBezTo>
                    <a:pt x="477" y="2247"/>
                    <a:pt x="562" y="2266"/>
                    <a:pt x="646" y="2266"/>
                  </a:cubicBezTo>
                  <a:cubicBezTo>
                    <a:pt x="854" y="2266"/>
                    <a:pt x="1055" y="2151"/>
                    <a:pt x="1154" y="1954"/>
                  </a:cubicBezTo>
                  <a:lnTo>
                    <a:pt x="1722" y="821"/>
                  </a:lnTo>
                  <a:cubicBezTo>
                    <a:pt x="1861" y="541"/>
                    <a:pt x="1749" y="199"/>
                    <a:pt x="1468" y="61"/>
                  </a:cubicBezTo>
                  <a:cubicBezTo>
                    <a:pt x="1387" y="20"/>
                    <a:pt x="1300" y="1"/>
                    <a:pt x="12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8" name="Google Shape;8948;p75"/>
            <p:cNvSpPr/>
            <p:nvPr/>
          </p:nvSpPr>
          <p:spPr>
            <a:xfrm>
              <a:off x="361122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49" name="Google Shape;8949;p75"/>
            <p:cNvSpPr/>
            <p:nvPr/>
          </p:nvSpPr>
          <p:spPr>
            <a:xfrm>
              <a:off x="341307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50" name="Google Shape;8950;p75"/>
          <p:cNvGrpSpPr/>
          <p:nvPr/>
        </p:nvGrpSpPr>
        <p:grpSpPr>
          <a:xfrm>
            <a:off x="2929622" y="2287138"/>
            <a:ext cx="352455" cy="340168"/>
            <a:chOff x="3857225" y="238125"/>
            <a:chExt cx="500575" cy="483125"/>
          </a:xfrm>
        </p:grpSpPr>
        <p:sp>
          <p:nvSpPr>
            <p:cNvPr id="8951" name="Google Shape;8951;p75"/>
            <p:cNvSpPr/>
            <p:nvPr/>
          </p:nvSpPr>
          <p:spPr>
            <a:xfrm>
              <a:off x="3857225" y="238125"/>
              <a:ext cx="500575" cy="483125"/>
            </a:xfrm>
            <a:custGeom>
              <a:avLst/>
              <a:gdLst/>
              <a:ahLst/>
              <a:cxnLst/>
              <a:rect l="l" t="t" r="r" b="b"/>
              <a:pathLst>
                <a:path w="20023" h="19325" extrusionOk="0">
                  <a:moveTo>
                    <a:pt x="15671" y="3398"/>
                  </a:moveTo>
                  <a:cubicBezTo>
                    <a:pt x="15707" y="3398"/>
                    <a:pt x="15744" y="3402"/>
                    <a:pt x="15780" y="3409"/>
                  </a:cubicBezTo>
                  <a:lnTo>
                    <a:pt x="15801" y="3415"/>
                  </a:lnTo>
                  <a:cubicBezTo>
                    <a:pt x="15814" y="3415"/>
                    <a:pt x="15823" y="3418"/>
                    <a:pt x="15835" y="3421"/>
                  </a:cubicBezTo>
                  <a:cubicBezTo>
                    <a:pt x="15844" y="3424"/>
                    <a:pt x="15856" y="3430"/>
                    <a:pt x="15868" y="3433"/>
                  </a:cubicBezTo>
                  <a:lnTo>
                    <a:pt x="15886" y="3439"/>
                  </a:lnTo>
                  <a:cubicBezTo>
                    <a:pt x="15892" y="3442"/>
                    <a:pt x="15898" y="3445"/>
                    <a:pt x="15904" y="3448"/>
                  </a:cubicBezTo>
                  <a:cubicBezTo>
                    <a:pt x="15922" y="3457"/>
                    <a:pt x="15943" y="3466"/>
                    <a:pt x="15964" y="3478"/>
                  </a:cubicBezTo>
                  <a:cubicBezTo>
                    <a:pt x="15986" y="3494"/>
                    <a:pt x="16010" y="3509"/>
                    <a:pt x="16031" y="3524"/>
                  </a:cubicBezTo>
                  <a:cubicBezTo>
                    <a:pt x="16046" y="3536"/>
                    <a:pt x="16058" y="3551"/>
                    <a:pt x="16073" y="3563"/>
                  </a:cubicBezTo>
                  <a:cubicBezTo>
                    <a:pt x="16085" y="3575"/>
                    <a:pt x="16100" y="3590"/>
                    <a:pt x="16112" y="3605"/>
                  </a:cubicBezTo>
                  <a:cubicBezTo>
                    <a:pt x="16294" y="3829"/>
                    <a:pt x="16279" y="4158"/>
                    <a:pt x="16073" y="4363"/>
                  </a:cubicBezTo>
                  <a:lnTo>
                    <a:pt x="13054" y="7383"/>
                  </a:lnTo>
                  <a:cubicBezTo>
                    <a:pt x="12939" y="7232"/>
                    <a:pt x="12815" y="7090"/>
                    <a:pt x="12682" y="6954"/>
                  </a:cubicBezTo>
                  <a:cubicBezTo>
                    <a:pt x="12546" y="6821"/>
                    <a:pt x="12405" y="6697"/>
                    <a:pt x="12254" y="6582"/>
                  </a:cubicBezTo>
                  <a:lnTo>
                    <a:pt x="15273" y="3563"/>
                  </a:lnTo>
                  <a:cubicBezTo>
                    <a:pt x="15380" y="3456"/>
                    <a:pt x="15523" y="3398"/>
                    <a:pt x="15671" y="3398"/>
                  </a:cubicBezTo>
                  <a:close/>
                  <a:moveTo>
                    <a:pt x="9887" y="9183"/>
                  </a:moveTo>
                  <a:cubicBezTo>
                    <a:pt x="10031" y="9183"/>
                    <a:pt x="10176" y="9238"/>
                    <a:pt x="10288" y="9348"/>
                  </a:cubicBezTo>
                  <a:cubicBezTo>
                    <a:pt x="10511" y="9575"/>
                    <a:pt x="10508" y="9937"/>
                    <a:pt x="10279" y="10157"/>
                  </a:cubicBezTo>
                  <a:cubicBezTo>
                    <a:pt x="10169" y="10268"/>
                    <a:pt x="10024" y="10323"/>
                    <a:pt x="9879" y="10323"/>
                  </a:cubicBezTo>
                  <a:cubicBezTo>
                    <a:pt x="9734" y="10323"/>
                    <a:pt x="9589" y="10268"/>
                    <a:pt x="9479" y="10157"/>
                  </a:cubicBezTo>
                  <a:cubicBezTo>
                    <a:pt x="9258" y="9937"/>
                    <a:pt x="9258" y="9578"/>
                    <a:pt x="9479" y="9357"/>
                  </a:cubicBezTo>
                  <a:cubicBezTo>
                    <a:pt x="9590" y="9241"/>
                    <a:pt x="9739" y="9183"/>
                    <a:pt x="9887" y="9183"/>
                  </a:cubicBezTo>
                  <a:close/>
                  <a:moveTo>
                    <a:pt x="15746" y="1062"/>
                  </a:moveTo>
                  <a:cubicBezTo>
                    <a:pt x="16469" y="1062"/>
                    <a:pt x="17193" y="1337"/>
                    <a:pt x="17746" y="1890"/>
                  </a:cubicBezTo>
                  <a:cubicBezTo>
                    <a:pt x="18878" y="3022"/>
                    <a:pt x="18845" y="4870"/>
                    <a:pt x="17673" y="5963"/>
                  </a:cubicBezTo>
                  <a:lnTo>
                    <a:pt x="11879" y="11758"/>
                  </a:lnTo>
                  <a:cubicBezTo>
                    <a:pt x="11337" y="12300"/>
                    <a:pt x="10612" y="12586"/>
                    <a:pt x="9878" y="12586"/>
                  </a:cubicBezTo>
                  <a:cubicBezTo>
                    <a:pt x="9472" y="12586"/>
                    <a:pt x="9062" y="12499"/>
                    <a:pt x="8679" y="12319"/>
                  </a:cubicBezTo>
                  <a:lnTo>
                    <a:pt x="8663" y="12313"/>
                  </a:lnTo>
                  <a:cubicBezTo>
                    <a:pt x="8198" y="12093"/>
                    <a:pt x="7803" y="11746"/>
                    <a:pt x="7516" y="11317"/>
                  </a:cubicBezTo>
                  <a:lnTo>
                    <a:pt x="8346" y="10487"/>
                  </a:lnTo>
                  <a:cubicBezTo>
                    <a:pt x="8645" y="11113"/>
                    <a:pt x="9259" y="11453"/>
                    <a:pt x="9883" y="11453"/>
                  </a:cubicBezTo>
                  <a:cubicBezTo>
                    <a:pt x="10311" y="11453"/>
                    <a:pt x="10744" y="11293"/>
                    <a:pt x="11082" y="10955"/>
                  </a:cubicBezTo>
                  <a:lnTo>
                    <a:pt x="16873" y="5160"/>
                  </a:lnTo>
                  <a:cubicBezTo>
                    <a:pt x="17541" y="4514"/>
                    <a:pt x="17562" y="3448"/>
                    <a:pt x="16922" y="2775"/>
                  </a:cubicBezTo>
                  <a:cubicBezTo>
                    <a:pt x="16588" y="2423"/>
                    <a:pt x="16140" y="2245"/>
                    <a:pt x="15690" y="2245"/>
                  </a:cubicBezTo>
                  <a:cubicBezTo>
                    <a:pt x="15275" y="2245"/>
                    <a:pt x="14860" y="2395"/>
                    <a:pt x="14533" y="2699"/>
                  </a:cubicBezTo>
                  <a:cubicBezTo>
                    <a:pt x="14512" y="2718"/>
                    <a:pt x="14491" y="2739"/>
                    <a:pt x="14470" y="2760"/>
                  </a:cubicBezTo>
                  <a:lnTo>
                    <a:pt x="11212" y="6021"/>
                  </a:lnTo>
                  <a:cubicBezTo>
                    <a:pt x="10783" y="5867"/>
                    <a:pt x="10333" y="5791"/>
                    <a:pt x="9877" y="5791"/>
                  </a:cubicBezTo>
                  <a:lnTo>
                    <a:pt x="9838" y="5791"/>
                  </a:lnTo>
                  <a:lnTo>
                    <a:pt x="13673" y="1963"/>
                  </a:lnTo>
                  <a:cubicBezTo>
                    <a:pt x="14232" y="1363"/>
                    <a:pt x="14988" y="1062"/>
                    <a:pt x="15746" y="1062"/>
                  </a:cubicBezTo>
                  <a:close/>
                  <a:moveTo>
                    <a:pt x="6707" y="12129"/>
                  </a:moveTo>
                  <a:cubicBezTo>
                    <a:pt x="6819" y="12283"/>
                    <a:pt x="6942" y="12425"/>
                    <a:pt x="7078" y="12558"/>
                  </a:cubicBezTo>
                  <a:cubicBezTo>
                    <a:pt x="7211" y="12694"/>
                    <a:pt x="7353" y="12818"/>
                    <a:pt x="7507" y="12932"/>
                  </a:cubicBezTo>
                  <a:lnTo>
                    <a:pt x="4675" y="15762"/>
                  </a:lnTo>
                  <a:cubicBezTo>
                    <a:pt x="4565" y="15872"/>
                    <a:pt x="4420" y="15927"/>
                    <a:pt x="4275" y="15927"/>
                  </a:cubicBezTo>
                  <a:cubicBezTo>
                    <a:pt x="4130" y="15927"/>
                    <a:pt x="3985" y="15872"/>
                    <a:pt x="3875" y="15762"/>
                  </a:cubicBezTo>
                  <a:cubicBezTo>
                    <a:pt x="3654" y="15541"/>
                    <a:pt x="3654" y="15182"/>
                    <a:pt x="3875" y="14961"/>
                  </a:cubicBezTo>
                  <a:lnTo>
                    <a:pt x="6707" y="12129"/>
                  </a:lnTo>
                  <a:close/>
                  <a:moveTo>
                    <a:pt x="9884" y="6926"/>
                  </a:moveTo>
                  <a:cubicBezTo>
                    <a:pt x="10290" y="6926"/>
                    <a:pt x="10698" y="7013"/>
                    <a:pt x="11082" y="7192"/>
                  </a:cubicBezTo>
                  <a:lnTo>
                    <a:pt x="11094" y="7198"/>
                  </a:lnTo>
                  <a:cubicBezTo>
                    <a:pt x="11562" y="7422"/>
                    <a:pt x="11958" y="7766"/>
                    <a:pt x="12242" y="8198"/>
                  </a:cubicBezTo>
                  <a:lnTo>
                    <a:pt x="11411" y="9028"/>
                  </a:lnTo>
                  <a:cubicBezTo>
                    <a:pt x="11112" y="8400"/>
                    <a:pt x="10499" y="8061"/>
                    <a:pt x="9877" y="8061"/>
                  </a:cubicBezTo>
                  <a:cubicBezTo>
                    <a:pt x="9448" y="8061"/>
                    <a:pt x="9016" y="8222"/>
                    <a:pt x="8679" y="8560"/>
                  </a:cubicBezTo>
                  <a:lnTo>
                    <a:pt x="3074" y="14161"/>
                  </a:lnTo>
                  <a:cubicBezTo>
                    <a:pt x="2410" y="14822"/>
                    <a:pt x="2410" y="15900"/>
                    <a:pt x="3074" y="16562"/>
                  </a:cubicBezTo>
                  <a:cubicBezTo>
                    <a:pt x="3405" y="16894"/>
                    <a:pt x="3840" y="17060"/>
                    <a:pt x="4275" y="17060"/>
                  </a:cubicBezTo>
                  <a:cubicBezTo>
                    <a:pt x="4710" y="17060"/>
                    <a:pt x="5144" y="16894"/>
                    <a:pt x="5475" y="16562"/>
                  </a:cubicBezTo>
                  <a:lnTo>
                    <a:pt x="8546" y="13491"/>
                  </a:lnTo>
                  <a:cubicBezTo>
                    <a:pt x="8974" y="13642"/>
                    <a:pt x="9424" y="13720"/>
                    <a:pt x="9880" y="13720"/>
                  </a:cubicBezTo>
                  <a:lnTo>
                    <a:pt x="9920" y="13720"/>
                  </a:lnTo>
                  <a:lnTo>
                    <a:pt x="6275" y="17362"/>
                  </a:lnTo>
                  <a:cubicBezTo>
                    <a:pt x="5716" y="17961"/>
                    <a:pt x="4960" y="18262"/>
                    <a:pt x="4202" y="18262"/>
                  </a:cubicBezTo>
                  <a:cubicBezTo>
                    <a:pt x="3479" y="18262"/>
                    <a:pt x="2755" y="17987"/>
                    <a:pt x="2202" y="17434"/>
                  </a:cubicBezTo>
                  <a:cubicBezTo>
                    <a:pt x="1070" y="16302"/>
                    <a:pt x="1103" y="14454"/>
                    <a:pt x="2274" y="13361"/>
                  </a:cubicBezTo>
                  <a:lnTo>
                    <a:pt x="7878" y="7757"/>
                  </a:lnTo>
                  <a:cubicBezTo>
                    <a:pt x="8422" y="7214"/>
                    <a:pt x="9147" y="6926"/>
                    <a:pt x="9884" y="6926"/>
                  </a:cubicBezTo>
                  <a:close/>
                  <a:moveTo>
                    <a:pt x="15673" y="1"/>
                  </a:moveTo>
                  <a:cubicBezTo>
                    <a:pt x="14659" y="1"/>
                    <a:pt x="13644" y="388"/>
                    <a:pt x="12870" y="1162"/>
                  </a:cubicBezTo>
                  <a:lnTo>
                    <a:pt x="7078" y="6957"/>
                  </a:lnTo>
                  <a:lnTo>
                    <a:pt x="1471" y="12561"/>
                  </a:lnTo>
                  <a:cubicBezTo>
                    <a:pt x="339" y="13693"/>
                    <a:pt x="1" y="15399"/>
                    <a:pt x="614" y="16879"/>
                  </a:cubicBezTo>
                  <a:cubicBezTo>
                    <a:pt x="1230" y="18358"/>
                    <a:pt x="2673" y="19324"/>
                    <a:pt x="4276" y="19324"/>
                  </a:cubicBezTo>
                  <a:cubicBezTo>
                    <a:pt x="4280" y="19325"/>
                    <a:pt x="4284" y="19325"/>
                    <a:pt x="4288" y="19325"/>
                  </a:cubicBezTo>
                  <a:cubicBezTo>
                    <a:pt x="5334" y="19325"/>
                    <a:pt x="6338" y="18908"/>
                    <a:pt x="7078" y="18165"/>
                  </a:cubicBezTo>
                  <a:lnTo>
                    <a:pt x="12682" y="12561"/>
                  </a:lnTo>
                  <a:lnTo>
                    <a:pt x="18477" y="6767"/>
                  </a:lnTo>
                  <a:cubicBezTo>
                    <a:pt x="20023" y="5221"/>
                    <a:pt x="20023" y="2711"/>
                    <a:pt x="18477" y="1162"/>
                  </a:cubicBezTo>
                  <a:cubicBezTo>
                    <a:pt x="17702" y="388"/>
                    <a:pt x="16688" y="1"/>
                    <a:pt x="156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2" name="Google Shape;8952;p75"/>
            <p:cNvSpPr/>
            <p:nvPr/>
          </p:nvSpPr>
          <p:spPr>
            <a:xfrm>
              <a:off x="4208775" y="588000"/>
              <a:ext cx="71125" cy="68350"/>
            </a:xfrm>
            <a:custGeom>
              <a:avLst/>
              <a:gdLst/>
              <a:ahLst/>
              <a:cxnLst/>
              <a:rect l="l" t="t" r="r" b="b"/>
              <a:pathLst>
                <a:path w="2845" h="2734" extrusionOk="0">
                  <a:moveTo>
                    <a:pt x="621" y="1"/>
                  </a:moveTo>
                  <a:cubicBezTo>
                    <a:pt x="476" y="1"/>
                    <a:pt x="331" y="56"/>
                    <a:pt x="221" y="166"/>
                  </a:cubicBezTo>
                  <a:cubicBezTo>
                    <a:pt x="0" y="387"/>
                    <a:pt x="0" y="746"/>
                    <a:pt x="221" y="966"/>
                  </a:cubicBezTo>
                  <a:lnTo>
                    <a:pt x="1821" y="2567"/>
                  </a:lnTo>
                  <a:cubicBezTo>
                    <a:pt x="1933" y="2677"/>
                    <a:pt x="2079" y="2733"/>
                    <a:pt x="2224" y="2733"/>
                  </a:cubicBezTo>
                  <a:cubicBezTo>
                    <a:pt x="2368" y="2733"/>
                    <a:pt x="2513" y="2678"/>
                    <a:pt x="2624" y="2567"/>
                  </a:cubicBezTo>
                  <a:cubicBezTo>
                    <a:pt x="2845" y="2346"/>
                    <a:pt x="2845" y="1987"/>
                    <a:pt x="2624" y="1767"/>
                  </a:cubicBezTo>
                  <a:lnTo>
                    <a:pt x="1021" y="166"/>
                  </a:lnTo>
                  <a:cubicBezTo>
                    <a:pt x="911" y="56"/>
                    <a:pt x="766"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3" name="Google Shape;8953;p75"/>
            <p:cNvSpPr/>
            <p:nvPr/>
          </p:nvSpPr>
          <p:spPr>
            <a:xfrm>
              <a:off x="4228400" y="527925"/>
              <a:ext cx="91050" cy="48400"/>
            </a:xfrm>
            <a:custGeom>
              <a:avLst/>
              <a:gdLst/>
              <a:ahLst/>
              <a:cxnLst/>
              <a:rect l="l" t="t" r="r" b="b"/>
              <a:pathLst>
                <a:path w="3642" h="1936" extrusionOk="0">
                  <a:moveTo>
                    <a:pt x="636" y="0"/>
                  </a:moveTo>
                  <a:cubicBezTo>
                    <a:pt x="400" y="0"/>
                    <a:pt x="180" y="150"/>
                    <a:pt x="100" y="389"/>
                  </a:cubicBezTo>
                  <a:cubicBezTo>
                    <a:pt x="0" y="685"/>
                    <a:pt x="160" y="1005"/>
                    <a:pt x="459" y="1105"/>
                  </a:cubicBezTo>
                  <a:lnTo>
                    <a:pt x="2860" y="1905"/>
                  </a:lnTo>
                  <a:cubicBezTo>
                    <a:pt x="2917" y="1923"/>
                    <a:pt x="2977" y="1935"/>
                    <a:pt x="3038" y="1935"/>
                  </a:cubicBezTo>
                  <a:cubicBezTo>
                    <a:pt x="3316" y="1932"/>
                    <a:pt x="3554" y="1733"/>
                    <a:pt x="3596" y="1458"/>
                  </a:cubicBezTo>
                  <a:cubicBezTo>
                    <a:pt x="3642" y="1183"/>
                    <a:pt x="3482" y="918"/>
                    <a:pt x="3219" y="830"/>
                  </a:cubicBezTo>
                  <a:lnTo>
                    <a:pt x="816" y="30"/>
                  </a:lnTo>
                  <a:cubicBezTo>
                    <a:pt x="756" y="10"/>
                    <a:pt x="695" y="0"/>
                    <a:pt x="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4" name="Google Shape;8954;p75"/>
            <p:cNvSpPr/>
            <p:nvPr/>
          </p:nvSpPr>
          <p:spPr>
            <a:xfrm>
              <a:off x="4148300" y="608000"/>
              <a:ext cx="52050" cy="88600"/>
            </a:xfrm>
            <a:custGeom>
              <a:avLst/>
              <a:gdLst/>
              <a:ahLst/>
              <a:cxnLst/>
              <a:rect l="l" t="t" r="r" b="b"/>
              <a:pathLst>
                <a:path w="2082" h="3544" extrusionOk="0">
                  <a:moveTo>
                    <a:pt x="639" y="1"/>
                  </a:moveTo>
                  <a:cubicBezTo>
                    <a:pt x="580" y="1"/>
                    <a:pt x="519" y="10"/>
                    <a:pt x="460" y="31"/>
                  </a:cubicBezTo>
                  <a:cubicBezTo>
                    <a:pt x="161" y="127"/>
                    <a:pt x="1" y="450"/>
                    <a:pt x="100" y="746"/>
                  </a:cubicBezTo>
                  <a:lnTo>
                    <a:pt x="903" y="3150"/>
                  </a:lnTo>
                  <a:cubicBezTo>
                    <a:pt x="979" y="3390"/>
                    <a:pt x="1202" y="3544"/>
                    <a:pt x="1441" y="3544"/>
                  </a:cubicBezTo>
                  <a:cubicBezTo>
                    <a:pt x="1500" y="3544"/>
                    <a:pt x="1560" y="3535"/>
                    <a:pt x="1619" y="3515"/>
                  </a:cubicBezTo>
                  <a:cubicBezTo>
                    <a:pt x="1921" y="3415"/>
                    <a:pt x="2081" y="3089"/>
                    <a:pt x="1975" y="2790"/>
                  </a:cubicBezTo>
                  <a:lnTo>
                    <a:pt x="1175" y="390"/>
                  </a:lnTo>
                  <a:cubicBezTo>
                    <a:pt x="1096" y="151"/>
                    <a:pt x="875" y="1"/>
                    <a:pt x="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5" name="Google Shape;8955;p75"/>
            <p:cNvSpPr/>
            <p:nvPr/>
          </p:nvSpPr>
          <p:spPr>
            <a:xfrm>
              <a:off x="3928725" y="307900"/>
              <a:ext cx="71200" cy="68375"/>
            </a:xfrm>
            <a:custGeom>
              <a:avLst/>
              <a:gdLst/>
              <a:ahLst/>
              <a:cxnLst/>
              <a:rect l="l" t="t" r="r" b="b"/>
              <a:pathLst>
                <a:path w="2848" h="2735" extrusionOk="0">
                  <a:moveTo>
                    <a:pt x="620" y="1"/>
                  </a:moveTo>
                  <a:cubicBezTo>
                    <a:pt x="475" y="1"/>
                    <a:pt x="330" y="57"/>
                    <a:pt x="221" y="168"/>
                  </a:cubicBezTo>
                  <a:cubicBezTo>
                    <a:pt x="3" y="385"/>
                    <a:pt x="0" y="739"/>
                    <a:pt x="214" y="962"/>
                  </a:cubicBezTo>
                  <a:lnTo>
                    <a:pt x="1815" y="2562"/>
                  </a:lnTo>
                  <a:cubicBezTo>
                    <a:pt x="1926" y="2677"/>
                    <a:pt x="2074" y="2734"/>
                    <a:pt x="2222" y="2734"/>
                  </a:cubicBezTo>
                  <a:cubicBezTo>
                    <a:pt x="2367" y="2734"/>
                    <a:pt x="2512" y="2679"/>
                    <a:pt x="2624" y="2569"/>
                  </a:cubicBezTo>
                  <a:cubicBezTo>
                    <a:pt x="2847" y="2345"/>
                    <a:pt x="2844" y="1983"/>
                    <a:pt x="2615" y="1762"/>
                  </a:cubicBezTo>
                  <a:lnTo>
                    <a:pt x="1015" y="162"/>
                  </a:lnTo>
                  <a:cubicBezTo>
                    <a:pt x="904" y="54"/>
                    <a:pt x="762" y="1"/>
                    <a:pt x="6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6" name="Google Shape;8956;p75"/>
            <p:cNvSpPr/>
            <p:nvPr/>
          </p:nvSpPr>
          <p:spPr>
            <a:xfrm>
              <a:off x="4008200" y="267675"/>
              <a:ext cx="51875" cy="88450"/>
            </a:xfrm>
            <a:custGeom>
              <a:avLst/>
              <a:gdLst/>
              <a:ahLst/>
              <a:cxnLst/>
              <a:rect l="l" t="t" r="r" b="b"/>
              <a:pathLst>
                <a:path w="2075" h="3538" extrusionOk="0">
                  <a:moveTo>
                    <a:pt x="636" y="1"/>
                  </a:moveTo>
                  <a:cubicBezTo>
                    <a:pt x="577" y="1"/>
                    <a:pt x="518" y="10"/>
                    <a:pt x="460" y="29"/>
                  </a:cubicBezTo>
                  <a:cubicBezTo>
                    <a:pt x="161" y="128"/>
                    <a:pt x="1" y="449"/>
                    <a:pt x="100" y="747"/>
                  </a:cubicBezTo>
                  <a:lnTo>
                    <a:pt x="900" y="3151"/>
                  </a:lnTo>
                  <a:cubicBezTo>
                    <a:pt x="979" y="3380"/>
                    <a:pt x="1193" y="3537"/>
                    <a:pt x="1438" y="3537"/>
                  </a:cubicBezTo>
                  <a:cubicBezTo>
                    <a:pt x="1498" y="3534"/>
                    <a:pt x="1559" y="3525"/>
                    <a:pt x="1619" y="3507"/>
                  </a:cubicBezTo>
                  <a:cubicBezTo>
                    <a:pt x="1915" y="3408"/>
                    <a:pt x="2075" y="3088"/>
                    <a:pt x="1975" y="2789"/>
                  </a:cubicBezTo>
                  <a:lnTo>
                    <a:pt x="1175" y="388"/>
                  </a:lnTo>
                  <a:cubicBezTo>
                    <a:pt x="1095" y="151"/>
                    <a:pt x="873" y="1"/>
                    <a:pt x="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57" name="Google Shape;8957;p75"/>
            <p:cNvSpPr/>
            <p:nvPr/>
          </p:nvSpPr>
          <p:spPr>
            <a:xfrm>
              <a:off x="3888100" y="387825"/>
              <a:ext cx="91675" cy="48300"/>
            </a:xfrm>
            <a:custGeom>
              <a:avLst/>
              <a:gdLst/>
              <a:ahLst/>
              <a:cxnLst/>
              <a:rect l="l" t="t" r="r" b="b"/>
              <a:pathLst>
                <a:path w="3667" h="1932" extrusionOk="0">
                  <a:moveTo>
                    <a:pt x="636" y="0"/>
                  </a:moveTo>
                  <a:cubicBezTo>
                    <a:pt x="400" y="0"/>
                    <a:pt x="180" y="150"/>
                    <a:pt x="100" y="386"/>
                  </a:cubicBezTo>
                  <a:cubicBezTo>
                    <a:pt x="1" y="685"/>
                    <a:pt x="161" y="1005"/>
                    <a:pt x="460" y="1105"/>
                  </a:cubicBezTo>
                  <a:lnTo>
                    <a:pt x="2860" y="1905"/>
                  </a:lnTo>
                  <a:cubicBezTo>
                    <a:pt x="2917" y="1923"/>
                    <a:pt x="2975" y="1932"/>
                    <a:pt x="3032" y="1932"/>
                  </a:cubicBezTo>
                  <a:cubicBezTo>
                    <a:pt x="3270" y="1932"/>
                    <a:pt x="3492" y="1781"/>
                    <a:pt x="3570" y="1543"/>
                  </a:cubicBezTo>
                  <a:cubicBezTo>
                    <a:pt x="3666" y="1250"/>
                    <a:pt x="3512" y="933"/>
                    <a:pt x="3219" y="830"/>
                  </a:cubicBezTo>
                  <a:lnTo>
                    <a:pt x="816" y="30"/>
                  </a:lnTo>
                  <a:cubicBezTo>
                    <a:pt x="756" y="10"/>
                    <a:pt x="696" y="0"/>
                    <a:pt x="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8958" name="Google Shape;8958;p75"/>
          <p:cNvSpPr/>
          <p:nvPr/>
        </p:nvSpPr>
        <p:spPr>
          <a:xfrm>
            <a:off x="3347096" y="2287135"/>
            <a:ext cx="352455" cy="340116"/>
          </a:xfrm>
          <a:custGeom>
            <a:avLst/>
            <a:gdLst/>
            <a:ahLst/>
            <a:cxnLst/>
            <a:rect l="l" t="t" r="r" b="b"/>
            <a:pathLst>
              <a:path w="20023" h="19322" extrusionOk="0">
                <a:moveTo>
                  <a:pt x="15673" y="3395"/>
                </a:moveTo>
                <a:cubicBezTo>
                  <a:pt x="15818" y="3395"/>
                  <a:pt x="15963" y="3450"/>
                  <a:pt x="16073" y="3560"/>
                </a:cubicBezTo>
                <a:cubicBezTo>
                  <a:pt x="16294" y="3780"/>
                  <a:pt x="16294" y="4140"/>
                  <a:pt x="16073" y="4360"/>
                </a:cubicBezTo>
                <a:lnTo>
                  <a:pt x="13054" y="7380"/>
                </a:lnTo>
                <a:cubicBezTo>
                  <a:pt x="12939" y="7229"/>
                  <a:pt x="12815" y="7087"/>
                  <a:pt x="12682" y="6951"/>
                </a:cubicBezTo>
                <a:cubicBezTo>
                  <a:pt x="12547" y="6818"/>
                  <a:pt x="12405" y="6694"/>
                  <a:pt x="12254" y="6579"/>
                </a:cubicBezTo>
                <a:lnTo>
                  <a:pt x="15273" y="3560"/>
                </a:lnTo>
                <a:cubicBezTo>
                  <a:pt x="15383" y="3450"/>
                  <a:pt x="15528" y="3395"/>
                  <a:pt x="15673" y="3395"/>
                </a:cubicBezTo>
                <a:close/>
                <a:moveTo>
                  <a:pt x="9879" y="9187"/>
                </a:moveTo>
                <a:cubicBezTo>
                  <a:pt x="10024" y="9187"/>
                  <a:pt x="10169" y="9243"/>
                  <a:pt x="10279" y="9354"/>
                </a:cubicBezTo>
                <a:cubicBezTo>
                  <a:pt x="10635" y="9711"/>
                  <a:pt x="10385" y="10321"/>
                  <a:pt x="9880" y="10321"/>
                </a:cubicBezTo>
                <a:cubicBezTo>
                  <a:pt x="9376" y="10321"/>
                  <a:pt x="9123" y="9711"/>
                  <a:pt x="9479" y="9354"/>
                </a:cubicBezTo>
                <a:cubicBezTo>
                  <a:pt x="9589" y="9243"/>
                  <a:pt x="9734" y="9187"/>
                  <a:pt x="9879" y="9187"/>
                </a:cubicBezTo>
                <a:close/>
                <a:moveTo>
                  <a:pt x="15746" y="1059"/>
                </a:moveTo>
                <a:cubicBezTo>
                  <a:pt x="16469" y="1059"/>
                  <a:pt x="17193" y="1334"/>
                  <a:pt x="17746" y="1887"/>
                </a:cubicBezTo>
                <a:cubicBezTo>
                  <a:pt x="18878" y="3019"/>
                  <a:pt x="18845" y="4867"/>
                  <a:pt x="17674" y="5960"/>
                </a:cubicBezTo>
                <a:lnTo>
                  <a:pt x="11882" y="11755"/>
                </a:lnTo>
                <a:cubicBezTo>
                  <a:pt x="11323" y="12314"/>
                  <a:pt x="10601" y="12585"/>
                  <a:pt x="9883" y="12585"/>
                </a:cubicBezTo>
                <a:cubicBezTo>
                  <a:pt x="8973" y="12585"/>
                  <a:pt x="8071" y="12149"/>
                  <a:pt x="7519" y="11314"/>
                </a:cubicBezTo>
                <a:lnTo>
                  <a:pt x="8350" y="10487"/>
                </a:lnTo>
                <a:cubicBezTo>
                  <a:pt x="8649" y="11113"/>
                  <a:pt x="9263" y="11453"/>
                  <a:pt x="9886" y="11453"/>
                </a:cubicBezTo>
                <a:cubicBezTo>
                  <a:pt x="10313" y="11453"/>
                  <a:pt x="10745" y="11293"/>
                  <a:pt x="11082" y="10955"/>
                </a:cubicBezTo>
                <a:lnTo>
                  <a:pt x="16876" y="5160"/>
                </a:lnTo>
                <a:cubicBezTo>
                  <a:pt x="17538" y="4499"/>
                  <a:pt x="17538" y="3421"/>
                  <a:pt x="16876" y="2760"/>
                </a:cubicBezTo>
                <a:cubicBezTo>
                  <a:pt x="16544" y="2428"/>
                  <a:pt x="16110" y="2262"/>
                  <a:pt x="15675" y="2262"/>
                </a:cubicBezTo>
                <a:cubicBezTo>
                  <a:pt x="15240" y="2262"/>
                  <a:pt x="14805" y="2428"/>
                  <a:pt x="14473" y="2760"/>
                </a:cubicBezTo>
                <a:lnTo>
                  <a:pt x="11212" y="6021"/>
                </a:lnTo>
                <a:cubicBezTo>
                  <a:pt x="10787" y="5872"/>
                  <a:pt x="10339" y="5794"/>
                  <a:pt x="9888" y="5794"/>
                </a:cubicBezTo>
                <a:cubicBezTo>
                  <a:pt x="9872" y="5794"/>
                  <a:pt x="9855" y="5794"/>
                  <a:pt x="9838" y="5794"/>
                </a:cubicBezTo>
                <a:lnTo>
                  <a:pt x="13673" y="1960"/>
                </a:lnTo>
                <a:cubicBezTo>
                  <a:pt x="14232" y="1360"/>
                  <a:pt x="14988" y="1059"/>
                  <a:pt x="15746" y="1059"/>
                </a:cubicBezTo>
                <a:close/>
                <a:moveTo>
                  <a:pt x="6707" y="12126"/>
                </a:moveTo>
                <a:cubicBezTo>
                  <a:pt x="6819" y="12280"/>
                  <a:pt x="6943" y="12422"/>
                  <a:pt x="7078" y="12555"/>
                </a:cubicBezTo>
                <a:cubicBezTo>
                  <a:pt x="7211" y="12691"/>
                  <a:pt x="7356" y="12815"/>
                  <a:pt x="7507" y="12929"/>
                </a:cubicBezTo>
                <a:lnTo>
                  <a:pt x="4675" y="15759"/>
                </a:lnTo>
                <a:cubicBezTo>
                  <a:pt x="4565" y="15869"/>
                  <a:pt x="4420" y="15924"/>
                  <a:pt x="4275" y="15924"/>
                </a:cubicBezTo>
                <a:cubicBezTo>
                  <a:pt x="4130" y="15924"/>
                  <a:pt x="3985" y="15869"/>
                  <a:pt x="3875" y="15759"/>
                </a:cubicBezTo>
                <a:cubicBezTo>
                  <a:pt x="3654" y="15538"/>
                  <a:pt x="3654" y="15179"/>
                  <a:pt x="3875" y="14958"/>
                </a:cubicBezTo>
                <a:lnTo>
                  <a:pt x="6707" y="12126"/>
                </a:lnTo>
                <a:close/>
                <a:moveTo>
                  <a:pt x="9878" y="6924"/>
                </a:moveTo>
                <a:cubicBezTo>
                  <a:pt x="10788" y="6924"/>
                  <a:pt x="11690" y="7359"/>
                  <a:pt x="12242" y="8195"/>
                </a:cubicBezTo>
                <a:lnTo>
                  <a:pt x="11414" y="9022"/>
                </a:lnTo>
                <a:cubicBezTo>
                  <a:pt x="11114" y="8396"/>
                  <a:pt x="10500" y="8056"/>
                  <a:pt x="9877" y="8056"/>
                </a:cubicBezTo>
                <a:cubicBezTo>
                  <a:pt x="9449" y="8056"/>
                  <a:pt x="9017" y="8216"/>
                  <a:pt x="8679" y="8554"/>
                </a:cubicBezTo>
                <a:lnTo>
                  <a:pt x="3075" y="14158"/>
                </a:lnTo>
                <a:cubicBezTo>
                  <a:pt x="2410" y="14819"/>
                  <a:pt x="2410" y="15897"/>
                  <a:pt x="3075" y="16559"/>
                </a:cubicBezTo>
                <a:cubicBezTo>
                  <a:pt x="3407" y="16891"/>
                  <a:pt x="3842" y="17057"/>
                  <a:pt x="4276" y="17057"/>
                </a:cubicBezTo>
                <a:cubicBezTo>
                  <a:pt x="4710" y="17057"/>
                  <a:pt x="5144" y="16891"/>
                  <a:pt x="5475" y="16559"/>
                </a:cubicBezTo>
                <a:lnTo>
                  <a:pt x="8549" y="13488"/>
                </a:lnTo>
                <a:cubicBezTo>
                  <a:pt x="8978" y="13639"/>
                  <a:pt x="9428" y="13714"/>
                  <a:pt x="9880" y="13714"/>
                </a:cubicBezTo>
                <a:lnTo>
                  <a:pt x="9923" y="13714"/>
                </a:lnTo>
                <a:lnTo>
                  <a:pt x="6275" y="17359"/>
                </a:lnTo>
                <a:cubicBezTo>
                  <a:pt x="5716" y="17958"/>
                  <a:pt x="4960" y="18259"/>
                  <a:pt x="4202" y="18259"/>
                </a:cubicBezTo>
                <a:cubicBezTo>
                  <a:pt x="3479" y="18259"/>
                  <a:pt x="2755" y="17984"/>
                  <a:pt x="2202" y="17431"/>
                </a:cubicBezTo>
                <a:cubicBezTo>
                  <a:pt x="1070" y="16299"/>
                  <a:pt x="1103" y="14451"/>
                  <a:pt x="2274" y="13358"/>
                </a:cubicBezTo>
                <a:lnTo>
                  <a:pt x="7879" y="7754"/>
                </a:lnTo>
                <a:cubicBezTo>
                  <a:pt x="8438" y="7195"/>
                  <a:pt x="9160" y="6924"/>
                  <a:pt x="9878" y="6924"/>
                </a:cubicBezTo>
                <a:close/>
                <a:moveTo>
                  <a:pt x="15672" y="0"/>
                </a:moveTo>
                <a:cubicBezTo>
                  <a:pt x="14657" y="0"/>
                  <a:pt x="13643" y="387"/>
                  <a:pt x="12870" y="1159"/>
                </a:cubicBezTo>
                <a:lnTo>
                  <a:pt x="7075" y="6954"/>
                </a:lnTo>
                <a:lnTo>
                  <a:pt x="1474" y="12555"/>
                </a:lnTo>
                <a:cubicBezTo>
                  <a:pt x="339" y="13690"/>
                  <a:pt x="1" y="15393"/>
                  <a:pt x="614" y="16876"/>
                </a:cubicBezTo>
                <a:cubicBezTo>
                  <a:pt x="1227" y="18355"/>
                  <a:pt x="2673" y="19321"/>
                  <a:pt x="4276" y="19321"/>
                </a:cubicBezTo>
                <a:cubicBezTo>
                  <a:pt x="4280" y="19322"/>
                  <a:pt x="4284" y="19322"/>
                  <a:pt x="4288" y="19322"/>
                </a:cubicBezTo>
                <a:cubicBezTo>
                  <a:pt x="5334" y="19322"/>
                  <a:pt x="6338" y="18905"/>
                  <a:pt x="7078" y="18162"/>
                </a:cubicBezTo>
                <a:lnTo>
                  <a:pt x="12679" y="12558"/>
                </a:lnTo>
                <a:lnTo>
                  <a:pt x="18474" y="6767"/>
                </a:lnTo>
                <a:cubicBezTo>
                  <a:pt x="20023" y="5218"/>
                  <a:pt x="20023" y="2708"/>
                  <a:pt x="18474" y="1159"/>
                </a:cubicBezTo>
                <a:cubicBezTo>
                  <a:pt x="17701" y="387"/>
                  <a:pt x="16686" y="0"/>
                  <a:pt x="156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8959" name="Google Shape;8959;p75"/>
          <p:cNvGrpSpPr/>
          <p:nvPr/>
        </p:nvGrpSpPr>
        <p:grpSpPr>
          <a:xfrm>
            <a:off x="3776398" y="2287165"/>
            <a:ext cx="340186" cy="340116"/>
            <a:chOff x="5053900" y="238200"/>
            <a:chExt cx="483150" cy="483050"/>
          </a:xfrm>
        </p:grpSpPr>
        <p:sp>
          <p:nvSpPr>
            <p:cNvPr id="8960" name="Google Shape;8960;p75"/>
            <p:cNvSpPr/>
            <p:nvPr/>
          </p:nvSpPr>
          <p:spPr>
            <a:xfrm>
              <a:off x="5053900" y="238200"/>
              <a:ext cx="483150" cy="483050"/>
            </a:xfrm>
            <a:custGeom>
              <a:avLst/>
              <a:gdLst/>
              <a:ahLst/>
              <a:cxnLst/>
              <a:rect l="l" t="t" r="r" b="b"/>
              <a:pathLst>
                <a:path w="19326" h="19322" extrusionOk="0">
                  <a:moveTo>
                    <a:pt x="11363" y="1929"/>
                  </a:moveTo>
                  <a:lnTo>
                    <a:pt x="12825" y="3394"/>
                  </a:lnTo>
                  <a:lnTo>
                    <a:pt x="11363" y="3394"/>
                  </a:lnTo>
                  <a:lnTo>
                    <a:pt x="11363" y="1929"/>
                  </a:lnTo>
                  <a:close/>
                  <a:moveTo>
                    <a:pt x="4569" y="4526"/>
                  </a:moveTo>
                  <a:lnTo>
                    <a:pt x="4569" y="5698"/>
                  </a:lnTo>
                  <a:lnTo>
                    <a:pt x="3437" y="5698"/>
                  </a:lnTo>
                  <a:lnTo>
                    <a:pt x="3437" y="4958"/>
                  </a:lnTo>
                  <a:cubicBezTo>
                    <a:pt x="3437" y="4719"/>
                    <a:pt x="3627" y="4526"/>
                    <a:pt x="3866" y="4526"/>
                  </a:cubicBezTo>
                  <a:close/>
                  <a:moveTo>
                    <a:pt x="15461" y="4526"/>
                  </a:moveTo>
                  <a:cubicBezTo>
                    <a:pt x="15699" y="4526"/>
                    <a:pt x="15889" y="4719"/>
                    <a:pt x="15892" y="4958"/>
                  </a:cubicBezTo>
                  <a:lnTo>
                    <a:pt x="15892" y="5698"/>
                  </a:lnTo>
                  <a:lnTo>
                    <a:pt x="14760" y="5698"/>
                  </a:lnTo>
                  <a:lnTo>
                    <a:pt x="14760" y="4526"/>
                  </a:lnTo>
                  <a:close/>
                  <a:moveTo>
                    <a:pt x="10231" y="1129"/>
                  </a:moveTo>
                  <a:lnTo>
                    <a:pt x="10231" y="3962"/>
                  </a:lnTo>
                  <a:cubicBezTo>
                    <a:pt x="10231" y="4273"/>
                    <a:pt x="10481" y="4526"/>
                    <a:pt x="10795" y="4526"/>
                  </a:cubicBezTo>
                  <a:lnTo>
                    <a:pt x="13628" y="4526"/>
                  </a:lnTo>
                  <a:lnTo>
                    <a:pt x="13628" y="6830"/>
                  </a:lnTo>
                  <a:lnTo>
                    <a:pt x="5702" y="6830"/>
                  </a:lnTo>
                  <a:lnTo>
                    <a:pt x="5702" y="1129"/>
                  </a:lnTo>
                  <a:close/>
                  <a:moveTo>
                    <a:pt x="17628" y="6830"/>
                  </a:moveTo>
                  <a:cubicBezTo>
                    <a:pt x="17939" y="6830"/>
                    <a:pt x="18193" y="7081"/>
                    <a:pt x="18193" y="7395"/>
                  </a:cubicBezTo>
                  <a:lnTo>
                    <a:pt x="18193" y="14188"/>
                  </a:lnTo>
                  <a:cubicBezTo>
                    <a:pt x="18193" y="14502"/>
                    <a:pt x="17939" y="14756"/>
                    <a:pt x="17628" y="14756"/>
                  </a:cubicBezTo>
                  <a:lnTo>
                    <a:pt x="14760" y="14756"/>
                  </a:lnTo>
                  <a:lnTo>
                    <a:pt x="14760" y="12491"/>
                  </a:lnTo>
                  <a:lnTo>
                    <a:pt x="15325" y="12491"/>
                  </a:lnTo>
                  <a:cubicBezTo>
                    <a:pt x="15639" y="12491"/>
                    <a:pt x="15889" y="12238"/>
                    <a:pt x="15889" y="11924"/>
                  </a:cubicBezTo>
                  <a:cubicBezTo>
                    <a:pt x="15889" y="11610"/>
                    <a:pt x="15639" y="11359"/>
                    <a:pt x="15325" y="11359"/>
                  </a:cubicBezTo>
                  <a:lnTo>
                    <a:pt x="4002" y="11359"/>
                  </a:lnTo>
                  <a:cubicBezTo>
                    <a:pt x="3688" y="11359"/>
                    <a:pt x="3437" y="11610"/>
                    <a:pt x="3437" y="11924"/>
                  </a:cubicBezTo>
                  <a:cubicBezTo>
                    <a:pt x="3437" y="12238"/>
                    <a:pt x="3688" y="12491"/>
                    <a:pt x="4002" y="12491"/>
                  </a:cubicBezTo>
                  <a:lnTo>
                    <a:pt x="4569" y="12491"/>
                  </a:lnTo>
                  <a:lnTo>
                    <a:pt x="4569" y="14756"/>
                  </a:lnTo>
                  <a:lnTo>
                    <a:pt x="1701" y="14756"/>
                  </a:lnTo>
                  <a:cubicBezTo>
                    <a:pt x="1387" y="14756"/>
                    <a:pt x="1133" y="14502"/>
                    <a:pt x="1133" y="14188"/>
                  </a:cubicBezTo>
                  <a:lnTo>
                    <a:pt x="1133" y="7395"/>
                  </a:lnTo>
                  <a:cubicBezTo>
                    <a:pt x="1133" y="7081"/>
                    <a:pt x="1387" y="6830"/>
                    <a:pt x="1701" y="6830"/>
                  </a:cubicBezTo>
                  <a:lnTo>
                    <a:pt x="4569" y="6830"/>
                  </a:lnTo>
                  <a:lnTo>
                    <a:pt x="4569" y="7395"/>
                  </a:lnTo>
                  <a:cubicBezTo>
                    <a:pt x="4569" y="7709"/>
                    <a:pt x="4820" y="7962"/>
                    <a:pt x="5134" y="7962"/>
                  </a:cubicBezTo>
                  <a:lnTo>
                    <a:pt x="14192" y="7962"/>
                  </a:lnTo>
                  <a:cubicBezTo>
                    <a:pt x="14506" y="7962"/>
                    <a:pt x="14760" y="7709"/>
                    <a:pt x="14760" y="7395"/>
                  </a:cubicBezTo>
                  <a:lnTo>
                    <a:pt x="14760" y="6830"/>
                  </a:lnTo>
                  <a:close/>
                  <a:moveTo>
                    <a:pt x="13628" y="12491"/>
                  </a:moveTo>
                  <a:lnTo>
                    <a:pt x="13628" y="18189"/>
                  </a:lnTo>
                  <a:lnTo>
                    <a:pt x="5702" y="18189"/>
                  </a:lnTo>
                  <a:lnTo>
                    <a:pt x="5702" y="12491"/>
                  </a:lnTo>
                  <a:close/>
                  <a:moveTo>
                    <a:pt x="5134" y="0"/>
                  </a:moveTo>
                  <a:cubicBezTo>
                    <a:pt x="4820" y="0"/>
                    <a:pt x="4569" y="254"/>
                    <a:pt x="4569" y="568"/>
                  </a:cubicBezTo>
                  <a:lnTo>
                    <a:pt x="4569" y="3394"/>
                  </a:lnTo>
                  <a:lnTo>
                    <a:pt x="3866" y="3394"/>
                  </a:lnTo>
                  <a:cubicBezTo>
                    <a:pt x="3002" y="3394"/>
                    <a:pt x="2305" y="4094"/>
                    <a:pt x="2305" y="4958"/>
                  </a:cubicBezTo>
                  <a:lnTo>
                    <a:pt x="2305" y="5698"/>
                  </a:lnTo>
                  <a:lnTo>
                    <a:pt x="1701" y="5698"/>
                  </a:lnTo>
                  <a:cubicBezTo>
                    <a:pt x="762" y="5698"/>
                    <a:pt x="1" y="6456"/>
                    <a:pt x="1" y="7395"/>
                  </a:cubicBezTo>
                  <a:lnTo>
                    <a:pt x="1" y="14188"/>
                  </a:lnTo>
                  <a:cubicBezTo>
                    <a:pt x="1" y="15127"/>
                    <a:pt x="762" y="15885"/>
                    <a:pt x="1701" y="15888"/>
                  </a:cubicBezTo>
                  <a:lnTo>
                    <a:pt x="4569" y="15888"/>
                  </a:lnTo>
                  <a:lnTo>
                    <a:pt x="4569" y="18757"/>
                  </a:lnTo>
                  <a:cubicBezTo>
                    <a:pt x="4569" y="19068"/>
                    <a:pt x="4820" y="19321"/>
                    <a:pt x="5134" y="19321"/>
                  </a:cubicBezTo>
                  <a:lnTo>
                    <a:pt x="14192" y="19321"/>
                  </a:lnTo>
                  <a:cubicBezTo>
                    <a:pt x="14506" y="19321"/>
                    <a:pt x="14760" y="19068"/>
                    <a:pt x="14760" y="18757"/>
                  </a:cubicBezTo>
                  <a:lnTo>
                    <a:pt x="14760" y="15888"/>
                  </a:lnTo>
                  <a:lnTo>
                    <a:pt x="17628" y="15888"/>
                  </a:lnTo>
                  <a:cubicBezTo>
                    <a:pt x="18565" y="15885"/>
                    <a:pt x="19325" y="15127"/>
                    <a:pt x="19325" y="14188"/>
                  </a:cubicBezTo>
                  <a:lnTo>
                    <a:pt x="19325" y="7395"/>
                  </a:lnTo>
                  <a:cubicBezTo>
                    <a:pt x="19325" y="6456"/>
                    <a:pt x="18565" y="5698"/>
                    <a:pt x="17628" y="5698"/>
                  </a:cubicBezTo>
                  <a:lnTo>
                    <a:pt x="17025" y="5698"/>
                  </a:lnTo>
                  <a:lnTo>
                    <a:pt x="17025" y="4958"/>
                  </a:lnTo>
                  <a:cubicBezTo>
                    <a:pt x="17022" y="4094"/>
                    <a:pt x="16324" y="3394"/>
                    <a:pt x="15461" y="3394"/>
                  </a:cubicBezTo>
                  <a:lnTo>
                    <a:pt x="14428" y="3394"/>
                  </a:lnTo>
                  <a:lnTo>
                    <a:pt x="11197" y="163"/>
                  </a:lnTo>
                  <a:cubicBezTo>
                    <a:pt x="11185" y="151"/>
                    <a:pt x="11173" y="142"/>
                    <a:pt x="11158" y="130"/>
                  </a:cubicBezTo>
                  <a:lnTo>
                    <a:pt x="11146" y="121"/>
                  </a:lnTo>
                  <a:lnTo>
                    <a:pt x="11119" y="100"/>
                  </a:lnTo>
                  <a:lnTo>
                    <a:pt x="11103" y="91"/>
                  </a:lnTo>
                  <a:cubicBezTo>
                    <a:pt x="11094" y="85"/>
                    <a:pt x="11085" y="79"/>
                    <a:pt x="11073" y="72"/>
                  </a:cubicBezTo>
                  <a:lnTo>
                    <a:pt x="11061" y="63"/>
                  </a:lnTo>
                  <a:cubicBezTo>
                    <a:pt x="11049" y="57"/>
                    <a:pt x="11034" y="51"/>
                    <a:pt x="11019" y="45"/>
                  </a:cubicBezTo>
                  <a:lnTo>
                    <a:pt x="11001" y="36"/>
                  </a:lnTo>
                  <a:cubicBezTo>
                    <a:pt x="10992" y="33"/>
                    <a:pt x="10983" y="30"/>
                    <a:pt x="10974" y="27"/>
                  </a:cubicBezTo>
                  <a:lnTo>
                    <a:pt x="10952" y="21"/>
                  </a:lnTo>
                  <a:cubicBezTo>
                    <a:pt x="10943" y="18"/>
                    <a:pt x="10931" y="15"/>
                    <a:pt x="10919" y="12"/>
                  </a:cubicBezTo>
                  <a:lnTo>
                    <a:pt x="10907" y="9"/>
                  </a:lnTo>
                  <a:cubicBezTo>
                    <a:pt x="10889" y="6"/>
                    <a:pt x="10874" y="3"/>
                    <a:pt x="10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1" name="Google Shape;8961;p75"/>
            <p:cNvSpPr/>
            <p:nvPr/>
          </p:nvSpPr>
          <p:spPr>
            <a:xfrm>
              <a:off x="5422900" y="465550"/>
              <a:ext cx="56550" cy="28325"/>
            </a:xfrm>
            <a:custGeom>
              <a:avLst/>
              <a:gdLst/>
              <a:ahLst/>
              <a:cxnLst/>
              <a:rect l="l" t="t" r="r" b="b"/>
              <a:pathLst>
                <a:path w="2262" h="1133" extrusionOk="0">
                  <a:moveTo>
                    <a:pt x="565" y="1"/>
                  </a:moveTo>
                  <a:cubicBezTo>
                    <a:pt x="251" y="1"/>
                    <a:pt x="0" y="251"/>
                    <a:pt x="0" y="565"/>
                  </a:cubicBezTo>
                  <a:cubicBezTo>
                    <a:pt x="0" y="879"/>
                    <a:pt x="251" y="1133"/>
                    <a:pt x="565" y="1133"/>
                  </a:cubicBezTo>
                  <a:lnTo>
                    <a:pt x="1697" y="1133"/>
                  </a:lnTo>
                  <a:cubicBezTo>
                    <a:pt x="2011" y="1133"/>
                    <a:pt x="2262" y="879"/>
                    <a:pt x="2262" y="565"/>
                  </a:cubicBezTo>
                  <a:cubicBezTo>
                    <a:pt x="2262" y="251"/>
                    <a:pt x="2011" y="1"/>
                    <a:pt x="16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2" name="Google Shape;8962;p75"/>
            <p:cNvSpPr/>
            <p:nvPr/>
          </p:nvSpPr>
          <p:spPr>
            <a:xfrm>
              <a:off x="5224725" y="578775"/>
              <a:ext cx="141500" cy="28350"/>
            </a:xfrm>
            <a:custGeom>
              <a:avLst/>
              <a:gdLst/>
              <a:ahLst/>
              <a:cxnLst/>
              <a:rect l="l" t="t" r="r" b="b"/>
              <a:pathLst>
                <a:path w="5660" h="1134" extrusionOk="0">
                  <a:moveTo>
                    <a:pt x="566" y="1"/>
                  </a:moveTo>
                  <a:cubicBezTo>
                    <a:pt x="252" y="1"/>
                    <a:pt x="1" y="251"/>
                    <a:pt x="1" y="565"/>
                  </a:cubicBezTo>
                  <a:cubicBezTo>
                    <a:pt x="1" y="879"/>
                    <a:pt x="252" y="1133"/>
                    <a:pt x="566" y="1133"/>
                  </a:cubicBezTo>
                  <a:lnTo>
                    <a:pt x="5095" y="1133"/>
                  </a:lnTo>
                  <a:cubicBezTo>
                    <a:pt x="5409" y="1133"/>
                    <a:pt x="5659" y="879"/>
                    <a:pt x="5659" y="565"/>
                  </a:cubicBezTo>
                  <a:cubicBezTo>
                    <a:pt x="5659" y="251"/>
                    <a:pt x="5409" y="1"/>
                    <a:pt x="50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3" name="Google Shape;8963;p75"/>
            <p:cNvSpPr/>
            <p:nvPr/>
          </p:nvSpPr>
          <p:spPr>
            <a:xfrm>
              <a:off x="5224725" y="635400"/>
              <a:ext cx="141500" cy="28325"/>
            </a:xfrm>
            <a:custGeom>
              <a:avLst/>
              <a:gdLst/>
              <a:ahLst/>
              <a:cxnLst/>
              <a:rect l="l" t="t" r="r" b="b"/>
              <a:pathLst>
                <a:path w="5660" h="1133" extrusionOk="0">
                  <a:moveTo>
                    <a:pt x="566" y="0"/>
                  </a:moveTo>
                  <a:cubicBezTo>
                    <a:pt x="252" y="0"/>
                    <a:pt x="1" y="251"/>
                    <a:pt x="1" y="565"/>
                  </a:cubicBezTo>
                  <a:cubicBezTo>
                    <a:pt x="1" y="879"/>
                    <a:pt x="252" y="1133"/>
                    <a:pt x="566" y="1133"/>
                  </a:cubicBezTo>
                  <a:lnTo>
                    <a:pt x="5095" y="1133"/>
                  </a:lnTo>
                  <a:cubicBezTo>
                    <a:pt x="5409" y="1133"/>
                    <a:pt x="5659" y="879"/>
                    <a:pt x="5659" y="565"/>
                  </a:cubicBezTo>
                  <a:cubicBezTo>
                    <a:pt x="5659" y="251"/>
                    <a:pt x="5409" y="0"/>
                    <a:pt x="5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64" name="Google Shape;8964;p75"/>
          <p:cNvGrpSpPr/>
          <p:nvPr/>
        </p:nvGrpSpPr>
        <p:grpSpPr>
          <a:xfrm>
            <a:off x="4190348" y="2287138"/>
            <a:ext cx="340168" cy="340168"/>
            <a:chOff x="5648375" y="238125"/>
            <a:chExt cx="483125" cy="483125"/>
          </a:xfrm>
        </p:grpSpPr>
        <p:sp>
          <p:nvSpPr>
            <p:cNvPr id="8965" name="Google Shape;8965;p75"/>
            <p:cNvSpPr/>
            <p:nvPr/>
          </p:nvSpPr>
          <p:spPr>
            <a:xfrm>
              <a:off x="5648375" y="238125"/>
              <a:ext cx="483125" cy="483125"/>
            </a:xfrm>
            <a:custGeom>
              <a:avLst/>
              <a:gdLst/>
              <a:ahLst/>
              <a:cxnLst/>
              <a:rect l="l" t="t" r="r" b="b"/>
              <a:pathLst>
                <a:path w="19325" h="19325" extrusionOk="0">
                  <a:moveTo>
                    <a:pt x="4001" y="1132"/>
                  </a:moveTo>
                  <a:cubicBezTo>
                    <a:pt x="4315" y="1132"/>
                    <a:pt x="4569" y="1386"/>
                    <a:pt x="4569" y="1700"/>
                  </a:cubicBezTo>
                  <a:lnTo>
                    <a:pt x="4569" y="3965"/>
                  </a:lnTo>
                  <a:cubicBezTo>
                    <a:pt x="4569" y="4276"/>
                    <a:pt x="4315" y="4529"/>
                    <a:pt x="4001" y="4529"/>
                  </a:cubicBezTo>
                  <a:cubicBezTo>
                    <a:pt x="3687" y="4529"/>
                    <a:pt x="3436" y="4276"/>
                    <a:pt x="3436" y="3965"/>
                  </a:cubicBezTo>
                  <a:lnTo>
                    <a:pt x="3436" y="1700"/>
                  </a:lnTo>
                  <a:cubicBezTo>
                    <a:pt x="3436" y="1386"/>
                    <a:pt x="3687" y="1132"/>
                    <a:pt x="4001" y="1132"/>
                  </a:cubicBezTo>
                  <a:close/>
                  <a:moveTo>
                    <a:pt x="9662" y="1132"/>
                  </a:moveTo>
                  <a:cubicBezTo>
                    <a:pt x="9976" y="1132"/>
                    <a:pt x="10230" y="1386"/>
                    <a:pt x="10230" y="1700"/>
                  </a:cubicBezTo>
                  <a:lnTo>
                    <a:pt x="10230" y="3965"/>
                  </a:lnTo>
                  <a:cubicBezTo>
                    <a:pt x="10230" y="4276"/>
                    <a:pt x="9976" y="4529"/>
                    <a:pt x="9662" y="4529"/>
                  </a:cubicBezTo>
                  <a:cubicBezTo>
                    <a:pt x="9348" y="4529"/>
                    <a:pt x="9098" y="4276"/>
                    <a:pt x="9098" y="3965"/>
                  </a:cubicBezTo>
                  <a:lnTo>
                    <a:pt x="9098" y="1700"/>
                  </a:lnTo>
                  <a:cubicBezTo>
                    <a:pt x="9098" y="1386"/>
                    <a:pt x="9348" y="1132"/>
                    <a:pt x="9662" y="1132"/>
                  </a:cubicBezTo>
                  <a:close/>
                  <a:moveTo>
                    <a:pt x="15324" y="1132"/>
                  </a:moveTo>
                  <a:cubicBezTo>
                    <a:pt x="15638" y="1132"/>
                    <a:pt x="15891" y="1386"/>
                    <a:pt x="15891" y="1700"/>
                  </a:cubicBezTo>
                  <a:lnTo>
                    <a:pt x="15891" y="3965"/>
                  </a:lnTo>
                  <a:cubicBezTo>
                    <a:pt x="15891" y="4276"/>
                    <a:pt x="15638" y="4529"/>
                    <a:pt x="15324" y="4529"/>
                  </a:cubicBezTo>
                  <a:cubicBezTo>
                    <a:pt x="15010" y="4529"/>
                    <a:pt x="14759" y="4276"/>
                    <a:pt x="14759" y="3965"/>
                  </a:cubicBezTo>
                  <a:lnTo>
                    <a:pt x="14759" y="1700"/>
                  </a:lnTo>
                  <a:cubicBezTo>
                    <a:pt x="14759" y="1386"/>
                    <a:pt x="15010" y="1132"/>
                    <a:pt x="15324" y="1132"/>
                  </a:cubicBezTo>
                  <a:close/>
                  <a:moveTo>
                    <a:pt x="17628" y="3397"/>
                  </a:moveTo>
                  <a:cubicBezTo>
                    <a:pt x="17939" y="3397"/>
                    <a:pt x="18192" y="3651"/>
                    <a:pt x="18192" y="3965"/>
                  </a:cubicBezTo>
                  <a:lnTo>
                    <a:pt x="18192" y="6833"/>
                  </a:lnTo>
                  <a:lnTo>
                    <a:pt x="1132" y="6833"/>
                  </a:lnTo>
                  <a:lnTo>
                    <a:pt x="1132" y="3965"/>
                  </a:lnTo>
                  <a:cubicBezTo>
                    <a:pt x="1132" y="3651"/>
                    <a:pt x="1386" y="3397"/>
                    <a:pt x="1700" y="3397"/>
                  </a:cubicBezTo>
                  <a:lnTo>
                    <a:pt x="2304" y="3397"/>
                  </a:lnTo>
                  <a:lnTo>
                    <a:pt x="2304" y="3965"/>
                  </a:lnTo>
                  <a:cubicBezTo>
                    <a:pt x="2304" y="4901"/>
                    <a:pt x="3062" y="5661"/>
                    <a:pt x="4001" y="5661"/>
                  </a:cubicBezTo>
                  <a:cubicBezTo>
                    <a:pt x="4940" y="5661"/>
                    <a:pt x="5701" y="4901"/>
                    <a:pt x="5701" y="3965"/>
                  </a:cubicBezTo>
                  <a:lnTo>
                    <a:pt x="5701" y="3397"/>
                  </a:lnTo>
                  <a:lnTo>
                    <a:pt x="7965" y="3397"/>
                  </a:lnTo>
                  <a:lnTo>
                    <a:pt x="7965" y="3965"/>
                  </a:lnTo>
                  <a:cubicBezTo>
                    <a:pt x="7965" y="4901"/>
                    <a:pt x="8723" y="5661"/>
                    <a:pt x="9662" y="5661"/>
                  </a:cubicBezTo>
                  <a:cubicBezTo>
                    <a:pt x="10601" y="5661"/>
                    <a:pt x="11362" y="4901"/>
                    <a:pt x="11362" y="3965"/>
                  </a:cubicBezTo>
                  <a:lnTo>
                    <a:pt x="11362" y="3397"/>
                  </a:lnTo>
                  <a:lnTo>
                    <a:pt x="13627" y="3397"/>
                  </a:lnTo>
                  <a:lnTo>
                    <a:pt x="13627" y="3965"/>
                  </a:lnTo>
                  <a:cubicBezTo>
                    <a:pt x="13627" y="4901"/>
                    <a:pt x="14385" y="5661"/>
                    <a:pt x="15324" y="5661"/>
                  </a:cubicBezTo>
                  <a:cubicBezTo>
                    <a:pt x="16263" y="5661"/>
                    <a:pt x="17024" y="4901"/>
                    <a:pt x="17024" y="3965"/>
                  </a:cubicBezTo>
                  <a:lnTo>
                    <a:pt x="17024" y="3397"/>
                  </a:lnTo>
                  <a:close/>
                  <a:moveTo>
                    <a:pt x="18192" y="7965"/>
                  </a:moveTo>
                  <a:lnTo>
                    <a:pt x="18192" y="17628"/>
                  </a:lnTo>
                  <a:cubicBezTo>
                    <a:pt x="18192" y="17939"/>
                    <a:pt x="17939" y="18192"/>
                    <a:pt x="17628" y="18192"/>
                  </a:cubicBezTo>
                  <a:lnTo>
                    <a:pt x="1700" y="18192"/>
                  </a:lnTo>
                  <a:cubicBezTo>
                    <a:pt x="1386" y="18192"/>
                    <a:pt x="1132" y="17939"/>
                    <a:pt x="1132" y="17628"/>
                  </a:cubicBezTo>
                  <a:lnTo>
                    <a:pt x="1132" y="7965"/>
                  </a:lnTo>
                  <a:close/>
                  <a:moveTo>
                    <a:pt x="4001" y="0"/>
                  </a:moveTo>
                  <a:cubicBezTo>
                    <a:pt x="3062" y="0"/>
                    <a:pt x="2304" y="761"/>
                    <a:pt x="2304" y="1700"/>
                  </a:cubicBezTo>
                  <a:lnTo>
                    <a:pt x="2304" y="2265"/>
                  </a:lnTo>
                  <a:lnTo>
                    <a:pt x="1700" y="2265"/>
                  </a:lnTo>
                  <a:cubicBezTo>
                    <a:pt x="761" y="2265"/>
                    <a:pt x="0" y="3025"/>
                    <a:pt x="0" y="3965"/>
                  </a:cubicBezTo>
                  <a:lnTo>
                    <a:pt x="0" y="17628"/>
                  </a:lnTo>
                  <a:cubicBezTo>
                    <a:pt x="0" y="18564"/>
                    <a:pt x="761" y="19324"/>
                    <a:pt x="1700" y="19324"/>
                  </a:cubicBezTo>
                  <a:lnTo>
                    <a:pt x="17628" y="19324"/>
                  </a:lnTo>
                  <a:cubicBezTo>
                    <a:pt x="18564" y="19324"/>
                    <a:pt x="19325" y="18564"/>
                    <a:pt x="19325" y="17628"/>
                  </a:cubicBezTo>
                  <a:lnTo>
                    <a:pt x="19325" y="3965"/>
                  </a:lnTo>
                  <a:cubicBezTo>
                    <a:pt x="19325" y="3025"/>
                    <a:pt x="18564" y="2265"/>
                    <a:pt x="17628" y="2265"/>
                  </a:cubicBezTo>
                  <a:lnTo>
                    <a:pt x="17024" y="2265"/>
                  </a:lnTo>
                  <a:lnTo>
                    <a:pt x="17024" y="1700"/>
                  </a:lnTo>
                  <a:cubicBezTo>
                    <a:pt x="17024" y="761"/>
                    <a:pt x="16263" y="0"/>
                    <a:pt x="15324" y="0"/>
                  </a:cubicBezTo>
                  <a:cubicBezTo>
                    <a:pt x="14385" y="0"/>
                    <a:pt x="13627" y="761"/>
                    <a:pt x="13627" y="1700"/>
                  </a:cubicBezTo>
                  <a:lnTo>
                    <a:pt x="13627" y="2265"/>
                  </a:lnTo>
                  <a:lnTo>
                    <a:pt x="11362" y="2265"/>
                  </a:lnTo>
                  <a:lnTo>
                    <a:pt x="11362" y="1700"/>
                  </a:lnTo>
                  <a:cubicBezTo>
                    <a:pt x="11362" y="761"/>
                    <a:pt x="10601" y="0"/>
                    <a:pt x="9662" y="0"/>
                  </a:cubicBezTo>
                  <a:cubicBezTo>
                    <a:pt x="8723" y="0"/>
                    <a:pt x="7965" y="761"/>
                    <a:pt x="7965" y="1700"/>
                  </a:cubicBezTo>
                  <a:lnTo>
                    <a:pt x="7965" y="2265"/>
                  </a:lnTo>
                  <a:lnTo>
                    <a:pt x="5701" y="2265"/>
                  </a:lnTo>
                  <a:lnTo>
                    <a:pt x="5701" y="1700"/>
                  </a:lnTo>
                  <a:cubicBezTo>
                    <a:pt x="5701" y="761"/>
                    <a:pt x="4940" y="0"/>
                    <a:pt x="40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6" name="Google Shape;8966;p75"/>
            <p:cNvSpPr/>
            <p:nvPr/>
          </p:nvSpPr>
          <p:spPr>
            <a:xfrm>
              <a:off x="5705950" y="465550"/>
              <a:ext cx="84875" cy="28325"/>
            </a:xfrm>
            <a:custGeom>
              <a:avLst/>
              <a:gdLst/>
              <a:ahLst/>
              <a:cxnLst/>
              <a:rect l="l" t="t" r="r" b="b"/>
              <a:pathLst>
                <a:path w="3395" h="1133" extrusionOk="0">
                  <a:moveTo>
                    <a:pt x="566" y="1"/>
                  </a:moveTo>
                  <a:cubicBezTo>
                    <a:pt x="252" y="1"/>
                    <a:pt x="1" y="251"/>
                    <a:pt x="1" y="565"/>
                  </a:cubicBezTo>
                  <a:cubicBezTo>
                    <a:pt x="1" y="879"/>
                    <a:pt x="252" y="1133"/>
                    <a:pt x="566"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7" name="Google Shape;8967;p75"/>
            <p:cNvSpPr/>
            <p:nvPr/>
          </p:nvSpPr>
          <p:spPr>
            <a:xfrm>
              <a:off x="5847500" y="465550"/>
              <a:ext cx="84875" cy="28325"/>
            </a:xfrm>
            <a:custGeom>
              <a:avLst/>
              <a:gdLst/>
              <a:ahLst/>
              <a:cxnLst/>
              <a:rect l="l" t="t" r="r" b="b"/>
              <a:pathLst>
                <a:path w="3395" h="1133" extrusionOk="0">
                  <a:moveTo>
                    <a:pt x="565" y="1"/>
                  </a:moveTo>
                  <a:cubicBezTo>
                    <a:pt x="251" y="1"/>
                    <a:pt x="0" y="251"/>
                    <a:pt x="0" y="565"/>
                  </a:cubicBezTo>
                  <a:cubicBezTo>
                    <a:pt x="0" y="879"/>
                    <a:pt x="251" y="1133"/>
                    <a:pt x="565" y="1133"/>
                  </a:cubicBezTo>
                  <a:lnTo>
                    <a:pt x="2830" y="1133"/>
                  </a:lnTo>
                  <a:cubicBezTo>
                    <a:pt x="3144" y="1133"/>
                    <a:pt x="3394" y="879"/>
                    <a:pt x="3394" y="565"/>
                  </a:cubicBezTo>
                  <a:cubicBezTo>
                    <a:pt x="3394" y="251"/>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8" name="Google Shape;8968;p75"/>
            <p:cNvSpPr/>
            <p:nvPr/>
          </p:nvSpPr>
          <p:spPr>
            <a:xfrm>
              <a:off x="5989025" y="465550"/>
              <a:ext cx="84875" cy="28325"/>
            </a:xfrm>
            <a:custGeom>
              <a:avLst/>
              <a:gdLst/>
              <a:ahLst/>
              <a:cxnLst/>
              <a:rect l="l" t="t" r="r" b="b"/>
              <a:pathLst>
                <a:path w="3395" h="1133" extrusionOk="0">
                  <a:moveTo>
                    <a:pt x="565" y="1"/>
                  </a:moveTo>
                  <a:cubicBezTo>
                    <a:pt x="251" y="1"/>
                    <a:pt x="1" y="251"/>
                    <a:pt x="1" y="565"/>
                  </a:cubicBezTo>
                  <a:cubicBezTo>
                    <a:pt x="1" y="879"/>
                    <a:pt x="251" y="1133"/>
                    <a:pt x="565"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69" name="Google Shape;8969;p75"/>
            <p:cNvSpPr/>
            <p:nvPr/>
          </p:nvSpPr>
          <p:spPr>
            <a:xfrm>
              <a:off x="5705950" y="550475"/>
              <a:ext cx="84875" cy="28325"/>
            </a:xfrm>
            <a:custGeom>
              <a:avLst/>
              <a:gdLst/>
              <a:ahLst/>
              <a:cxnLst/>
              <a:rect l="l" t="t" r="r" b="b"/>
              <a:pathLst>
                <a:path w="3395" h="1133" extrusionOk="0">
                  <a:moveTo>
                    <a:pt x="566" y="0"/>
                  </a:moveTo>
                  <a:cubicBezTo>
                    <a:pt x="252" y="0"/>
                    <a:pt x="1" y="251"/>
                    <a:pt x="1" y="565"/>
                  </a:cubicBezTo>
                  <a:cubicBezTo>
                    <a:pt x="1" y="879"/>
                    <a:pt x="252" y="1133"/>
                    <a:pt x="566"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0" name="Google Shape;8970;p75"/>
            <p:cNvSpPr/>
            <p:nvPr/>
          </p:nvSpPr>
          <p:spPr>
            <a:xfrm>
              <a:off x="5847500" y="550475"/>
              <a:ext cx="84875" cy="28325"/>
            </a:xfrm>
            <a:custGeom>
              <a:avLst/>
              <a:gdLst/>
              <a:ahLst/>
              <a:cxnLst/>
              <a:rect l="l" t="t" r="r" b="b"/>
              <a:pathLst>
                <a:path w="3395" h="1133" extrusionOk="0">
                  <a:moveTo>
                    <a:pt x="565" y="0"/>
                  </a:moveTo>
                  <a:cubicBezTo>
                    <a:pt x="251" y="0"/>
                    <a:pt x="0" y="251"/>
                    <a:pt x="0" y="565"/>
                  </a:cubicBezTo>
                  <a:cubicBezTo>
                    <a:pt x="0" y="879"/>
                    <a:pt x="251" y="1133"/>
                    <a:pt x="565" y="1133"/>
                  </a:cubicBezTo>
                  <a:lnTo>
                    <a:pt x="2830" y="1133"/>
                  </a:lnTo>
                  <a:cubicBezTo>
                    <a:pt x="3144" y="1133"/>
                    <a:pt x="3394" y="879"/>
                    <a:pt x="3394" y="565"/>
                  </a:cubicBezTo>
                  <a:cubicBezTo>
                    <a:pt x="3394" y="251"/>
                    <a:pt x="3144" y="0"/>
                    <a:pt x="28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1" name="Google Shape;8971;p75"/>
            <p:cNvSpPr/>
            <p:nvPr/>
          </p:nvSpPr>
          <p:spPr>
            <a:xfrm>
              <a:off x="5989025" y="550475"/>
              <a:ext cx="84875" cy="28325"/>
            </a:xfrm>
            <a:custGeom>
              <a:avLst/>
              <a:gdLst/>
              <a:ahLst/>
              <a:cxnLst/>
              <a:rect l="l" t="t" r="r" b="b"/>
              <a:pathLst>
                <a:path w="3395" h="1133" extrusionOk="0">
                  <a:moveTo>
                    <a:pt x="565" y="0"/>
                  </a:moveTo>
                  <a:cubicBezTo>
                    <a:pt x="251" y="0"/>
                    <a:pt x="1" y="251"/>
                    <a:pt x="1" y="565"/>
                  </a:cubicBezTo>
                  <a:cubicBezTo>
                    <a:pt x="1" y="879"/>
                    <a:pt x="251" y="1133"/>
                    <a:pt x="565"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2" name="Google Shape;8972;p75"/>
            <p:cNvSpPr/>
            <p:nvPr/>
          </p:nvSpPr>
          <p:spPr>
            <a:xfrm>
              <a:off x="5705950" y="636300"/>
              <a:ext cx="84875" cy="28325"/>
            </a:xfrm>
            <a:custGeom>
              <a:avLst/>
              <a:gdLst/>
              <a:ahLst/>
              <a:cxnLst/>
              <a:rect l="l" t="t" r="r" b="b"/>
              <a:pathLst>
                <a:path w="3395" h="1133" extrusionOk="0">
                  <a:moveTo>
                    <a:pt x="566" y="1"/>
                  </a:moveTo>
                  <a:cubicBezTo>
                    <a:pt x="252" y="1"/>
                    <a:pt x="1" y="254"/>
                    <a:pt x="1" y="568"/>
                  </a:cubicBezTo>
                  <a:cubicBezTo>
                    <a:pt x="1" y="879"/>
                    <a:pt x="252" y="1133"/>
                    <a:pt x="566"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3" name="Google Shape;8973;p75"/>
            <p:cNvSpPr/>
            <p:nvPr/>
          </p:nvSpPr>
          <p:spPr>
            <a:xfrm>
              <a:off x="5847500" y="636300"/>
              <a:ext cx="84875" cy="28325"/>
            </a:xfrm>
            <a:custGeom>
              <a:avLst/>
              <a:gdLst/>
              <a:ahLst/>
              <a:cxnLst/>
              <a:rect l="l" t="t" r="r" b="b"/>
              <a:pathLst>
                <a:path w="3395" h="1133" extrusionOk="0">
                  <a:moveTo>
                    <a:pt x="565" y="1"/>
                  </a:moveTo>
                  <a:cubicBezTo>
                    <a:pt x="251" y="1"/>
                    <a:pt x="0" y="254"/>
                    <a:pt x="0" y="568"/>
                  </a:cubicBezTo>
                  <a:cubicBezTo>
                    <a:pt x="0" y="879"/>
                    <a:pt x="251" y="1133"/>
                    <a:pt x="565" y="1133"/>
                  </a:cubicBezTo>
                  <a:lnTo>
                    <a:pt x="2830" y="1133"/>
                  </a:lnTo>
                  <a:cubicBezTo>
                    <a:pt x="3144" y="1133"/>
                    <a:pt x="3394" y="879"/>
                    <a:pt x="3394" y="568"/>
                  </a:cubicBezTo>
                  <a:cubicBezTo>
                    <a:pt x="3394" y="254"/>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4" name="Google Shape;8974;p75"/>
            <p:cNvSpPr/>
            <p:nvPr/>
          </p:nvSpPr>
          <p:spPr>
            <a:xfrm>
              <a:off x="5989025" y="636300"/>
              <a:ext cx="84875" cy="28325"/>
            </a:xfrm>
            <a:custGeom>
              <a:avLst/>
              <a:gdLst/>
              <a:ahLst/>
              <a:cxnLst/>
              <a:rect l="l" t="t" r="r" b="b"/>
              <a:pathLst>
                <a:path w="3395" h="1133" extrusionOk="0">
                  <a:moveTo>
                    <a:pt x="565" y="1"/>
                  </a:moveTo>
                  <a:cubicBezTo>
                    <a:pt x="251" y="1"/>
                    <a:pt x="1" y="254"/>
                    <a:pt x="1" y="568"/>
                  </a:cubicBezTo>
                  <a:cubicBezTo>
                    <a:pt x="1" y="879"/>
                    <a:pt x="251" y="1133"/>
                    <a:pt x="565"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75" name="Google Shape;8975;p75"/>
          <p:cNvGrpSpPr/>
          <p:nvPr/>
        </p:nvGrpSpPr>
        <p:grpSpPr>
          <a:xfrm>
            <a:off x="4607035" y="2287138"/>
            <a:ext cx="340168" cy="340168"/>
            <a:chOff x="6242825" y="238125"/>
            <a:chExt cx="483125" cy="483125"/>
          </a:xfrm>
        </p:grpSpPr>
        <p:sp>
          <p:nvSpPr>
            <p:cNvPr id="8976" name="Google Shape;8976;p75"/>
            <p:cNvSpPr/>
            <p:nvPr/>
          </p:nvSpPr>
          <p:spPr>
            <a:xfrm>
              <a:off x="6242825" y="238125"/>
              <a:ext cx="483125" cy="483125"/>
            </a:xfrm>
            <a:custGeom>
              <a:avLst/>
              <a:gdLst/>
              <a:ahLst/>
              <a:cxnLst/>
              <a:rect l="l" t="t" r="r" b="b"/>
              <a:pathLst>
                <a:path w="19325" h="19325" extrusionOk="0">
                  <a:moveTo>
                    <a:pt x="18192" y="1132"/>
                  </a:moveTo>
                  <a:lnTo>
                    <a:pt x="18192" y="2400"/>
                  </a:lnTo>
                  <a:cubicBezTo>
                    <a:pt x="17513" y="2639"/>
                    <a:pt x="17060" y="3282"/>
                    <a:pt x="17060" y="4001"/>
                  </a:cubicBezTo>
                  <a:cubicBezTo>
                    <a:pt x="17060" y="4719"/>
                    <a:pt x="17513" y="5363"/>
                    <a:pt x="18192" y="5601"/>
                  </a:cubicBezTo>
                  <a:lnTo>
                    <a:pt x="18192" y="8062"/>
                  </a:lnTo>
                  <a:cubicBezTo>
                    <a:pt x="17513" y="8300"/>
                    <a:pt x="17060" y="8944"/>
                    <a:pt x="17060" y="9662"/>
                  </a:cubicBezTo>
                  <a:cubicBezTo>
                    <a:pt x="17060" y="10381"/>
                    <a:pt x="17513" y="11024"/>
                    <a:pt x="18192" y="11263"/>
                  </a:cubicBezTo>
                  <a:lnTo>
                    <a:pt x="18192" y="13723"/>
                  </a:lnTo>
                  <a:cubicBezTo>
                    <a:pt x="17513" y="13962"/>
                    <a:pt x="17060" y="14605"/>
                    <a:pt x="17060" y="15324"/>
                  </a:cubicBezTo>
                  <a:cubicBezTo>
                    <a:pt x="17060" y="16042"/>
                    <a:pt x="17513" y="16685"/>
                    <a:pt x="18192" y="16924"/>
                  </a:cubicBezTo>
                  <a:lnTo>
                    <a:pt x="18192" y="18192"/>
                  </a:lnTo>
                  <a:lnTo>
                    <a:pt x="16924" y="18192"/>
                  </a:lnTo>
                  <a:cubicBezTo>
                    <a:pt x="16686" y="17513"/>
                    <a:pt x="16043" y="17060"/>
                    <a:pt x="15324" y="17060"/>
                  </a:cubicBezTo>
                  <a:cubicBezTo>
                    <a:pt x="14605" y="17060"/>
                    <a:pt x="13962" y="17513"/>
                    <a:pt x="13724" y="18192"/>
                  </a:cubicBezTo>
                  <a:lnTo>
                    <a:pt x="11263" y="18192"/>
                  </a:lnTo>
                  <a:cubicBezTo>
                    <a:pt x="11024" y="17513"/>
                    <a:pt x="10381" y="17060"/>
                    <a:pt x="9662" y="17060"/>
                  </a:cubicBezTo>
                  <a:cubicBezTo>
                    <a:pt x="8944" y="17060"/>
                    <a:pt x="8301" y="17513"/>
                    <a:pt x="8062" y="18192"/>
                  </a:cubicBezTo>
                  <a:lnTo>
                    <a:pt x="5601" y="18192"/>
                  </a:lnTo>
                  <a:cubicBezTo>
                    <a:pt x="5363" y="17513"/>
                    <a:pt x="4720" y="17060"/>
                    <a:pt x="4001" y="17060"/>
                  </a:cubicBezTo>
                  <a:cubicBezTo>
                    <a:pt x="3282" y="17060"/>
                    <a:pt x="2639" y="17513"/>
                    <a:pt x="2401" y="18192"/>
                  </a:cubicBezTo>
                  <a:lnTo>
                    <a:pt x="1133" y="18192"/>
                  </a:lnTo>
                  <a:lnTo>
                    <a:pt x="1133" y="16924"/>
                  </a:lnTo>
                  <a:cubicBezTo>
                    <a:pt x="1812" y="16685"/>
                    <a:pt x="2265" y="16042"/>
                    <a:pt x="2265" y="15324"/>
                  </a:cubicBezTo>
                  <a:cubicBezTo>
                    <a:pt x="2265" y="14605"/>
                    <a:pt x="1812" y="13962"/>
                    <a:pt x="1133" y="13723"/>
                  </a:cubicBezTo>
                  <a:lnTo>
                    <a:pt x="1133" y="11263"/>
                  </a:lnTo>
                  <a:cubicBezTo>
                    <a:pt x="1812" y="11024"/>
                    <a:pt x="2265" y="10381"/>
                    <a:pt x="2265" y="9662"/>
                  </a:cubicBezTo>
                  <a:cubicBezTo>
                    <a:pt x="2265" y="8944"/>
                    <a:pt x="1812" y="8300"/>
                    <a:pt x="1133" y="8062"/>
                  </a:cubicBezTo>
                  <a:lnTo>
                    <a:pt x="1133" y="5601"/>
                  </a:lnTo>
                  <a:cubicBezTo>
                    <a:pt x="1812" y="5363"/>
                    <a:pt x="2265" y="4719"/>
                    <a:pt x="2265" y="4001"/>
                  </a:cubicBezTo>
                  <a:cubicBezTo>
                    <a:pt x="2265" y="3282"/>
                    <a:pt x="1812" y="2639"/>
                    <a:pt x="1133" y="2400"/>
                  </a:cubicBezTo>
                  <a:lnTo>
                    <a:pt x="1133" y="1132"/>
                  </a:lnTo>
                  <a:lnTo>
                    <a:pt x="2401" y="1132"/>
                  </a:lnTo>
                  <a:cubicBezTo>
                    <a:pt x="2639" y="1812"/>
                    <a:pt x="3282" y="2265"/>
                    <a:pt x="4001" y="2265"/>
                  </a:cubicBezTo>
                  <a:cubicBezTo>
                    <a:pt x="4720" y="2265"/>
                    <a:pt x="5363" y="1812"/>
                    <a:pt x="5601" y="1132"/>
                  </a:cubicBezTo>
                  <a:lnTo>
                    <a:pt x="8062" y="1132"/>
                  </a:lnTo>
                  <a:cubicBezTo>
                    <a:pt x="8301" y="1812"/>
                    <a:pt x="8944" y="2265"/>
                    <a:pt x="9662" y="2265"/>
                  </a:cubicBezTo>
                  <a:cubicBezTo>
                    <a:pt x="10381" y="2265"/>
                    <a:pt x="11024" y="1812"/>
                    <a:pt x="11263" y="1132"/>
                  </a:cubicBezTo>
                  <a:lnTo>
                    <a:pt x="13724" y="1132"/>
                  </a:lnTo>
                  <a:cubicBezTo>
                    <a:pt x="13962" y="1812"/>
                    <a:pt x="14605" y="2265"/>
                    <a:pt x="15324" y="2265"/>
                  </a:cubicBezTo>
                  <a:cubicBezTo>
                    <a:pt x="16043" y="2265"/>
                    <a:pt x="16686" y="1812"/>
                    <a:pt x="16924" y="1132"/>
                  </a:cubicBezTo>
                  <a:close/>
                  <a:moveTo>
                    <a:pt x="568" y="0"/>
                  </a:moveTo>
                  <a:cubicBezTo>
                    <a:pt x="254" y="0"/>
                    <a:pt x="0" y="254"/>
                    <a:pt x="0" y="568"/>
                  </a:cubicBezTo>
                  <a:lnTo>
                    <a:pt x="0" y="2868"/>
                  </a:lnTo>
                  <a:cubicBezTo>
                    <a:pt x="0" y="3183"/>
                    <a:pt x="254" y="3436"/>
                    <a:pt x="568" y="3436"/>
                  </a:cubicBezTo>
                  <a:cubicBezTo>
                    <a:pt x="879" y="3436"/>
                    <a:pt x="1133" y="3687"/>
                    <a:pt x="1133" y="4001"/>
                  </a:cubicBezTo>
                  <a:cubicBezTo>
                    <a:pt x="1133" y="4315"/>
                    <a:pt x="879" y="4568"/>
                    <a:pt x="568" y="4568"/>
                  </a:cubicBezTo>
                  <a:cubicBezTo>
                    <a:pt x="254" y="4568"/>
                    <a:pt x="0" y="4819"/>
                    <a:pt x="0" y="5133"/>
                  </a:cubicBezTo>
                  <a:lnTo>
                    <a:pt x="0" y="8530"/>
                  </a:lnTo>
                  <a:cubicBezTo>
                    <a:pt x="0" y="8844"/>
                    <a:pt x="254" y="9098"/>
                    <a:pt x="568" y="9098"/>
                  </a:cubicBezTo>
                  <a:cubicBezTo>
                    <a:pt x="879" y="9098"/>
                    <a:pt x="1133" y="9348"/>
                    <a:pt x="1133" y="9662"/>
                  </a:cubicBezTo>
                  <a:cubicBezTo>
                    <a:pt x="1133" y="9976"/>
                    <a:pt x="879" y="10230"/>
                    <a:pt x="568" y="10230"/>
                  </a:cubicBezTo>
                  <a:cubicBezTo>
                    <a:pt x="254" y="10230"/>
                    <a:pt x="0" y="10481"/>
                    <a:pt x="0" y="10795"/>
                  </a:cubicBezTo>
                  <a:lnTo>
                    <a:pt x="0" y="14191"/>
                  </a:lnTo>
                  <a:cubicBezTo>
                    <a:pt x="0" y="14505"/>
                    <a:pt x="254" y="14759"/>
                    <a:pt x="568" y="14759"/>
                  </a:cubicBezTo>
                  <a:cubicBezTo>
                    <a:pt x="879" y="14759"/>
                    <a:pt x="1133" y="15010"/>
                    <a:pt x="1133" y="15324"/>
                  </a:cubicBezTo>
                  <a:cubicBezTo>
                    <a:pt x="1133" y="15638"/>
                    <a:pt x="879" y="15891"/>
                    <a:pt x="568" y="15891"/>
                  </a:cubicBezTo>
                  <a:cubicBezTo>
                    <a:pt x="254" y="15891"/>
                    <a:pt x="0" y="16142"/>
                    <a:pt x="0" y="16456"/>
                  </a:cubicBezTo>
                  <a:lnTo>
                    <a:pt x="0" y="18760"/>
                  </a:lnTo>
                  <a:cubicBezTo>
                    <a:pt x="0" y="19071"/>
                    <a:pt x="254" y="19324"/>
                    <a:pt x="568" y="19324"/>
                  </a:cubicBezTo>
                  <a:lnTo>
                    <a:pt x="2869" y="19324"/>
                  </a:lnTo>
                  <a:cubicBezTo>
                    <a:pt x="3183" y="19324"/>
                    <a:pt x="3436" y="19071"/>
                    <a:pt x="3436" y="18760"/>
                  </a:cubicBezTo>
                  <a:cubicBezTo>
                    <a:pt x="3436" y="18446"/>
                    <a:pt x="3687" y="18192"/>
                    <a:pt x="4001" y="18192"/>
                  </a:cubicBezTo>
                  <a:cubicBezTo>
                    <a:pt x="4315" y="18192"/>
                    <a:pt x="4569" y="18446"/>
                    <a:pt x="4569" y="18760"/>
                  </a:cubicBezTo>
                  <a:cubicBezTo>
                    <a:pt x="4569" y="19071"/>
                    <a:pt x="4819" y="19324"/>
                    <a:pt x="5133" y="19324"/>
                  </a:cubicBezTo>
                  <a:lnTo>
                    <a:pt x="8530" y="19324"/>
                  </a:lnTo>
                  <a:cubicBezTo>
                    <a:pt x="8844" y="19324"/>
                    <a:pt x="9098" y="19071"/>
                    <a:pt x="9098" y="18760"/>
                  </a:cubicBezTo>
                  <a:cubicBezTo>
                    <a:pt x="9098" y="18446"/>
                    <a:pt x="9348" y="18192"/>
                    <a:pt x="9662" y="18192"/>
                  </a:cubicBezTo>
                  <a:cubicBezTo>
                    <a:pt x="9976" y="18192"/>
                    <a:pt x="10230" y="18446"/>
                    <a:pt x="10230" y="18760"/>
                  </a:cubicBezTo>
                  <a:cubicBezTo>
                    <a:pt x="10230" y="19071"/>
                    <a:pt x="10481" y="19324"/>
                    <a:pt x="10795" y="19324"/>
                  </a:cubicBezTo>
                  <a:lnTo>
                    <a:pt x="14192" y="19324"/>
                  </a:lnTo>
                  <a:cubicBezTo>
                    <a:pt x="14506" y="19324"/>
                    <a:pt x="14759" y="19071"/>
                    <a:pt x="14759" y="18760"/>
                  </a:cubicBezTo>
                  <a:cubicBezTo>
                    <a:pt x="14759" y="18446"/>
                    <a:pt x="15010" y="18192"/>
                    <a:pt x="15324" y="18192"/>
                  </a:cubicBezTo>
                  <a:cubicBezTo>
                    <a:pt x="15638" y="18192"/>
                    <a:pt x="15892" y="18446"/>
                    <a:pt x="15892" y="18760"/>
                  </a:cubicBezTo>
                  <a:cubicBezTo>
                    <a:pt x="15892" y="19071"/>
                    <a:pt x="16142" y="19324"/>
                    <a:pt x="16456" y="19324"/>
                  </a:cubicBezTo>
                  <a:lnTo>
                    <a:pt x="18760" y="19324"/>
                  </a:lnTo>
                  <a:cubicBezTo>
                    <a:pt x="19071" y="19324"/>
                    <a:pt x="19325" y="19071"/>
                    <a:pt x="19325" y="18760"/>
                  </a:cubicBezTo>
                  <a:lnTo>
                    <a:pt x="19325" y="16456"/>
                  </a:lnTo>
                  <a:cubicBezTo>
                    <a:pt x="19325" y="16142"/>
                    <a:pt x="19071" y="15891"/>
                    <a:pt x="18760" y="15891"/>
                  </a:cubicBezTo>
                  <a:cubicBezTo>
                    <a:pt x="18446" y="15891"/>
                    <a:pt x="18192" y="15638"/>
                    <a:pt x="18192" y="15324"/>
                  </a:cubicBezTo>
                  <a:cubicBezTo>
                    <a:pt x="18192" y="15010"/>
                    <a:pt x="18446" y="14759"/>
                    <a:pt x="18760" y="14759"/>
                  </a:cubicBezTo>
                  <a:cubicBezTo>
                    <a:pt x="19071" y="14759"/>
                    <a:pt x="19325" y="14505"/>
                    <a:pt x="19325" y="14191"/>
                  </a:cubicBezTo>
                  <a:lnTo>
                    <a:pt x="19325" y="10795"/>
                  </a:lnTo>
                  <a:cubicBezTo>
                    <a:pt x="19325" y="10481"/>
                    <a:pt x="19071" y="10230"/>
                    <a:pt x="18760" y="10230"/>
                  </a:cubicBezTo>
                  <a:cubicBezTo>
                    <a:pt x="18446" y="10230"/>
                    <a:pt x="18192" y="9976"/>
                    <a:pt x="18192" y="9662"/>
                  </a:cubicBezTo>
                  <a:cubicBezTo>
                    <a:pt x="18192" y="9348"/>
                    <a:pt x="18446" y="9098"/>
                    <a:pt x="18760" y="9098"/>
                  </a:cubicBezTo>
                  <a:cubicBezTo>
                    <a:pt x="19071" y="9098"/>
                    <a:pt x="19325" y="8844"/>
                    <a:pt x="19325" y="8530"/>
                  </a:cubicBezTo>
                  <a:lnTo>
                    <a:pt x="19325" y="5133"/>
                  </a:lnTo>
                  <a:cubicBezTo>
                    <a:pt x="19325" y="4819"/>
                    <a:pt x="19071" y="4568"/>
                    <a:pt x="18760" y="4568"/>
                  </a:cubicBezTo>
                  <a:cubicBezTo>
                    <a:pt x="18446" y="4568"/>
                    <a:pt x="18192" y="4315"/>
                    <a:pt x="18192" y="4001"/>
                  </a:cubicBezTo>
                  <a:cubicBezTo>
                    <a:pt x="18192" y="3687"/>
                    <a:pt x="18446" y="3436"/>
                    <a:pt x="18760" y="3436"/>
                  </a:cubicBezTo>
                  <a:cubicBezTo>
                    <a:pt x="19071" y="3436"/>
                    <a:pt x="19325" y="3183"/>
                    <a:pt x="19325" y="2868"/>
                  </a:cubicBezTo>
                  <a:lnTo>
                    <a:pt x="19325" y="568"/>
                  </a:lnTo>
                  <a:cubicBezTo>
                    <a:pt x="19325" y="254"/>
                    <a:pt x="19071" y="0"/>
                    <a:pt x="18760" y="0"/>
                  </a:cubicBezTo>
                  <a:lnTo>
                    <a:pt x="16456" y="0"/>
                  </a:lnTo>
                  <a:cubicBezTo>
                    <a:pt x="16142" y="0"/>
                    <a:pt x="15892" y="254"/>
                    <a:pt x="15892" y="568"/>
                  </a:cubicBezTo>
                  <a:cubicBezTo>
                    <a:pt x="15892" y="879"/>
                    <a:pt x="15638" y="1132"/>
                    <a:pt x="15324" y="1132"/>
                  </a:cubicBezTo>
                  <a:cubicBezTo>
                    <a:pt x="15010" y="1132"/>
                    <a:pt x="14759" y="879"/>
                    <a:pt x="14759" y="568"/>
                  </a:cubicBezTo>
                  <a:cubicBezTo>
                    <a:pt x="14759" y="254"/>
                    <a:pt x="14506" y="0"/>
                    <a:pt x="14192" y="0"/>
                  </a:cubicBezTo>
                  <a:lnTo>
                    <a:pt x="10795" y="0"/>
                  </a:lnTo>
                  <a:cubicBezTo>
                    <a:pt x="10481" y="0"/>
                    <a:pt x="10230" y="254"/>
                    <a:pt x="10230" y="568"/>
                  </a:cubicBezTo>
                  <a:cubicBezTo>
                    <a:pt x="10230" y="879"/>
                    <a:pt x="9976" y="1132"/>
                    <a:pt x="9662" y="1132"/>
                  </a:cubicBezTo>
                  <a:cubicBezTo>
                    <a:pt x="9348" y="1132"/>
                    <a:pt x="9098" y="879"/>
                    <a:pt x="9098" y="568"/>
                  </a:cubicBezTo>
                  <a:cubicBezTo>
                    <a:pt x="9098" y="254"/>
                    <a:pt x="8844" y="0"/>
                    <a:pt x="8530" y="0"/>
                  </a:cubicBezTo>
                  <a:lnTo>
                    <a:pt x="5133" y="0"/>
                  </a:lnTo>
                  <a:cubicBezTo>
                    <a:pt x="4819" y="0"/>
                    <a:pt x="4569" y="254"/>
                    <a:pt x="4569" y="568"/>
                  </a:cubicBezTo>
                  <a:cubicBezTo>
                    <a:pt x="4569" y="879"/>
                    <a:pt x="4315" y="1132"/>
                    <a:pt x="4001" y="1132"/>
                  </a:cubicBezTo>
                  <a:cubicBezTo>
                    <a:pt x="3687" y="1132"/>
                    <a:pt x="3436" y="879"/>
                    <a:pt x="3436" y="568"/>
                  </a:cubicBezTo>
                  <a:cubicBezTo>
                    <a:pt x="3436" y="254"/>
                    <a:pt x="3183" y="0"/>
                    <a:pt x="28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7" name="Google Shape;8977;p75"/>
            <p:cNvSpPr/>
            <p:nvPr/>
          </p:nvSpPr>
          <p:spPr>
            <a:xfrm>
              <a:off x="6328725" y="324025"/>
              <a:ext cx="311400" cy="311400"/>
            </a:xfrm>
            <a:custGeom>
              <a:avLst/>
              <a:gdLst/>
              <a:ahLst/>
              <a:cxnLst/>
              <a:rect l="l" t="t" r="r" b="b"/>
              <a:pathLst>
                <a:path w="12456" h="12456" extrusionOk="0">
                  <a:moveTo>
                    <a:pt x="11323" y="1132"/>
                  </a:moveTo>
                  <a:lnTo>
                    <a:pt x="11323" y="5991"/>
                  </a:lnTo>
                  <a:lnTo>
                    <a:pt x="10025" y="4692"/>
                  </a:lnTo>
                  <a:cubicBezTo>
                    <a:pt x="9913" y="4582"/>
                    <a:pt x="9768" y="4527"/>
                    <a:pt x="9623" y="4527"/>
                  </a:cubicBezTo>
                  <a:cubicBezTo>
                    <a:pt x="9478" y="4527"/>
                    <a:pt x="9333" y="4582"/>
                    <a:pt x="9222" y="4692"/>
                  </a:cubicBezTo>
                  <a:lnTo>
                    <a:pt x="6498" y="7419"/>
                  </a:lnTo>
                  <a:lnTo>
                    <a:pt x="4303" y="5773"/>
                  </a:lnTo>
                  <a:cubicBezTo>
                    <a:pt x="4201" y="5698"/>
                    <a:pt x="4081" y="5661"/>
                    <a:pt x="3962" y="5661"/>
                  </a:cubicBezTo>
                  <a:cubicBezTo>
                    <a:pt x="3824" y="5661"/>
                    <a:pt x="3687" y="5711"/>
                    <a:pt x="3578" y="5810"/>
                  </a:cubicBezTo>
                  <a:lnTo>
                    <a:pt x="1133" y="8053"/>
                  </a:lnTo>
                  <a:lnTo>
                    <a:pt x="1133" y="1132"/>
                  </a:lnTo>
                  <a:close/>
                  <a:moveTo>
                    <a:pt x="4001" y="6960"/>
                  </a:moveTo>
                  <a:lnTo>
                    <a:pt x="5689" y="8228"/>
                  </a:lnTo>
                  <a:lnTo>
                    <a:pt x="2594" y="11323"/>
                  </a:lnTo>
                  <a:lnTo>
                    <a:pt x="1133" y="11323"/>
                  </a:lnTo>
                  <a:lnTo>
                    <a:pt x="1133" y="9590"/>
                  </a:lnTo>
                  <a:lnTo>
                    <a:pt x="4001" y="6960"/>
                  </a:lnTo>
                  <a:close/>
                  <a:moveTo>
                    <a:pt x="9623" y="5894"/>
                  </a:moveTo>
                  <a:lnTo>
                    <a:pt x="11323" y="7594"/>
                  </a:lnTo>
                  <a:lnTo>
                    <a:pt x="11323" y="11323"/>
                  </a:lnTo>
                  <a:lnTo>
                    <a:pt x="4197" y="11323"/>
                  </a:lnTo>
                  <a:lnTo>
                    <a:pt x="9623" y="5894"/>
                  </a:lnTo>
                  <a:close/>
                  <a:moveTo>
                    <a:pt x="565" y="0"/>
                  </a:moveTo>
                  <a:cubicBezTo>
                    <a:pt x="251" y="0"/>
                    <a:pt x="0" y="251"/>
                    <a:pt x="0" y="565"/>
                  </a:cubicBezTo>
                  <a:lnTo>
                    <a:pt x="0" y="11888"/>
                  </a:lnTo>
                  <a:cubicBezTo>
                    <a:pt x="0" y="12202"/>
                    <a:pt x="251" y="12455"/>
                    <a:pt x="565" y="12455"/>
                  </a:cubicBezTo>
                  <a:lnTo>
                    <a:pt x="11888" y="12455"/>
                  </a:lnTo>
                  <a:cubicBezTo>
                    <a:pt x="12202" y="12455"/>
                    <a:pt x="12456" y="12202"/>
                    <a:pt x="12456" y="11888"/>
                  </a:cubicBezTo>
                  <a:lnTo>
                    <a:pt x="12456" y="565"/>
                  </a:lnTo>
                  <a:cubicBezTo>
                    <a:pt x="12456" y="251"/>
                    <a:pt x="12202" y="0"/>
                    <a:pt x="118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78" name="Google Shape;8978;p75"/>
            <p:cNvSpPr/>
            <p:nvPr/>
          </p:nvSpPr>
          <p:spPr>
            <a:xfrm>
              <a:off x="6441950" y="380575"/>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79" name="Google Shape;8979;p75"/>
          <p:cNvGrpSpPr/>
          <p:nvPr/>
        </p:nvGrpSpPr>
        <p:grpSpPr>
          <a:xfrm>
            <a:off x="844156" y="2727362"/>
            <a:ext cx="343566" cy="298943"/>
            <a:chOff x="889275" y="861850"/>
            <a:chExt cx="487950" cy="424575"/>
          </a:xfrm>
        </p:grpSpPr>
        <p:sp>
          <p:nvSpPr>
            <p:cNvPr id="8980" name="Google Shape;8980;p75"/>
            <p:cNvSpPr/>
            <p:nvPr/>
          </p:nvSpPr>
          <p:spPr>
            <a:xfrm>
              <a:off x="1319225" y="1031700"/>
              <a:ext cx="56650" cy="28325"/>
            </a:xfrm>
            <a:custGeom>
              <a:avLst/>
              <a:gdLst/>
              <a:ahLst/>
              <a:cxnLst/>
              <a:rect l="l" t="t" r="r" b="b"/>
              <a:pathLst>
                <a:path w="2266" h="1133" extrusionOk="0">
                  <a:moveTo>
                    <a:pt x="569" y="1"/>
                  </a:moveTo>
                  <a:cubicBezTo>
                    <a:pt x="255" y="1"/>
                    <a:pt x="1" y="251"/>
                    <a:pt x="1" y="565"/>
                  </a:cubicBezTo>
                  <a:cubicBezTo>
                    <a:pt x="1" y="879"/>
                    <a:pt x="255" y="1133"/>
                    <a:pt x="569" y="1133"/>
                  </a:cubicBezTo>
                  <a:lnTo>
                    <a:pt x="1701" y="1133"/>
                  </a:lnTo>
                  <a:cubicBezTo>
                    <a:pt x="2012" y="1133"/>
                    <a:pt x="2265" y="879"/>
                    <a:pt x="2265" y="565"/>
                  </a:cubicBezTo>
                  <a:cubicBezTo>
                    <a:pt x="2265" y="251"/>
                    <a:pt x="2012" y="1"/>
                    <a:pt x="17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1" name="Google Shape;8981;p75"/>
            <p:cNvSpPr/>
            <p:nvPr/>
          </p:nvSpPr>
          <p:spPr>
            <a:xfrm>
              <a:off x="1314475" y="946725"/>
              <a:ext cx="62750" cy="56700"/>
            </a:xfrm>
            <a:custGeom>
              <a:avLst/>
              <a:gdLst/>
              <a:ahLst/>
              <a:cxnLst/>
              <a:rect l="l" t="t" r="r" b="b"/>
              <a:pathLst>
                <a:path w="2510" h="2268" extrusionOk="0">
                  <a:moveTo>
                    <a:pt x="1889" y="0"/>
                  </a:moveTo>
                  <a:cubicBezTo>
                    <a:pt x="1744" y="0"/>
                    <a:pt x="1599" y="55"/>
                    <a:pt x="1489" y="166"/>
                  </a:cubicBezTo>
                  <a:lnTo>
                    <a:pt x="357" y="1298"/>
                  </a:lnTo>
                  <a:cubicBezTo>
                    <a:pt x="1" y="1657"/>
                    <a:pt x="251" y="2267"/>
                    <a:pt x="759" y="2267"/>
                  </a:cubicBezTo>
                  <a:cubicBezTo>
                    <a:pt x="906" y="2267"/>
                    <a:pt x="1051" y="2207"/>
                    <a:pt x="1157" y="2101"/>
                  </a:cubicBezTo>
                  <a:lnTo>
                    <a:pt x="2289" y="969"/>
                  </a:lnTo>
                  <a:cubicBezTo>
                    <a:pt x="2510" y="745"/>
                    <a:pt x="2510" y="389"/>
                    <a:pt x="2289" y="166"/>
                  </a:cubicBezTo>
                  <a:cubicBezTo>
                    <a:pt x="2179" y="55"/>
                    <a:pt x="2034" y="0"/>
                    <a:pt x="18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2" name="Google Shape;8982;p75"/>
            <p:cNvSpPr/>
            <p:nvPr/>
          </p:nvSpPr>
          <p:spPr>
            <a:xfrm>
              <a:off x="1317875" y="1088250"/>
              <a:ext cx="59350" cy="56675"/>
            </a:xfrm>
            <a:custGeom>
              <a:avLst/>
              <a:gdLst/>
              <a:ahLst/>
              <a:cxnLst/>
              <a:rect l="l" t="t" r="r" b="b"/>
              <a:pathLst>
                <a:path w="2374" h="2267" extrusionOk="0">
                  <a:moveTo>
                    <a:pt x="621" y="1"/>
                  </a:moveTo>
                  <a:cubicBezTo>
                    <a:pt x="476" y="1"/>
                    <a:pt x="331" y="56"/>
                    <a:pt x="221" y="166"/>
                  </a:cubicBezTo>
                  <a:cubicBezTo>
                    <a:pt x="1" y="390"/>
                    <a:pt x="1" y="746"/>
                    <a:pt x="221" y="969"/>
                  </a:cubicBezTo>
                  <a:lnTo>
                    <a:pt x="1353" y="2102"/>
                  </a:lnTo>
                  <a:cubicBezTo>
                    <a:pt x="1463" y="2212"/>
                    <a:pt x="1608" y="2267"/>
                    <a:pt x="1753" y="2267"/>
                  </a:cubicBezTo>
                  <a:cubicBezTo>
                    <a:pt x="1898" y="2267"/>
                    <a:pt x="2043" y="2212"/>
                    <a:pt x="2153" y="2102"/>
                  </a:cubicBezTo>
                  <a:cubicBezTo>
                    <a:pt x="2374" y="1878"/>
                    <a:pt x="2374" y="1522"/>
                    <a:pt x="2153" y="1298"/>
                  </a:cubicBezTo>
                  <a:lnTo>
                    <a:pt x="1021" y="166"/>
                  </a:lnTo>
                  <a:cubicBezTo>
                    <a:pt x="911" y="56"/>
                    <a:pt x="766"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3" name="Google Shape;8983;p75"/>
            <p:cNvSpPr/>
            <p:nvPr/>
          </p:nvSpPr>
          <p:spPr>
            <a:xfrm>
              <a:off x="889275" y="861850"/>
              <a:ext cx="400700" cy="424575"/>
            </a:xfrm>
            <a:custGeom>
              <a:avLst/>
              <a:gdLst/>
              <a:ahLst/>
              <a:cxnLst/>
              <a:rect l="l" t="t" r="r" b="b"/>
              <a:pathLst>
                <a:path w="16028" h="16983" extrusionOk="0">
                  <a:moveTo>
                    <a:pt x="4668" y="4530"/>
                  </a:moveTo>
                  <a:lnTo>
                    <a:pt x="4668" y="10191"/>
                  </a:lnTo>
                  <a:lnTo>
                    <a:pt x="4104" y="10191"/>
                  </a:lnTo>
                  <a:cubicBezTo>
                    <a:pt x="2539" y="10191"/>
                    <a:pt x="1271" y="8923"/>
                    <a:pt x="1271" y="7359"/>
                  </a:cubicBezTo>
                  <a:cubicBezTo>
                    <a:pt x="1271" y="5795"/>
                    <a:pt x="2539" y="4530"/>
                    <a:pt x="4104" y="4530"/>
                  </a:cubicBezTo>
                  <a:close/>
                  <a:moveTo>
                    <a:pt x="6972" y="4530"/>
                  </a:moveTo>
                  <a:lnTo>
                    <a:pt x="6972" y="10191"/>
                  </a:lnTo>
                  <a:lnTo>
                    <a:pt x="5800" y="10191"/>
                  </a:lnTo>
                  <a:lnTo>
                    <a:pt x="5800" y="4530"/>
                  </a:lnTo>
                  <a:close/>
                  <a:moveTo>
                    <a:pt x="12633" y="1565"/>
                  </a:moveTo>
                  <a:lnTo>
                    <a:pt x="12633" y="13153"/>
                  </a:lnTo>
                  <a:lnTo>
                    <a:pt x="8104" y="10436"/>
                  </a:lnTo>
                  <a:lnTo>
                    <a:pt x="8104" y="4282"/>
                  </a:lnTo>
                  <a:lnTo>
                    <a:pt x="12633" y="1565"/>
                  </a:lnTo>
                  <a:close/>
                  <a:moveTo>
                    <a:pt x="14330" y="1133"/>
                  </a:moveTo>
                  <a:cubicBezTo>
                    <a:pt x="14644" y="1133"/>
                    <a:pt x="14898" y="1384"/>
                    <a:pt x="14898" y="1698"/>
                  </a:cubicBezTo>
                  <a:lnTo>
                    <a:pt x="14898" y="13021"/>
                  </a:lnTo>
                  <a:cubicBezTo>
                    <a:pt x="14898" y="13335"/>
                    <a:pt x="14644" y="13588"/>
                    <a:pt x="14330" y="13588"/>
                  </a:cubicBezTo>
                  <a:lnTo>
                    <a:pt x="13766" y="13588"/>
                  </a:lnTo>
                  <a:lnTo>
                    <a:pt x="13766" y="1133"/>
                  </a:lnTo>
                  <a:close/>
                  <a:moveTo>
                    <a:pt x="5800" y="11324"/>
                  </a:moveTo>
                  <a:lnTo>
                    <a:pt x="5800" y="15285"/>
                  </a:lnTo>
                  <a:cubicBezTo>
                    <a:pt x="5800" y="15599"/>
                    <a:pt x="5547" y="15850"/>
                    <a:pt x="5236" y="15850"/>
                  </a:cubicBezTo>
                  <a:cubicBezTo>
                    <a:pt x="4922" y="15850"/>
                    <a:pt x="4668" y="15599"/>
                    <a:pt x="4668" y="15285"/>
                  </a:cubicBezTo>
                  <a:lnTo>
                    <a:pt x="4668" y="11324"/>
                  </a:lnTo>
                  <a:close/>
                  <a:moveTo>
                    <a:pt x="13132" y="1"/>
                  </a:moveTo>
                  <a:lnTo>
                    <a:pt x="13098" y="7"/>
                  </a:lnTo>
                  <a:lnTo>
                    <a:pt x="13074" y="10"/>
                  </a:lnTo>
                  <a:cubicBezTo>
                    <a:pt x="13065" y="10"/>
                    <a:pt x="13056" y="16"/>
                    <a:pt x="13047" y="19"/>
                  </a:cubicBezTo>
                  <a:cubicBezTo>
                    <a:pt x="13038" y="22"/>
                    <a:pt x="13029" y="22"/>
                    <a:pt x="13020" y="25"/>
                  </a:cubicBezTo>
                  <a:lnTo>
                    <a:pt x="12996" y="34"/>
                  </a:lnTo>
                  <a:lnTo>
                    <a:pt x="12966" y="46"/>
                  </a:lnTo>
                  <a:lnTo>
                    <a:pt x="12947" y="58"/>
                  </a:lnTo>
                  <a:cubicBezTo>
                    <a:pt x="12935" y="61"/>
                    <a:pt x="12926" y="67"/>
                    <a:pt x="12917" y="73"/>
                  </a:cubicBezTo>
                  <a:lnTo>
                    <a:pt x="12908" y="79"/>
                  </a:lnTo>
                  <a:lnTo>
                    <a:pt x="7380" y="3398"/>
                  </a:lnTo>
                  <a:lnTo>
                    <a:pt x="4104" y="3398"/>
                  </a:lnTo>
                  <a:cubicBezTo>
                    <a:pt x="2023" y="3398"/>
                    <a:pt x="299" y="5001"/>
                    <a:pt x="151" y="7075"/>
                  </a:cubicBezTo>
                  <a:cubicBezTo>
                    <a:pt x="0" y="9150"/>
                    <a:pt x="1480" y="10986"/>
                    <a:pt x="3536" y="11281"/>
                  </a:cubicBezTo>
                  <a:lnTo>
                    <a:pt x="3536" y="15285"/>
                  </a:lnTo>
                  <a:cubicBezTo>
                    <a:pt x="3536" y="16224"/>
                    <a:pt x="4297" y="16982"/>
                    <a:pt x="5236" y="16982"/>
                  </a:cubicBezTo>
                  <a:cubicBezTo>
                    <a:pt x="6172" y="16982"/>
                    <a:pt x="6933" y="16224"/>
                    <a:pt x="6933" y="15285"/>
                  </a:cubicBezTo>
                  <a:lnTo>
                    <a:pt x="6933" y="11324"/>
                  </a:lnTo>
                  <a:lnTo>
                    <a:pt x="7380" y="11324"/>
                  </a:lnTo>
                  <a:lnTo>
                    <a:pt x="12908" y="14639"/>
                  </a:lnTo>
                  <a:cubicBezTo>
                    <a:pt x="12911" y="14642"/>
                    <a:pt x="12914" y="14642"/>
                    <a:pt x="12920" y="14645"/>
                  </a:cubicBezTo>
                  <a:lnTo>
                    <a:pt x="12935" y="14654"/>
                  </a:lnTo>
                  <a:cubicBezTo>
                    <a:pt x="12947" y="14660"/>
                    <a:pt x="12963" y="14666"/>
                    <a:pt x="12975" y="14672"/>
                  </a:cubicBezTo>
                  <a:lnTo>
                    <a:pt x="12984" y="14675"/>
                  </a:lnTo>
                  <a:cubicBezTo>
                    <a:pt x="12996" y="14681"/>
                    <a:pt x="13011" y="14687"/>
                    <a:pt x="13023" y="14690"/>
                  </a:cubicBezTo>
                  <a:lnTo>
                    <a:pt x="13038" y="14696"/>
                  </a:lnTo>
                  <a:cubicBezTo>
                    <a:pt x="13053" y="14699"/>
                    <a:pt x="13068" y="14702"/>
                    <a:pt x="13083" y="14708"/>
                  </a:cubicBezTo>
                  <a:cubicBezTo>
                    <a:pt x="13101" y="14712"/>
                    <a:pt x="13117" y="14715"/>
                    <a:pt x="13135" y="14715"/>
                  </a:cubicBezTo>
                  <a:lnTo>
                    <a:pt x="13144" y="14715"/>
                  </a:lnTo>
                  <a:cubicBezTo>
                    <a:pt x="13162" y="14715"/>
                    <a:pt x="13180" y="14718"/>
                    <a:pt x="13198" y="14718"/>
                  </a:cubicBezTo>
                  <a:lnTo>
                    <a:pt x="14330" y="14718"/>
                  </a:lnTo>
                  <a:cubicBezTo>
                    <a:pt x="15266" y="14718"/>
                    <a:pt x="16027" y="13957"/>
                    <a:pt x="16027" y="13021"/>
                  </a:cubicBezTo>
                  <a:lnTo>
                    <a:pt x="16027" y="1698"/>
                  </a:lnTo>
                  <a:cubicBezTo>
                    <a:pt x="16027" y="759"/>
                    <a:pt x="15266" y="1"/>
                    <a:pt x="143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8984" name="Google Shape;8984;p75"/>
          <p:cNvSpPr/>
          <p:nvPr/>
        </p:nvSpPr>
        <p:spPr>
          <a:xfrm>
            <a:off x="1282125" y="2706628"/>
            <a:ext cx="302974" cy="340204"/>
          </a:xfrm>
          <a:custGeom>
            <a:avLst/>
            <a:gdLst/>
            <a:ahLst/>
            <a:cxnLst/>
            <a:rect l="l" t="t" r="r" b="b"/>
            <a:pathLst>
              <a:path w="17212" h="19327" extrusionOk="0">
                <a:moveTo>
                  <a:pt x="15400" y="1132"/>
                </a:moveTo>
                <a:cubicBezTo>
                  <a:pt x="15714" y="1132"/>
                  <a:pt x="15965" y="1386"/>
                  <a:pt x="15965" y="1700"/>
                </a:cubicBezTo>
                <a:cubicBezTo>
                  <a:pt x="15965" y="2011"/>
                  <a:pt x="15714" y="2265"/>
                  <a:pt x="15400" y="2265"/>
                </a:cubicBezTo>
                <a:lnTo>
                  <a:pt x="1813" y="2265"/>
                </a:lnTo>
                <a:cubicBezTo>
                  <a:pt x="1499" y="2265"/>
                  <a:pt x="1248" y="2011"/>
                  <a:pt x="1248" y="1700"/>
                </a:cubicBezTo>
                <a:cubicBezTo>
                  <a:pt x="1248" y="1386"/>
                  <a:pt x="1499" y="1132"/>
                  <a:pt x="1813" y="1132"/>
                </a:cubicBezTo>
                <a:close/>
                <a:moveTo>
                  <a:pt x="14835" y="3397"/>
                </a:moveTo>
                <a:lnTo>
                  <a:pt x="14835" y="10230"/>
                </a:lnTo>
                <a:lnTo>
                  <a:pt x="2380" y="10230"/>
                </a:lnTo>
                <a:lnTo>
                  <a:pt x="2380" y="3397"/>
                </a:lnTo>
                <a:close/>
                <a:moveTo>
                  <a:pt x="15400" y="11362"/>
                </a:moveTo>
                <a:cubicBezTo>
                  <a:pt x="15714" y="11362"/>
                  <a:pt x="15965" y="11613"/>
                  <a:pt x="15965" y="11927"/>
                </a:cubicBezTo>
                <a:cubicBezTo>
                  <a:pt x="15965" y="12241"/>
                  <a:pt x="15714" y="12495"/>
                  <a:pt x="15400" y="12495"/>
                </a:cubicBezTo>
                <a:lnTo>
                  <a:pt x="1813" y="12495"/>
                </a:lnTo>
                <a:cubicBezTo>
                  <a:pt x="1499" y="12495"/>
                  <a:pt x="1248" y="12241"/>
                  <a:pt x="1248" y="11927"/>
                </a:cubicBezTo>
                <a:cubicBezTo>
                  <a:pt x="1248" y="11613"/>
                  <a:pt x="1499" y="11362"/>
                  <a:pt x="1813" y="11362"/>
                </a:cubicBezTo>
                <a:close/>
                <a:moveTo>
                  <a:pt x="1813" y="0"/>
                </a:moveTo>
                <a:cubicBezTo>
                  <a:pt x="985" y="0"/>
                  <a:pt x="279" y="595"/>
                  <a:pt x="140" y="1410"/>
                </a:cubicBezTo>
                <a:cubicBezTo>
                  <a:pt x="1" y="2226"/>
                  <a:pt x="466" y="3023"/>
                  <a:pt x="1248" y="3300"/>
                </a:cubicBezTo>
                <a:lnTo>
                  <a:pt x="1248" y="10327"/>
                </a:lnTo>
                <a:cubicBezTo>
                  <a:pt x="569" y="10565"/>
                  <a:pt x="116" y="11208"/>
                  <a:pt x="116" y="11927"/>
                </a:cubicBezTo>
                <a:cubicBezTo>
                  <a:pt x="116" y="12866"/>
                  <a:pt x="874" y="13624"/>
                  <a:pt x="1813" y="13627"/>
                </a:cubicBezTo>
                <a:lnTo>
                  <a:pt x="6774" y="13627"/>
                </a:lnTo>
                <a:lnTo>
                  <a:pt x="2522" y="18383"/>
                </a:lnTo>
                <a:cubicBezTo>
                  <a:pt x="2311" y="18615"/>
                  <a:pt x="2332" y="18974"/>
                  <a:pt x="2564" y="19183"/>
                </a:cubicBezTo>
                <a:cubicBezTo>
                  <a:pt x="2673" y="19279"/>
                  <a:pt x="2809" y="19326"/>
                  <a:pt x="2943" y="19326"/>
                </a:cubicBezTo>
                <a:cubicBezTo>
                  <a:pt x="3100" y="19326"/>
                  <a:pt x="3256" y="19262"/>
                  <a:pt x="3368" y="19137"/>
                </a:cubicBezTo>
                <a:lnTo>
                  <a:pt x="8042" y="13908"/>
                </a:lnTo>
                <a:lnTo>
                  <a:pt x="8042" y="18760"/>
                </a:lnTo>
                <a:cubicBezTo>
                  <a:pt x="8042" y="19071"/>
                  <a:pt x="8292" y="19325"/>
                  <a:pt x="8606" y="19325"/>
                </a:cubicBezTo>
                <a:cubicBezTo>
                  <a:pt x="8920" y="19325"/>
                  <a:pt x="9174" y="19071"/>
                  <a:pt x="9174" y="18760"/>
                </a:cubicBezTo>
                <a:lnTo>
                  <a:pt x="9174" y="13908"/>
                </a:lnTo>
                <a:lnTo>
                  <a:pt x="13845" y="19137"/>
                </a:lnTo>
                <a:cubicBezTo>
                  <a:pt x="13956" y="19260"/>
                  <a:pt x="14109" y="19322"/>
                  <a:pt x="14263" y="19322"/>
                </a:cubicBezTo>
                <a:cubicBezTo>
                  <a:pt x="14398" y="19322"/>
                  <a:pt x="14534" y="19274"/>
                  <a:pt x="14642" y="19177"/>
                </a:cubicBezTo>
                <a:cubicBezTo>
                  <a:pt x="14875" y="18971"/>
                  <a:pt x="14896" y="18615"/>
                  <a:pt x="14691" y="18383"/>
                </a:cubicBezTo>
                <a:lnTo>
                  <a:pt x="10439" y="13627"/>
                </a:lnTo>
                <a:lnTo>
                  <a:pt x="15400" y="13627"/>
                </a:lnTo>
                <a:cubicBezTo>
                  <a:pt x="16227" y="13624"/>
                  <a:pt x="16934" y="13029"/>
                  <a:pt x="17073" y="12214"/>
                </a:cubicBezTo>
                <a:cubicBezTo>
                  <a:pt x="17212" y="11399"/>
                  <a:pt x="16747" y="10601"/>
                  <a:pt x="15968" y="10327"/>
                </a:cubicBezTo>
                <a:lnTo>
                  <a:pt x="15968" y="3300"/>
                </a:lnTo>
                <a:cubicBezTo>
                  <a:pt x="16747" y="3023"/>
                  <a:pt x="17212" y="2226"/>
                  <a:pt x="17073" y="1410"/>
                </a:cubicBezTo>
                <a:cubicBezTo>
                  <a:pt x="16934" y="595"/>
                  <a:pt x="16227" y="0"/>
                  <a:pt x="154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5" name="Google Shape;8985;p75"/>
          <p:cNvSpPr/>
          <p:nvPr/>
        </p:nvSpPr>
        <p:spPr>
          <a:xfrm>
            <a:off x="1677131" y="2706628"/>
            <a:ext cx="341506" cy="340204"/>
          </a:xfrm>
          <a:custGeom>
            <a:avLst/>
            <a:gdLst/>
            <a:ahLst/>
            <a:cxnLst/>
            <a:rect l="l" t="t" r="r" b="b"/>
            <a:pathLst>
              <a:path w="19401" h="19327" extrusionOk="0">
                <a:moveTo>
                  <a:pt x="14796" y="1700"/>
                </a:moveTo>
                <a:lnTo>
                  <a:pt x="17815" y="3965"/>
                </a:lnTo>
                <a:lnTo>
                  <a:pt x="14796" y="6229"/>
                </a:lnTo>
                <a:lnTo>
                  <a:pt x="14796" y="5097"/>
                </a:lnTo>
                <a:cubicBezTo>
                  <a:pt x="14796" y="4783"/>
                  <a:pt x="14542" y="4529"/>
                  <a:pt x="14231" y="4529"/>
                </a:cubicBezTo>
                <a:lnTo>
                  <a:pt x="10795" y="4529"/>
                </a:lnTo>
                <a:cubicBezTo>
                  <a:pt x="9807" y="4529"/>
                  <a:pt x="8893" y="5046"/>
                  <a:pt x="8379" y="5888"/>
                </a:cubicBezTo>
                <a:cubicBezTo>
                  <a:pt x="8177" y="5547"/>
                  <a:pt x="7932" y="5230"/>
                  <a:pt x="7658" y="4946"/>
                </a:cubicBezTo>
                <a:cubicBezTo>
                  <a:pt x="8409" y="3974"/>
                  <a:pt x="9566" y="3403"/>
                  <a:pt x="10795" y="3397"/>
                </a:cubicBezTo>
                <a:lnTo>
                  <a:pt x="14231" y="3397"/>
                </a:lnTo>
                <a:cubicBezTo>
                  <a:pt x="14542" y="3397"/>
                  <a:pt x="14796" y="3143"/>
                  <a:pt x="14796" y="2832"/>
                </a:cubicBezTo>
                <a:lnTo>
                  <a:pt x="14796" y="1700"/>
                </a:lnTo>
                <a:close/>
                <a:moveTo>
                  <a:pt x="5807" y="13011"/>
                </a:moveTo>
                <a:cubicBezTo>
                  <a:pt x="5888" y="13398"/>
                  <a:pt x="6015" y="13778"/>
                  <a:pt x="6184" y="14137"/>
                </a:cubicBezTo>
                <a:cubicBezTo>
                  <a:pt x="5538" y="14566"/>
                  <a:pt x="4777" y="14796"/>
                  <a:pt x="4001" y="14796"/>
                </a:cubicBezTo>
                <a:lnTo>
                  <a:pt x="1700" y="14796"/>
                </a:lnTo>
                <a:cubicBezTo>
                  <a:pt x="1386" y="14796"/>
                  <a:pt x="1133" y="14542"/>
                  <a:pt x="1133" y="14231"/>
                </a:cubicBezTo>
                <a:cubicBezTo>
                  <a:pt x="1133" y="13917"/>
                  <a:pt x="1386" y="13663"/>
                  <a:pt x="1700" y="13663"/>
                </a:cubicBezTo>
                <a:lnTo>
                  <a:pt x="4001" y="13663"/>
                </a:lnTo>
                <a:cubicBezTo>
                  <a:pt x="4662" y="13663"/>
                  <a:pt x="5299" y="13434"/>
                  <a:pt x="5807" y="13011"/>
                </a:cubicBezTo>
                <a:close/>
                <a:moveTo>
                  <a:pt x="4001" y="4529"/>
                </a:moveTo>
                <a:cubicBezTo>
                  <a:pt x="6190" y="4532"/>
                  <a:pt x="7963" y="6305"/>
                  <a:pt x="7966" y="8494"/>
                </a:cubicBezTo>
                <a:lnTo>
                  <a:pt x="7966" y="11966"/>
                </a:lnTo>
                <a:cubicBezTo>
                  <a:pt x="7966" y="13527"/>
                  <a:pt x="9231" y="14792"/>
                  <a:pt x="10795" y="14796"/>
                </a:cubicBezTo>
                <a:lnTo>
                  <a:pt x="14231" y="14796"/>
                </a:lnTo>
                <a:cubicBezTo>
                  <a:pt x="14542" y="14796"/>
                  <a:pt x="14796" y="14542"/>
                  <a:pt x="14796" y="14231"/>
                </a:cubicBezTo>
                <a:lnTo>
                  <a:pt x="14796" y="13099"/>
                </a:lnTo>
                <a:lnTo>
                  <a:pt x="17815" y="15363"/>
                </a:lnTo>
                <a:lnTo>
                  <a:pt x="14796" y="17628"/>
                </a:lnTo>
                <a:lnTo>
                  <a:pt x="14796" y="16495"/>
                </a:lnTo>
                <a:cubicBezTo>
                  <a:pt x="14796" y="16181"/>
                  <a:pt x="14542" y="15928"/>
                  <a:pt x="14231" y="15928"/>
                </a:cubicBezTo>
                <a:lnTo>
                  <a:pt x="10795" y="15928"/>
                </a:lnTo>
                <a:cubicBezTo>
                  <a:pt x="8606" y="15925"/>
                  <a:pt x="6833" y="14152"/>
                  <a:pt x="6833" y="11966"/>
                </a:cubicBezTo>
                <a:lnTo>
                  <a:pt x="6833" y="8494"/>
                </a:lnTo>
                <a:cubicBezTo>
                  <a:pt x="6830" y="6930"/>
                  <a:pt x="5565" y="5665"/>
                  <a:pt x="4001" y="5662"/>
                </a:cubicBezTo>
                <a:lnTo>
                  <a:pt x="1700" y="5662"/>
                </a:lnTo>
                <a:cubicBezTo>
                  <a:pt x="1386" y="5662"/>
                  <a:pt x="1133" y="5408"/>
                  <a:pt x="1133" y="5097"/>
                </a:cubicBezTo>
                <a:cubicBezTo>
                  <a:pt x="1133" y="4783"/>
                  <a:pt x="1386" y="4529"/>
                  <a:pt x="1700" y="4529"/>
                </a:cubicBezTo>
                <a:close/>
                <a:moveTo>
                  <a:pt x="14230" y="0"/>
                </a:moveTo>
                <a:cubicBezTo>
                  <a:pt x="13937" y="0"/>
                  <a:pt x="13663" y="232"/>
                  <a:pt x="13663" y="568"/>
                </a:cubicBezTo>
                <a:lnTo>
                  <a:pt x="13663" y="2265"/>
                </a:lnTo>
                <a:lnTo>
                  <a:pt x="10795" y="2265"/>
                </a:lnTo>
                <a:cubicBezTo>
                  <a:pt x="9228" y="2265"/>
                  <a:pt x="7745" y="2989"/>
                  <a:pt x="6782" y="4224"/>
                </a:cubicBezTo>
                <a:cubicBezTo>
                  <a:pt x="5955" y="3684"/>
                  <a:pt x="4988" y="3397"/>
                  <a:pt x="4001" y="3397"/>
                </a:cubicBezTo>
                <a:lnTo>
                  <a:pt x="1700" y="3397"/>
                </a:lnTo>
                <a:cubicBezTo>
                  <a:pt x="761" y="3397"/>
                  <a:pt x="0" y="4158"/>
                  <a:pt x="0" y="5097"/>
                </a:cubicBezTo>
                <a:cubicBezTo>
                  <a:pt x="0" y="6033"/>
                  <a:pt x="761" y="6794"/>
                  <a:pt x="1700" y="6794"/>
                </a:cubicBezTo>
                <a:lnTo>
                  <a:pt x="4001" y="6794"/>
                </a:lnTo>
                <a:cubicBezTo>
                  <a:pt x="4940" y="6794"/>
                  <a:pt x="5698" y="7555"/>
                  <a:pt x="5701" y="8494"/>
                </a:cubicBezTo>
                <a:lnTo>
                  <a:pt x="5701" y="10834"/>
                </a:lnTo>
                <a:cubicBezTo>
                  <a:pt x="5698" y="11770"/>
                  <a:pt x="4940" y="12531"/>
                  <a:pt x="4001" y="12531"/>
                </a:cubicBezTo>
                <a:lnTo>
                  <a:pt x="1700" y="12531"/>
                </a:lnTo>
                <a:cubicBezTo>
                  <a:pt x="761" y="12531"/>
                  <a:pt x="0" y="13292"/>
                  <a:pt x="0" y="14231"/>
                </a:cubicBezTo>
                <a:cubicBezTo>
                  <a:pt x="0" y="15167"/>
                  <a:pt x="761" y="15928"/>
                  <a:pt x="1700" y="15928"/>
                </a:cubicBezTo>
                <a:lnTo>
                  <a:pt x="4001" y="15928"/>
                </a:lnTo>
                <a:cubicBezTo>
                  <a:pt x="4988" y="15928"/>
                  <a:pt x="5955" y="15641"/>
                  <a:pt x="6782" y="15100"/>
                </a:cubicBezTo>
                <a:cubicBezTo>
                  <a:pt x="7745" y="16338"/>
                  <a:pt x="9228" y="17060"/>
                  <a:pt x="10795" y="17060"/>
                </a:cubicBezTo>
                <a:lnTo>
                  <a:pt x="13663" y="17060"/>
                </a:lnTo>
                <a:lnTo>
                  <a:pt x="13663" y="18760"/>
                </a:lnTo>
                <a:cubicBezTo>
                  <a:pt x="13663" y="19095"/>
                  <a:pt x="13938" y="19326"/>
                  <a:pt x="14232" y="19326"/>
                </a:cubicBezTo>
                <a:cubicBezTo>
                  <a:pt x="14347" y="19326"/>
                  <a:pt x="14464" y="19291"/>
                  <a:pt x="14569" y="19213"/>
                </a:cubicBezTo>
                <a:lnTo>
                  <a:pt x="19098" y="15816"/>
                </a:lnTo>
                <a:cubicBezTo>
                  <a:pt x="19400" y="15590"/>
                  <a:pt x="19400" y="15134"/>
                  <a:pt x="19098" y="14910"/>
                </a:cubicBezTo>
                <a:lnTo>
                  <a:pt x="14569" y="11513"/>
                </a:lnTo>
                <a:cubicBezTo>
                  <a:pt x="14464" y="11434"/>
                  <a:pt x="14345" y="11398"/>
                  <a:pt x="14230" y="11398"/>
                </a:cubicBezTo>
                <a:cubicBezTo>
                  <a:pt x="13937" y="11398"/>
                  <a:pt x="13663" y="11630"/>
                  <a:pt x="13663" y="11966"/>
                </a:cubicBezTo>
                <a:lnTo>
                  <a:pt x="13663" y="13663"/>
                </a:lnTo>
                <a:lnTo>
                  <a:pt x="10795" y="13663"/>
                </a:lnTo>
                <a:cubicBezTo>
                  <a:pt x="9856" y="13663"/>
                  <a:pt x="9098" y="12902"/>
                  <a:pt x="9098" y="11966"/>
                </a:cubicBezTo>
                <a:lnTo>
                  <a:pt x="9098" y="7362"/>
                </a:lnTo>
                <a:cubicBezTo>
                  <a:pt x="9098" y="6423"/>
                  <a:pt x="9856" y="5662"/>
                  <a:pt x="10795" y="5662"/>
                </a:cubicBezTo>
                <a:lnTo>
                  <a:pt x="13663" y="5662"/>
                </a:lnTo>
                <a:lnTo>
                  <a:pt x="13663" y="7362"/>
                </a:lnTo>
                <a:cubicBezTo>
                  <a:pt x="13663" y="7576"/>
                  <a:pt x="13784" y="7769"/>
                  <a:pt x="13977" y="7866"/>
                </a:cubicBezTo>
                <a:cubicBezTo>
                  <a:pt x="14057" y="7906"/>
                  <a:pt x="14144" y="7926"/>
                  <a:pt x="14230" y="7926"/>
                </a:cubicBezTo>
                <a:cubicBezTo>
                  <a:pt x="14350" y="7926"/>
                  <a:pt x="14469" y="7888"/>
                  <a:pt x="14569" y="7815"/>
                </a:cubicBezTo>
                <a:lnTo>
                  <a:pt x="19098" y="4418"/>
                </a:lnTo>
                <a:cubicBezTo>
                  <a:pt x="19400" y="4191"/>
                  <a:pt x="19400" y="3735"/>
                  <a:pt x="19098" y="3512"/>
                </a:cubicBezTo>
                <a:lnTo>
                  <a:pt x="14569" y="115"/>
                </a:lnTo>
                <a:cubicBezTo>
                  <a:pt x="14464" y="36"/>
                  <a:pt x="14345" y="0"/>
                  <a:pt x="14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8986" name="Google Shape;8986;p75"/>
          <p:cNvGrpSpPr/>
          <p:nvPr/>
        </p:nvGrpSpPr>
        <p:grpSpPr>
          <a:xfrm>
            <a:off x="2105973" y="2706749"/>
            <a:ext cx="340168" cy="340168"/>
            <a:chOff x="2676100" y="832575"/>
            <a:chExt cx="483125" cy="483125"/>
          </a:xfrm>
        </p:grpSpPr>
        <p:sp>
          <p:nvSpPr>
            <p:cNvPr id="8987" name="Google Shape;8987;p75"/>
            <p:cNvSpPr/>
            <p:nvPr/>
          </p:nvSpPr>
          <p:spPr>
            <a:xfrm>
              <a:off x="2676100" y="832575"/>
              <a:ext cx="483125" cy="483125"/>
            </a:xfrm>
            <a:custGeom>
              <a:avLst/>
              <a:gdLst/>
              <a:ahLst/>
              <a:cxnLst/>
              <a:rect l="l" t="t" r="r" b="b"/>
              <a:pathLst>
                <a:path w="19325" h="19325" extrusionOk="0">
                  <a:moveTo>
                    <a:pt x="10351" y="1132"/>
                  </a:moveTo>
                  <a:lnTo>
                    <a:pt x="10562" y="2008"/>
                  </a:lnTo>
                  <a:cubicBezTo>
                    <a:pt x="10614" y="2226"/>
                    <a:pt x="10789" y="2392"/>
                    <a:pt x="11009" y="2434"/>
                  </a:cubicBezTo>
                  <a:cubicBezTo>
                    <a:pt x="12021" y="2618"/>
                    <a:pt x="12981" y="3014"/>
                    <a:pt x="13826" y="3596"/>
                  </a:cubicBezTo>
                  <a:cubicBezTo>
                    <a:pt x="13922" y="3663"/>
                    <a:pt x="14033" y="3696"/>
                    <a:pt x="14146" y="3696"/>
                  </a:cubicBezTo>
                  <a:cubicBezTo>
                    <a:pt x="14247" y="3696"/>
                    <a:pt x="14349" y="3669"/>
                    <a:pt x="14439" y="3614"/>
                  </a:cubicBezTo>
                  <a:lnTo>
                    <a:pt x="15179" y="3171"/>
                  </a:lnTo>
                  <a:lnTo>
                    <a:pt x="16154" y="4146"/>
                  </a:lnTo>
                  <a:lnTo>
                    <a:pt x="15711" y="4889"/>
                  </a:lnTo>
                  <a:cubicBezTo>
                    <a:pt x="15596" y="5079"/>
                    <a:pt x="15602" y="5317"/>
                    <a:pt x="15729" y="5499"/>
                  </a:cubicBezTo>
                  <a:cubicBezTo>
                    <a:pt x="16311" y="6344"/>
                    <a:pt x="16707" y="7304"/>
                    <a:pt x="16891" y="8316"/>
                  </a:cubicBezTo>
                  <a:cubicBezTo>
                    <a:pt x="16933" y="8536"/>
                    <a:pt x="17100" y="8711"/>
                    <a:pt x="17317" y="8763"/>
                  </a:cubicBezTo>
                  <a:lnTo>
                    <a:pt x="18193" y="8974"/>
                  </a:lnTo>
                  <a:lnTo>
                    <a:pt x="18193" y="10351"/>
                  </a:lnTo>
                  <a:lnTo>
                    <a:pt x="17317" y="10562"/>
                  </a:lnTo>
                  <a:cubicBezTo>
                    <a:pt x="17100" y="10614"/>
                    <a:pt x="16933" y="10789"/>
                    <a:pt x="16894" y="11009"/>
                  </a:cubicBezTo>
                  <a:cubicBezTo>
                    <a:pt x="16710" y="12021"/>
                    <a:pt x="16311" y="12981"/>
                    <a:pt x="15729" y="13826"/>
                  </a:cubicBezTo>
                  <a:cubicBezTo>
                    <a:pt x="15605" y="14007"/>
                    <a:pt x="15596" y="14246"/>
                    <a:pt x="15711" y="14436"/>
                  </a:cubicBezTo>
                  <a:lnTo>
                    <a:pt x="16154" y="15179"/>
                  </a:lnTo>
                  <a:lnTo>
                    <a:pt x="15179" y="16154"/>
                  </a:lnTo>
                  <a:lnTo>
                    <a:pt x="14439" y="15710"/>
                  </a:lnTo>
                  <a:cubicBezTo>
                    <a:pt x="14349" y="15656"/>
                    <a:pt x="14247" y="15629"/>
                    <a:pt x="14146" y="15629"/>
                  </a:cubicBezTo>
                  <a:cubicBezTo>
                    <a:pt x="14033" y="15629"/>
                    <a:pt x="13922" y="15662"/>
                    <a:pt x="13826" y="15729"/>
                  </a:cubicBezTo>
                  <a:cubicBezTo>
                    <a:pt x="12981" y="16311"/>
                    <a:pt x="12021" y="16707"/>
                    <a:pt x="11009" y="16891"/>
                  </a:cubicBezTo>
                  <a:cubicBezTo>
                    <a:pt x="10789" y="16933"/>
                    <a:pt x="10614" y="17099"/>
                    <a:pt x="10562" y="17317"/>
                  </a:cubicBezTo>
                  <a:lnTo>
                    <a:pt x="10351" y="18192"/>
                  </a:lnTo>
                  <a:lnTo>
                    <a:pt x="8974" y="18192"/>
                  </a:lnTo>
                  <a:lnTo>
                    <a:pt x="8763" y="17317"/>
                  </a:lnTo>
                  <a:cubicBezTo>
                    <a:pt x="8712" y="17099"/>
                    <a:pt x="8536" y="16933"/>
                    <a:pt x="8316" y="16891"/>
                  </a:cubicBezTo>
                  <a:cubicBezTo>
                    <a:pt x="7304" y="16707"/>
                    <a:pt x="6344" y="16311"/>
                    <a:pt x="5499" y="15729"/>
                  </a:cubicBezTo>
                  <a:cubicBezTo>
                    <a:pt x="5404" y="15662"/>
                    <a:pt x="5293" y="15629"/>
                    <a:pt x="5181" y="15629"/>
                  </a:cubicBezTo>
                  <a:cubicBezTo>
                    <a:pt x="5081" y="15629"/>
                    <a:pt x="4979" y="15656"/>
                    <a:pt x="4889" y="15710"/>
                  </a:cubicBezTo>
                  <a:lnTo>
                    <a:pt x="4146" y="16154"/>
                  </a:lnTo>
                  <a:lnTo>
                    <a:pt x="3171" y="15179"/>
                  </a:lnTo>
                  <a:lnTo>
                    <a:pt x="3615" y="14436"/>
                  </a:lnTo>
                  <a:cubicBezTo>
                    <a:pt x="3729" y="14246"/>
                    <a:pt x="3723" y="14007"/>
                    <a:pt x="3597" y="13826"/>
                  </a:cubicBezTo>
                  <a:cubicBezTo>
                    <a:pt x="3014" y="12981"/>
                    <a:pt x="2618" y="12021"/>
                    <a:pt x="2434" y="11009"/>
                  </a:cubicBezTo>
                  <a:cubicBezTo>
                    <a:pt x="2392" y="10789"/>
                    <a:pt x="2226" y="10614"/>
                    <a:pt x="2011" y="10562"/>
                  </a:cubicBezTo>
                  <a:lnTo>
                    <a:pt x="1133" y="10351"/>
                  </a:lnTo>
                  <a:lnTo>
                    <a:pt x="1133" y="8974"/>
                  </a:lnTo>
                  <a:lnTo>
                    <a:pt x="2008" y="8763"/>
                  </a:lnTo>
                  <a:cubicBezTo>
                    <a:pt x="2226" y="8711"/>
                    <a:pt x="2392" y="8536"/>
                    <a:pt x="2431" y="8316"/>
                  </a:cubicBezTo>
                  <a:cubicBezTo>
                    <a:pt x="2615" y="7304"/>
                    <a:pt x="3014" y="6344"/>
                    <a:pt x="3597" y="5499"/>
                  </a:cubicBezTo>
                  <a:cubicBezTo>
                    <a:pt x="3720" y="5317"/>
                    <a:pt x="3729" y="5079"/>
                    <a:pt x="3615" y="4889"/>
                  </a:cubicBezTo>
                  <a:lnTo>
                    <a:pt x="3171" y="4146"/>
                  </a:lnTo>
                  <a:lnTo>
                    <a:pt x="4146" y="3171"/>
                  </a:lnTo>
                  <a:lnTo>
                    <a:pt x="4889" y="3614"/>
                  </a:lnTo>
                  <a:cubicBezTo>
                    <a:pt x="4979" y="3669"/>
                    <a:pt x="5081" y="3696"/>
                    <a:pt x="5181" y="3696"/>
                  </a:cubicBezTo>
                  <a:cubicBezTo>
                    <a:pt x="5293" y="3696"/>
                    <a:pt x="5404" y="3663"/>
                    <a:pt x="5499" y="3596"/>
                  </a:cubicBezTo>
                  <a:cubicBezTo>
                    <a:pt x="6344" y="3014"/>
                    <a:pt x="7304" y="2618"/>
                    <a:pt x="8316" y="2434"/>
                  </a:cubicBezTo>
                  <a:cubicBezTo>
                    <a:pt x="8536" y="2392"/>
                    <a:pt x="8712" y="2226"/>
                    <a:pt x="8763" y="2008"/>
                  </a:cubicBezTo>
                  <a:lnTo>
                    <a:pt x="8974" y="1132"/>
                  </a:lnTo>
                  <a:close/>
                  <a:moveTo>
                    <a:pt x="8530" y="0"/>
                  </a:moveTo>
                  <a:cubicBezTo>
                    <a:pt x="8268" y="0"/>
                    <a:pt x="8041" y="178"/>
                    <a:pt x="7981" y="432"/>
                  </a:cubicBezTo>
                  <a:lnTo>
                    <a:pt x="7748" y="1392"/>
                  </a:lnTo>
                  <a:cubicBezTo>
                    <a:pt x="6833" y="1604"/>
                    <a:pt x="5961" y="1963"/>
                    <a:pt x="5167" y="2461"/>
                  </a:cubicBezTo>
                  <a:lnTo>
                    <a:pt x="4348" y="1969"/>
                  </a:lnTo>
                  <a:cubicBezTo>
                    <a:pt x="4260" y="1915"/>
                    <a:pt x="4160" y="1889"/>
                    <a:pt x="4061" y="1889"/>
                  </a:cubicBezTo>
                  <a:cubicBezTo>
                    <a:pt x="3913" y="1889"/>
                    <a:pt x="3767" y="1946"/>
                    <a:pt x="3657" y="2056"/>
                  </a:cubicBezTo>
                  <a:lnTo>
                    <a:pt x="2057" y="3657"/>
                  </a:lnTo>
                  <a:cubicBezTo>
                    <a:pt x="1872" y="3841"/>
                    <a:pt x="1839" y="4125"/>
                    <a:pt x="1972" y="4348"/>
                  </a:cubicBezTo>
                  <a:lnTo>
                    <a:pt x="2461" y="5163"/>
                  </a:lnTo>
                  <a:cubicBezTo>
                    <a:pt x="1963" y="5958"/>
                    <a:pt x="1604" y="6830"/>
                    <a:pt x="1395" y="7745"/>
                  </a:cubicBezTo>
                  <a:lnTo>
                    <a:pt x="435" y="7978"/>
                  </a:lnTo>
                  <a:cubicBezTo>
                    <a:pt x="179" y="8041"/>
                    <a:pt x="0" y="8267"/>
                    <a:pt x="0" y="8530"/>
                  </a:cubicBezTo>
                  <a:lnTo>
                    <a:pt x="0" y="10795"/>
                  </a:lnTo>
                  <a:cubicBezTo>
                    <a:pt x="0" y="11057"/>
                    <a:pt x="179" y="11284"/>
                    <a:pt x="432" y="11344"/>
                  </a:cubicBezTo>
                  <a:lnTo>
                    <a:pt x="1392" y="11580"/>
                  </a:lnTo>
                  <a:cubicBezTo>
                    <a:pt x="1604" y="12492"/>
                    <a:pt x="1963" y="13364"/>
                    <a:pt x="2461" y="14158"/>
                  </a:cubicBezTo>
                  <a:lnTo>
                    <a:pt x="1969" y="14977"/>
                  </a:lnTo>
                  <a:cubicBezTo>
                    <a:pt x="1836" y="15200"/>
                    <a:pt x="1872" y="15484"/>
                    <a:pt x="2057" y="15668"/>
                  </a:cubicBezTo>
                  <a:lnTo>
                    <a:pt x="3657" y="17268"/>
                  </a:lnTo>
                  <a:cubicBezTo>
                    <a:pt x="3766" y="17378"/>
                    <a:pt x="3911" y="17435"/>
                    <a:pt x="4057" y="17435"/>
                  </a:cubicBezTo>
                  <a:cubicBezTo>
                    <a:pt x="4157" y="17435"/>
                    <a:pt x="4258" y="17408"/>
                    <a:pt x="4348" y="17353"/>
                  </a:cubicBezTo>
                  <a:lnTo>
                    <a:pt x="5164" y="16864"/>
                  </a:lnTo>
                  <a:cubicBezTo>
                    <a:pt x="5958" y="17362"/>
                    <a:pt x="6830" y="17721"/>
                    <a:pt x="7745" y="17930"/>
                  </a:cubicBezTo>
                  <a:lnTo>
                    <a:pt x="7978" y="18890"/>
                  </a:lnTo>
                  <a:cubicBezTo>
                    <a:pt x="8041" y="19147"/>
                    <a:pt x="8268" y="19325"/>
                    <a:pt x="8530" y="19325"/>
                  </a:cubicBezTo>
                  <a:lnTo>
                    <a:pt x="10795" y="19325"/>
                  </a:lnTo>
                  <a:cubicBezTo>
                    <a:pt x="11058" y="19325"/>
                    <a:pt x="11284" y="19147"/>
                    <a:pt x="11344" y="18893"/>
                  </a:cubicBezTo>
                  <a:lnTo>
                    <a:pt x="11577" y="17933"/>
                  </a:lnTo>
                  <a:cubicBezTo>
                    <a:pt x="12492" y="17721"/>
                    <a:pt x="13364" y="17362"/>
                    <a:pt x="14159" y="16864"/>
                  </a:cubicBezTo>
                  <a:lnTo>
                    <a:pt x="14977" y="17356"/>
                  </a:lnTo>
                  <a:cubicBezTo>
                    <a:pt x="15066" y="17410"/>
                    <a:pt x="15166" y="17436"/>
                    <a:pt x="15266" y="17436"/>
                  </a:cubicBezTo>
                  <a:cubicBezTo>
                    <a:pt x="15413" y="17436"/>
                    <a:pt x="15559" y="17379"/>
                    <a:pt x="15668" y="17271"/>
                  </a:cubicBezTo>
                  <a:lnTo>
                    <a:pt x="17269" y="15668"/>
                  </a:lnTo>
                  <a:cubicBezTo>
                    <a:pt x="17453" y="15484"/>
                    <a:pt x="17489" y="15200"/>
                    <a:pt x="17353" y="14977"/>
                  </a:cubicBezTo>
                  <a:lnTo>
                    <a:pt x="16864" y="14161"/>
                  </a:lnTo>
                  <a:cubicBezTo>
                    <a:pt x="17362" y="13367"/>
                    <a:pt x="17722" y="12495"/>
                    <a:pt x="17930" y="11580"/>
                  </a:cubicBezTo>
                  <a:lnTo>
                    <a:pt x="18890" y="11347"/>
                  </a:lnTo>
                  <a:cubicBezTo>
                    <a:pt x="19147" y="11284"/>
                    <a:pt x="19325" y="11057"/>
                    <a:pt x="19325" y="10795"/>
                  </a:cubicBezTo>
                  <a:lnTo>
                    <a:pt x="19325" y="8530"/>
                  </a:lnTo>
                  <a:cubicBezTo>
                    <a:pt x="19325" y="8267"/>
                    <a:pt x="19147" y="8041"/>
                    <a:pt x="18893" y="7981"/>
                  </a:cubicBezTo>
                  <a:lnTo>
                    <a:pt x="17933" y="7748"/>
                  </a:lnTo>
                  <a:cubicBezTo>
                    <a:pt x="17722" y="6833"/>
                    <a:pt x="17362" y="5961"/>
                    <a:pt x="16864" y="5166"/>
                  </a:cubicBezTo>
                  <a:lnTo>
                    <a:pt x="17356" y="4348"/>
                  </a:lnTo>
                  <a:cubicBezTo>
                    <a:pt x="17489" y="4128"/>
                    <a:pt x="17453" y="3841"/>
                    <a:pt x="17272" y="3657"/>
                  </a:cubicBezTo>
                  <a:lnTo>
                    <a:pt x="15668" y="2056"/>
                  </a:lnTo>
                  <a:cubicBezTo>
                    <a:pt x="15559" y="1947"/>
                    <a:pt x="15415" y="1890"/>
                    <a:pt x="15268" y="1890"/>
                  </a:cubicBezTo>
                  <a:cubicBezTo>
                    <a:pt x="15168" y="1890"/>
                    <a:pt x="15068" y="1917"/>
                    <a:pt x="14977" y="1972"/>
                  </a:cubicBezTo>
                  <a:lnTo>
                    <a:pt x="14162" y="2461"/>
                  </a:lnTo>
                  <a:cubicBezTo>
                    <a:pt x="13367" y="1963"/>
                    <a:pt x="12495" y="1604"/>
                    <a:pt x="11580" y="1395"/>
                  </a:cubicBezTo>
                  <a:lnTo>
                    <a:pt x="11347" y="435"/>
                  </a:lnTo>
                  <a:cubicBezTo>
                    <a:pt x="11284" y="178"/>
                    <a:pt x="11058" y="0"/>
                    <a:pt x="107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8" name="Google Shape;8988;p75"/>
            <p:cNvSpPr/>
            <p:nvPr/>
          </p:nvSpPr>
          <p:spPr>
            <a:xfrm>
              <a:off x="2762000" y="918475"/>
              <a:ext cx="311400" cy="311400"/>
            </a:xfrm>
            <a:custGeom>
              <a:avLst/>
              <a:gdLst/>
              <a:ahLst/>
              <a:cxnLst/>
              <a:rect l="l" t="t" r="r" b="b"/>
              <a:pathLst>
                <a:path w="12456" h="12456" extrusionOk="0">
                  <a:moveTo>
                    <a:pt x="6227" y="1133"/>
                  </a:moveTo>
                  <a:cubicBezTo>
                    <a:pt x="9038" y="1133"/>
                    <a:pt x="11323" y="3418"/>
                    <a:pt x="11323" y="6226"/>
                  </a:cubicBezTo>
                  <a:cubicBezTo>
                    <a:pt x="11323" y="9038"/>
                    <a:pt x="9038" y="11323"/>
                    <a:pt x="6227" y="11323"/>
                  </a:cubicBezTo>
                  <a:cubicBezTo>
                    <a:pt x="3419" y="11323"/>
                    <a:pt x="1133" y="9038"/>
                    <a:pt x="1133" y="6226"/>
                  </a:cubicBezTo>
                  <a:cubicBezTo>
                    <a:pt x="1133" y="3418"/>
                    <a:pt x="3419" y="1133"/>
                    <a:pt x="6227" y="1133"/>
                  </a:cubicBezTo>
                  <a:close/>
                  <a:moveTo>
                    <a:pt x="6227" y="0"/>
                  </a:moveTo>
                  <a:cubicBezTo>
                    <a:pt x="2794" y="0"/>
                    <a:pt x="1" y="2793"/>
                    <a:pt x="1" y="6226"/>
                  </a:cubicBezTo>
                  <a:cubicBezTo>
                    <a:pt x="1" y="9663"/>
                    <a:pt x="2794" y="12456"/>
                    <a:pt x="6227" y="12456"/>
                  </a:cubicBezTo>
                  <a:cubicBezTo>
                    <a:pt x="9663" y="12456"/>
                    <a:pt x="12456" y="9663"/>
                    <a:pt x="12456" y="6226"/>
                  </a:cubicBezTo>
                  <a:cubicBezTo>
                    <a:pt x="12456" y="2793"/>
                    <a:pt x="9663" y="0"/>
                    <a:pt x="62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89" name="Google Shape;8989;p75"/>
            <p:cNvSpPr/>
            <p:nvPr/>
          </p:nvSpPr>
          <p:spPr>
            <a:xfrm>
              <a:off x="2810775" y="975075"/>
              <a:ext cx="206025" cy="198150"/>
            </a:xfrm>
            <a:custGeom>
              <a:avLst/>
              <a:gdLst/>
              <a:ahLst/>
              <a:cxnLst/>
              <a:rect l="l" t="t" r="r" b="b"/>
              <a:pathLst>
                <a:path w="8241" h="7926" extrusionOk="0">
                  <a:moveTo>
                    <a:pt x="4275" y="1132"/>
                  </a:moveTo>
                  <a:cubicBezTo>
                    <a:pt x="4640" y="1132"/>
                    <a:pt x="5009" y="1203"/>
                    <a:pt x="5360" y="1348"/>
                  </a:cubicBezTo>
                  <a:cubicBezTo>
                    <a:pt x="6416" y="1785"/>
                    <a:pt x="7108" y="2818"/>
                    <a:pt x="7108" y="3962"/>
                  </a:cubicBezTo>
                  <a:cubicBezTo>
                    <a:pt x="7105" y="5527"/>
                    <a:pt x="5840" y="6792"/>
                    <a:pt x="4276" y="6795"/>
                  </a:cubicBezTo>
                  <a:cubicBezTo>
                    <a:pt x="3131" y="6795"/>
                    <a:pt x="2099" y="6103"/>
                    <a:pt x="1661" y="5046"/>
                  </a:cubicBezTo>
                  <a:cubicBezTo>
                    <a:pt x="1223" y="3987"/>
                    <a:pt x="1465" y="2770"/>
                    <a:pt x="2274" y="1961"/>
                  </a:cubicBezTo>
                  <a:cubicBezTo>
                    <a:pt x="2815" y="1419"/>
                    <a:pt x="3538" y="1132"/>
                    <a:pt x="4275" y="1132"/>
                  </a:cubicBezTo>
                  <a:close/>
                  <a:moveTo>
                    <a:pt x="4276" y="1"/>
                  </a:moveTo>
                  <a:cubicBezTo>
                    <a:pt x="2672" y="1"/>
                    <a:pt x="1229" y="964"/>
                    <a:pt x="613" y="2447"/>
                  </a:cubicBezTo>
                  <a:cubicBezTo>
                    <a:pt x="0" y="3926"/>
                    <a:pt x="341" y="5632"/>
                    <a:pt x="1474" y="6764"/>
                  </a:cubicBezTo>
                  <a:cubicBezTo>
                    <a:pt x="2232" y="7523"/>
                    <a:pt x="3247" y="7926"/>
                    <a:pt x="4279" y="7926"/>
                  </a:cubicBezTo>
                  <a:cubicBezTo>
                    <a:pt x="4789" y="7926"/>
                    <a:pt x="5302" y="7828"/>
                    <a:pt x="5791" y="7625"/>
                  </a:cubicBezTo>
                  <a:cubicBezTo>
                    <a:pt x="7274" y="7009"/>
                    <a:pt x="8240" y="5566"/>
                    <a:pt x="8240" y="3962"/>
                  </a:cubicBezTo>
                  <a:cubicBezTo>
                    <a:pt x="8237" y="1773"/>
                    <a:pt x="6465" y="1"/>
                    <a:pt x="42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90" name="Google Shape;8990;p75"/>
          <p:cNvGrpSpPr/>
          <p:nvPr/>
        </p:nvGrpSpPr>
        <p:grpSpPr>
          <a:xfrm>
            <a:off x="2517477" y="2706749"/>
            <a:ext cx="351610" cy="340168"/>
            <a:chOff x="3270550" y="832575"/>
            <a:chExt cx="499375" cy="483125"/>
          </a:xfrm>
        </p:grpSpPr>
        <p:sp>
          <p:nvSpPr>
            <p:cNvPr id="8991" name="Google Shape;8991;p75"/>
            <p:cNvSpPr/>
            <p:nvPr/>
          </p:nvSpPr>
          <p:spPr>
            <a:xfrm>
              <a:off x="3270550" y="865975"/>
              <a:ext cx="463725" cy="449725"/>
            </a:xfrm>
            <a:custGeom>
              <a:avLst/>
              <a:gdLst/>
              <a:ahLst/>
              <a:cxnLst/>
              <a:rect l="l" t="t" r="r" b="b"/>
              <a:pathLst>
                <a:path w="18549" h="17989" extrusionOk="0">
                  <a:moveTo>
                    <a:pt x="4823" y="1361"/>
                  </a:moveTo>
                  <a:lnTo>
                    <a:pt x="9177" y="8619"/>
                  </a:lnTo>
                  <a:cubicBezTo>
                    <a:pt x="9237" y="8716"/>
                    <a:pt x="9325" y="8794"/>
                    <a:pt x="9427" y="8843"/>
                  </a:cubicBezTo>
                  <a:lnTo>
                    <a:pt x="17136" y="12345"/>
                  </a:lnTo>
                  <a:cubicBezTo>
                    <a:pt x="15653" y="15102"/>
                    <a:pt x="12779" y="16856"/>
                    <a:pt x="9663" y="16856"/>
                  </a:cubicBezTo>
                  <a:cubicBezTo>
                    <a:pt x="4958" y="16856"/>
                    <a:pt x="1133" y="13031"/>
                    <a:pt x="1133" y="8326"/>
                  </a:cubicBezTo>
                  <a:cubicBezTo>
                    <a:pt x="1133" y="5573"/>
                    <a:pt x="2534" y="2952"/>
                    <a:pt x="4823" y="1361"/>
                  </a:cubicBezTo>
                  <a:close/>
                  <a:moveTo>
                    <a:pt x="5005" y="0"/>
                  </a:moveTo>
                  <a:cubicBezTo>
                    <a:pt x="4907" y="0"/>
                    <a:pt x="4807" y="26"/>
                    <a:pt x="4717" y="80"/>
                  </a:cubicBezTo>
                  <a:cubicBezTo>
                    <a:pt x="3313" y="926"/>
                    <a:pt x="2141" y="2106"/>
                    <a:pt x="1311" y="3516"/>
                  </a:cubicBezTo>
                  <a:cubicBezTo>
                    <a:pt x="453" y="4975"/>
                    <a:pt x="1" y="6636"/>
                    <a:pt x="1" y="8326"/>
                  </a:cubicBezTo>
                  <a:cubicBezTo>
                    <a:pt x="1" y="10896"/>
                    <a:pt x="1009" y="13321"/>
                    <a:pt x="2839" y="15150"/>
                  </a:cubicBezTo>
                  <a:cubicBezTo>
                    <a:pt x="4669" y="16980"/>
                    <a:pt x="7093" y="17989"/>
                    <a:pt x="9663" y="17989"/>
                  </a:cubicBezTo>
                  <a:cubicBezTo>
                    <a:pt x="13410" y="17989"/>
                    <a:pt x="16846" y="15757"/>
                    <a:pt x="18419" y="12306"/>
                  </a:cubicBezTo>
                  <a:cubicBezTo>
                    <a:pt x="18549" y="12022"/>
                    <a:pt x="18422" y="11687"/>
                    <a:pt x="18138" y="11557"/>
                  </a:cubicBezTo>
                  <a:lnTo>
                    <a:pt x="10058" y="7886"/>
                  </a:lnTo>
                  <a:lnTo>
                    <a:pt x="5493" y="277"/>
                  </a:lnTo>
                  <a:cubicBezTo>
                    <a:pt x="5387" y="99"/>
                    <a:pt x="5198" y="0"/>
                    <a:pt x="50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92" name="Google Shape;8992;p75"/>
            <p:cNvSpPr/>
            <p:nvPr/>
          </p:nvSpPr>
          <p:spPr>
            <a:xfrm>
              <a:off x="3562600" y="876075"/>
              <a:ext cx="207325" cy="241775"/>
            </a:xfrm>
            <a:custGeom>
              <a:avLst/>
              <a:gdLst/>
              <a:ahLst/>
              <a:cxnLst/>
              <a:rect l="l" t="t" r="r" b="b"/>
              <a:pathLst>
                <a:path w="8293" h="9671" extrusionOk="0">
                  <a:moveTo>
                    <a:pt x="4204" y="1437"/>
                  </a:moveTo>
                  <a:cubicBezTo>
                    <a:pt x="5680" y="2826"/>
                    <a:pt x="6517" y="4764"/>
                    <a:pt x="6511" y="6790"/>
                  </a:cubicBezTo>
                  <a:cubicBezTo>
                    <a:pt x="6511" y="7300"/>
                    <a:pt x="6459" y="7811"/>
                    <a:pt x="6354" y="8309"/>
                  </a:cubicBezTo>
                  <a:lnTo>
                    <a:pt x="1468" y="6090"/>
                  </a:lnTo>
                  <a:lnTo>
                    <a:pt x="4204" y="1437"/>
                  </a:lnTo>
                  <a:close/>
                  <a:moveTo>
                    <a:pt x="4060" y="1"/>
                  </a:moveTo>
                  <a:cubicBezTo>
                    <a:pt x="3867" y="1"/>
                    <a:pt x="3677" y="99"/>
                    <a:pt x="3570" y="280"/>
                  </a:cubicBezTo>
                  <a:lnTo>
                    <a:pt x="173" y="6056"/>
                  </a:lnTo>
                  <a:cubicBezTo>
                    <a:pt x="1" y="6346"/>
                    <a:pt x="119" y="6721"/>
                    <a:pt x="427" y="6860"/>
                  </a:cubicBezTo>
                  <a:lnTo>
                    <a:pt x="6499" y="9622"/>
                  </a:lnTo>
                  <a:cubicBezTo>
                    <a:pt x="6574" y="9656"/>
                    <a:pt x="6653" y="9671"/>
                    <a:pt x="6734" y="9671"/>
                  </a:cubicBezTo>
                  <a:cubicBezTo>
                    <a:pt x="6982" y="9671"/>
                    <a:pt x="7202" y="9508"/>
                    <a:pt x="7275" y="9269"/>
                  </a:cubicBezTo>
                  <a:cubicBezTo>
                    <a:pt x="8292" y="5921"/>
                    <a:pt x="7157" y="2291"/>
                    <a:pt x="4409" y="123"/>
                  </a:cubicBezTo>
                  <a:cubicBezTo>
                    <a:pt x="4305" y="40"/>
                    <a:pt x="4182" y="1"/>
                    <a:pt x="4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93" name="Google Shape;8993;p75"/>
            <p:cNvSpPr/>
            <p:nvPr/>
          </p:nvSpPr>
          <p:spPr>
            <a:xfrm>
              <a:off x="3443500" y="832575"/>
              <a:ext cx="187300" cy="173625"/>
            </a:xfrm>
            <a:custGeom>
              <a:avLst/>
              <a:gdLst/>
              <a:ahLst/>
              <a:cxnLst/>
              <a:rect l="l" t="t" r="r" b="b"/>
              <a:pathLst>
                <a:path w="7492" h="6945" extrusionOk="0">
                  <a:moveTo>
                    <a:pt x="3877" y="1133"/>
                  </a:moveTo>
                  <a:cubicBezTo>
                    <a:pt x="4588" y="1133"/>
                    <a:pt x="5300" y="1235"/>
                    <a:pt x="5991" y="1440"/>
                  </a:cubicBezTo>
                  <a:lnTo>
                    <a:pt x="3735" y="5269"/>
                  </a:lnTo>
                  <a:lnTo>
                    <a:pt x="1492" y="1528"/>
                  </a:lnTo>
                  <a:cubicBezTo>
                    <a:pt x="2264" y="1265"/>
                    <a:pt x="3070" y="1133"/>
                    <a:pt x="3877" y="1133"/>
                  </a:cubicBezTo>
                  <a:close/>
                  <a:moveTo>
                    <a:pt x="3877" y="0"/>
                  </a:moveTo>
                  <a:cubicBezTo>
                    <a:pt x="2702" y="0"/>
                    <a:pt x="1528" y="243"/>
                    <a:pt x="432" y="728"/>
                  </a:cubicBezTo>
                  <a:cubicBezTo>
                    <a:pt x="121" y="867"/>
                    <a:pt x="0" y="1244"/>
                    <a:pt x="175" y="1537"/>
                  </a:cubicBezTo>
                  <a:lnTo>
                    <a:pt x="3255" y="6670"/>
                  </a:lnTo>
                  <a:cubicBezTo>
                    <a:pt x="3358" y="6839"/>
                    <a:pt x="3542" y="6945"/>
                    <a:pt x="3741" y="6945"/>
                  </a:cubicBezTo>
                  <a:lnTo>
                    <a:pt x="3744" y="6945"/>
                  </a:lnTo>
                  <a:cubicBezTo>
                    <a:pt x="3943" y="6945"/>
                    <a:pt x="4128" y="6839"/>
                    <a:pt x="4230" y="6667"/>
                  </a:cubicBezTo>
                  <a:lnTo>
                    <a:pt x="7313" y="1419"/>
                  </a:lnTo>
                  <a:cubicBezTo>
                    <a:pt x="7491" y="1120"/>
                    <a:pt x="7358" y="737"/>
                    <a:pt x="7038" y="607"/>
                  </a:cubicBezTo>
                  <a:cubicBezTo>
                    <a:pt x="6023" y="202"/>
                    <a:pt x="4950" y="0"/>
                    <a:pt x="3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94" name="Google Shape;8994;p75"/>
          <p:cNvGrpSpPr/>
          <p:nvPr/>
        </p:nvGrpSpPr>
        <p:grpSpPr>
          <a:xfrm>
            <a:off x="2935756" y="2717381"/>
            <a:ext cx="340186" cy="318904"/>
            <a:chOff x="3865000" y="847675"/>
            <a:chExt cx="483150" cy="452925"/>
          </a:xfrm>
        </p:grpSpPr>
        <p:sp>
          <p:nvSpPr>
            <p:cNvPr id="8995" name="Google Shape;8995;p75"/>
            <p:cNvSpPr/>
            <p:nvPr/>
          </p:nvSpPr>
          <p:spPr>
            <a:xfrm>
              <a:off x="3865000" y="847675"/>
              <a:ext cx="483150" cy="452925"/>
            </a:xfrm>
            <a:custGeom>
              <a:avLst/>
              <a:gdLst/>
              <a:ahLst/>
              <a:cxnLst/>
              <a:rect l="l" t="t" r="r" b="b"/>
              <a:pathLst>
                <a:path w="19326" h="18117" extrusionOk="0">
                  <a:moveTo>
                    <a:pt x="9627" y="1132"/>
                  </a:moveTo>
                  <a:cubicBezTo>
                    <a:pt x="14349" y="1132"/>
                    <a:pt x="18193" y="4436"/>
                    <a:pt x="18193" y="8494"/>
                  </a:cubicBezTo>
                  <a:cubicBezTo>
                    <a:pt x="18193" y="12552"/>
                    <a:pt x="14349" y="15852"/>
                    <a:pt x="9627" y="15852"/>
                  </a:cubicBezTo>
                  <a:cubicBezTo>
                    <a:pt x="9619" y="15852"/>
                    <a:pt x="9611" y="15852"/>
                    <a:pt x="9603" y="15852"/>
                  </a:cubicBezTo>
                  <a:cubicBezTo>
                    <a:pt x="8397" y="15852"/>
                    <a:pt x="7207" y="15626"/>
                    <a:pt x="6088" y="15185"/>
                  </a:cubicBezTo>
                  <a:cubicBezTo>
                    <a:pt x="6019" y="15158"/>
                    <a:pt x="5947" y="15144"/>
                    <a:pt x="5876" y="15144"/>
                  </a:cubicBezTo>
                  <a:cubicBezTo>
                    <a:pt x="5720" y="15144"/>
                    <a:pt x="5568" y="15208"/>
                    <a:pt x="5460" y="15327"/>
                  </a:cubicBezTo>
                  <a:cubicBezTo>
                    <a:pt x="4780" y="16070"/>
                    <a:pt x="3896" y="16595"/>
                    <a:pt x="2917" y="16837"/>
                  </a:cubicBezTo>
                  <a:cubicBezTo>
                    <a:pt x="3461" y="15801"/>
                    <a:pt x="3582" y="14593"/>
                    <a:pt x="3262" y="13467"/>
                  </a:cubicBezTo>
                  <a:cubicBezTo>
                    <a:pt x="3238" y="13379"/>
                    <a:pt x="3189" y="13295"/>
                    <a:pt x="3126" y="13228"/>
                  </a:cubicBezTo>
                  <a:cubicBezTo>
                    <a:pt x="1843" y="11906"/>
                    <a:pt x="1133" y="10224"/>
                    <a:pt x="1133" y="8494"/>
                  </a:cubicBezTo>
                  <a:cubicBezTo>
                    <a:pt x="1133" y="4436"/>
                    <a:pt x="4944" y="1132"/>
                    <a:pt x="9627" y="1132"/>
                  </a:cubicBezTo>
                  <a:close/>
                  <a:moveTo>
                    <a:pt x="9627" y="0"/>
                  </a:moveTo>
                  <a:cubicBezTo>
                    <a:pt x="7066" y="0"/>
                    <a:pt x="4663" y="876"/>
                    <a:pt x="2848" y="2461"/>
                  </a:cubicBezTo>
                  <a:cubicBezTo>
                    <a:pt x="1012" y="4067"/>
                    <a:pt x="1" y="6211"/>
                    <a:pt x="1" y="8494"/>
                  </a:cubicBezTo>
                  <a:cubicBezTo>
                    <a:pt x="1" y="10472"/>
                    <a:pt x="783" y="12389"/>
                    <a:pt x="2208" y="13908"/>
                  </a:cubicBezTo>
                  <a:cubicBezTo>
                    <a:pt x="2492" y="15073"/>
                    <a:pt x="2148" y="16302"/>
                    <a:pt x="1299" y="17151"/>
                  </a:cubicBezTo>
                  <a:cubicBezTo>
                    <a:pt x="943" y="17507"/>
                    <a:pt x="1193" y="18117"/>
                    <a:pt x="1701" y="18117"/>
                  </a:cubicBezTo>
                  <a:cubicBezTo>
                    <a:pt x="3313" y="18114"/>
                    <a:pt x="4862" y="17489"/>
                    <a:pt x="6024" y="16372"/>
                  </a:cubicBezTo>
                  <a:cubicBezTo>
                    <a:pt x="7173" y="16776"/>
                    <a:pt x="8380" y="16985"/>
                    <a:pt x="9600" y="16985"/>
                  </a:cubicBezTo>
                  <a:cubicBezTo>
                    <a:pt x="9609" y="16985"/>
                    <a:pt x="9618" y="16985"/>
                    <a:pt x="9627" y="16985"/>
                  </a:cubicBezTo>
                  <a:cubicBezTo>
                    <a:pt x="12184" y="16985"/>
                    <a:pt x="14606" y="16112"/>
                    <a:pt x="16439" y="14524"/>
                  </a:cubicBezTo>
                  <a:cubicBezTo>
                    <a:pt x="18302" y="12914"/>
                    <a:pt x="19325" y="10773"/>
                    <a:pt x="19325" y="8494"/>
                  </a:cubicBezTo>
                  <a:cubicBezTo>
                    <a:pt x="19325" y="6211"/>
                    <a:pt x="18302" y="4070"/>
                    <a:pt x="16439" y="2461"/>
                  </a:cubicBezTo>
                  <a:cubicBezTo>
                    <a:pt x="14606" y="873"/>
                    <a:pt x="12184" y="0"/>
                    <a:pt x="96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96" name="Google Shape;8996;p75"/>
            <p:cNvSpPr/>
            <p:nvPr/>
          </p:nvSpPr>
          <p:spPr>
            <a:xfrm>
              <a:off x="4173600"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2" y="1738"/>
                    <a:pt x="1132" y="1512"/>
                  </a:cubicBezTo>
                  <a:cubicBezTo>
                    <a:pt x="1132"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97" name="Google Shape;8997;p75"/>
            <p:cNvSpPr/>
            <p:nvPr/>
          </p:nvSpPr>
          <p:spPr>
            <a:xfrm>
              <a:off x="4068825" y="1029775"/>
              <a:ext cx="78450" cy="75550"/>
            </a:xfrm>
            <a:custGeom>
              <a:avLst/>
              <a:gdLst/>
              <a:ahLst/>
              <a:cxnLst/>
              <a:rect l="l" t="t" r="r" b="b"/>
              <a:pathLst>
                <a:path w="3138" h="3022" extrusionOk="0">
                  <a:moveTo>
                    <a:pt x="1510" y="1134"/>
                  </a:moveTo>
                  <a:cubicBezTo>
                    <a:pt x="1845" y="1134"/>
                    <a:pt x="2014" y="1539"/>
                    <a:pt x="1776" y="1777"/>
                  </a:cubicBezTo>
                  <a:cubicBezTo>
                    <a:pt x="1699" y="1855"/>
                    <a:pt x="1605" y="1889"/>
                    <a:pt x="1513" y="1889"/>
                  </a:cubicBezTo>
                  <a:cubicBezTo>
                    <a:pt x="1319" y="1889"/>
                    <a:pt x="1132" y="1738"/>
                    <a:pt x="1132" y="1512"/>
                  </a:cubicBezTo>
                  <a:cubicBezTo>
                    <a:pt x="1132" y="1300"/>
                    <a:pt x="1302" y="1134"/>
                    <a:pt x="1510" y="1134"/>
                  </a:cubicBezTo>
                  <a:close/>
                  <a:moveTo>
                    <a:pt x="1511" y="1"/>
                  </a:moveTo>
                  <a:cubicBezTo>
                    <a:pt x="1316" y="1"/>
                    <a:pt x="1120" y="39"/>
                    <a:pt x="933" y="117"/>
                  </a:cubicBezTo>
                  <a:cubicBezTo>
                    <a:pt x="369" y="349"/>
                    <a:pt x="0" y="899"/>
                    <a:pt x="0" y="1512"/>
                  </a:cubicBezTo>
                  <a:cubicBezTo>
                    <a:pt x="0" y="2345"/>
                    <a:pt x="677" y="3021"/>
                    <a:pt x="1510" y="3021"/>
                  </a:cubicBezTo>
                  <a:cubicBezTo>
                    <a:pt x="2120" y="3021"/>
                    <a:pt x="2672" y="2653"/>
                    <a:pt x="2905" y="2088"/>
                  </a:cubicBezTo>
                  <a:cubicBezTo>
                    <a:pt x="3137" y="1524"/>
                    <a:pt x="3011" y="875"/>
                    <a:pt x="2579" y="443"/>
                  </a:cubicBezTo>
                  <a:cubicBezTo>
                    <a:pt x="2290" y="154"/>
                    <a:pt x="1903" y="1"/>
                    <a:pt x="15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8998" name="Google Shape;8998;p75"/>
            <p:cNvSpPr/>
            <p:nvPr/>
          </p:nvSpPr>
          <p:spPr>
            <a:xfrm>
              <a:off x="3964125"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3" y="1738"/>
                    <a:pt x="1133" y="1512"/>
                  </a:cubicBezTo>
                  <a:cubicBezTo>
                    <a:pt x="1133"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8999" name="Google Shape;8999;p75"/>
          <p:cNvGrpSpPr/>
          <p:nvPr/>
        </p:nvGrpSpPr>
        <p:grpSpPr>
          <a:xfrm>
            <a:off x="3351439" y="2727300"/>
            <a:ext cx="344798" cy="299066"/>
            <a:chOff x="4452900" y="861750"/>
            <a:chExt cx="489700" cy="424750"/>
          </a:xfrm>
        </p:grpSpPr>
        <p:sp>
          <p:nvSpPr>
            <p:cNvPr id="9000" name="Google Shape;9000;p75"/>
            <p:cNvSpPr/>
            <p:nvPr/>
          </p:nvSpPr>
          <p:spPr>
            <a:xfrm>
              <a:off x="4452900" y="861750"/>
              <a:ext cx="489700" cy="424750"/>
            </a:xfrm>
            <a:custGeom>
              <a:avLst/>
              <a:gdLst/>
              <a:ahLst/>
              <a:cxnLst/>
              <a:rect l="l" t="t" r="r" b="b"/>
              <a:pathLst>
                <a:path w="19588" h="16990" extrusionOk="0">
                  <a:moveTo>
                    <a:pt x="3660" y="1137"/>
                  </a:moveTo>
                  <a:cubicBezTo>
                    <a:pt x="4575" y="1137"/>
                    <a:pt x="5402" y="1687"/>
                    <a:pt x="5752" y="2532"/>
                  </a:cubicBezTo>
                  <a:cubicBezTo>
                    <a:pt x="6102" y="3380"/>
                    <a:pt x="5909" y="4353"/>
                    <a:pt x="5260" y="5002"/>
                  </a:cubicBezTo>
                  <a:cubicBezTo>
                    <a:pt x="4828" y="5434"/>
                    <a:pt x="4249" y="5664"/>
                    <a:pt x="3660" y="5664"/>
                  </a:cubicBezTo>
                  <a:cubicBezTo>
                    <a:pt x="3368" y="5664"/>
                    <a:pt x="3073" y="5607"/>
                    <a:pt x="2793" y="5491"/>
                  </a:cubicBezTo>
                  <a:cubicBezTo>
                    <a:pt x="1948" y="5141"/>
                    <a:pt x="1395" y="4317"/>
                    <a:pt x="1395" y="3402"/>
                  </a:cubicBezTo>
                  <a:cubicBezTo>
                    <a:pt x="1395" y="2149"/>
                    <a:pt x="2410" y="1137"/>
                    <a:pt x="3660" y="1137"/>
                  </a:cubicBezTo>
                  <a:close/>
                  <a:moveTo>
                    <a:pt x="10453" y="1137"/>
                  </a:moveTo>
                  <a:cubicBezTo>
                    <a:pt x="11043" y="1137"/>
                    <a:pt x="11622" y="1366"/>
                    <a:pt x="12054" y="1798"/>
                  </a:cubicBezTo>
                  <a:cubicBezTo>
                    <a:pt x="12703" y="2447"/>
                    <a:pt x="12896" y="3420"/>
                    <a:pt x="12546" y="4268"/>
                  </a:cubicBezTo>
                  <a:cubicBezTo>
                    <a:pt x="12196" y="5114"/>
                    <a:pt x="11368" y="5666"/>
                    <a:pt x="10453" y="5666"/>
                  </a:cubicBezTo>
                  <a:cubicBezTo>
                    <a:pt x="9203" y="5663"/>
                    <a:pt x="8189" y="4652"/>
                    <a:pt x="8189" y="3402"/>
                  </a:cubicBezTo>
                  <a:cubicBezTo>
                    <a:pt x="8189" y="2484"/>
                    <a:pt x="8741" y="1659"/>
                    <a:pt x="9587" y="1309"/>
                  </a:cubicBezTo>
                  <a:cubicBezTo>
                    <a:pt x="9867" y="1193"/>
                    <a:pt x="10161" y="1137"/>
                    <a:pt x="10453" y="1137"/>
                  </a:cubicBezTo>
                  <a:close/>
                  <a:moveTo>
                    <a:pt x="14983" y="9063"/>
                  </a:moveTo>
                  <a:lnTo>
                    <a:pt x="14983" y="13592"/>
                  </a:lnTo>
                  <a:lnTo>
                    <a:pt x="13850" y="13592"/>
                  </a:lnTo>
                  <a:lnTo>
                    <a:pt x="13850" y="9063"/>
                  </a:lnTo>
                  <a:close/>
                  <a:moveTo>
                    <a:pt x="18455" y="7276"/>
                  </a:moveTo>
                  <a:lnTo>
                    <a:pt x="18455" y="15377"/>
                  </a:lnTo>
                  <a:lnTo>
                    <a:pt x="16115" y="13849"/>
                  </a:lnTo>
                  <a:lnTo>
                    <a:pt x="16115" y="8803"/>
                  </a:lnTo>
                  <a:lnTo>
                    <a:pt x="18455" y="7276"/>
                  </a:lnTo>
                  <a:close/>
                  <a:moveTo>
                    <a:pt x="12153" y="6799"/>
                  </a:moveTo>
                  <a:cubicBezTo>
                    <a:pt x="12464" y="6799"/>
                    <a:pt x="12718" y="7049"/>
                    <a:pt x="12718" y="7363"/>
                  </a:cubicBezTo>
                  <a:lnTo>
                    <a:pt x="12718" y="15289"/>
                  </a:lnTo>
                  <a:cubicBezTo>
                    <a:pt x="12718" y="15603"/>
                    <a:pt x="12464" y="15857"/>
                    <a:pt x="12153" y="15857"/>
                  </a:cubicBezTo>
                  <a:lnTo>
                    <a:pt x="1963" y="15857"/>
                  </a:lnTo>
                  <a:cubicBezTo>
                    <a:pt x="1649" y="15857"/>
                    <a:pt x="1395" y="15603"/>
                    <a:pt x="1395" y="15289"/>
                  </a:cubicBezTo>
                  <a:lnTo>
                    <a:pt x="1395" y="7363"/>
                  </a:lnTo>
                  <a:cubicBezTo>
                    <a:pt x="1395" y="7049"/>
                    <a:pt x="1649" y="6799"/>
                    <a:pt x="1963" y="6799"/>
                  </a:cubicBezTo>
                  <a:close/>
                  <a:moveTo>
                    <a:pt x="3656" y="0"/>
                  </a:moveTo>
                  <a:cubicBezTo>
                    <a:pt x="3623" y="0"/>
                    <a:pt x="3590" y="1"/>
                    <a:pt x="3557" y="2"/>
                  </a:cubicBezTo>
                  <a:cubicBezTo>
                    <a:pt x="2198" y="44"/>
                    <a:pt x="997" y="889"/>
                    <a:pt x="498" y="2155"/>
                  </a:cubicBezTo>
                  <a:cubicBezTo>
                    <a:pt x="0" y="3417"/>
                    <a:pt x="305" y="4857"/>
                    <a:pt x="1271" y="5811"/>
                  </a:cubicBezTo>
                  <a:cubicBezTo>
                    <a:pt x="658" y="6086"/>
                    <a:pt x="263" y="6693"/>
                    <a:pt x="263" y="7363"/>
                  </a:cubicBezTo>
                  <a:lnTo>
                    <a:pt x="263" y="15289"/>
                  </a:lnTo>
                  <a:cubicBezTo>
                    <a:pt x="263" y="16228"/>
                    <a:pt x="1024" y="16986"/>
                    <a:pt x="1963" y="16989"/>
                  </a:cubicBezTo>
                  <a:lnTo>
                    <a:pt x="12153" y="16989"/>
                  </a:lnTo>
                  <a:cubicBezTo>
                    <a:pt x="13089" y="16986"/>
                    <a:pt x="13850" y="16228"/>
                    <a:pt x="13850" y="15289"/>
                  </a:cubicBezTo>
                  <a:lnTo>
                    <a:pt x="13850" y="14725"/>
                  </a:lnTo>
                  <a:lnTo>
                    <a:pt x="15381" y="14725"/>
                  </a:lnTo>
                  <a:lnTo>
                    <a:pt x="18712" y="16896"/>
                  </a:lnTo>
                  <a:cubicBezTo>
                    <a:pt x="18810" y="16959"/>
                    <a:pt x="18916" y="16988"/>
                    <a:pt x="19020" y="16988"/>
                  </a:cubicBezTo>
                  <a:cubicBezTo>
                    <a:pt x="19315" y="16988"/>
                    <a:pt x="19587" y="16754"/>
                    <a:pt x="19587" y="16422"/>
                  </a:cubicBezTo>
                  <a:lnTo>
                    <a:pt x="19587" y="6231"/>
                  </a:lnTo>
                  <a:cubicBezTo>
                    <a:pt x="19587" y="6023"/>
                    <a:pt x="19473" y="5832"/>
                    <a:pt x="19291" y="5733"/>
                  </a:cubicBezTo>
                  <a:cubicBezTo>
                    <a:pt x="19206" y="5687"/>
                    <a:pt x="19114" y="5664"/>
                    <a:pt x="19021" y="5664"/>
                  </a:cubicBezTo>
                  <a:cubicBezTo>
                    <a:pt x="18913" y="5664"/>
                    <a:pt x="18806" y="5695"/>
                    <a:pt x="18712" y="5757"/>
                  </a:cubicBezTo>
                  <a:lnTo>
                    <a:pt x="15381" y="7931"/>
                  </a:lnTo>
                  <a:lnTo>
                    <a:pt x="13850" y="7931"/>
                  </a:lnTo>
                  <a:lnTo>
                    <a:pt x="13850" y="7363"/>
                  </a:lnTo>
                  <a:cubicBezTo>
                    <a:pt x="13850" y="6693"/>
                    <a:pt x="13455" y="6086"/>
                    <a:pt x="12842" y="5811"/>
                  </a:cubicBezTo>
                  <a:cubicBezTo>
                    <a:pt x="13808" y="4857"/>
                    <a:pt x="14113" y="3417"/>
                    <a:pt x="13615" y="2155"/>
                  </a:cubicBezTo>
                  <a:cubicBezTo>
                    <a:pt x="13117" y="889"/>
                    <a:pt x="11915" y="44"/>
                    <a:pt x="10556" y="2"/>
                  </a:cubicBezTo>
                  <a:cubicBezTo>
                    <a:pt x="10523" y="1"/>
                    <a:pt x="10490" y="0"/>
                    <a:pt x="10457" y="0"/>
                  </a:cubicBezTo>
                  <a:cubicBezTo>
                    <a:pt x="9137" y="0"/>
                    <a:pt x="7933" y="763"/>
                    <a:pt x="7374" y="1967"/>
                  </a:cubicBezTo>
                  <a:cubicBezTo>
                    <a:pt x="6800" y="3199"/>
                    <a:pt x="7017" y="4652"/>
                    <a:pt x="7926" y="5666"/>
                  </a:cubicBezTo>
                  <a:lnTo>
                    <a:pt x="6190" y="5666"/>
                  </a:lnTo>
                  <a:cubicBezTo>
                    <a:pt x="7096" y="4652"/>
                    <a:pt x="7313" y="3199"/>
                    <a:pt x="6740" y="1967"/>
                  </a:cubicBezTo>
                  <a:cubicBezTo>
                    <a:pt x="6180" y="763"/>
                    <a:pt x="4976" y="0"/>
                    <a:pt x="36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01" name="Google Shape;9001;p75"/>
            <p:cNvSpPr/>
            <p:nvPr/>
          </p:nvSpPr>
          <p:spPr>
            <a:xfrm>
              <a:off x="4572675" y="1074100"/>
              <a:ext cx="115375" cy="141625"/>
            </a:xfrm>
            <a:custGeom>
              <a:avLst/>
              <a:gdLst/>
              <a:ahLst/>
              <a:cxnLst/>
              <a:rect l="l" t="t" r="r" b="b"/>
              <a:pathLst>
                <a:path w="4615" h="5665" extrusionOk="0">
                  <a:moveTo>
                    <a:pt x="1133" y="1626"/>
                  </a:moveTo>
                  <a:lnTo>
                    <a:pt x="2945" y="2834"/>
                  </a:lnTo>
                  <a:lnTo>
                    <a:pt x="1133" y="4041"/>
                  </a:lnTo>
                  <a:lnTo>
                    <a:pt x="1133" y="1626"/>
                  </a:lnTo>
                  <a:close/>
                  <a:moveTo>
                    <a:pt x="569" y="1"/>
                  </a:moveTo>
                  <a:cubicBezTo>
                    <a:pt x="274" y="1"/>
                    <a:pt x="1" y="236"/>
                    <a:pt x="1" y="569"/>
                  </a:cubicBezTo>
                  <a:lnTo>
                    <a:pt x="1" y="5098"/>
                  </a:lnTo>
                  <a:cubicBezTo>
                    <a:pt x="1" y="5430"/>
                    <a:pt x="275" y="5665"/>
                    <a:pt x="571" y="5665"/>
                  </a:cubicBezTo>
                  <a:cubicBezTo>
                    <a:pt x="676" y="5665"/>
                    <a:pt x="784" y="5635"/>
                    <a:pt x="883" y="5569"/>
                  </a:cubicBezTo>
                  <a:lnTo>
                    <a:pt x="4280" y="3305"/>
                  </a:lnTo>
                  <a:cubicBezTo>
                    <a:pt x="4615" y="3078"/>
                    <a:pt x="4615" y="2583"/>
                    <a:pt x="4280" y="2360"/>
                  </a:cubicBezTo>
                  <a:lnTo>
                    <a:pt x="4280" y="2363"/>
                  </a:lnTo>
                  <a:lnTo>
                    <a:pt x="883" y="98"/>
                  </a:lnTo>
                  <a:cubicBezTo>
                    <a:pt x="783" y="31"/>
                    <a:pt x="674" y="1"/>
                    <a:pt x="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02" name="Google Shape;9002;p75"/>
            <p:cNvSpPr/>
            <p:nvPr/>
          </p:nvSpPr>
          <p:spPr>
            <a:xfrm>
              <a:off x="4714225" y="1060000"/>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3" y="879"/>
                    <a:pt x="1133" y="565"/>
                  </a:cubicBezTo>
                  <a:cubicBezTo>
                    <a:pt x="1133" y="251"/>
                    <a:pt x="879" y="1"/>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03" name="Google Shape;9003;p75"/>
          <p:cNvGrpSpPr/>
          <p:nvPr/>
        </p:nvGrpSpPr>
        <p:grpSpPr>
          <a:xfrm>
            <a:off x="3768671" y="2706758"/>
            <a:ext cx="355641" cy="340151"/>
            <a:chOff x="5049750" y="832600"/>
            <a:chExt cx="505100" cy="483100"/>
          </a:xfrm>
        </p:grpSpPr>
        <p:sp>
          <p:nvSpPr>
            <p:cNvPr id="9004" name="Google Shape;9004;p75"/>
            <p:cNvSpPr/>
            <p:nvPr/>
          </p:nvSpPr>
          <p:spPr>
            <a:xfrm>
              <a:off x="5049750" y="832600"/>
              <a:ext cx="505100" cy="483100"/>
            </a:xfrm>
            <a:custGeom>
              <a:avLst/>
              <a:gdLst/>
              <a:ahLst/>
              <a:cxnLst/>
              <a:rect l="l" t="t" r="r" b="b"/>
              <a:pathLst>
                <a:path w="20204" h="19324" extrusionOk="0">
                  <a:moveTo>
                    <a:pt x="12136" y="1129"/>
                  </a:moveTo>
                  <a:cubicBezTo>
                    <a:pt x="13730" y="1129"/>
                    <a:pt x="15325" y="1737"/>
                    <a:pt x="16538" y="2952"/>
                  </a:cubicBezTo>
                  <a:cubicBezTo>
                    <a:pt x="18969" y="5383"/>
                    <a:pt x="18969" y="9323"/>
                    <a:pt x="16538" y="11757"/>
                  </a:cubicBezTo>
                  <a:cubicBezTo>
                    <a:pt x="15341" y="12950"/>
                    <a:pt x="13747" y="13579"/>
                    <a:pt x="12129" y="13579"/>
                  </a:cubicBezTo>
                  <a:cubicBezTo>
                    <a:pt x="11233" y="13579"/>
                    <a:pt x="10329" y="13386"/>
                    <a:pt x="9482" y="12989"/>
                  </a:cubicBezTo>
                  <a:cubicBezTo>
                    <a:pt x="9461" y="12980"/>
                    <a:pt x="9440" y="12968"/>
                    <a:pt x="9419" y="12959"/>
                  </a:cubicBezTo>
                  <a:cubicBezTo>
                    <a:pt x="8794" y="12657"/>
                    <a:pt x="8223" y="12249"/>
                    <a:pt x="7734" y="11757"/>
                  </a:cubicBezTo>
                  <a:cubicBezTo>
                    <a:pt x="5306" y="9329"/>
                    <a:pt x="5306" y="5380"/>
                    <a:pt x="7734" y="2952"/>
                  </a:cubicBezTo>
                  <a:cubicBezTo>
                    <a:pt x="8948" y="1737"/>
                    <a:pt x="10542" y="1129"/>
                    <a:pt x="12136" y="1129"/>
                  </a:cubicBezTo>
                  <a:close/>
                  <a:moveTo>
                    <a:pt x="5871" y="11216"/>
                  </a:moveTo>
                  <a:cubicBezTo>
                    <a:pt x="6475" y="12195"/>
                    <a:pt x="7296" y="13016"/>
                    <a:pt x="8271" y="13620"/>
                  </a:cubicBezTo>
                  <a:lnTo>
                    <a:pt x="7734" y="14160"/>
                  </a:lnTo>
                  <a:cubicBezTo>
                    <a:pt x="7622" y="14271"/>
                    <a:pt x="7477" y="14326"/>
                    <a:pt x="7332" y="14326"/>
                  </a:cubicBezTo>
                  <a:cubicBezTo>
                    <a:pt x="7188" y="14326"/>
                    <a:pt x="7044" y="14271"/>
                    <a:pt x="6934" y="14160"/>
                  </a:cubicBezTo>
                  <a:lnTo>
                    <a:pt x="5330" y="12557"/>
                  </a:lnTo>
                  <a:cubicBezTo>
                    <a:pt x="5110" y="12337"/>
                    <a:pt x="5110" y="11977"/>
                    <a:pt x="5330" y="11757"/>
                  </a:cubicBezTo>
                  <a:lnTo>
                    <a:pt x="5871" y="11216"/>
                  </a:lnTo>
                  <a:close/>
                  <a:moveTo>
                    <a:pt x="4932" y="13762"/>
                  </a:moveTo>
                  <a:lnTo>
                    <a:pt x="5732" y="14562"/>
                  </a:lnTo>
                  <a:lnTo>
                    <a:pt x="4932" y="15362"/>
                  </a:lnTo>
                  <a:lnTo>
                    <a:pt x="4131" y="14562"/>
                  </a:lnTo>
                  <a:lnTo>
                    <a:pt x="4932" y="13762"/>
                  </a:lnTo>
                  <a:close/>
                  <a:moveTo>
                    <a:pt x="3328" y="15362"/>
                  </a:moveTo>
                  <a:lnTo>
                    <a:pt x="4128" y="16162"/>
                  </a:lnTo>
                  <a:lnTo>
                    <a:pt x="2268" y="18025"/>
                  </a:lnTo>
                  <a:cubicBezTo>
                    <a:pt x="2157" y="18135"/>
                    <a:pt x="2013" y="18190"/>
                    <a:pt x="1868" y="18190"/>
                  </a:cubicBezTo>
                  <a:cubicBezTo>
                    <a:pt x="1723" y="18190"/>
                    <a:pt x="1577" y="18134"/>
                    <a:pt x="1465" y="18022"/>
                  </a:cubicBezTo>
                  <a:cubicBezTo>
                    <a:pt x="1245" y="17802"/>
                    <a:pt x="1245" y="17443"/>
                    <a:pt x="1465" y="17222"/>
                  </a:cubicBezTo>
                  <a:lnTo>
                    <a:pt x="3328" y="15362"/>
                  </a:lnTo>
                  <a:close/>
                  <a:moveTo>
                    <a:pt x="12135" y="1"/>
                  </a:moveTo>
                  <a:cubicBezTo>
                    <a:pt x="10250" y="1"/>
                    <a:pt x="8365" y="718"/>
                    <a:pt x="6931" y="2152"/>
                  </a:cubicBezTo>
                  <a:cubicBezTo>
                    <a:pt x="4769" y="4311"/>
                    <a:pt x="4237" y="7493"/>
                    <a:pt x="5330" y="10157"/>
                  </a:cubicBezTo>
                  <a:lnTo>
                    <a:pt x="4527" y="10957"/>
                  </a:lnTo>
                  <a:cubicBezTo>
                    <a:pt x="4020" y="11467"/>
                    <a:pt x="3887" y="12240"/>
                    <a:pt x="4198" y="12892"/>
                  </a:cubicBezTo>
                  <a:lnTo>
                    <a:pt x="665" y="16422"/>
                  </a:lnTo>
                  <a:cubicBezTo>
                    <a:pt x="1" y="17086"/>
                    <a:pt x="1" y="18161"/>
                    <a:pt x="665" y="18825"/>
                  </a:cubicBezTo>
                  <a:cubicBezTo>
                    <a:pt x="996" y="19158"/>
                    <a:pt x="1431" y="19324"/>
                    <a:pt x="1865" y="19324"/>
                  </a:cubicBezTo>
                  <a:cubicBezTo>
                    <a:pt x="2300" y="19324"/>
                    <a:pt x="2735" y="19158"/>
                    <a:pt x="3066" y="18825"/>
                  </a:cubicBezTo>
                  <a:lnTo>
                    <a:pt x="6598" y="15293"/>
                  </a:lnTo>
                  <a:cubicBezTo>
                    <a:pt x="6831" y="15403"/>
                    <a:pt x="7081" y="15457"/>
                    <a:pt x="7328" y="15457"/>
                  </a:cubicBezTo>
                  <a:cubicBezTo>
                    <a:pt x="7770" y="15457"/>
                    <a:pt x="8206" y="15286"/>
                    <a:pt x="8531" y="14961"/>
                  </a:cubicBezTo>
                  <a:lnTo>
                    <a:pt x="9331" y="14163"/>
                  </a:lnTo>
                  <a:cubicBezTo>
                    <a:pt x="10241" y="14538"/>
                    <a:pt x="11190" y="14717"/>
                    <a:pt x="12127" y="14717"/>
                  </a:cubicBezTo>
                  <a:cubicBezTo>
                    <a:pt x="14530" y="14717"/>
                    <a:pt x="16858" y="13537"/>
                    <a:pt x="18256" y="11437"/>
                  </a:cubicBezTo>
                  <a:cubicBezTo>
                    <a:pt x="20204" y="8520"/>
                    <a:pt x="19821" y="4631"/>
                    <a:pt x="17342" y="2152"/>
                  </a:cubicBezTo>
                  <a:cubicBezTo>
                    <a:pt x="15906" y="718"/>
                    <a:pt x="14020" y="1"/>
                    <a:pt x="121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05" name="Google Shape;9005;p75"/>
            <p:cNvSpPr/>
            <p:nvPr/>
          </p:nvSpPr>
          <p:spPr>
            <a:xfrm>
              <a:off x="5216725" y="889175"/>
              <a:ext cx="276000" cy="254400"/>
            </a:xfrm>
            <a:custGeom>
              <a:avLst/>
              <a:gdLst/>
              <a:ahLst/>
              <a:cxnLst/>
              <a:rect l="l" t="t" r="r" b="b"/>
              <a:pathLst>
                <a:path w="11040" h="10176" extrusionOk="0">
                  <a:moveTo>
                    <a:pt x="5456" y="1133"/>
                  </a:moveTo>
                  <a:cubicBezTo>
                    <a:pt x="6487" y="1133"/>
                    <a:pt x="7500" y="1535"/>
                    <a:pt x="8259" y="2293"/>
                  </a:cubicBezTo>
                  <a:cubicBezTo>
                    <a:pt x="9802" y="3839"/>
                    <a:pt x="9802" y="6348"/>
                    <a:pt x="8259" y="7897"/>
                  </a:cubicBezTo>
                  <a:cubicBezTo>
                    <a:pt x="7501" y="8653"/>
                    <a:pt x="6489" y="9055"/>
                    <a:pt x="5460" y="9055"/>
                  </a:cubicBezTo>
                  <a:cubicBezTo>
                    <a:pt x="4948" y="9055"/>
                    <a:pt x="4433" y="8956"/>
                    <a:pt x="3941" y="8751"/>
                  </a:cubicBezTo>
                  <a:cubicBezTo>
                    <a:pt x="2462" y="8138"/>
                    <a:pt x="1499" y="6695"/>
                    <a:pt x="1499" y="5095"/>
                  </a:cubicBezTo>
                  <a:cubicBezTo>
                    <a:pt x="1499" y="3491"/>
                    <a:pt x="2462" y="2048"/>
                    <a:pt x="3941" y="1435"/>
                  </a:cubicBezTo>
                  <a:cubicBezTo>
                    <a:pt x="4431" y="1232"/>
                    <a:pt x="4946" y="1133"/>
                    <a:pt x="5456" y="1133"/>
                  </a:cubicBezTo>
                  <a:close/>
                  <a:moveTo>
                    <a:pt x="5468" y="1"/>
                  </a:moveTo>
                  <a:cubicBezTo>
                    <a:pt x="5465" y="1"/>
                    <a:pt x="5461" y="1"/>
                    <a:pt x="5457" y="1"/>
                  </a:cubicBezTo>
                  <a:cubicBezTo>
                    <a:pt x="3029" y="4"/>
                    <a:pt x="943" y="1719"/>
                    <a:pt x="472" y="4098"/>
                  </a:cubicBezTo>
                  <a:cubicBezTo>
                    <a:pt x="1" y="6481"/>
                    <a:pt x="1275" y="8860"/>
                    <a:pt x="3519" y="9787"/>
                  </a:cubicBezTo>
                  <a:cubicBezTo>
                    <a:pt x="4151" y="10049"/>
                    <a:pt x="4811" y="10175"/>
                    <a:pt x="5463" y="10175"/>
                  </a:cubicBezTo>
                  <a:cubicBezTo>
                    <a:pt x="7120" y="10175"/>
                    <a:pt x="8725" y="9362"/>
                    <a:pt x="9693" y="7912"/>
                  </a:cubicBezTo>
                  <a:cubicBezTo>
                    <a:pt x="11040" y="5895"/>
                    <a:pt x="10774" y="3207"/>
                    <a:pt x="9059" y="1492"/>
                  </a:cubicBezTo>
                  <a:cubicBezTo>
                    <a:pt x="8108" y="535"/>
                    <a:pt x="6814" y="1"/>
                    <a:pt x="5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06" name="Google Shape;9006;p75"/>
          <p:cNvSpPr/>
          <p:nvPr/>
        </p:nvSpPr>
        <p:spPr>
          <a:xfrm>
            <a:off x="4188930" y="2731276"/>
            <a:ext cx="341700" cy="290899"/>
          </a:xfrm>
          <a:custGeom>
            <a:avLst/>
            <a:gdLst/>
            <a:ahLst/>
            <a:cxnLst/>
            <a:rect l="l" t="t" r="r" b="b"/>
            <a:pathLst>
              <a:path w="19412" h="16526" extrusionOk="0">
                <a:moveTo>
                  <a:pt x="8421" y="4128"/>
                </a:moveTo>
                <a:lnTo>
                  <a:pt x="8421" y="6791"/>
                </a:lnTo>
                <a:lnTo>
                  <a:pt x="5302" y="6791"/>
                </a:lnTo>
                <a:lnTo>
                  <a:pt x="4511" y="4128"/>
                </a:lnTo>
                <a:close/>
                <a:moveTo>
                  <a:pt x="12661" y="4131"/>
                </a:moveTo>
                <a:lnTo>
                  <a:pt x="12661" y="6791"/>
                </a:lnTo>
                <a:lnTo>
                  <a:pt x="9554" y="6791"/>
                </a:lnTo>
                <a:lnTo>
                  <a:pt x="9554" y="4131"/>
                </a:lnTo>
                <a:close/>
                <a:moveTo>
                  <a:pt x="17999" y="4131"/>
                </a:moveTo>
                <a:lnTo>
                  <a:pt x="17208" y="6791"/>
                </a:lnTo>
                <a:lnTo>
                  <a:pt x="13793" y="6791"/>
                </a:lnTo>
                <a:lnTo>
                  <a:pt x="13793" y="4131"/>
                </a:lnTo>
                <a:close/>
                <a:moveTo>
                  <a:pt x="8421" y="7923"/>
                </a:moveTo>
                <a:lnTo>
                  <a:pt x="8421" y="10583"/>
                </a:lnTo>
                <a:lnTo>
                  <a:pt x="6432" y="10583"/>
                </a:lnTo>
                <a:lnTo>
                  <a:pt x="5640" y="7923"/>
                </a:lnTo>
                <a:close/>
                <a:moveTo>
                  <a:pt x="12661" y="7923"/>
                </a:moveTo>
                <a:lnTo>
                  <a:pt x="12661" y="10583"/>
                </a:lnTo>
                <a:lnTo>
                  <a:pt x="9554" y="10583"/>
                </a:lnTo>
                <a:lnTo>
                  <a:pt x="9554" y="7923"/>
                </a:lnTo>
                <a:close/>
                <a:moveTo>
                  <a:pt x="16873" y="7923"/>
                </a:moveTo>
                <a:lnTo>
                  <a:pt x="16076" y="10583"/>
                </a:lnTo>
                <a:lnTo>
                  <a:pt x="13793" y="10583"/>
                </a:lnTo>
                <a:lnTo>
                  <a:pt x="13793" y="7923"/>
                </a:lnTo>
                <a:close/>
                <a:moveTo>
                  <a:pt x="7935" y="13570"/>
                </a:moveTo>
                <a:cubicBezTo>
                  <a:pt x="8744" y="13570"/>
                  <a:pt x="9152" y="14551"/>
                  <a:pt x="8578" y="15125"/>
                </a:cubicBezTo>
                <a:cubicBezTo>
                  <a:pt x="8393" y="15310"/>
                  <a:pt x="8165" y="15393"/>
                  <a:pt x="7941" y="15393"/>
                </a:cubicBezTo>
                <a:cubicBezTo>
                  <a:pt x="7473" y="15393"/>
                  <a:pt x="7023" y="15029"/>
                  <a:pt x="7023" y="14482"/>
                </a:cubicBezTo>
                <a:cubicBezTo>
                  <a:pt x="7023" y="13977"/>
                  <a:pt x="7431" y="13573"/>
                  <a:pt x="7932" y="13570"/>
                </a:cubicBezTo>
                <a:close/>
                <a:moveTo>
                  <a:pt x="14910" y="13570"/>
                </a:moveTo>
                <a:cubicBezTo>
                  <a:pt x="15719" y="13570"/>
                  <a:pt x="16127" y="14551"/>
                  <a:pt x="15553" y="15125"/>
                </a:cubicBezTo>
                <a:cubicBezTo>
                  <a:pt x="15368" y="15310"/>
                  <a:pt x="15140" y="15393"/>
                  <a:pt x="14916" y="15393"/>
                </a:cubicBezTo>
                <a:cubicBezTo>
                  <a:pt x="14448" y="15393"/>
                  <a:pt x="13998" y="15029"/>
                  <a:pt x="13998" y="14482"/>
                </a:cubicBezTo>
                <a:cubicBezTo>
                  <a:pt x="13998" y="13977"/>
                  <a:pt x="14406" y="13570"/>
                  <a:pt x="14910" y="13570"/>
                </a:cubicBezTo>
                <a:close/>
                <a:moveTo>
                  <a:pt x="568" y="0"/>
                </a:moveTo>
                <a:cubicBezTo>
                  <a:pt x="254" y="0"/>
                  <a:pt x="0" y="254"/>
                  <a:pt x="0" y="565"/>
                </a:cubicBezTo>
                <a:cubicBezTo>
                  <a:pt x="0" y="879"/>
                  <a:pt x="254" y="1133"/>
                  <a:pt x="568" y="1133"/>
                </a:cubicBezTo>
                <a:lnTo>
                  <a:pt x="2437" y="1133"/>
                </a:lnTo>
                <a:lnTo>
                  <a:pt x="3204" y="3714"/>
                </a:lnTo>
                <a:cubicBezTo>
                  <a:pt x="3207" y="3720"/>
                  <a:pt x="3210" y="3729"/>
                  <a:pt x="3213" y="3738"/>
                </a:cubicBezTo>
                <a:lnTo>
                  <a:pt x="5251" y="10589"/>
                </a:lnTo>
                <a:cubicBezTo>
                  <a:pt x="4052" y="10671"/>
                  <a:pt x="3131" y="11685"/>
                  <a:pt x="3171" y="12887"/>
                </a:cubicBezTo>
                <a:cubicBezTo>
                  <a:pt x="3210" y="14089"/>
                  <a:pt x="4194" y="15043"/>
                  <a:pt x="5396" y="15046"/>
                </a:cubicBezTo>
                <a:lnTo>
                  <a:pt x="5970" y="15046"/>
                </a:lnTo>
                <a:cubicBezTo>
                  <a:pt x="6220" y="15922"/>
                  <a:pt x="7020" y="16526"/>
                  <a:pt x="7932" y="16526"/>
                </a:cubicBezTo>
                <a:cubicBezTo>
                  <a:pt x="8841" y="16526"/>
                  <a:pt x="9641" y="15922"/>
                  <a:pt x="9895" y="15046"/>
                </a:cubicBezTo>
                <a:lnTo>
                  <a:pt x="12947" y="15046"/>
                </a:lnTo>
                <a:cubicBezTo>
                  <a:pt x="13198" y="15922"/>
                  <a:pt x="13998" y="16523"/>
                  <a:pt x="14910" y="16523"/>
                </a:cubicBezTo>
                <a:cubicBezTo>
                  <a:pt x="15819" y="16523"/>
                  <a:pt x="16619" y="15922"/>
                  <a:pt x="16873" y="15046"/>
                </a:cubicBezTo>
                <a:lnTo>
                  <a:pt x="17616" y="15046"/>
                </a:lnTo>
                <a:cubicBezTo>
                  <a:pt x="17927" y="15046"/>
                  <a:pt x="18180" y="14793"/>
                  <a:pt x="18180" y="14482"/>
                </a:cubicBezTo>
                <a:cubicBezTo>
                  <a:pt x="18180" y="14167"/>
                  <a:pt x="17927" y="13914"/>
                  <a:pt x="17616" y="13914"/>
                </a:cubicBezTo>
                <a:lnTo>
                  <a:pt x="16873" y="13914"/>
                </a:lnTo>
                <a:cubicBezTo>
                  <a:pt x="16619" y="13041"/>
                  <a:pt x="15819" y="12437"/>
                  <a:pt x="14910" y="12437"/>
                </a:cubicBezTo>
                <a:cubicBezTo>
                  <a:pt x="13998" y="12437"/>
                  <a:pt x="13198" y="13041"/>
                  <a:pt x="12947" y="13914"/>
                </a:cubicBezTo>
                <a:lnTo>
                  <a:pt x="9895" y="13914"/>
                </a:lnTo>
                <a:cubicBezTo>
                  <a:pt x="9644" y="13038"/>
                  <a:pt x="8844" y="12437"/>
                  <a:pt x="7932" y="12437"/>
                </a:cubicBezTo>
                <a:cubicBezTo>
                  <a:pt x="7023" y="12437"/>
                  <a:pt x="6223" y="13038"/>
                  <a:pt x="5970" y="13914"/>
                </a:cubicBezTo>
                <a:lnTo>
                  <a:pt x="5399" y="13914"/>
                </a:lnTo>
                <a:cubicBezTo>
                  <a:pt x="4798" y="13905"/>
                  <a:pt x="4318" y="13416"/>
                  <a:pt x="4318" y="12815"/>
                </a:cubicBezTo>
                <a:cubicBezTo>
                  <a:pt x="4318" y="12217"/>
                  <a:pt x="4798" y="11728"/>
                  <a:pt x="5399" y="11716"/>
                </a:cubicBezTo>
                <a:lnTo>
                  <a:pt x="16501" y="11716"/>
                </a:lnTo>
                <a:cubicBezTo>
                  <a:pt x="16752" y="11716"/>
                  <a:pt x="16972" y="11553"/>
                  <a:pt x="17045" y="11311"/>
                </a:cubicBezTo>
                <a:lnTo>
                  <a:pt x="19303" y="3726"/>
                </a:lnTo>
                <a:cubicBezTo>
                  <a:pt x="19412" y="3362"/>
                  <a:pt x="19140" y="2999"/>
                  <a:pt x="18765" y="2999"/>
                </a:cubicBezTo>
                <a:cubicBezTo>
                  <a:pt x="18763" y="2999"/>
                  <a:pt x="18761" y="2999"/>
                  <a:pt x="18760" y="2999"/>
                </a:cubicBezTo>
                <a:lnTo>
                  <a:pt x="4173" y="2999"/>
                </a:lnTo>
                <a:lnTo>
                  <a:pt x="3400" y="405"/>
                </a:lnTo>
                <a:cubicBezTo>
                  <a:pt x="3328" y="163"/>
                  <a:pt x="3107" y="0"/>
                  <a:pt x="28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07" name="Google Shape;9007;p75"/>
          <p:cNvGrpSpPr/>
          <p:nvPr/>
        </p:nvGrpSpPr>
        <p:grpSpPr>
          <a:xfrm>
            <a:off x="4627621" y="2706749"/>
            <a:ext cx="298996" cy="340168"/>
            <a:chOff x="6272100" y="832575"/>
            <a:chExt cx="424650" cy="483125"/>
          </a:xfrm>
        </p:grpSpPr>
        <p:sp>
          <p:nvSpPr>
            <p:cNvPr id="9008" name="Google Shape;9008;p75"/>
            <p:cNvSpPr/>
            <p:nvPr/>
          </p:nvSpPr>
          <p:spPr>
            <a:xfrm>
              <a:off x="6272100" y="832575"/>
              <a:ext cx="424650" cy="483125"/>
            </a:xfrm>
            <a:custGeom>
              <a:avLst/>
              <a:gdLst/>
              <a:ahLst/>
              <a:cxnLst/>
              <a:rect l="l" t="t" r="r" b="b"/>
              <a:pathLst>
                <a:path w="16986" h="19325" extrusionOk="0">
                  <a:moveTo>
                    <a:pt x="2265" y="6537"/>
                  </a:moveTo>
                  <a:lnTo>
                    <a:pt x="2265" y="8334"/>
                  </a:lnTo>
                  <a:lnTo>
                    <a:pt x="1366" y="7437"/>
                  </a:lnTo>
                  <a:lnTo>
                    <a:pt x="2265" y="6537"/>
                  </a:lnTo>
                  <a:close/>
                  <a:moveTo>
                    <a:pt x="14721" y="6537"/>
                  </a:moveTo>
                  <a:lnTo>
                    <a:pt x="15617" y="7437"/>
                  </a:lnTo>
                  <a:lnTo>
                    <a:pt x="14721" y="8334"/>
                  </a:lnTo>
                  <a:lnTo>
                    <a:pt x="14721" y="6537"/>
                  </a:lnTo>
                  <a:close/>
                  <a:moveTo>
                    <a:pt x="13588" y="1132"/>
                  </a:moveTo>
                  <a:lnTo>
                    <a:pt x="13588" y="9466"/>
                  </a:lnTo>
                  <a:lnTo>
                    <a:pt x="10521" y="12531"/>
                  </a:lnTo>
                  <a:lnTo>
                    <a:pt x="6462" y="12531"/>
                  </a:lnTo>
                  <a:lnTo>
                    <a:pt x="3398" y="9466"/>
                  </a:lnTo>
                  <a:lnTo>
                    <a:pt x="3398" y="1132"/>
                  </a:lnTo>
                  <a:close/>
                  <a:moveTo>
                    <a:pt x="1133" y="8802"/>
                  </a:moveTo>
                  <a:lnTo>
                    <a:pt x="5427" y="13099"/>
                  </a:lnTo>
                  <a:lnTo>
                    <a:pt x="1133" y="17392"/>
                  </a:lnTo>
                  <a:lnTo>
                    <a:pt x="1133" y="8802"/>
                  </a:lnTo>
                  <a:close/>
                  <a:moveTo>
                    <a:pt x="15853" y="8802"/>
                  </a:moveTo>
                  <a:lnTo>
                    <a:pt x="15853" y="17392"/>
                  </a:lnTo>
                  <a:lnTo>
                    <a:pt x="11556" y="13099"/>
                  </a:lnTo>
                  <a:lnTo>
                    <a:pt x="15853" y="8802"/>
                  </a:lnTo>
                  <a:close/>
                  <a:moveTo>
                    <a:pt x="10521" y="13663"/>
                  </a:moveTo>
                  <a:lnTo>
                    <a:pt x="15050" y="18192"/>
                  </a:lnTo>
                  <a:lnTo>
                    <a:pt x="1933" y="18192"/>
                  </a:lnTo>
                  <a:lnTo>
                    <a:pt x="6462" y="13663"/>
                  </a:lnTo>
                  <a:close/>
                  <a:moveTo>
                    <a:pt x="2830" y="0"/>
                  </a:moveTo>
                  <a:cubicBezTo>
                    <a:pt x="2516" y="0"/>
                    <a:pt x="2265" y="254"/>
                    <a:pt x="2265" y="568"/>
                  </a:cubicBezTo>
                  <a:lnTo>
                    <a:pt x="2265" y="4937"/>
                  </a:lnTo>
                  <a:lnTo>
                    <a:pt x="164" y="7036"/>
                  </a:lnTo>
                  <a:lnTo>
                    <a:pt x="161" y="7042"/>
                  </a:lnTo>
                  <a:cubicBezTo>
                    <a:pt x="152" y="7051"/>
                    <a:pt x="143" y="7063"/>
                    <a:pt x="134" y="7072"/>
                  </a:cubicBezTo>
                  <a:lnTo>
                    <a:pt x="125" y="7084"/>
                  </a:lnTo>
                  <a:cubicBezTo>
                    <a:pt x="112" y="7096"/>
                    <a:pt x="103" y="7108"/>
                    <a:pt x="94" y="7120"/>
                  </a:cubicBezTo>
                  <a:cubicBezTo>
                    <a:pt x="91" y="7126"/>
                    <a:pt x="88" y="7129"/>
                    <a:pt x="85" y="7132"/>
                  </a:cubicBezTo>
                  <a:cubicBezTo>
                    <a:pt x="85" y="7138"/>
                    <a:pt x="73" y="7153"/>
                    <a:pt x="70" y="7162"/>
                  </a:cubicBezTo>
                  <a:cubicBezTo>
                    <a:pt x="64" y="7171"/>
                    <a:pt x="61" y="7174"/>
                    <a:pt x="58" y="7180"/>
                  </a:cubicBezTo>
                  <a:cubicBezTo>
                    <a:pt x="55" y="7186"/>
                    <a:pt x="52" y="7199"/>
                    <a:pt x="46" y="7208"/>
                  </a:cubicBezTo>
                  <a:cubicBezTo>
                    <a:pt x="43" y="7217"/>
                    <a:pt x="40" y="7220"/>
                    <a:pt x="40" y="7226"/>
                  </a:cubicBezTo>
                  <a:cubicBezTo>
                    <a:pt x="34" y="7241"/>
                    <a:pt x="28" y="7256"/>
                    <a:pt x="25" y="7271"/>
                  </a:cubicBezTo>
                  <a:cubicBezTo>
                    <a:pt x="25" y="7274"/>
                    <a:pt x="22" y="7280"/>
                    <a:pt x="19" y="7283"/>
                  </a:cubicBezTo>
                  <a:cubicBezTo>
                    <a:pt x="16" y="7295"/>
                    <a:pt x="13" y="7307"/>
                    <a:pt x="13" y="7319"/>
                  </a:cubicBezTo>
                  <a:cubicBezTo>
                    <a:pt x="13" y="7325"/>
                    <a:pt x="10" y="7331"/>
                    <a:pt x="10" y="7334"/>
                  </a:cubicBezTo>
                  <a:cubicBezTo>
                    <a:pt x="7" y="7340"/>
                    <a:pt x="4" y="7359"/>
                    <a:pt x="4" y="7371"/>
                  </a:cubicBezTo>
                  <a:lnTo>
                    <a:pt x="4" y="7386"/>
                  </a:lnTo>
                  <a:cubicBezTo>
                    <a:pt x="4" y="7401"/>
                    <a:pt x="1" y="7416"/>
                    <a:pt x="1" y="7434"/>
                  </a:cubicBezTo>
                  <a:lnTo>
                    <a:pt x="1" y="17625"/>
                  </a:lnTo>
                  <a:cubicBezTo>
                    <a:pt x="1" y="18063"/>
                    <a:pt x="170" y="18482"/>
                    <a:pt x="475" y="18799"/>
                  </a:cubicBezTo>
                  <a:cubicBezTo>
                    <a:pt x="481" y="18808"/>
                    <a:pt x="490" y="18817"/>
                    <a:pt x="499" y="18826"/>
                  </a:cubicBezTo>
                  <a:cubicBezTo>
                    <a:pt x="508" y="18833"/>
                    <a:pt x="517" y="18842"/>
                    <a:pt x="526" y="18851"/>
                  </a:cubicBezTo>
                  <a:cubicBezTo>
                    <a:pt x="840" y="19156"/>
                    <a:pt x="1260" y="19325"/>
                    <a:pt x="1698" y="19325"/>
                  </a:cubicBezTo>
                  <a:lnTo>
                    <a:pt x="15285" y="19325"/>
                  </a:lnTo>
                  <a:cubicBezTo>
                    <a:pt x="15723" y="19325"/>
                    <a:pt x="16143" y="19156"/>
                    <a:pt x="16460" y="18854"/>
                  </a:cubicBezTo>
                  <a:cubicBezTo>
                    <a:pt x="16469" y="18845"/>
                    <a:pt x="16478" y="18836"/>
                    <a:pt x="16487" y="18826"/>
                  </a:cubicBezTo>
                  <a:cubicBezTo>
                    <a:pt x="16496" y="18817"/>
                    <a:pt x="16502" y="18808"/>
                    <a:pt x="16511" y="18799"/>
                  </a:cubicBezTo>
                  <a:cubicBezTo>
                    <a:pt x="16816" y="18485"/>
                    <a:pt x="16985" y="18063"/>
                    <a:pt x="16985" y="17628"/>
                  </a:cubicBezTo>
                  <a:lnTo>
                    <a:pt x="16985" y="7437"/>
                  </a:lnTo>
                  <a:cubicBezTo>
                    <a:pt x="16985" y="7419"/>
                    <a:pt x="16985" y="7404"/>
                    <a:pt x="16982" y="7389"/>
                  </a:cubicBezTo>
                  <a:lnTo>
                    <a:pt x="16982" y="7371"/>
                  </a:lnTo>
                  <a:cubicBezTo>
                    <a:pt x="16982" y="7362"/>
                    <a:pt x="16979" y="7350"/>
                    <a:pt x="16976" y="7337"/>
                  </a:cubicBezTo>
                  <a:cubicBezTo>
                    <a:pt x="16973" y="7328"/>
                    <a:pt x="16973" y="7325"/>
                    <a:pt x="16973" y="7319"/>
                  </a:cubicBezTo>
                  <a:cubicBezTo>
                    <a:pt x="16973" y="7316"/>
                    <a:pt x="16967" y="7298"/>
                    <a:pt x="16964" y="7286"/>
                  </a:cubicBezTo>
                  <a:cubicBezTo>
                    <a:pt x="16964" y="7283"/>
                    <a:pt x="16964" y="7277"/>
                    <a:pt x="16961" y="7271"/>
                  </a:cubicBezTo>
                  <a:cubicBezTo>
                    <a:pt x="16958" y="7256"/>
                    <a:pt x="16952" y="7244"/>
                    <a:pt x="16946" y="7229"/>
                  </a:cubicBezTo>
                  <a:cubicBezTo>
                    <a:pt x="16943" y="7223"/>
                    <a:pt x="16940" y="7217"/>
                    <a:pt x="16940" y="7211"/>
                  </a:cubicBezTo>
                  <a:cubicBezTo>
                    <a:pt x="16937" y="7205"/>
                    <a:pt x="16931" y="7193"/>
                    <a:pt x="16925" y="7183"/>
                  </a:cubicBezTo>
                  <a:cubicBezTo>
                    <a:pt x="16922" y="7174"/>
                    <a:pt x="16919" y="7171"/>
                    <a:pt x="16916" y="7165"/>
                  </a:cubicBezTo>
                  <a:cubicBezTo>
                    <a:pt x="16913" y="7159"/>
                    <a:pt x="16904" y="7144"/>
                    <a:pt x="16898" y="7135"/>
                  </a:cubicBezTo>
                  <a:lnTo>
                    <a:pt x="16892" y="7123"/>
                  </a:lnTo>
                  <a:cubicBezTo>
                    <a:pt x="16882" y="7108"/>
                    <a:pt x="16873" y="7096"/>
                    <a:pt x="16861" y="7084"/>
                  </a:cubicBezTo>
                  <a:lnTo>
                    <a:pt x="16852" y="7075"/>
                  </a:lnTo>
                  <a:cubicBezTo>
                    <a:pt x="16843" y="7063"/>
                    <a:pt x="16834" y="7054"/>
                    <a:pt x="16825" y="7045"/>
                  </a:cubicBezTo>
                  <a:lnTo>
                    <a:pt x="16819" y="7039"/>
                  </a:lnTo>
                  <a:lnTo>
                    <a:pt x="14721" y="4937"/>
                  </a:lnTo>
                  <a:lnTo>
                    <a:pt x="14721" y="568"/>
                  </a:lnTo>
                  <a:cubicBezTo>
                    <a:pt x="14721" y="254"/>
                    <a:pt x="14467" y="0"/>
                    <a:pt x="141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09" name="Google Shape;9009;p75"/>
            <p:cNvSpPr/>
            <p:nvPr/>
          </p:nvSpPr>
          <p:spPr>
            <a:xfrm>
              <a:off x="6384200" y="889150"/>
              <a:ext cx="199300" cy="198200"/>
            </a:xfrm>
            <a:custGeom>
              <a:avLst/>
              <a:gdLst/>
              <a:ahLst/>
              <a:cxnLst/>
              <a:rect l="l" t="t" r="r" b="b"/>
              <a:pathLst>
                <a:path w="7972" h="7928" extrusionOk="0">
                  <a:moveTo>
                    <a:pt x="4005" y="3398"/>
                  </a:moveTo>
                  <a:cubicBezTo>
                    <a:pt x="4274" y="3398"/>
                    <a:pt x="4534" y="3588"/>
                    <a:pt x="4569" y="3900"/>
                  </a:cubicBezTo>
                  <a:cubicBezTo>
                    <a:pt x="4560" y="3951"/>
                    <a:pt x="4560" y="4003"/>
                    <a:pt x="4566" y="4057"/>
                  </a:cubicBezTo>
                  <a:cubicBezTo>
                    <a:pt x="4521" y="4329"/>
                    <a:pt x="4285" y="4531"/>
                    <a:pt x="4007" y="4531"/>
                  </a:cubicBezTo>
                  <a:cubicBezTo>
                    <a:pt x="3518" y="4531"/>
                    <a:pt x="3259" y="3954"/>
                    <a:pt x="3585" y="3589"/>
                  </a:cubicBezTo>
                  <a:cubicBezTo>
                    <a:pt x="3702" y="3458"/>
                    <a:pt x="3855" y="3398"/>
                    <a:pt x="4005" y="3398"/>
                  </a:cubicBezTo>
                  <a:close/>
                  <a:moveTo>
                    <a:pt x="4005" y="1"/>
                  </a:moveTo>
                  <a:cubicBezTo>
                    <a:pt x="3351" y="1"/>
                    <a:pt x="2696" y="163"/>
                    <a:pt x="2102" y="488"/>
                  </a:cubicBezTo>
                  <a:cubicBezTo>
                    <a:pt x="876" y="1161"/>
                    <a:pt x="94" y="2432"/>
                    <a:pt x="46" y="3830"/>
                  </a:cubicBezTo>
                  <a:cubicBezTo>
                    <a:pt x="1" y="5231"/>
                    <a:pt x="695" y="6551"/>
                    <a:pt x="1876" y="7303"/>
                  </a:cubicBezTo>
                  <a:cubicBezTo>
                    <a:pt x="2510" y="7713"/>
                    <a:pt x="3247" y="7928"/>
                    <a:pt x="4001" y="7928"/>
                  </a:cubicBezTo>
                  <a:cubicBezTo>
                    <a:pt x="4629" y="7925"/>
                    <a:pt x="5248" y="7783"/>
                    <a:pt x="5816" y="7517"/>
                  </a:cubicBezTo>
                  <a:cubicBezTo>
                    <a:pt x="6106" y="7390"/>
                    <a:pt x="6233" y="7049"/>
                    <a:pt x="6100" y="6762"/>
                  </a:cubicBezTo>
                  <a:cubicBezTo>
                    <a:pt x="6006" y="6555"/>
                    <a:pt x="5802" y="6435"/>
                    <a:pt x="5589" y="6435"/>
                  </a:cubicBezTo>
                  <a:cubicBezTo>
                    <a:pt x="5506" y="6435"/>
                    <a:pt x="5422" y="6453"/>
                    <a:pt x="5342" y="6491"/>
                  </a:cubicBezTo>
                  <a:cubicBezTo>
                    <a:pt x="4902" y="6692"/>
                    <a:pt x="4449" y="6792"/>
                    <a:pt x="4007" y="6792"/>
                  </a:cubicBezTo>
                  <a:cubicBezTo>
                    <a:pt x="3468" y="6792"/>
                    <a:pt x="2947" y="6644"/>
                    <a:pt x="2486" y="6349"/>
                  </a:cubicBezTo>
                  <a:cubicBezTo>
                    <a:pt x="1643" y="5811"/>
                    <a:pt x="1145" y="4869"/>
                    <a:pt x="1178" y="3870"/>
                  </a:cubicBezTo>
                  <a:cubicBezTo>
                    <a:pt x="1211" y="2870"/>
                    <a:pt x="1770" y="1961"/>
                    <a:pt x="2649" y="1481"/>
                  </a:cubicBezTo>
                  <a:cubicBezTo>
                    <a:pt x="3073" y="1247"/>
                    <a:pt x="3541" y="1131"/>
                    <a:pt x="4009" y="1131"/>
                  </a:cubicBezTo>
                  <a:cubicBezTo>
                    <a:pt x="4508" y="1131"/>
                    <a:pt x="5007" y="1263"/>
                    <a:pt x="5451" y="1527"/>
                  </a:cubicBezTo>
                  <a:cubicBezTo>
                    <a:pt x="6311" y="2037"/>
                    <a:pt x="6840" y="2964"/>
                    <a:pt x="6840" y="3966"/>
                  </a:cubicBezTo>
                  <a:cubicBezTo>
                    <a:pt x="6846" y="4277"/>
                    <a:pt x="6598" y="4537"/>
                    <a:pt x="6284" y="4543"/>
                  </a:cubicBezTo>
                  <a:cubicBezTo>
                    <a:pt x="6280" y="4543"/>
                    <a:pt x="6277" y="4543"/>
                    <a:pt x="6273" y="4543"/>
                  </a:cubicBezTo>
                  <a:cubicBezTo>
                    <a:pt x="5967" y="4543"/>
                    <a:pt x="5713" y="4298"/>
                    <a:pt x="5707" y="3990"/>
                  </a:cubicBezTo>
                  <a:lnTo>
                    <a:pt x="5707" y="3972"/>
                  </a:lnTo>
                  <a:lnTo>
                    <a:pt x="5707" y="3966"/>
                  </a:lnTo>
                  <a:cubicBezTo>
                    <a:pt x="5707" y="3163"/>
                    <a:pt x="5146" y="2469"/>
                    <a:pt x="4361" y="2300"/>
                  </a:cubicBezTo>
                  <a:cubicBezTo>
                    <a:pt x="4241" y="2274"/>
                    <a:pt x="4121" y="2261"/>
                    <a:pt x="4003" y="2261"/>
                  </a:cubicBezTo>
                  <a:cubicBezTo>
                    <a:pt x="3345" y="2261"/>
                    <a:pt x="2731" y="2647"/>
                    <a:pt x="2452" y="3269"/>
                  </a:cubicBezTo>
                  <a:cubicBezTo>
                    <a:pt x="2126" y="4000"/>
                    <a:pt x="2353" y="4863"/>
                    <a:pt x="3002" y="5337"/>
                  </a:cubicBezTo>
                  <a:cubicBezTo>
                    <a:pt x="3302" y="5555"/>
                    <a:pt x="3654" y="5663"/>
                    <a:pt x="4005" y="5663"/>
                  </a:cubicBezTo>
                  <a:cubicBezTo>
                    <a:pt x="4413" y="5663"/>
                    <a:pt x="4818" y="5517"/>
                    <a:pt x="5140" y="5228"/>
                  </a:cubicBezTo>
                  <a:cubicBezTo>
                    <a:pt x="5457" y="5513"/>
                    <a:pt x="5863" y="5662"/>
                    <a:pt x="6274" y="5662"/>
                  </a:cubicBezTo>
                  <a:cubicBezTo>
                    <a:pt x="6507" y="5662"/>
                    <a:pt x="6742" y="5614"/>
                    <a:pt x="6963" y="5515"/>
                  </a:cubicBezTo>
                  <a:cubicBezTo>
                    <a:pt x="7576" y="5241"/>
                    <a:pt x="7969" y="4634"/>
                    <a:pt x="7972" y="3966"/>
                  </a:cubicBezTo>
                  <a:cubicBezTo>
                    <a:pt x="7972" y="2565"/>
                    <a:pt x="7232" y="1267"/>
                    <a:pt x="6027" y="554"/>
                  </a:cubicBezTo>
                  <a:cubicBezTo>
                    <a:pt x="5405" y="186"/>
                    <a:pt x="4705" y="1"/>
                    <a:pt x="40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10" name="Google Shape;9010;p75"/>
          <p:cNvGrpSpPr/>
          <p:nvPr/>
        </p:nvGrpSpPr>
        <p:grpSpPr>
          <a:xfrm>
            <a:off x="845828" y="3125798"/>
            <a:ext cx="340221" cy="340186"/>
            <a:chOff x="893650" y="1428000"/>
            <a:chExt cx="483200" cy="483150"/>
          </a:xfrm>
        </p:grpSpPr>
        <p:sp>
          <p:nvSpPr>
            <p:cNvPr id="9011" name="Google Shape;9011;p75"/>
            <p:cNvSpPr/>
            <p:nvPr/>
          </p:nvSpPr>
          <p:spPr>
            <a:xfrm>
              <a:off x="893650" y="1428000"/>
              <a:ext cx="483200" cy="483150"/>
            </a:xfrm>
            <a:custGeom>
              <a:avLst/>
              <a:gdLst/>
              <a:ahLst/>
              <a:cxnLst/>
              <a:rect l="l" t="t" r="r" b="b"/>
              <a:pathLst>
                <a:path w="19328" h="19326" extrusionOk="0">
                  <a:moveTo>
                    <a:pt x="3436" y="6012"/>
                  </a:moveTo>
                  <a:lnTo>
                    <a:pt x="3436" y="8869"/>
                  </a:lnTo>
                  <a:lnTo>
                    <a:pt x="1516" y="7435"/>
                  </a:lnTo>
                  <a:lnTo>
                    <a:pt x="3436" y="6012"/>
                  </a:lnTo>
                  <a:close/>
                  <a:moveTo>
                    <a:pt x="15892" y="6012"/>
                  </a:moveTo>
                  <a:lnTo>
                    <a:pt x="17812" y="7438"/>
                  </a:lnTo>
                  <a:lnTo>
                    <a:pt x="15892" y="8869"/>
                  </a:lnTo>
                  <a:lnTo>
                    <a:pt x="15892" y="6012"/>
                  </a:lnTo>
                  <a:close/>
                  <a:moveTo>
                    <a:pt x="14759" y="1133"/>
                  </a:moveTo>
                  <a:lnTo>
                    <a:pt x="14759" y="9717"/>
                  </a:lnTo>
                  <a:lnTo>
                    <a:pt x="9665" y="13522"/>
                  </a:lnTo>
                  <a:lnTo>
                    <a:pt x="4569" y="9717"/>
                  </a:lnTo>
                  <a:lnTo>
                    <a:pt x="4569" y="1133"/>
                  </a:lnTo>
                  <a:close/>
                  <a:moveTo>
                    <a:pt x="18195" y="8564"/>
                  </a:moveTo>
                  <a:lnTo>
                    <a:pt x="18195" y="17625"/>
                  </a:lnTo>
                  <a:cubicBezTo>
                    <a:pt x="18195" y="17939"/>
                    <a:pt x="17942" y="18193"/>
                    <a:pt x="17628" y="18193"/>
                  </a:cubicBezTo>
                  <a:lnTo>
                    <a:pt x="1700" y="18193"/>
                  </a:lnTo>
                  <a:cubicBezTo>
                    <a:pt x="1386" y="18193"/>
                    <a:pt x="1136" y="17939"/>
                    <a:pt x="1136" y="17625"/>
                  </a:cubicBezTo>
                  <a:lnTo>
                    <a:pt x="1136" y="8564"/>
                  </a:lnTo>
                  <a:lnTo>
                    <a:pt x="9324" y="14681"/>
                  </a:lnTo>
                  <a:cubicBezTo>
                    <a:pt x="9425" y="14757"/>
                    <a:pt x="9545" y="14794"/>
                    <a:pt x="9664" y="14794"/>
                  </a:cubicBezTo>
                  <a:cubicBezTo>
                    <a:pt x="9783" y="14794"/>
                    <a:pt x="9903" y="14757"/>
                    <a:pt x="10004" y="14681"/>
                  </a:cubicBezTo>
                  <a:lnTo>
                    <a:pt x="18195" y="8564"/>
                  </a:lnTo>
                  <a:close/>
                  <a:moveTo>
                    <a:pt x="4004" y="1"/>
                  </a:moveTo>
                  <a:cubicBezTo>
                    <a:pt x="3690" y="1"/>
                    <a:pt x="3436" y="251"/>
                    <a:pt x="3436" y="565"/>
                  </a:cubicBezTo>
                  <a:lnTo>
                    <a:pt x="3436" y="4605"/>
                  </a:lnTo>
                  <a:lnTo>
                    <a:pt x="230" y="6982"/>
                  </a:lnTo>
                  <a:lnTo>
                    <a:pt x="221" y="6991"/>
                  </a:lnTo>
                  <a:cubicBezTo>
                    <a:pt x="212" y="6997"/>
                    <a:pt x="200" y="7006"/>
                    <a:pt x="190" y="7015"/>
                  </a:cubicBezTo>
                  <a:lnTo>
                    <a:pt x="175" y="7030"/>
                  </a:lnTo>
                  <a:cubicBezTo>
                    <a:pt x="163" y="7042"/>
                    <a:pt x="151" y="7051"/>
                    <a:pt x="142" y="7063"/>
                  </a:cubicBezTo>
                  <a:cubicBezTo>
                    <a:pt x="139" y="7069"/>
                    <a:pt x="136" y="7072"/>
                    <a:pt x="133" y="7075"/>
                  </a:cubicBezTo>
                  <a:cubicBezTo>
                    <a:pt x="121" y="7090"/>
                    <a:pt x="106" y="7105"/>
                    <a:pt x="94" y="7124"/>
                  </a:cubicBezTo>
                  <a:cubicBezTo>
                    <a:pt x="94" y="7127"/>
                    <a:pt x="91" y="7130"/>
                    <a:pt x="88" y="7133"/>
                  </a:cubicBezTo>
                  <a:cubicBezTo>
                    <a:pt x="82" y="7148"/>
                    <a:pt x="73" y="7163"/>
                    <a:pt x="64" y="7178"/>
                  </a:cubicBezTo>
                  <a:cubicBezTo>
                    <a:pt x="61" y="7181"/>
                    <a:pt x="58" y="7187"/>
                    <a:pt x="58" y="7193"/>
                  </a:cubicBezTo>
                  <a:cubicBezTo>
                    <a:pt x="52" y="7205"/>
                    <a:pt x="46" y="7220"/>
                    <a:pt x="39" y="7232"/>
                  </a:cubicBezTo>
                  <a:lnTo>
                    <a:pt x="33" y="7250"/>
                  </a:lnTo>
                  <a:cubicBezTo>
                    <a:pt x="27" y="7265"/>
                    <a:pt x="24" y="7278"/>
                    <a:pt x="18" y="7293"/>
                  </a:cubicBezTo>
                  <a:cubicBezTo>
                    <a:pt x="18" y="7299"/>
                    <a:pt x="15" y="7305"/>
                    <a:pt x="15" y="7311"/>
                  </a:cubicBezTo>
                  <a:cubicBezTo>
                    <a:pt x="12" y="7326"/>
                    <a:pt x="9" y="7341"/>
                    <a:pt x="6" y="7356"/>
                  </a:cubicBezTo>
                  <a:cubicBezTo>
                    <a:pt x="6" y="7362"/>
                    <a:pt x="6" y="7368"/>
                    <a:pt x="3" y="7374"/>
                  </a:cubicBezTo>
                  <a:cubicBezTo>
                    <a:pt x="3" y="7392"/>
                    <a:pt x="0" y="7410"/>
                    <a:pt x="0" y="7432"/>
                  </a:cubicBezTo>
                  <a:lnTo>
                    <a:pt x="0" y="7435"/>
                  </a:lnTo>
                  <a:lnTo>
                    <a:pt x="3" y="7435"/>
                  </a:lnTo>
                  <a:lnTo>
                    <a:pt x="3" y="17625"/>
                  </a:lnTo>
                  <a:cubicBezTo>
                    <a:pt x="3" y="18564"/>
                    <a:pt x="761" y="19325"/>
                    <a:pt x="1700" y="19325"/>
                  </a:cubicBezTo>
                  <a:lnTo>
                    <a:pt x="17628" y="19325"/>
                  </a:lnTo>
                  <a:cubicBezTo>
                    <a:pt x="18567" y="19325"/>
                    <a:pt x="19325" y="18564"/>
                    <a:pt x="19328" y="17625"/>
                  </a:cubicBezTo>
                  <a:lnTo>
                    <a:pt x="19328" y="7435"/>
                  </a:lnTo>
                  <a:lnTo>
                    <a:pt x="19328" y="7428"/>
                  </a:lnTo>
                  <a:cubicBezTo>
                    <a:pt x="19328" y="7410"/>
                    <a:pt x="19325" y="7389"/>
                    <a:pt x="19322" y="7371"/>
                  </a:cubicBezTo>
                  <a:cubicBezTo>
                    <a:pt x="19322" y="7365"/>
                    <a:pt x="19322" y="7359"/>
                    <a:pt x="19319" y="7353"/>
                  </a:cubicBezTo>
                  <a:cubicBezTo>
                    <a:pt x="19319" y="7338"/>
                    <a:pt x="19316" y="7323"/>
                    <a:pt x="19313" y="7308"/>
                  </a:cubicBezTo>
                  <a:cubicBezTo>
                    <a:pt x="19313" y="7302"/>
                    <a:pt x="19310" y="7296"/>
                    <a:pt x="19307" y="7290"/>
                  </a:cubicBezTo>
                  <a:cubicBezTo>
                    <a:pt x="19304" y="7278"/>
                    <a:pt x="19301" y="7262"/>
                    <a:pt x="19294" y="7247"/>
                  </a:cubicBezTo>
                  <a:lnTo>
                    <a:pt x="19288" y="7232"/>
                  </a:lnTo>
                  <a:cubicBezTo>
                    <a:pt x="19282" y="7217"/>
                    <a:pt x="19276" y="7205"/>
                    <a:pt x="19270" y="7190"/>
                  </a:cubicBezTo>
                  <a:cubicBezTo>
                    <a:pt x="19267" y="7184"/>
                    <a:pt x="19264" y="7181"/>
                    <a:pt x="19264" y="7175"/>
                  </a:cubicBezTo>
                  <a:cubicBezTo>
                    <a:pt x="19255" y="7160"/>
                    <a:pt x="19246" y="7145"/>
                    <a:pt x="19237" y="7133"/>
                  </a:cubicBezTo>
                  <a:cubicBezTo>
                    <a:pt x="19237" y="7130"/>
                    <a:pt x="19234" y="7124"/>
                    <a:pt x="19231" y="7120"/>
                  </a:cubicBezTo>
                  <a:cubicBezTo>
                    <a:pt x="19219" y="7105"/>
                    <a:pt x="19207" y="7087"/>
                    <a:pt x="19195" y="7072"/>
                  </a:cubicBezTo>
                  <a:cubicBezTo>
                    <a:pt x="19192" y="7069"/>
                    <a:pt x="19189" y="7066"/>
                    <a:pt x="19186" y="7063"/>
                  </a:cubicBezTo>
                  <a:cubicBezTo>
                    <a:pt x="19174" y="7051"/>
                    <a:pt x="19165" y="7039"/>
                    <a:pt x="19153" y="7027"/>
                  </a:cubicBezTo>
                  <a:lnTo>
                    <a:pt x="19137" y="7015"/>
                  </a:lnTo>
                  <a:cubicBezTo>
                    <a:pt x="19125" y="7006"/>
                    <a:pt x="19116" y="6997"/>
                    <a:pt x="19104" y="6988"/>
                  </a:cubicBezTo>
                  <a:lnTo>
                    <a:pt x="19095" y="6979"/>
                  </a:lnTo>
                  <a:lnTo>
                    <a:pt x="15892" y="4605"/>
                  </a:lnTo>
                  <a:lnTo>
                    <a:pt x="15892" y="565"/>
                  </a:lnTo>
                  <a:cubicBezTo>
                    <a:pt x="15892" y="251"/>
                    <a:pt x="15638" y="1"/>
                    <a:pt x="153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12" name="Google Shape;9012;p75"/>
            <p:cNvSpPr/>
            <p:nvPr/>
          </p:nvSpPr>
          <p:spPr>
            <a:xfrm>
              <a:off x="1036150" y="1514825"/>
              <a:ext cx="198175" cy="28325"/>
            </a:xfrm>
            <a:custGeom>
              <a:avLst/>
              <a:gdLst/>
              <a:ahLst/>
              <a:cxnLst/>
              <a:rect l="l" t="t" r="r" b="b"/>
              <a:pathLst>
                <a:path w="7927" h="1133" extrusionOk="0">
                  <a:moveTo>
                    <a:pt x="569" y="0"/>
                  </a:moveTo>
                  <a:cubicBezTo>
                    <a:pt x="255" y="0"/>
                    <a:pt x="1" y="251"/>
                    <a:pt x="1" y="565"/>
                  </a:cubicBezTo>
                  <a:cubicBezTo>
                    <a:pt x="1" y="879"/>
                    <a:pt x="255" y="1132"/>
                    <a:pt x="569" y="1132"/>
                  </a:cubicBezTo>
                  <a:lnTo>
                    <a:pt x="7362" y="1132"/>
                  </a:lnTo>
                  <a:cubicBezTo>
                    <a:pt x="7673" y="1132"/>
                    <a:pt x="7927" y="879"/>
                    <a:pt x="7927" y="565"/>
                  </a:cubicBezTo>
                  <a:cubicBezTo>
                    <a:pt x="7927" y="251"/>
                    <a:pt x="7673" y="0"/>
                    <a:pt x="73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13" name="Google Shape;9013;p75"/>
            <p:cNvSpPr/>
            <p:nvPr/>
          </p:nvSpPr>
          <p:spPr>
            <a:xfrm>
              <a:off x="1036150" y="1571425"/>
              <a:ext cx="198175" cy="28325"/>
            </a:xfrm>
            <a:custGeom>
              <a:avLst/>
              <a:gdLst/>
              <a:ahLst/>
              <a:cxnLst/>
              <a:rect l="l" t="t" r="r" b="b"/>
              <a:pathLst>
                <a:path w="7927" h="1133" extrusionOk="0">
                  <a:moveTo>
                    <a:pt x="569" y="1"/>
                  </a:moveTo>
                  <a:cubicBezTo>
                    <a:pt x="255" y="1"/>
                    <a:pt x="1" y="251"/>
                    <a:pt x="1" y="565"/>
                  </a:cubicBezTo>
                  <a:cubicBezTo>
                    <a:pt x="1" y="879"/>
                    <a:pt x="255" y="1133"/>
                    <a:pt x="569" y="1133"/>
                  </a:cubicBezTo>
                  <a:lnTo>
                    <a:pt x="7362" y="1133"/>
                  </a:lnTo>
                  <a:cubicBezTo>
                    <a:pt x="7673" y="1133"/>
                    <a:pt x="7927" y="879"/>
                    <a:pt x="7927" y="565"/>
                  </a:cubicBezTo>
                  <a:cubicBezTo>
                    <a:pt x="7927" y="251"/>
                    <a:pt x="7673" y="1"/>
                    <a:pt x="73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14" name="Google Shape;9014;p75"/>
            <p:cNvSpPr/>
            <p:nvPr/>
          </p:nvSpPr>
          <p:spPr>
            <a:xfrm>
              <a:off x="1036150" y="1628050"/>
              <a:ext cx="113275" cy="28325"/>
            </a:xfrm>
            <a:custGeom>
              <a:avLst/>
              <a:gdLst/>
              <a:ahLst/>
              <a:cxnLst/>
              <a:rect l="l" t="t" r="r" b="b"/>
              <a:pathLst>
                <a:path w="4531" h="1133" extrusionOk="0">
                  <a:moveTo>
                    <a:pt x="569" y="0"/>
                  </a:moveTo>
                  <a:cubicBezTo>
                    <a:pt x="255" y="0"/>
                    <a:pt x="1" y="251"/>
                    <a:pt x="1" y="565"/>
                  </a:cubicBezTo>
                  <a:cubicBezTo>
                    <a:pt x="1" y="879"/>
                    <a:pt x="255" y="1132"/>
                    <a:pt x="569" y="1132"/>
                  </a:cubicBezTo>
                  <a:lnTo>
                    <a:pt x="3965" y="1132"/>
                  </a:lnTo>
                  <a:cubicBezTo>
                    <a:pt x="4276" y="1132"/>
                    <a:pt x="4530" y="879"/>
                    <a:pt x="4530" y="565"/>
                  </a:cubicBezTo>
                  <a:cubicBezTo>
                    <a:pt x="4530" y="251"/>
                    <a:pt x="4276" y="0"/>
                    <a:pt x="3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15" name="Google Shape;9015;p75"/>
          <p:cNvSpPr/>
          <p:nvPr/>
        </p:nvSpPr>
        <p:spPr>
          <a:xfrm>
            <a:off x="1263531" y="3186074"/>
            <a:ext cx="340168" cy="219257"/>
          </a:xfrm>
          <a:custGeom>
            <a:avLst/>
            <a:gdLst/>
            <a:ahLst/>
            <a:cxnLst/>
            <a:rect l="l" t="t" r="r" b="b"/>
            <a:pathLst>
              <a:path w="19325" h="12456" extrusionOk="0">
                <a:moveTo>
                  <a:pt x="17057" y="1133"/>
                </a:moveTo>
                <a:lnTo>
                  <a:pt x="9662" y="6652"/>
                </a:lnTo>
                <a:lnTo>
                  <a:pt x="2268" y="1133"/>
                </a:lnTo>
                <a:close/>
                <a:moveTo>
                  <a:pt x="18192" y="1697"/>
                </a:moveTo>
                <a:lnTo>
                  <a:pt x="18192" y="10756"/>
                </a:lnTo>
                <a:cubicBezTo>
                  <a:pt x="18192" y="11070"/>
                  <a:pt x="17939" y="11323"/>
                  <a:pt x="17628" y="11323"/>
                </a:cubicBezTo>
                <a:lnTo>
                  <a:pt x="1700" y="11323"/>
                </a:lnTo>
                <a:cubicBezTo>
                  <a:pt x="1386" y="11323"/>
                  <a:pt x="1132" y="11070"/>
                  <a:pt x="1132" y="10756"/>
                </a:cubicBezTo>
                <a:lnTo>
                  <a:pt x="1132" y="1697"/>
                </a:lnTo>
                <a:lnTo>
                  <a:pt x="9324" y="7812"/>
                </a:lnTo>
                <a:cubicBezTo>
                  <a:pt x="9424" y="7887"/>
                  <a:pt x="9543" y="7925"/>
                  <a:pt x="9663" y="7925"/>
                </a:cubicBezTo>
                <a:cubicBezTo>
                  <a:pt x="9782" y="7925"/>
                  <a:pt x="9902" y="7887"/>
                  <a:pt x="10004" y="7812"/>
                </a:cubicBezTo>
                <a:lnTo>
                  <a:pt x="18192" y="1697"/>
                </a:lnTo>
                <a:close/>
                <a:moveTo>
                  <a:pt x="1688" y="0"/>
                </a:moveTo>
                <a:cubicBezTo>
                  <a:pt x="1287" y="0"/>
                  <a:pt x="900" y="145"/>
                  <a:pt x="598" y="405"/>
                </a:cubicBezTo>
                <a:cubicBezTo>
                  <a:pt x="583" y="417"/>
                  <a:pt x="571" y="429"/>
                  <a:pt x="556" y="444"/>
                </a:cubicBezTo>
                <a:cubicBezTo>
                  <a:pt x="202" y="764"/>
                  <a:pt x="0" y="1220"/>
                  <a:pt x="0" y="1697"/>
                </a:cubicBezTo>
                <a:lnTo>
                  <a:pt x="0" y="10756"/>
                </a:lnTo>
                <a:cubicBezTo>
                  <a:pt x="0" y="11695"/>
                  <a:pt x="761" y="12453"/>
                  <a:pt x="1700" y="12456"/>
                </a:cubicBezTo>
                <a:lnTo>
                  <a:pt x="17628" y="12456"/>
                </a:lnTo>
                <a:cubicBezTo>
                  <a:pt x="18564" y="12453"/>
                  <a:pt x="19325" y="11695"/>
                  <a:pt x="19325" y="10756"/>
                </a:cubicBezTo>
                <a:lnTo>
                  <a:pt x="19325" y="1697"/>
                </a:lnTo>
                <a:cubicBezTo>
                  <a:pt x="19325" y="1220"/>
                  <a:pt x="19122" y="764"/>
                  <a:pt x="18769" y="441"/>
                </a:cubicBezTo>
                <a:cubicBezTo>
                  <a:pt x="18757" y="429"/>
                  <a:pt x="18742" y="417"/>
                  <a:pt x="18727" y="405"/>
                </a:cubicBezTo>
                <a:cubicBezTo>
                  <a:pt x="18422" y="145"/>
                  <a:pt x="18037" y="0"/>
                  <a:pt x="17640" y="0"/>
                </a:cubicBezTo>
                <a:cubicBezTo>
                  <a:pt x="17636" y="0"/>
                  <a:pt x="17632" y="0"/>
                  <a:pt x="17628" y="1"/>
                </a:cubicBezTo>
                <a:lnTo>
                  <a:pt x="1700" y="1"/>
                </a:lnTo>
                <a:cubicBezTo>
                  <a:pt x="1696" y="0"/>
                  <a:pt x="1692" y="0"/>
                  <a:pt x="16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16" name="Google Shape;9016;p75"/>
          <p:cNvSpPr/>
          <p:nvPr/>
        </p:nvSpPr>
        <p:spPr>
          <a:xfrm>
            <a:off x="1671076" y="3125647"/>
            <a:ext cx="353617" cy="340133"/>
          </a:xfrm>
          <a:custGeom>
            <a:avLst/>
            <a:gdLst/>
            <a:ahLst/>
            <a:cxnLst/>
            <a:rect l="l" t="t" r="r" b="b"/>
            <a:pathLst>
              <a:path w="20089" h="19323" extrusionOk="0">
                <a:moveTo>
                  <a:pt x="4477" y="1134"/>
                </a:moveTo>
                <a:cubicBezTo>
                  <a:pt x="4624" y="1134"/>
                  <a:pt x="4765" y="1194"/>
                  <a:pt x="4868" y="1300"/>
                </a:cubicBezTo>
                <a:lnTo>
                  <a:pt x="7268" y="3694"/>
                </a:lnTo>
                <a:cubicBezTo>
                  <a:pt x="7489" y="3915"/>
                  <a:pt x="7489" y="4271"/>
                  <a:pt x="7268" y="4494"/>
                </a:cubicBezTo>
                <a:lnTo>
                  <a:pt x="6870" y="4893"/>
                </a:lnTo>
                <a:lnTo>
                  <a:pt x="3669" y="1692"/>
                </a:lnTo>
                <a:lnTo>
                  <a:pt x="4068" y="1300"/>
                </a:lnTo>
                <a:cubicBezTo>
                  <a:pt x="4173" y="1191"/>
                  <a:pt x="4315" y="1134"/>
                  <a:pt x="4466" y="1134"/>
                </a:cubicBezTo>
                <a:cubicBezTo>
                  <a:pt x="4470" y="1134"/>
                  <a:pt x="4473" y="1134"/>
                  <a:pt x="4477" y="1134"/>
                </a:cubicBezTo>
                <a:close/>
                <a:moveTo>
                  <a:pt x="15822" y="12484"/>
                </a:moveTo>
                <a:cubicBezTo>
                  <a:pt x="15973" y="12484"/>
                  <a:pt x="16118" y="12544"/>
                  <a:pt x="16224" y="12650"/>
                </a:cubicBezTo>
                <a:lnTo>
                  <a:pt x="18624" y="15053"/>
                </a:lnTo>
                <a:cubicBezTo>
                  <a:pt x="18845" y="15274"/>
                  <a:pt x="18845" y="15633"/>
                  <a:pt x="18624" y="15854"/>
                </a:cubicBezTo>
                <a:lnTo>
                  <a:pt x="18226" y="16255"/>
                </a:lnTo>
                <a:lnTo>
                  <a:pt x="15022" y="13051"/>
                </a:lnTo>
                <a:lnTo>
                  <a:pt x="15421" y="12650"/>
                </a:lnTo>
                <a:cubicBezTo>
                  <a:pt x="15526" y="12544"/>
                  <a:pt x="15671" y="12484"/>
                  <a:pt x="15822" y="12484"/>
                </a:cubicBezTo>
                <a:close/>
                <a:moveTo>
                  <a:pt x="2881" y="2508"/>
                </a:moveTo>
                <a:lnTo>
                  <a:pt x="6073" y="5699"/>
                </a:lnTo>
                <a:cubicBezTo>
                  <a:pt x="5227" y="6656"/>
                  <a:pt x="5275" y="8103"/>
                  <a:pt x="6175" y="9005"/>
                </a:cubicBezTo>
                <a:lnTo>
                  <a:pt x="10910" y="13743"/>
                </a:lnTo>
                <a:cubicBezTo>
                  <a:pt x="11379" y="14214"/>
                  <a:pt x="11998" y="14451"/>
                  <a:pt x="12618" y="14451"/>
                </a:cubicBezTo>
                <a:cubicBezTo>
                  <a:pt x="13188" y="14451"/>
                  <a:pt x="13758" y="14252"/>
                  <a:pt x="14216" y="13849"/>
                </a:cubicBezTo>
                <a:lnTo>
                  <a:pt x="17408" y="17040"/>
                </a:lnTo>
                <a:cubicBezTo>
                  <a:pt x="16480" y="17810"/>
                  <a:pt x="15350" y="18190"/>
                  <a:pt x="14222" y="18190"/>
                </a:cubicBezTo>
                <a:cubicBezTo>
                  <a:pt x="12939" y="18190"/>
                  <a:pt x="11660" y="17697"/>
                  <a:pt x="10689" y="16726"/>
                </a:cubicBezTo>
                <a:lnTo>
                  <a:pt x="10692" y="16726"/>
                </a:lnTo>
                <a:lnTo>
                  <a:pt x="3192" y="9226"/>
                </a:lnTo>
                <a:cubicBezTo>
                  <a:pt x="1371" y="7402"/>
                  <a:pt x="1235" y="4491"/>
                  <a:pt x="2881" y="2508"/>
                </a:cubicBezTo>
                <a:close/>
                <a:moveTo>
                  <a:pt x="4468" y="1"/>
                </a:moveTo>
                <a:cubicBezTo>
                  <a:pt x="4034" y="1"/>
                  <a:pt x="3600" y="166"/>
                  <a:pt x="3267" y="497"/>
                </a:cubicBezTo>
                <a:lnTo>
                  <a:pt x="2473" y="1285"/>
                </a:lnTo>
                <a:lnTo>
                  <a:pt x="2464" y="1294"/>
                </a:lnTo>
                <a:lnTo>
                  <a:pt x="2458" y="1300"/>
                </a:lnTo>
                <a:lnTo>
                  <a:pt x="2392" y="1366"/>
                </a:lnTo>
                <a:cubicBezTo>
                  <a:pt x="0" y="3758"/>
                  <a:pt x="0" y="7635"/>
                  <a:pt x="2392" y="10026"/>
                </a:cubicBezTo>
                <a:lnTo>
                  <a:pt x="9889" y="17529"/>
                </a:lnTo>
                <a:cubicBezTo>
                  <a:pt x="11086" y="18725"/>
                  <a:pt x="12654" y="19323"/>
                  <a:pt x="14222" y="19323"/>
                </a:cubicBezTo>
                <a:cubicBezTo>
                  <a:pt x="15789" y="19323"/>
                  <a:pt x="17356" y="18725"/>
                  <a:pt x="18552" y="17529"/>
                </a:cubicBezTo>
                <a:lnTo>
                  <a:pt x="18624" y="17457"/>
                </a:lnTo>
                <a:lnTo>
                  <a:pt x="19425" y="16657"/>
                </a:lnTo>
                <a:cubicBezTo>
                  <a:pt x="20089" y="15992"/>
                  <a:pt x="20089" y="14917"/>
                  <a:pt x="19425" y="14253"/>
                </a:cubicBezTo>
                <a:lnTo>
                  <a:pt x="17024" y="11850"/>
                </a:lnTo>
                <a:cubicBezTo>
                  <a:pt x="16692" y="11518"/>
                  <a:pt x="16257" y="11352"/>
                  <a:pt x="15822" y="11352"/>
                </a:cubicBezTo>
                <a:cubicBezTo>
                  <a:pt x="15388" y="11352"/>
                  <a:pt x="14953" y="11518"/>
                  <a:pt x="14621" y="11850"/>
                </a:cubicBezTo>
                <a:lnTo>
                  <a:pt x="13820" y="12650"/>
                </a:lnTo>
                <a:lnTo>
                  <a:pt x="13531" y="12943"/>
                </a:lnTo>
                <a:cubicBezTo>
                  <a:pt x="13278" y="13193"/>
                  <a:pt x="12949" y="13319"/>
                  <a:pt x="12620" y="13319"/>
                </a:cubicBezTo>
                <a:cubicBezTo>
                  <a:pt x="12291" y="13319"/>
                  <a:pt x="11962" y="13193"/>
                  <a:pt x="11710" y="12943"/>
                </a:cubicBezTo>
                <a:lnTo>
                  <a:pt x="6978" y="8205"/>
                </a:lnTo>
                <a:cubicBezTo>
                  <a:pt x="6474" y="7704"/>
                  <a:pt x="6474" y="6889"/>
                  <a:pt x="6978" y="6385"/>
                </a:cubicBezTo>
                <a:lnTo>
                  <a:pt x="7268" y="6095"/>
                </a:lnTo>
                <a:lnTo>
                  <a:pt x="8068" y="5294"/>
                </a:lnTo>
                <a:cubicBezTo>
                  <a:pt x="8733" y="4630"/>
                  <a:pt x="8733" y="3555"/>
                  <a:pt x="8068" y="2891"/>
                </a:cubicBezTo>
                <a:lnTo>
                  <a:pt x="5668" y="497"/>
                </a:lnTo>
                <a:cubicBezTo>
                  <a:pt x="5336" y="166"/>
                  <a:pt x="4902" y="1"/>
                  <a:pt x="4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17" name="Google Shape;9017;p75"/>
          <p:cNvGrpSpPr/>
          <p:nvPr/>
        </p:nvGrpSpPr>
        <p:grpSpPr>
          <a:xfrm>
            <a:off x="2099646" y="3146463"/>
            <a:ext cx="352825" cy="298855"/>
            <a:chOff x="2676100" y="1456375"/>
            <a:chExt cx="501100" cy="424450"/>
          </a:xfrm>
        </p:grpSpPr>
        <p:sp>
          <p:nvSpPr>
            <p:cNvPr id="9018" name="Google Shape;9018;p75"/>
            <p:cNvSpPr/>
            <p:nvPr/>
          </p:nvSpPr>
          <p:spPr>
            <a:xfrm>
              <a:off x="3079725" y="1534750"/>
              <a:ext cx="97475" cy="268275"/>
            </a:xfrm>
            <a:custGeom>
              <a:avLst/>
              <a:gdLst/>
              <a:ahLst/>
              <a:cxnLst/>
              <a:rect l="l" t="t" r="r" b="b"/>
              <a:pathLst>
                <a:path w="3899" h="10731" extrusionOk="0">
                  <a:moveTo>
                    <a:pt x="621" y="1"/>
                  </a:moveTo>
                  <a:cubicBezTo>
                    <a:pt x="476" y="1"/>
                    <a:pt x="331" y="56"/>
                    <a:pt x="221" y="166"/>
                  </a:cubicBezTo>
                  <a:cubicBezTo>
                    <a:pt x="0" y="387"/>
                    <a:pt x="0" y="746"/>
                    <a:pt x="221" y="966"/>
                  </a:cubicBezTo>
                  <a:cubicBezTo>
                    <a:pt x="2657" y="3397"/>
                    <a:pt x="2657" y="7340"/>
                    <a:pt x="221" y="9771"/>
                  </a:cubicBezTo>
                  <a:cubicBezTo>
                    <a:pt x="6" y="9992"/>
                    <a:pt x="9" y="10345"/>
                    <a:pt x="230" y="10565"/>
                  </a:cubicBezTo>
                  <a:cubicBezTo>
                    <a:pt x="340" y="10675"/>
                    <a:pt x="484" y="10730"/>
                    <a:pt x="629" y="10730"/>
                  </a:cubicBezTo>
                  <a:cubicBezTo>
                    <a:pt x="770" y="10730"/>
                    <a:pt x="912" y="10677"/>
                    <a:pt x="1021" y="10571"/>
                  </a:cubicBezTo>
                  <a:cubicBezTo>
                    <a:pt x="3898" y="7700"/>
                    <a:pt x="3898" y="3038"/>
                    <a:pt x="1021" y="166"/>
                  </a:cubicBezTo>
                  <a:cubicBezTo>
                    <a:pt x="911" y="56"/>
                    <a:pt x="766"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19" name="Google Shape;9019;p75"/>
            <p:cNvSpPr/>
            <p:nvPr/>
          </p:nvSpPr>
          <p:spPr>
            <a:xfrm>
              <a:off x="3039725" y="1574925"/>
              <a:ext cx="75350" cy="188250"/>
            </a:xfrm>
            <a:custGeom>
              <a:avLst/>
              <a:gdLst/>
              <a:ahLst/>
              <a:cxnLst/>
              <a:rect l="l" t="t" r="r" b="b"/>
              <a:pathLst>
                <a:path w="3014" h="7530" extrusionOk="0">
                  <a:moveTo>
                    <a:pt x="629" y="1"/>
                  </a:moveTo>
                  <a:cubicBezTo>
                    <a:pt x="484" y="1"/>
                    <a:pt x="339" y="56"/>
                    <a:pt x="230" y="166"/>
                  </a:cubicBezTo>
                  <a:cubicBezTo>
                    <a:pt x="12" y="383"/>
                    <a:pt x="9" y="736"/>
                    <a:pt x="224" y="960"/>
                  </a:cubicBezTo>
                  <a:cubicBezTo>
                    <a:pt x="1769" y="2506"/>
                    <a:pt x="1769" y="5018"/>
                    <a:pt x="224" y="6564"/>
                  </a:cubicBezTo>
                  <a:cubicBezTo>
                    <a:pt x="0" y="6784"/>
                    <a:pt x="0" y="7144"/>
                    <a:pt x="224" y="7364"/>
                  </a:cubicBezTo>
                  <a:cubicBezTo>
                    <a:pt x="334" y="7474"/>
                    <a:pt x="479" y="7529"/>
                    <a:pt x="624" y="7529"/>
                  </a:cubicBezTo>
                  <a:cubicBezTo>
                    <a:pt x="769" y="7529"/>
                    <a:pt x="913" y="7474"/>
                    <a:pt x="1024" y="7364"/>
                  </a:cubicBezTo>
                  <a:cubicBezTo>
                    <a:pt x="3013" y="5374"/>
                    <a:pt x="3013" y="2149"/>
                    <a:pt x="1024" y="160"/>
                  </a:cubicBezTo>
                  <a:cubicBezTo>
                    <a:pt x="913" y="53"/>
                    <a:pt x="771" y="1"/>
                    <a:pt x="6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20" name="Google Shape;9020;p75"/>
            <p:cNvSpPr/>
            <p:nvPr/>
          </p:nvSpPr>
          <p:spPr>
            <a:xfrm>
              <a:off x="2676100" y="1456375"/>
              <a:ext cx="340700" cy="424450"/>
            </a:xfrm>
            <a:custGeom>
              <a:avLst/>
              <a:gdLst/>
              <a:ahLst/>
              <a:cxnLst/>
              <a:rect l="l" t="t" r="r" b="b"/>
              <a:pathLst>
                <a:path w="13628" h="16978" extrusionOk="0">
                  <a:moveTo>
                    <a:pt x="2265" y="6792"/>
                  </a:moveTo>
                  <a:lnTo>
                    <a:pt x="2265" y="10189"/>
                  </a:lnTo>
                  <a:lnTo>
                    <a:pt x="1700" y="10189"/>
                  </a:lnTo>
                  <a:cubicBezTo>
                    <a:pt x="1386" y="10189"/>
                    <a:pt x="1133" y="9935"/>
                    <a:pt x="1133" y="9621"/>
                  </a:cubicBezTo>
                  <a:lnTo>
                    <a:pt x="1133" y="7356"/>
                  </a:lnTo>
                  <a:cubicBezTo>
                    <a:pt x="1133" y="7042"/>
                    <a:pt x="1386" y="6792"/>
                    <a:pt x="1700" y="6792"/>
                  </a:cubicBezTo>
                  <a:close/>
                  <a:moveTo>
                    <a:pt x="5701" y="5659"/>
                  </a:moveTo>
                  <a:lnTo>
                    <a:pt x="5701" y="11321"/>
                  </a:lnTo>
                  <a:lnTo>
                    <a:pt x="3965" y="11321"/>
                  </a:lnTo>
                  <a:cubicBezTo>
                    <a:pt x="3651" y="11321"/>
                    <a:pt x="3397" y="11067"/>
                    <a:pt x="3397" y="10753"/>
                  </a:cubicBezTo>
                  <a:lnTo>
                    <a:pt x="3397" y="6224"/>
                  </a:lnTo>
                  <a:cubicBezTo>
                    <a:pt x="3397" y="5910"/>
                    <a:pt x="3651" y="5659"/>
                    <a:pt x="3965" y="5659"/>
                  </a:cubicBezTo>
                  <a:close/>
                  <a:moveTo>
                    <a:pt x="10230" y="2827"/>
                  </a:moveTo>
                  <a:lnTo>
                    <a:pt x="10230" y="14150"/>
                  </a:lnTo>
                  <a:lnTo>
                    <a:pt x="6833" y="11602"/>
                  </a:lnTo>
                  <a:lnTo>
                    <a:pt x="6833" y="5376"/>
                  </a:lnTo>
                  <a:lnTo>
                    <a:pt x="10230" y="2827"/>
                  </a:lnTo>
                  <a:close/>
                  <a:moveTo>
                    <a:pt x="11927" y="1130"/>
                  </a:moveTo>
                  <a:cubicBezTo>
                    <a:pt x="12241" y="1130"/>
                    <a:pt x="12495" y="1381"/>
                    <a:pt x="12495" y="1695"/>
                  </a:cubicBezTo>
                  <a:lnTo>
                    <a:pt x="12495" y="15282"/>
                  </a:lnTo>
                  <a:cubicBezTo>
                    <a:pt x="12495" y="15596"/>
                    <a:pt x="12241" y="15847"/>
                    <a:pt x="11927" y="15847"/>
                  </a:cubicBezTo>
                  <a:cubicBezTo>
                    <a:pt x="11613" y="15847"/>
                    <a:pt x="11363" y="15596"/>
                    <a:pt x="11363" y="15282"/>
                  </a:cubicBezTo>
                  <a:lnTo>
                    <a:pt x="11363" y="1695"/>
                  </a:lnTo>
                  <a:cubicBezTo>
                    <a:pt x="11363" y="1381"/>
                    <a:pt x="11613" y="1130"/>
                    <a:pt x="11927" y="1130"/>
                  </a:cubicBezTo>
                  <a:close/>
                  <a:moveTo>
                    <a:pt x="11925" y="0"/>
                  </a:moveTo>
                  <a:cubicBezTo>
                    <a:pt x="11115" y="0"/>
                    <a:pt x="10405" y="580"/>
                    <a:pt x="10257" y="1393"/>
                  </a:cubicBezTo>
                  <a:lnTo>
                    <a:pt x="6079" y="4527"/>
                  </a:lnTo>
                  <a:lnTo>
                    <a:pt x="3965" y="4527"/>
                  </a:lnTo>
                  <a:cubicBezTo>
                    <a:pt x="3243" y="4527"/>
                    <a:pt x="2603" y="4980"/>
                    <a:pt x="2362" y="5659"/>
                  </a:cubicBezTo>
                  <a:lnTo>
                    <a:pt x="1700" y="5659"/>
                  </a:lnTo>
                  <a:cubicBezTo>
                    <a:pt x="761" y="5659"/>
                    <a:pt x="0" y="6417"/>
                    <a:pt x="0" y="7356"/>
                  </a:cubicBezTo>
                  <a:lnTo>
                    <a:pt x="0" y="9621"/>
                  </a:lnTo>
                  <a:cubicBezTo>
                    <a:pt x="0" y="10560"/>
                    <a:pt x="761" y="11318"/>
                    <a:pt x="1700" y="11321"/>
                  </a:cubicBezTo>
                  <a:lnTo>
                    <a:pt x="2362" y="11321"/>
                  </a:lnTo>
                  <a:cubicBezTo>
                    <a:pt x="2603" y="11997"/>
                    <a:pt x="3243" y="12450"/>
                    <a:pt x="3965" y="12453"/>
                  </a:cubicBezTo>
                  <a:lnTo>
                    <a:pt x="6079" y="12453"/>
                  </a:lnTo>
                  <a:lnTo>
                    <a:pt x="10257" y="15584"/>
                  </a:lnTo>
                  <a:cubicBezTo>
                    <a:pt x="10405" y="16397"/>
                    <a:pt x="11115" y="16977"/>
                    <a:pt x="11925" y="16977"/>
                  </a:cubicBezTo>
                  <a:cubicBezTo>
                    <a:pt x="11976" y="16977"/>
                    <a:pt x="12027" y="16975"/>
                    <a:pt x="12078" y="16970"/>
                  </a:cubicBezTo>
                  <a:cubicBezTo>
                    <a:pt x="12954" y="16892"/>
                    <a:pt x="13624" y="16161"/>
                    <a:pt x="13627" y="15282"/>
                  </a:cubicBezTo>
                  <a:lnTo>
                    <a:pt x="13627" y="1695"/>
                  </a:lnTo>
                  <a:cubicBezTo>
                    <a:pt x="13624" y="816"/>
                    <a:pt x="12954" y="85"/>
                    <a:pt x="12078" y="7"/>
                  </a:cubicBezTo>
                  <a:cubicBezTo>
                    <a:pt x="12027" y="2"/>
                    <a:pt x="11976" y="0"/>
                    <a:pt x="119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21" name="Google Shape;9021;p75"/>
          <p:cNvGrpSpPr/>
          <p:nvPr/>
        </p:nvGrpSpPr>
        <p:grpSpPr>
          <a:xfrm>
            <a:off x="2523170" y="3125806"/>
            <a:ext cx="340221" cy="340168"/>
            <a:chOff x="3270475" y="1427025"/>
            <a:chExt cx="483200" cy="483125"/>
          </a:xfrm>
        </p:grpSpPr>
        <p:sp>
          <p:nvSpPr>
            <p:cNvPr id="9022" name="Google Shape;9022;p75"/>
            <p:cNvSpPr/>
            <p:nvPr/>
          </p:nvSpPr>
          <p:spPr>
            <a:xfrm>
              <a:off x="3270475" y="1427025"/>
              <a:ext cx="483200" cy="483125"/>
            </a:xfrm>
            <a:custGeom>
              <a:avLst/>
              <a:gdLst/>
              <a:ahLst/>
              <a:cxnLst/>
              <a:rect l="l" t="t" r="r" b="b"/>
              <a:pathLst>
                <a:path w="19328" h="19325" extrusionOk="0">
                  <a:moveTo>
                    <a:pt x="9630" y="1133"/>
                  </a:moveTo>
                  <a:cubicBezTo>
                    <a:pt x="14352" y="1133"/>
                    <a:pt x="18196" y="4943"/>
                    <a:pt x="18196" y="9626"/>
                  </a:cubicBezTo>
                  <a:cubicBezTo>
                    <a:pt x="18196" y="14349"/>
                    <a:pt x="14352" y="18193"/>
                    <a:pt x="9630" y="18193"/>
                  </a:cubicBezTo>
                  <a:cubicBezTo>
                    <a:pt x="4946" y="18193"/>
                    <a:pt x="1136" y="14349"/>
                    <a:pt x="1136" y="9626"/>
                  </a:cubicBezTo>
                  <a:cubicBezTo>
                    <a:pt x="1136" y="4943"/>
                    <a:pt x="4946" y="1133"/>
                    <a:pt x="9630" y="1133"/>
                  </a:cubicBezTo>
                  <a:close/>
                  <a:moveTo>
                    <a:pt x="9641" y="0"/>
                  </a:moveTo>
                  <a:cubicBezTo>
                    <a:pt x="9637" y="0"/>
                    <a:pt x="9633" y="0"/>
                    <a:pt x="9630" y="0"/>
                  </a:cubicBezTo>
                  <a:cubicBezTo>
                    <a:pt x="4312" y="0"/>
                    <a:pt x="4" y="4309"/>
                    <a:pt x="4" y="9626"/>
                  </a:cubicBezTo>
                  <a:cubicBezTo>
                    <a:pt x="1" y="12187"/>
                    <a:pt x="1012" y="14648"/>
                    <a:pt x="2821" y="16465"/>
                  </a:cubicBezTo>
                  <a:cubicBezTo>
                    <a:pt x="4644" y="18310"/>
                    <a:pt x="7063" y="19325"/>
                    <a:pt x="9630" y="19325"/>
                  </a:cubicBezTo>
                  <a:cubicBezTo>
                    <a:pt x="10922" y="19325"/>
                    <a:pt x="12199" y="19065"/>
                    <a:pt x="13389" y="18555"/>
                  </a:cubicBezTo>
                  <a:cubicBezTo>
                    <a:pt x="15711" y="17558"/>
                    <a:pt x="17562" y="15708"/>
                    <a:pt x="18558" y="13386"/>
                  </a:cubicBezTo>
                  <a:cubicBezTo>
                    <a:pt x="19068" y="12196"/>
                    <a:pt x="19328" y="10919"/>
                    <a:pt x="19328" y="9626"/>
                  </a:cubicBezTo>
                  <a:cubicBezTo>
                    <a:pt x="19328" y="7060"/>
                    <a:pt x="18313" y="4641"/>
                    <a:pt x="16469" y="2818"/>
                  </a:cubicBezTo>
                  <a:cubicBezTo>
                    <a:pt x="14654" y="1012"/>
                    <a:pt x="12197" y="0"/>
                    <a:pt x="96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23" name="Google Shape;9023;p75"/>
            <p:cNvSpPr/>
            <p:nvPr/>
          </p:nvSpPr>
          <p:spPr>
            <a:xfrm>
              <a:off x="3497550" y="1596875"/>
              <a:ext cx="87650" cy="141525"/>
            </a:xfrm>
            <a:custGeom>
              <a:avLst/>
              <a:gdLst/>
              <a:ahLst/>
              <a:cxnLst/>
              <a:rect l="l" t="t" r="r" b="b"/>
              <a:pathLst>
                <a:path w="3506" h="5661" extrusionOk="0">
                  <a:moveTo>
                    <a:pt x="2885" y="1"/>
                  </a:moveTo>
                  <a:cubicBezTo>
                    <a:pt x="2740" y="1"/>
                    <a:pt x="2595" y="56"/>
                    <a:pt x="2485" y="166"/>
                  </a:cubicBezTo>
                  <a:lnTo>
                    <a:pt x="220" y="2431"/>
                  </a:lnTo>
                  <a:cubicBezTo>
                    <a:pt x="0" y="2651"/>
                    <a:pt x="0" y="3011"/>
                    <a:pt x="220" y="3231"/>
                  </a:cubicBezTo>
                  <a:lnTo>
                    <a:pt x="2485" y="5496"/>
                  </a:lnTo>
                  <a:cubicBezTo>
                    <a:pt x="2595" y="5606"/>
                    <a:pt x="2740" y="5661"/>
                    <a:pt x="2885" y="5661"/>
                  </a:cubicBezTo>
                  <a:cubicBezTo>
                    <a:pt x="3030" y="5661"/>
                    <a:pt x="3175" y="5606"/>
                    <a:pt x="3285" y="5496"/>
                  </a:cubicBezTo>
                  <a:cubicBezTo>
                    <a:pt x="3506" y="5275"/>
                    <a:pt x="3506" y="4916"/>
                    <a:pt x="3285" y="4695"/>
                  </a:cubicBezTo>
                  <a:lnTo>
                    <a:pt x="1422" y="2832"/>
                  </a:lnTo>
                  <a:lnTo>
                    <a:pt x="3285" y="966"/>
                  </a:lnTo>
                  <a:cubicBezTo>
                    <a:pt x="3506" y="746"/>
                    <a:pt x="3506" y="387"/>
                    <a:pt x="3285" y="166"/>
                  </a:cubicBezTo>
                  <a:cubicBezTo>
                    <a:pt x="3175" y="56"/>
                    <a:pt x="3030" y="1"/>
                    <a:pt x="2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24" name="Google Shape;9024;p75"/>
            <p:cNvSpPr/>
            <p:nvPr/>
          </p:nvSpPr>
          <p:spPr>
            <a:xfrm>
              <a:off x="3327100" y="1483625"/>
              <a:ext cx="369975" cy="369925"/>
            </a:xfrm>
            <a:custGeom>
              <a:avLst/>
              <a:gdLst/>
              <a:ahLst/>
              <a:cxnLst/>
              <a:rect l="l" t="t" r="r" b="b"/>
              <a:pathLst>
                <a:path w="14799" h="14797" extrusionOk="0">
                  <a:moveTo>
                    <a:pt x="7929" y="1157"/>
                  </a:moveTo>
                  <a:cubicBezTo>
                    <a:pt x="9206" y="1272"/>
                    <a:pt x="10420" y="1770"/>
                    <a:pt x="11411" y="2589"/>
                  </a:cubicBezTo>
                  <a:lnTo>
                    <a:pt x="11042" y="2957"/>
                  </a:lnTo>
                  <a:cubicBezTo>
                    <a:pt x="10828" y="3180"/>
                    <a:pt x="10831" y="3534"/>
                    <a:pt x="11048" y="3751"/>
                  </a:cubicBezTo>
                  <a:cubicBezTo>
                    <a:pt x="11158" y="3861"/>
                    <a:pt x="11303" y="3916"/>
                    <a:pt x="11448" y="3916"/>
                  </a:cubicBezTo>
                  <a:cubicBezTo>
                    <a:pt x="11590" y="3916"/>
                    <a:pt x="11732" y="3863"/>
                    <a:pt x="11842" y="3757"/>
                  </a:cubicBezTo>
                  <a:lnTo>
                    <a:pt x="12214" y="3389"/>
                  </a:lnTo>
                  <a:cubicBezTo>
                    <a:pt x="13026" y="4349"/>
                    <a:pt x="13524" y="5539"/>
                    <a:pt x="13639" y="6795"/>
                  </a:cubicBezTo>
                  <a:lnTo>
                    <a:pt x="13101" y="6795"/>
                  </a:lnTo>
                  <a:cubicBezTo>
                    <a:pt x="12787" y="6795"/>
                    <a:pt x="12534" y="7048"/>
                    <a:pt x="12534" y="7362"/>
                  </a:cubicBezTo>
                  <a:cubicBezTo>
                    <a:pt x="12534" y="7673"/>
                    <a:pt x="12787" y="7927"/>
                    <a:pt x="13101" y="7927"/>
                  </a:cubicBezTo>
                  <a:lnTo>
                    <a:pt x="13639" y="7927"/>
                  </a:lnTo>
                  <a:cubicBezTo>
                    <a:pt x="13515" y="9198"/>
                    <a:pt x="13005" y="10400"/>
                    <a:pt x="12178" y="11375"/>
                  </a:cubicBezTo>
                  <a:lnTo>
                    <a:pt x="11842" y="11040"/>
                  </a:lnTo>
                  <a:cubicBezTo>
                    <a:pt x="11732" y="10934"/>
                    <a:pt x="11590" y="10881"/>
                    <a:pt x="11448" y="10881"/>
                  </a:cubicBezTo>
                  <a:cubicBezTo>
                    <a:pt x="11303" y="10881"/>
                    <a:pt x="11158" y="10936"/>
                    <a:pt x="11048" y="11046"/>
                  </a:cubicBezTo>
                  <a:cubicBezTo>
                    <a:pt x="10831" y="11264"/>
                    <a:pt x="10828" y="11617"/>
                    <a:pt x="11042" y="11840"/>
                  </a:cubicBezTo>
                  <a:lnTo>
                    <a:pt x="11377" y="12175"/>
                  </a:lnTo>
                  <a:cubicBezTo>
                    <a:pt x="10402" y="13003"/>
                    <a:pt x="9200" y="13513"/>
                    <a:pt x="7929" y="13637"/>
                  </a:cubicBezTo>
                  <a:lnTo>
                    <a:pt x="7929" y="13099"/>
                  </a:lnTo>
                  <a:cubicBezTo>
                    <a:pt x="7929" y="12785"/>
                    <a:pt x="7676" y="12532"/>
                    <a:pt x="7365" y="12532"/>
                  </a:cubicBezTo>
                  <a:cubicBezTo>
                    <a:pt x="7051" y="12532"/>
                    <a:pt x="6797" y="12785"/>
                    <a:pt x="6797" y="13099"/>
                  </a:cubicBezTo>
                  <a:lnTo>
                    <a:pt x="6797" y="13637"/>
                  </a:lnTo>
                  <a:cubicBezTo>
                    <a:pt x="5541" y="13522"/>
                    <a:pt x="4351" y="13024"/>
                    <a:pt x="3391" y="12212"/>
                  </a:cubicBezTo>
                  <a:lnTo>
                    <a:pt x="3759" y="11840"/>
                  </a:lnTo>
                  <a:cubicBezTo>
                    <a:pt x="3974" y="11617"/>
                    <a:pt x="3971" y="11264"/>
                    <a:pt x="3753" y="11046"/>
                  </a:cubicBezTo>
                  <a:cubicBezTo>
                    <a:pt x="3643" y="10936"/>
                    <a:pt x="3499" y="10881"/>
                    <a:pt x="3354" y="10881"/>
                  </a:cubicBezTo>
                  <a:cubicBezTo>
                    <a:pt x="3212" y="10881"/>
                    <a:pt x="3070" y="10934"/>
                    <a:pt x="2959" y="11040"/>
                  </a:cubicBezTo>
                  <a:lnTo>
                    <a:pt x="2591" y="11408"/>
                  </a:lnTo>
                  <a:cubicBezTo>
                    <a:pt x="1773" y="10418"/>
                    <a:pt x="1274" y="9204"/>
                    <a:pt x="1160" y="7927"/>
                  </a:cubicBezTo>
                  <a:lnTo>
                    <a:pt x="1703" y="7927"/>
                  </a:lnTo>
                  <a:cubicBezTo>
                    <a:pt x="2014" y="7927"/>
                    <a:pt x="2268" y="7673"/>
                    <a:pt x="2268" y="7362"/>
                  </a:cubicBezTo>
                  <a:cubicBezTo>
                    <a:pt x="2268" y="7048"/>
                    <a:pt x="2014" y="6795"/>
                    <a:pt x="1703" y="6795"/>
                  </a:cubicBezTo>
                  <a:lnTo>
                    <a:pt x="1163" y="6795"/>
                  </a:lnTo>
                  <a:cubicBezTo>
                    <a:pt x="1274" y="5539"/>
                    <a:pt x="1770" y="4346"/>
                    <a:pt x="2579" y="3377"/>
                  </a:cubicBezTo>
                  <a:lnTo>
                    <a:pt x="2959" y="3757"/>
                  </a:lnTo>
                  <a:cubicBezTo>
                    <a:pt x="3070" y="3863"/>
                    <a:pt x="3212" y="3916"/>
                    <a:pt x="3354" y="3916"/>
                  </a:cubicBezTo>
                  <a:cubicBezTo>
                    <a:pt x="3499" y="3916"/>
                    <a:pt x="3643" y="3861"/>
                    <a:pt x="3753" y="3751"/>
                  </a:cubicBezTo>
                  <a:cubicBezTo>
                    <a:pt x="3971" y="3534"/>
                    <a:pt x="3974" y="3180"/>
                    <a:pt x="3759" y="2957"/>
                  </a:cubicBezTo>
                  <a:lnTo>
                    <a:pt x="3379" y="2577"/>
                  </a:lnTo>
                  <a:cubicBezTo>
                    <a:pt x="4348" y="1767"/>
                    <a:pt x="5541" y="1272"/>
                    <a:pt x="6797" y="1160"/>
                  </a:cubicBezTo>
                  <a:lnTo>
                    <a:pt x="6797" y="1701"/>
                  </a:lnTo>
                  <a:cubicBezTo>
                    <a:pt x="6797" y="2012"/>
                    <a:pt x="7051" y="2266"/>
                    <a:pt x="7365" y="2266"/>
                  </a:cubicBezTo>
                  <a:cubicBezTo>
                    <a:pt x="7676" y="2266"/>
                    <a:pt x="7929" y="2012"/>
                    <a:pt x="7929" y="1701"/>
                  </a:cubicBezTo>
                  <a:lnTo>
                    <a:pt x="7929" y="1157"/>
                  </a:lnTo>
                  <a:close/>
                  <a:moveTo>
                    <a:pt x="7376" y="1"/>
                  </a:moveTo>
                  <a:cubicBezTo>
                    <a:pt x="7372" y="1"/>
                    <a:pt x="7368" y="1"/>
                    <a:pt x="7365" y="1"/>
                  </a:cubicBezTo>
                  <a:cubicBezTo>
                    <a:pt x="5435" y="1"/>
                    <a:pt x="3581" y="759"/>
                    <a:pt x="2210" y="2115"/>
                  </a:cubicBezTo>
                  <a:cubicBezTo>
                    <a:pt x="2174" y="2142"/>
                    <a:pt x="2141" y="2172"/>
                    <a:pt x="2114" y="2208"/>
                  </a:cubicBezTo>
                  <a:cubicBezTo>
                    <a:pt x="761" y="3582"/>
                    <a:pt x="3" y="5433"/>
                    <a:pt x="3" y="7362"/>
                  </a:cubicBezTo>
                  <a:cubicBezTo>
                    <a:pt x="0" y="9322"/>
                    <a:pt x="776" y="11206"/>
                    <a:pt x="2159" y="12598"/>
                  </a:cubicBezTo>
                  <a:lnTo>
                    <a:pt x="2177" y="12616"/>
                  </a:lnTo>
                  <a:lnTo>
                    <a:pt x="2180" y="12619"/>
                  </a:lnTo>
                  <a:lnTo>
                    <a:pt x="2186" y="12625"/>
                  </a:lnTo>
                  <a:cubicBezTo>
                    <a:pt x="3578" y="14023"/>
                    <a:pt x="5414" y="14796"/>
                    <a:pt x="7365" y="14796"/>
                  </a:cubicBezTo>
                  <a:cubicBezTo>
                    <a:pt x="9327" y="14796"/>
                    <a:pt x="11187" y="14017"/>
                    <a:pt x="12603" y="12601"/>
                  </a:cubicBezTo>
                  <a:cubicBezTo>
                    <a:pt x="14019" y="11185"/>
                    <a:pt x="14798" y="9325"/>
                    <a:pt x="14798" y="7362"/>
                  </a:cubicBezTo>
                  <a:cubicBezTo>
                    <a:pt x="14798" y="5415"/>
                    <a:pt x="14028" y="3576"/>
                    <a:pt x="12627" y="2184"/>
                  </a:cubicBezTo>
                  <a:lnTo>
                    <a:pt x="12621" y="2178"/>
                  </a:lnTo>
                  <a:cubicBezTo>
                    <a:pt x="12621" y="2175"/>
                    <a:pt x="12618" y="2175"/>
                    <a:pt x="12618" y="2175"/>
                  </a:cubicBezTo>
                  <a:lnTo>
                    <a:pt x="12600" y="2157"/>
                  </a:lnTo>
                  <a:cubicBezTo>
                    <a:pt x="11211" y="777"/>
                    <a:pt x="9331" y="1"/>
                    <a:pt x="73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25" name="Google Shape;9025;p75"/>
          <p:cNvGrpSpPr/>
          <p:nvPr/>
        </p:nvGrpSpPr>
        <p:grpSpPr>
          <a:xfrm>
            <a:off x="2934083" y="3125780"/>
            <a:ext cx="343530" cy="340221"/>
            <a:chOff x="3860250" y="1427025"/>
            <a:chExt cx="487900" cy="483200"/>
          </a:xfrm>
        </p:grpSpPr>
        <p:sp>
          <p:nvSpPr>
            <p:cNvPr id="9026" name="Google Shape;9026;p75"/>
            <p:cNvSpPr/>
            <p:nvPr/>
          </p:nvSpPr>
          <p:spPr>
            <a:xfrm>
              <a:off x="3875800" y="1427025"/>
              <a:ext cx="472350" cy="468650"/>
            </a:xfrm>
            <a:custGeom>
              <a:avLst/>
              <a:gdLst/>
              <a:ahLst/>
              <a:cxnLst/>
              <a:rect l="l" t="t" r="r" b="b"/>
              <a:pathLst>
                <a:path w="18894" h="18746" extrusionOk="0">
                  <a:moveTo>
                    <a:pt x="15874" y="1821"/>
                  </a:moveTo>
                  <a:lnTo>
                    <a:pt x="6498" y="9403"/>
                  </a:lnTo>
                  <a:lnTo>
                    <a:pt x="1918" y="5629"/>
                  </a:lnTo>
                  <a:lnTo>
                    <a:pt x="15874" y="1821"/>
                  </a:lnTo>
                  <a:close/>
                  <a:moveTo>
                    <a:pt x="14524" y="4370"/>
                  </a:moveTo>
                  <a:lnTo>
                    <a:pt x="8425" y="11912"/>
                  </a:lnTo>
                  <a:lnTo>
                    <a:pt x="6257" y="12634"/>
                  </a:lnTo>
                  <a:lnTo>
                    <a:pt x="6981" y="10469"/>
                  </a:lnTo>
                  <a:lnTo>
                    <a:pt x="14524" y="4370"/>
                  </a:lnTo>
                  <a:close/>
                  <a:moveTo>
                    <a:pt x="17072" y="3020"/>
                  </a:moveTo>
                  <a:lnTo>
                    <a:pt x="13265" y="16976"/>
                  </a:lnTo>
                  <a:lnTo>
                    <a:pt x="9491" y="12392"/>
                  </a:lnTo>
                  <a:lnTo>
                    <a:pt x="17072" y="3020"/>
                  </a:lnTo>
                  <a:close/>
                  <a:moveTo>
                    <a:pt x="18298" y="0"/>
                  </a:moveTo>
                  <a:cubicBezTo>
                    <a:pt x="18286" y="0"/>
                    <a:pt x="18274" y="0"/>
                    <a:pt x="18262" y="3"/>
                  </a:cubicBezTo>
                  <a:lnTo>
                    <a:pt x="18253" y="3"/>
                  </a:lnTo>
                  <a:cubicBezTo>
                    <a:pt x="18238" y="6"/>
                    <a:pt x="18223" y="6"/>
                    <a:pt x="18211" y="12"/>
                  </a:cubicBezTo>
                  <a:lnTo>
                    <a:pt x="18193" y="15"/>
                  </a:lnTo>
                  <a:lnTo>
                    <a:pt x="18178" y="18"/>
                  </a:lnTo>
                  <a:lnTo>
                    <a:pt x="562" y="4822"/>
                  </a:lnTo>
                  <a:cubicBezTo>
                    <a:pt x="121" y="4943"/>
                    <a:pt x="0" y="5511"/>
                    <a:pt x="351" y="5804"/>
                  </a:cubicBezTo>
                  <a:lnTo>
                    <a:pt x="5834" y="10321"/>
                  </a:lnTo>
                  <a:lnTo>
                    <a:pt x="4826" y="13349"/>
                  </a:lnTo>
                  <a:cubicBezTo>
                    <a:pt x="4696" y="13732"/>
                    <a:pt x="4991" y="14098"/>
                    <a:pt x="5359" y="14098"/>
                  </a:cubicBezTo>
                  <a:cubicBezTo>
                    <a:pt x="5418" y="14098"/>
                    <a:pt x="5479" y="14089"/>
                    <a:pt x="5541" y="14068"/>
                  </a:cubicBezTo>
                  <a:lnTo>
                    <a:pt x="8570" y="13060"/>
                  </a:lnTo>
                  <a:lnTo>
                    <a:pt x="13087" y="18540"/>
                  </a:lnTo>
                  <a:cubicBezTo>
                    <a:pt x="13195" y="18670"/>
                    <a:pt x="13355" y="18745"/>
                    <a:pt x="13525" y="18745"/>
                  </a:cubicBezTo>
                  <a:cubicBezTo>
                    <a:pt x="13564" y="18745"/>
                    <a:pt x="13603" y="18742"/>
                    <a:pt x="13642" y="18733"/>
                  </a:cubicBezTo>
                  <a:cubicBezTo>
                    <a:pt x="13848" y="18691"/>
                    <a:pt x="14014" y="18534"/>
                    <a:pt x="14071" y="18328"/>
                  </a:cubicBezTo>
                  <a:lnTo>
                    <a:pt x="18875" y="716"/>
                  </a:lnTo>
                  <a:cubicBezTo>
                    <a:pt x="18875" y="710"/>
                    <a:pt x="18875" y="704"/>
                    <a:pt x="18878" y="698"/>
                  </a:cubicBezTo>
                  <a:lnTo>
                    <a:pt x="18881" y="683"/>
                  </a:lnTo>
                  <a:cubicBezTo>
                    <a:pt x="18884" y="668"/>
                    <a:pt x="18887" y="653"/>
                    <a:pt x="18890" y="637"/>
                  </a:cubicBezTo>
                  <a:cubicBezTo>
                    <a:pt x="18890" y="637"/>
                    <a:pt x="18890" y="634"/>
                    <a:pt x="18890" y="631"/>
                  </a:cubicBezTo>
                  <a:cubicBezTo>
                    <a:pt x="18890" y="619"/>
                    <a:pt x="18890" y="604"/>
                    <a:pt x="18893" y="592"/>
                  </a:cubicBezTo>
                  <a:lnTo>
                    <a:pt x="18893" y="580"/>
                  </a:lnTo>
                  <a:cubicBezTo>
                    <a:pt x="18893" y="568"/>
                    <a:pt x="18893" y="553"/>
                    <a:pt x="18893" y="541"/>
                  </a:cubicBezTo>
                  <a:cubicBezTo>
                    <a:pt x="18893" y="538"/>
                    <a:pt x="18893" y="535"/>
                    <a:pt x="18893" y="532"/>
                  </a:cubicBezTo>
                  <a:cubicBezTo>
                    <a:pt x="18893" y="517"/>
                    <a:pt x="18890" y="502"/>
                    <a:pt x="18890" y="487"/>
                  </a:cubicBezTo>
                  <a:cubicBezTo>
                    <a:pt x="18890" y="483"/>
                    <a:pt x="18890" y="480"/>
                    <a:pt x="18887" y="477"/>
                  </a:cubicBezTo>
                  <a:cubicBezTo>
                    <a:pt x="18887" y="465"/>
                    <a:pt x="18884" y="453"/>
                    <a:pt x="18881" y="441"/>
                  </a:cubicBezTo>
                  <a:lnTo>
                    <a:pt x="18878" y="429"/>
                  </a:lnTo>
                  <a:cubicBezTo>
                    <a:pt x="18875" y="417"/>
                    <a:pt x="18872" y="402"/>
                    <a:pt x="18866" y="390"/>
                  </a:cubicBezTo>
                  <a:cubicBezTo>
                    <a:pt x="18866" y="387"/>
                    <a:pt x="18866" y="384"/>
                    <a:pt x="18863" y="381"/>
                  </a:cubicBezTo>
                  <a:cubicBezTo>
                    <a:pt x="18860" y="369"/>
                    <a:pt x="18854" y="354"/>
                    <a:pt x="18848" y="345"/>
                  </a:cubicBezTo>
                  <a:cubicBezTo>
                    <a:pt x="18848" y="339"/>
                    <a:pt x="18845" y="333"/>
                    <a:pt x="18842" y="329"/>
                  </a:cubicBezTo>
                  <a:cubicBezTo>
                    <a:pt x="18839" y="323"/>
                    <a:pt x="18833" y="308"/>
                    <a:pt x="18830" y="299"/>
                  </a:cubicBezTo>
                  <a:cubicBezTo>
                    <a:pt x="18824" y="290"/>
                    <a:pt x="18824" y="290"/>
                    <a:pt x="18821" y="287"/>
                  </a:cubicBezTo>
                  <a:cubicBezTo>
                    <a:pt x="18815" y="275"/>
                    <a:pt x="18806" y="263"/>
                    <a:pt x="18797" y="248"/>
                  </a:cubicBezTo>
                  <a:lnTo>
                    <a:pt x="18790" y="239"/>
                  </a:lnTo>
                  <a:cubicBezTo>
                    <a:pt x="18784" y="230"/>
                    <a:pt x="18775" y="221"/>
                    <a:pt x="18769" y="212"/>
                  </a:cubicBezTo>
                  <a:cubicBezTo>
                    <a:pt x="18760" y="203"/>
                    <a:pt x="18763" y="203"/>
                    <a:pt x="18760" y="200"/>
                  </a:cubicBezTo>
                  <a:cubicBezTo>
                    <a:pt x="18751" y="188"/>
                    <a:pt x="18739" y="176"/>
                    <a:pt x="18727" y="163"/>
                  </a:cubicBezTo>
                  <a:cubicBezTo>
                    <a:pt x="18718" y="154"/>
                    <a:pt x="18706" y="142"/>
                    <a:pt x="18694" y="133"/>
                  </a:cubicBezTo>
                  <a:lnTo>
                    <a:pt x="18682" y="124"/>
                  </a:lnTo>
                  <a:cubicBezTo>
                    <a:pt x="18673" y="115"/>
                    <a:pt x="18664" y="109"/>
                    <a:pt x="18655" y="103"/>
                  </a:cubicBezTo>
                  <a:lnTo>
                    <a:pt x="18643" y="94"/>
                  </a:lnTo>
                  <a:cubicBezTo>
                    <a:pt x="18630" y="88"/>
                    <a:pt x="18618" y="79"/>
                    <a:pt x="18606" y="73"/>
                  </a:cubicBezTo>
                  <a:lnTo>
                    <a:pt x="18591" y="64"/>
                  </a:lnTo>
                  <a:lnTo>
                    <a:pt x="18564" y="52"/>
                  </a:lnTo>
                  <a:lnTo>
                    <a:pt x="18549" y="43"/>
                  </a:lnTo>
                  <a:cubicBezTo>
                    <a:pt x="18537" y="40"/>
                    <a:pt x="18522" y="34"/>
                    <a:pt x="18510" y="28"/>
                  </a:cubicBezTo>
                  <a:lnTo>
                    <a:pt x="18501" y="28"/>
                  </a:lnTo>
                  <a:cubicBezTo>
                    <a:pt x="18489" y="22"/>
                    <a:pt x="18476" y="18"/>
                    <a:pt x="18464" y="15"/>
                  </a:cubicBezTo>
                  <a:lnTo>
                    <a:pt x="18449" y="12"/>
                  </a:lnTo>
                  <a:lnTo>
                    <a:pt x="18416" y="6"/>
                  </a:lnTo>
                  <a:lnTo>
                    <a:pt x="18404" y="3"/>
                  </a:lnTo>
                  <a:cubicBezTo>
                    <a:pt x="18389" y="3"/>
                    <a:pt x="18374" y="0"/>
                    <a:pt x="18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27" name="Google Shape;9027;p75"/>
            <p:cNvSpPr/>
            <p:nvPr/>
          </p:nvSpPr>
          <p:spPr>
            <a:xfrm>
              <a:off x="3860250" y="1861675"/>
              <a:ext cx="54675" cy="48550"/>
            </a:xfrm>
            <a:custGeom>
              <a:avLst/>
              <a:gdLst/>
              <a:ahLst/>
              <a:cxnLst/>
              <a:rect l="l" t="t" r="r" b="b"/>
              <a:pathLst>
                <a:path w="2187" h="1942" extrusionOk="0">
                  <a:moveTo>
                    <a:pt x="1563" y="1"/>
                  </a:moveTo>
                  <a:cubicBezTo>
                    <a:pt x="1416" y="1"/>
                    <a:pt x="1268" y="58"/>
                    <a:pt x="1157" y="172"/>
                  </a:cubicBezTo>
                  <a:lnTo>
                    <a:pt x="357" y="976"/>
                  </a:lnTo>
                  <a:cubicBezTo>
                    <a:pt x="0" y="1332"/>
                    <a:pt x="254" y="1942"/>
                    <a:pt x="758" y="1942"/>
                  </a:cubicBezTo>
                  <a:cubicBezTo>
                    <a:pt x="906" y="1942"/>
                    <a:pt x="1051" y="1882"/>
                    <a:pt x="1157" y="1776"/>
                  </a:cubicBezTo>
                  <a:lnTo>
                    <a:pt x="1957" y="973"/>
                  </a:lnTo>
                  <a:cubicBezTo>
                    <a:pt x="2184" y="755"/>
                    <a:pt x="2187" y="390"/>
                    <a:pt x="1963" y="166"/>
                  </a:cubicBezTo>
                  <a:cubicBezTo>
                    <a:pt x="1853" y="56"/>
                    <a:pt x="1708" y="1"/>
                    <a:pt x="15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28" name="Google Shape;9028;p75"/>
            <p:cNvSpPr/>
            <p:nvPr/>
          </p:nvSpPr>
          <p:spPr>
            <a:xfrm>
              <a:off x="3923425" y="1801775"/>
              <a:ext cx="51350" cy="48550"/>
            </a:xfrm>
            <a:custGeom>
              <a:avLst/>
              <a:gdLst/>
              <a:ahLst/>
              <a:cxnLst/>
              <a:rect l="l" t="t" r="r" b="b"/>
              <a:pathLst>
                <a:path w="2054" h="1942" extrusionOk="0">
                  <a:moveTo>
                    <a:pt x="1430" y="0"/>
                  </a:moveTo>
                  <a:cubicBezTo>
                    <a:pt x="1286" y="0"/>
                    <a:pt x="1141" y="56"/>
                    <a:pt x="1030" y="168"/>
                  </a:cubicBezTo>
                  <a:lnTo>
                    <a:pt x="230" y="968"/>
                  </a:lnTo>
                  <a:cubicBezTo>
                    <a:pt x="4" y="1189"/>
                    <a:pt x="1" y="1551"/>
                    <a:pt x="224" y="1774"/>
                  </a:cubicBezTo>
                  <a:cubicBezTo>
                    <a:pt x="334" y="1886"/>
                    <a:pt x="478" y="1941"/>
                    <a:pt x="623" y="1941"/>
                  </a:cubicBezTo>
                  <a:cubicBezTo>
                    <a:pt x="771" y="1941"/>
                    <a:pt x="919" y="1883"/>
                    <a:pt x="1030" y="1768"/>
                  </a:cubicBezTo>
                  <a:lnTo>
                    <a:pt x="1831" y="968"/>
                  </a:lnTo>
                  <a:cubicBezTo>
                    <a:pt x="2054" y="745"/>
                    <a:pt x="2051" y="388"/>
                    <a:pt x="1831" y="168"/>
                  </a:cubicBezTo>
                  <a:cubicBezTo>
                    <a:pt x="1720" y="56"/>
                    <a:pt x="1575" y="0"/>
                    <a:pt x="14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29" name="Google Shape;9029;p75"/>
          <p:cNvSpPr/>
          <p:nvPr/>
        </p:nvSpPr>
        <p:spPr>
          <a:xfrm>
            <a:off x="3353203" y="3125629"/>
            <a:ext cx="340239" cy="340168"/>
          </a:xfrm>
          <a:custGeom>
            <a:avLst/>
            <a:gdLst/>
            <a:ahLst/>
            <a:cxnLst/>
            <a:rect l="l" t="t" r="r" b="b"/>
            <a:pathLst>
              <a:path w="19329" h="19325" extrusionOk="0">
                <a:moveTo>
                  <a:pt x="9062" y="1229"/>
                </a:moveTo>
                <a:lnTo>
                  <a:pt x="9062" y="4539"/>
                </a:lnTo>
                <a:cubicBezTo>
                  <a:pt x="8470" y="4557"/>
                  <a:pt x="7885" y="4602"/>
                  <a:pt x="7311" y="4674"/>
                </a:cubicBezTo>
                <a:cubicBezTo>
                  <a:pt x="7223" y="4339"/>
                  <a:pt x="7036" y="4037"/>
                  <a:pt x="6773" y="3811"/>
                </a:cubicBezTo>
                <a:cubicBezTo>
                  <a:pt x="7392" y="2428"/>
                  <a:pt x="8211" y="1513"/>
                  <a:pt x="9062" y="1229"/>
                </a:cubicBezTo>
                <a:close/>
                <a:moveTo>
                  <a:pt x="10194" y="1226"/>
                </a:moveTo>
                <a:cubicBezTo>
                  <a:pt x="11278" y="1586"/>
                  <a:pt x="12272" y="2944"/>
                  <a:pt x="12912" y="4835"/>
                </a:cubicBezTo>
                <a:cubicBezTo>
                  <a:pt x="12015" y="4662"/>
                  <a:pt x="11106" y="4566"/>
                  <a:pt x="10194" y="4539"/>
                </a:cubicBezTo>
                <a:lnTo>
                  <a:pt x="10194" y="1226"/>
                </a:lnTo>
                <a:close/>
                <a:moveTo>
                  <a:pt x="5665" y="4530"/>
                </a:moveTo>
                <a:cubicBezTo>
                  <a:pt x="6170" y="4530"/>
                  <a:pt x="6423" y="5139"/>
                  <a:pt x="6067" y="5496"/>
                </a:cubicBezTo>
                <a:cubicBezTo>
                  <a:pt x="5950" y="5611"/>
                  <a:pt x="5808" y="5663"/>
                  <a:pt x="5669" y="5663"/>
                </a:cubicBezTo>
                <a:cubicBezTo>
                  <a:pt x="5378" y="5663"/>
                  <a:pt x="5101" y="5438"/>
                  <a:pt x="5101" y="5097"/>
                </a:cubicBezTo>
                <a:cubicBezTo>
                  <a:pt x="5101" y="4783"/>
                  <a:pt x="5351" y="4530"/>
                  <a:pt x="5665" y="4530"/>
                </a:cubicBezTo>
                <a:close/>
                <a:moveTo>
                  <a:pt x="6743" y="1643"/>
                </a:moveTo>
                <a:cubicBezTo>
                  <a:pt x="6363" y="2129"/>
                  <a:pt x="6019" y="2718"/>
                  <a:pt x="5717" y="3397"/>
                </a:cubicBezTo>
                <a:lnTo>
                  <a:pt x="5665" y="3397"/>
                </a:lnTo>
                <a:cubicBezTo>
                  <a:pt x="4578" y="3397"/>
                  <a:pt x="3769" y="4406"/>
                  <a:pt x="4008" y="5469"/>
                </a:cubicBezTo>
                <a:cubicBezTo>
                  <a:pt x="3075" y="5822"/>
                  <a:pt x="2277" y="6266"/>
                  <a:pt x="1646" y="6773"/>
                </a:cubicBezTo>
                <a:cubicBezTo>
                  <a:pt x="2507" y="4394"/>
                  <a:pt x="4373" y="2516"/>
                  <a:pt x="6743" y="1643"/>
                </a:cubicBezTo>
                <a:close/>
                <a:moveTo>
                  <a:pt x="12510" y="1631"/>
                </a:moveTo>
                <a:lnTo>
                  <a:pt x="12510" y="1631"/>
                </a:lnTo>
                <a:cubicBezTo>
                  <a:pt x="14926" y="2500"/>
                  <a:pt x="16828" y="4403"/>
                  <a:pt x="17698" y="6818"/>
                </a:cubicBezTo>
                <a:cubicBezTo>
                  <a:pt x="17269" y="6483"/>
                  <a:pt x="16810" y="6196"/>
                  <a:pt x="16327" y="5955"/>
                </a:cubicBezTo>
                <a:cubicBezTo>
                  <a:pt x="15645" y="5614"/>
                  <a:pt x="14932" y="5342"/>
                  <a:pt x="14195" y="5136"/>
                </a:cubicBezTo>
                <a:cubicBezTo>
                  <a:pt x="13933" y="4203"/>
                  <a:pt x="13585" y="3349"/>
                  <a:pt x="13169" y="2612"/>
                </a:cubicBezTo>
                <a:cubicBezTo>
                  <a:pt x="12975" y="2268"/>
                  <a:pt x="12755" y="1942"/>
                  <a:pt x="12510" y="1631"/>
                </a:cubicBezTo>
                <a:close/>
                <a:moveTo>
                  <a:pt x="4636" y="6444"/>
                </a:moveTo>
                <a:cubicBezTo>
                  <a:pt x="4684" y="6483"/>
                  <a:pt x="4738" y="6519"/>
                  <a:pt x="4793" y="6553"/>
                </a:cubicBezTo>
                <a:cubicBezTo>
                  <a:pt x="4651" y="7407"/>
                  <a:pt x="4566" y="8268"/>
                  <a:pt x="4542" y="9134"/>
                </a:cubicBezTo>
                <a:lnTo>
                  <a:pt x="1230" y="9134"/>
                </a:lnTo>
                <a:cubicBezTo>
                  <a:pt x="1568" y="8083"/>
                  <a:pt x="2821" y="7081"/>
                  <a:pt x="4636" y="6444"/>
                </a:cubicBezTo>
                <a:close/>
                <a:moveTo>
                  <a:pt x="9062" y="5674"/>
                </a:moveTo>
                <a:lnTo>
                  <a:pt x="9062" y="9134"/>
                </a:lnTo>
                <a:lnTo>
                  <a:pt x="5674" y="9134"/>
                </a:lnTo>
                <a:cubicBezTo>
                  <a:pt x="5698" y="8343"/>
                  <a:pt x="5774" y="7558"/>
                  <a:pt x="5904" y="6776"/>
                </a:cubicBezTo>
                <a:lnTo>
                  <a:pt x="5904" y="6779"/>
                </a:lnTo>
                <a:cubicBezTo>
                  <a:pt x="6462" y="6698"/>
                  <a:pt x="6949" y="6344"/>
                  <a:pt x="7196" y="5834"/>
                </a:cubicBezTo>
                <a:cubicBezTo>
                  <a:pt x="7815" y="5746"/>
                  <a:pt x="8437" y="5692"/>
                  <a:pt x="9062" y="5674"/>
                </a:cubicBezTo>
                <a:close/>
                <a:moveTo>
                  <a:pt x="10194" y="5671"/>
                </a:moveTo>
                <a:cubicBezTo>
                  <a:pt x="11227" y="5701"/>
                  <a:pt x="12257" y="5834"/>
                  <a:pt x="13265" y="6063"/>
                </a:cubicBezTo>
                <a:cubicBezTo>
                  <a:pt x="13422" y="6743"/>
                  <a:pt x="13534" y="7431"/>
                  <a:pt x="13597" y="8126"/>
                </a:cubicBezTo>
                <a:cubicBezTo>
                  <a:pt x="13144" y="8310"/>
                  <a:pt x="12794" y="8675"/>
                  <a:pt x="12631" y="9134"/>
                </a:cubicBezTo>
                <a:lnTo>
                  <a:pt x="10194" y="9134"/>
                </a:lnTo>
                <a:lnTo>
                  <a:pt x="10194" y="5671"/>
                </a:lnTo>
                <a:close/>
                <a:moveTo>
                  <a:pt x="14497" y="6417"/>
                </a:moveTo>
                <a:cubicBezTo>
                  <a:pt x="14950" y="6571"/>
                  <a:pt x="15391" y="6752"/>
                  <a:pt x="15817" y="6966"/>
                </a:cubicBezTo>
                <a:cubicBezTo>
                  <a:pt x="17037" y="7585"/>
                  <a:pt x="17837" y="8352"/>
                  <a:pt x="18099" y="9137"/>
                </a:cubicBezTo>
                <a:lnTo>
                  <a:pt x="15835" y="9134"/>
                </a:lnTo>
                <a:cubicBezTo>
                  <a:pt x="15654" y="8627"/>
                  <a:pt x="15243" y="8234"/>
                  <a:pt x="14730" y="8077"/>
                </a:cubicBezTo>
                <a:cubicBezTo>
                  <a:pt x="14678" y="7519"/>
                  <a:pt x="14603" y="6966"/>
                  <a:pt x="14497" y="6417"/>
                </a:cubicBezTo>
                <a:close/>
                <a:moveTo>
                  <a:pt x="14241" y="9137"/>
                </a:moveTo>
                <a:cubicBezTo>
                  <a:pt x="14555" y="9137"/>
                  <a:pt x="14808" y="9391"/>
                  <a:pt x="14808" y="9702"/>
                </a:cubicBezTo>
                <a:cubicBezTo>
                  <a:pt x="14808" y="10016"/>
                  <a:pt x="14555" y="10270"/>
                  <a:pt x="14241" y="10270"/>
                </a:cubicBezTo>
                <a:lnTo>
                  <a:pt x="14241" y="10267"/>
                </a:lnTo>
                <a:lnTo>
                  <a:pt x="14204" y="10267"/>
                </a:lnTo>
                <a:cubicBezTo>
                  <a:pt x="13902" y="10251"/>
                  <a:pt x="13667" y="10004"/>
                  <a:pt x="13667" y="9702"/>
                </a:cubicBezTo>
                <a:cubicBezTo>
                  <a:pt x="13667" y="9403"/>
                  <a:pt x="13899" y="9155"/>
                  <a:pt x="14195" y="9137"/>
                </a:cubicBezTo>
                <a:close/>
                <a:moveTo>
                  <a:pt x="18099" y="10270"/>
                </a:moveTo>
                <a:cubicBezTo>
                  <a:pt x="17861" y="10967"/>
                  <a:pt x="17194" y="11643"/>
                  <a:pt x="16161" y="12217"/>
                </a:cubicBezTo>
                <a:cubicBezTo>
                  <a:pt x="15632" y="12504"/>
                  <a:pt x="15080" y="12742"/>
                  <a:pt x="14506" y="12930"/>
                </a:cubicBezTo>
                <a:cubicBezTo>
                  <a:pt x="14606" y="12407"/>
                  <a:pt x="14678" y="11873"/>
                  <a:pt x="14730" y="11323"/>
                </a:cubicBezTo>
                <a:lnTo>
                  <a:pt x="14730" y="11326"/>
                </a:lnTo>
                <a:cubicBezTo>
                  <a:pt x="15243" y="11166"/>
                  <a:pt x="15654" y="10774"/>
                  <a:pt x="15835" y="10270"/>
                </a:cubicBezTo>
                <a:close/>
                <a:moveTo>
                  <a:pt x="4542" y="10267"/>
                </a:moveTo>
                <a:cubicBezTo>
                  <a:pt x="4566" y="11163"/>
                  <a:pt x="4660" y="12060"/>
                  <a:pt x="4820" y="12945"/>
                </a:cubicBezTo>
                <a:cubicBezTo>
                  <a:pt x="2927" y="12320"/>
                  <a:pt x="1583" y="11351"/>
                  <a:pt x="1230" y="10267"/>
                </a:cubicBezTo>
                <a:close/>
                <a:moveTo>
                  <a:pt x="9062" y="10267"/>
                </a:moveTo>
                <a:lnTo>
                  <a:pt x="9062" y="12628"/>
                </a:lnTo>
                <a:cubicBezTo>
                  <a:pt x="8603" y="12791"/>
                  <a:pt x="8238" y="13141"/>
                  <a:pt x="8054" y="13594"/>
                </a:cubicBezTo>
                <a:cubicBezTo>
                  <a:pt x="7377" y="13534"/>
                  <a:pt x="6707" y="13428"/>
                  <a:pt x="6046" y="13280"/>
                </a:cubicBezTo>
                <a:cubicBezTo>
                  <a:pt x="5828" y="12290"/>
                  <a:pt x="5702" y="11281"/>
                  <a:pt x="5674" y="10267"/>
                </a:cubicBezTo>
                <a:close/>
                <a:moveTo>
                  <a:pt x="12631" y="10267"/>
                </a:moveTo>
                <a:cubicBezTo>
                  <a:pt x="12794" y="10725"/>
                  <a:pt x="13144" y="11091"/>
                  <a:pt x="13597" y="11275"/>
                </a:cubicBezTo>
                <a:cubicBezTo>
                  <a:pt x="13534" y="11945"/>
                  <a:pt x="13431" y="12613"/>
                  <a:pt x="13280" y="13268"/>
                </a:cubicBezTo>
                <a:cubicBezTo>
                  <a:pt x="12595" y="13422"/>
                  <a:pt x="11900" y="13531"/>
                  <a:pt x="11203" y="13594"/>
                </a:cubicBezTo>
                <a:cubicBezTo>
                  <a:pt x="11019" y="13141"/>
                  <a:pt x="10653" y="12791"/>
                  <a:pt x="10194" y="12628"/>
                </a:cubicBezTo>
                <a:lnTo>
                  <a:pt x="10194" y="10267"/>
                </a:lnTo>
                <a:close/>
                <a:moveTo>
                  <a:pt x="9627" y="13678"/>
                </a:moveTo>
                <a:cubicBezTo>
                  <a:pt x="9923" y="13678"/>
                  <a:pt x="10170" y="13905"/>
                  <a:pt x="10191" y="14201"/>
                </a:cubicBezTo>
                <a:lnTo>
                  <a:pt x="10191" y="14231"/>
                </a:lnTo>
                <a:cubicBezTo>
                  <a:pt x="10191" y="14231"/>
                  <a:pt x="10191" y="14234"/>
                  <a:pt x="10191" y="14237"/>
                </a:cubicBezTo>
                <a:cubicBezTo>
                  <a:pt x="10188" y="14545"/>
                  <a:pt x="9938" y="14793"/>
                  <a:pt x="9630" y="14796"/>
                </a:cubicBezTo>
                <a:cubicBezTo>
                  <a:pt x="9319" y="14796"/>
                  <a:pt x="9065" y="14545"/>
                  <a:pt x="9062" y="14237"/>
                </a:cubicBezTo>
                <a:lnTo>
                  <a:pt x="9062" y="14231"/>
                </a:lnTo>
                <a:lnTo>
                  <a:pt x="9062" y="14201"/>
                </a:lnTo>
                <a:cubicBezTo>
                  <a:pt x="9083" y="13905"/>
                  <a:pt x="9331" y="13678"/>
                  <a:pt x="9627" y="13678"/>
                </a:cubicBezTo>
                <a:close/>
                <a:moveTo>
                  <a:pt x="1640" y="12579"/>
                </a:moveTo>
                <a:lnTo>
                  <a:pt x="1640" y="12579"/>
                </a:lnTo>
                <a:cubicBezTo>
                  <a:pt x="1936" y="12812"/>
                  <a:pt x="2250" y="13020"/>
                  <a:pt x="2579" y="13204"/>
                </a:cubicBezTo>
                <a:cubicBezTo>
                  <a:pt x="3313" y="13615"/>
                  <a:pt x="4168" y="13953"/>
                  <a:pt x="5110" y="14213"/>
                </a:cubicBezTo>
                <a:cubicBezTo>
                  <a:pt x="5496" y="15620"/>
                  <a:pt x="6061" y="16813"/>
                  <a:pt x="6752" y="17691"/>
                </a:cubicBezTo>
                <a:cubicBezTo>
                  <a:pt x="4373" y="16828"/>
                  <a:pt x="2501" y="14956"/>
                  <a:pt x="1640" y="12579"/>
                </a:cubicBezTo>
                <a:close/>
                <a:moveTo>
                  <a:pt x="17698" y="12555"/>
                </a:moveTo>
                <a:cubicBezTo>
                  <a:pt x="16837" y="14938"/>
                  <a:pt x="14932" y="16831"/>
                  <a:pt x="12535" y="17691"/>
                </a:cubicBezTo>
                <a:cubicBezTo>
                  <a:pt x="12770" y="17395"/>
                  <a:pt x="12981" y="17081"/>
                  <a:pt x="13169" y="16752"/>
                </a:cubicBezTo>
                <a:cubicBezTo>
                  <a:pt x="13594" y="16013"/>
                  <a:pt x="13945" y="15149"/>
                  <a:pt x="14213" y="14201"/>
                </a:cubicBezTo>
                <a:cubicBezTo>
                  <a:pt x="15140" y="13944"/>
                  <a:pt x="15986" y="13609"/>
                  <a:pt x="16713" y="13204"/>
                </a:cubicBezTo>
                <a:cubicBezTo>
                  <a:pt x="17058" y="13014"/>
                  <a:pt x="17387" y="12797"/>
                  <a:pt x="17698" y="12555"/>
                </a:cubicBezTo>
                <a:close/>
                <a:moveTo>
                  <a:pt x="6381" y="14503"/>
                </a:moveTo>
                <a:cubicBezTo>
                  <a:pt x="6906" y="14602"/>
                  <a:pt x="7450" y="14678"/>
                  <a:pt x="8005" y="14726"/>
                </a:cubicBezTo>
                <a:cubicBezTo>
                  <a:pt x="8162" y="15240"/>
                  <a:pt x="8555" y="15650"/>
                  <a:pt x="9062" y="15831"/>
                </a:cubicBezTo>
                <a:lnTo>
                  <a:pt x="9062" y="18096"/>
                </a:lnTo>
                <a:cubicBezTo>
                  <a:pt x="8286" y="17833"/>
                  <a:pt x="7531" y="17048"/>
                  <a:pt x="6933" y="15853"/>
                </a:cubicBezTo>
                <a:cubicBezTo>
                  <a:pt x="6716" y="15415"/>
                  <a:pt x="6532" y="14965"/>
                  <a:pt x="6381" y="14503"/>
                </a:cubicBezTo>
                <a:close/>
                <a:moveTo>
                  <a:pt x="12933" y="14497"/>
                </a:moveTo>
                <a:cubicBezTo>
                  <a:pt x="12740" y="15083"/>
                  <a:pt x="12486" y="15650"/>
                  <a:pt x="12184" y="16188"/>
                </a:cubicBezTo>
                <a:cubicBezTo>
                  <a:pt x="11595" y="17211"/>
                  <a:pt x="10904" y="17869"/>
                  <a:pt x="10194" y="18099"/>
                </a:cubicBezTo>
                <a:lnTo>
                  <a:pt x="10194" y="15831"/>
                </a:lnTo>
                <a:cubicBezTo>
                  <a:pt x="10702" y="15650"/>
                  <a:pt x="11094" y="15240"/>
                  <a:pt x="11251" y="14726"/>
                </a:cubicBezTo>
                <a:cubicBezTo>
                  <a:pt x="11828" y="14675"/>
                  <a:pt x="12390" y="14596"/>
                  <a:pt x="12933" y="14497"/>
                </a:cubicBezTo>
                <a:close/>
                <a:moveTo>
                  <a:pt x="9630" y="0"/>
                </a:moveTo>
                <a:cubicBezTo>
                  <a:pt x="7063" y="0"/>
                  <a:pt x="4645" y="1015"/>
                  <a:pt x="2821" y="2860"/>
                </a:cubicBezTo>
                <a:cubicBezTo>
                  <a:pt x="1012" y="4678"/>
                  <a:pt x="1" y="7138"/>
                  <a:pt x="4" y="9702"/>
                </a:cubicBezTo>
                <a:cubicBezTo>
                  <a:pt x="4" y="15016"/>
                  <a:pt x="4313" y="19325"/>
                  <a:pt x="9630" y="19325"/>
                </a:cubicBezTo>
                <a:cubicBezTo>
                  <a:pt x="9634" y="19325"/>
                  <a:pt x="9637" y="19325"/>
                  <a:pt x="9641" y="19325"/>
                </a:cubicBezTo>
                <a:cubicBezTo>
                  <a:pt x="12198" y="19325"/>
                  <a:pt x="14654" y="18314"/>
                  <a:pt x="16469" y="16508"/>
                </a:cubicBezTo>
                <a:cubicBezTo>
                  <a:pt x="18314" y="14687"/>
                  <a:pt x="19328" y="12268"/>
                  <a:pt x="19328" y="9702"/>
                </a:cubicBezTo>
                <a:cubicBezTo>
                  <a:pt x="19328" y="8407"/>
                  <a:pt x="19069" y="7129"/>
                  <a:pt x="18558" y="5940"/>
                </a:cubicBezTo>
                <a:cubicBezTo>
                  <a:pt x="18066" y="4789"/>
                  <a:pt x="17360" y="3741"/>
                  <a:pt x="16472" y="2857"/>
                </a:cubicBezTo>
                <a:cubicBezTo>
                  <a:pt x="15587" y="1969"/>
                  <a:pt x="14539" y="1263"/>
                  <a:pt x="13389" y="770"/>
                </a:cubicBezTo>
                <a:cubicBezTo>
                  <a:pt x="12199" y="260"/>
                  <a:pt x="10922" y="0"/>
                  <a:pt x="9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30" name="Google Shape;9030;p75"/>
          <p:cNvSpPr/>
          <p:nvPr/>
        </p:nvSpPr>
        <p:spPr>
          <a:xfrm>
            <a:off x="3774142" y="3125620"/>
            <a:ext cx="343530" cy="340186"/>
          </a:xfrm>
          <a:custGeom>
            <a:avLst/>
            <a:gdLst/>
            <a:ahLst/>
            <a:cxnLst/>
            <a:rect l="l" t="t" r="r" b="b"/>
            <a:pathLst>
              <a:path w="19516" h="19326" extrusionOk="0">
                <a:moveTo>
                  <a:pt x="15929" y="1934"/>
                </a:moveTo>
                <a:lnTo>
                  <a:pt x="15929" y="2834"/>
                </a:lnTo>
                <a:cubicBezTo>
                  <a:pt x="15929" y="3145"/>
                  <a:pt x="16182" y="3398"/>
                  <a:pt x="16496" y="3398"/>
                </a:cubicBezTo>
                <a:lnTo>
                  <a:pt x="17393" y="3398"/>
                </a:lnTo>
                <a:lnTo>
                  <a:pt x="16261" y="4531"/>
                </a:lnTo>
                <a:lnTo>
                  <a:pt x="14796" y="4531"/>
                </a:lnTo>
                <a:lnTo>
                  <a:pt x="14796" y="3066"/>
                </a:lnTo>
                <a:lnTo>
                  <a:pt x="15929" y="1934"/>
                </a:lnTo>
                <a:close/>
                <a:moveTo>
                  <a:pt x="9663" y="7927"/>
                </a:moveTo>
                <a:cubicBezTo>
                  <a:pt x="9926" y="7927"/>
                  <a:pt x="10183" y="7991"/>
                  <a:pt x="10418" y="8109"/>
                </a:cubicBezTo>
                <a:lnTo>
                  <a:pt x="9262" y="9262"/>
                </a:lnTo>
                <a:cubicBezTo>
                  <a:pt x="9041" y="9485"/>
                  <a:pt x="9041" y="9842"/>
                  <a:pt x="9262" y="10065"/>
                </a:cubicBezTo>
                <a:cubicBezTo>
                  <a:pt x="9372" y="10175"/>
                  <a:pt x="9517" y="10231"/>
                  <a:pt x="9662" y="10231"/>
                </a:cubicBezTo>
                <a:cubicBezTo>
                  <a:pt x="9807" y="10231"/>
                  <a:pt x="9952" y="10175"/>
                  <a:pt x="10062" y="10065"/>
                </a:cubicBezTo>
                <a:lnTo>
                  <a:pt x="11218" y="8909"/>
                </a:lnTo>
                <a:cubicBezTo>
                  <a:pt x="11336" y="9141"/>
                  <a:pt x="11399" y="9401"/>
                  <a:pt x="11399" y="9664"/>
                </a:cubicBezTo>
                <a:cubicBezTo>
                  <a:pt x="11399" y="10585"/>
                  <a:pt x="10605" y="11364"/>
                  <a:pt x="9663" y="11364"/>
                </a:cubicBezTo>
                <a:cubicBezTo>
                  <a:pt x="8721" y="11364"/>
                  <a:pt x="7927" y="10585"/>
                  <a:pt x="7927" y="9664"/>
                </a:cubicBezTo>
                <a:cubicBezTo>
                  <a:pt x="7927" y="8722"/>
                  <a:pt x="8721" y="7927"/>
                  <a:pt x="9663" y="7927"/>
                </a:cubicBezTo>
                <a:close/>
                <a:moveTo>
                  <a:pt x="9663" y="5663"/>
                </a:moveTo>
                <a:cubicBezTo>
                  <a:pt x="10527" y="5666"/>
                  <a:pt x="11363" y="5953"/>
                  <a:pt x="12049" y="6478"/>
                </a:cubicBezTo>
                <a:lnTo>
                  <a:pt x="11242" y="7287"/>
                </a:lnTo>
                <a:cubicBezTo>
                  <a:pt x="10777" y="6967"/>
                  <a:pt x="10228" y="6798"/>
                  <a:pt x="9663" y="6795"/>
                </a:cubicBezTo>
                <a:cubicBezTo>
                  <a:pt x="8108" y="6795"/>
                  <a:pt x="6795" y="8109"/>
                  <a:pt x="6795" y="9664"/>
                </a:cubicBezTo>
                <a:cubicBezTo>
                  <a:pt x="6795" y="10422"/>
                  <a:pt x="7103" y="11143"/>
                  <a:pt x="7649" y="11669"/>
                </a:cubicBezTo>
                <a:cubicBezTo>
                  <a:pt x="8208" y="12220"/>
                  <a:pt x="8935" y="12495"/>
                  <a:pt x="9663" y="12495"/>
                </a:cubicBezTo>
                <a:cubicBezTo>
                  <a:pt x="10391" y="12495"/>
                  <a:pt x="11119" y="12220"/>
                  <a:pt x="11677" y="11669"/>
                </a:cubicBezTo>
                <a:cubicBezTo>
                  <a:pt x="12224" y="11143"/>
                  <a:pt x="12532" y="10422"/>
                  <a:pt x="12532" y="9664"/>
                </a:cubicBezTo>
                <a:cubicBezTo>
                  <a:pt x="12529" y="9099"/>
                  <a:pt x="12360" y="8549"/>
                  <a:pt x="12043" y="8084"/>
                </a:cubicBezTo>
                <a:lnTo>
                  <a:pt x="12849" y="7278"/>
                </a:lnTo>
                <a:cubicBezTo>
                  <a:pt x="13374" y="7964"/>
                  <a:pt x="13661" y="8800"/>
                  <a:pt x="13664" y="9664"/>
                </a:cubicBezTo>
                <a:cubicBezTo>
                  <a:pt x="13664" y="11850"/>
                  <a:pt x="11870" y="13628"/>
                  <a:pt x="9663" y="13628"/>
                </a:cubicBezTo>
                <a:cubicBezTo>
                  <a:pt x="7456" y="13628"/>
                  <a:pt x="5662" y="11850"/>
                  <a:pt x="5662" y="9664"/>
                </a:cubicBezTo>
                <a:cubicBezTo>
                  <a:pt x="5662" y="7496"/>
                  <a:pt x="7495" y="5663"/>
                  <a:pt x="9663" y="5663"/>
                </a:cubicBezTo>
                <a:close/>
                <a:moveTo>
                  <a:pt x="9676" y="3398"/>
                </a:moveTo>
                <a:cubicBezTo>
                  <a:pt x="11130" y="3398"/>
                  <a:pt x="12541" y="3902"/>
                  <a:pt x="13664" y="4826"/>
                </a:cubicBezTo>
                <a:lnTo>
                  <a:pt x="13664" y="4863"/>
                </a:lnTo>
                <a:lnTo>
                  <a:pt x="12861" y="5663"/>
                </a:lnTo>
                <a:cubicBezTo>
                  <a:pt x="11911" y="4901"/>
                  <a:pt x="10770" y="4528"/>
                  <a:pt x="9634" y="4528"/>
                </a:cubicBezTo>
                <a:cubicBezTo>
                  <a:pt x="8214" y="4528"/>
                  <a:pt x="6803" y="5111"/>
                  <a:pt x="5786" y="6246"/>
                </a:cubicBezTo>
                <a:cubicBezTo>
                  <a:pt x="3959" y="8287"/>
                  <a:pt x="4047" y="11403"/>
                  <a:pt x="5985" y="13341"/>
                </a:cubicBezTo>
                <a:cubicBezTo>
                  <a:pt x="6991" y="14346"/>
                  <a:pt x="8313" y="14852"/>
                  <a:pt x="9638" y="14852"/>
                </a:cubicBezTo>
                <a:cubicBezTo>
                  <a:pt x="10866" y="14852"/>
                  <a:pt x="12096" y="14417"/>
                  <a:pt x="13078" y="13538"/>
                </a:cubicBezTo>
                <a:cubicBezTo>
                  <a:pt x="15119" y="11711"/>
                  <a:pt x="15376" y="8604"/>
                  <a:pt x="13664" y="6463"/>
                </a:cubicBezTo>
                <a:lnTo>
                  <a:pt x="14464" y="5663"/>
                </a:lnTo>
                <a:lnTo>
                  <a:pt x="14503" y="5663"/>
                </a:lnTo>
                <a:cubicBezTo>
                  <a:pt x="15430" y="6789"/>
                  <a:pt x="15935" y="8205"/>
                  <a:pt x="15929" y="9664"/>
                </a:cubicBezTo>
                <a:cubicBezTo>
                  <a:pt x="15929" y="13100"/>
                  <a:pt x="13117" y="15893"/>
                  <a:pt x="9663" y="15893"/>
                </a:cubicBezTo>
                <a:cubicBezTo>
                  <a:pt x="6209" y="15893"/>
                  <a:pt x="3398" y="13100"/>
                  <a:pt x="3398" y="9664"/>
                </a:cubicBezTo>
                <a:cubicBezTo>
                  <a:pt x="3398" y="6209"/>
                  <a:pt x="6209" y="3398"/>
                  <a:pt x="9663" y="3398"/>
                </a:cubicBezTo>
                <a:cubicBezTo>
                  <a:pt x="9668" y="3398"/>
                  <a:pt x="9672" y="3398"/>
                  <a:pt x="9676" y="3398"/>
                </a:cubicBezTo>
                <a:close/>
                <a:moveTo>
                  <a:pt x="9663" y="1134"/>
                </a:moveTo>
                <a:cubicBezTo>
                  <a:pt x="11176" y="1134"/>
                  <a:pt x="12661" y="1532"/>
                  <a:pt x="13975" y="2287"/>
                </a:cubicBezTo>
                <a:lnTo>
                  <a:pt x="13830" y="2432"/>
                </a:lnTo>
                <a:cubicBezTo>
                  <a:pt x="13724" y="2538"/>
                  <a:pt x="13664" y="2683"/>
                  <a:pt x="13664" y="2834"/>
                </a:cubicBezTo>
                <a:lnTo>
                  <a:pt x="13664" y="3428"/>
                </a:lnTo>
                <a:cubicBezTo>
                  <a:pt x="12473" y="2670"/>
                  <a:pt x="11090" y="2266"/>
                  <a:pt x="9679" y="2266"/>
                </a:cubicBezTo>
                <a:cubicBezTo>
                  <a:pt x="9674" y="2266"/>
                  <a:pt x="9668" y="2266"/>
                  <a:pt x="9663" y="2266"/>
                </a:cubicBezTo>
                <a:cubicBezTo>
                  <a:pt x="7701" y="2266"/>
                  <a:pt x="5847" y="3039"/>
                  <a:pt x="4443" y="4443"/>
                </a:cubicBezTo>
                <a:cubicBezTo>
                  <a:pt x="3039" y="5847"/>
                  <a:pt x="2266" y="7701"/>
                  <a:pt x="2266" y="9664"/>
                </a:cubicBezTo>
                <a:cubicBezTo>
                  <a:pt x="2266" y="11626"/>
                  <a:pt x="3039" y="13474"/>
                  <a:pt x="4443" y="14866"/>
                </a:cubicBezTo>
                <a:cubicBezTo>
                  <a:pt x="5886" y="16305"/>
                  <a:pt x="7775" y="17024"/>
                  <a:pt x="9663" y="17024"/>
                </a:cubicBezTo>
                <a:cubicBezTo>
                  <a:pt x="11552" y="17024"/>
                  <a:pt x="13441" y="16305"/>
                  <a:pt x="14884" y="14866"/>
                </a:cubicBezTo>
                <a:cubicBezTo>
                  <a:pt x="16288" y="13474"/>
                  <a:pt x="17061" y="11626"/>
                  <a:pt x="17061" y="9664"/>
                </a:cubicBezTo>
                <a:cubicBezTo>
                  <a:pt x="17064" y="8248"/>
                  <a:pt x="16659" y="6859"/>
                  <a:pt x="15898" y="5663"/>
                </a:cubicBezTo>
                <a:lnTo>
                  <a:pt x="16496" y="5663"/>
                </a:lnTo>
                <a:cubicBezTo>
                  <a:pt x="16644" y="5663"/>
                  <a:pt x="16789" y="5602"/>
                  <a:pt x="16895" y="5497"/>
                </a:cubicBezTo>
                <a:lnTo>
                  <a:pt x="17040" y="5352"/>
                </a:lnTo>
                <a:cubicBezTo>
                  <a:pt x="17795" y="6665"/>
                  <a:pt x="18193" y="8151"/>
                  <a:pt x="18193" y="9664"/>
                </a:cubicBezTo>
                <a:cubicBezTo>
                  <a:pt x="18193" y="14368"/>
                  <a:pt x="14367" y="18194"/>
                  <a:pt x="9663" y="18194"/>
                </a:cubicBezTo>
                <a:cubicBezTo>
                  <a:pt x="4959" y="18194"/>
                  <a:pt x="1133" y="14368"/>
                  <a:pt x="1133" y="9664"/>
                </a:cubicBezTo>
                <a:cubicBezTo>
                  <a:pt x="1133" y="4959"/>
                  <a:pt x="4959" y="1134"/>
                  <a:pt x="9663" y="1134"/>
                </a:cubicBezTo>
                <a:close/>
                <a:moveTo>
                  <a:pt x="16491" y="0"/>
                </a:moveTo>
                <a:cubicBezTo>
                  <a:pt x="16352" y="0"/>
                  <a:pt x="16210" y="52"/>
                  <a:pt x="16095" y="167"/>
                </a:cubicBezTo>
                <a:lnTo>
                  <a:pt x="14799" y="1463"/>
                </a:lnTo>
                <a:cubicBezTo>
                  <a:pt x="13256" y="509"/>
                  <a:pt x="11478" y="4"/>
                  <a:pt x="9663" y="1"/>
                </a:cubicBezTo>
                <a:cubicBezTo>
                  <a:pt x="7094" y="1"/>
                  <a:pt x="4669" y="1010"/>
                  <a:pt x="2839" y="2840"/>
                </a:cubicBezTo>
                <a:cubicBezTo>
                  <a:pt x="1009" y="4669"/>
                  <a:pt x="1" y="7094"/>
                  <a:pt x="1" y="9664"/>
                </a:cubicBezTo>
                <a:cubicBezTo>
                  <a:pt x="1" y="12233"/>
                  <a:pt x="1009" y="14658"/>
                  <a:pt x="2839" y="16488"/>
                </a:cubicBezTo>
                <a:cubicBezTo>
                  <a:pt x="4669" y="18317"/>
                  <a:pt x="7094" y="19326"/>
                  <a:pt x="9663" y="19326"/>
                </a:cubicBezTo>
                <a:cubicBezTo>
                  <a:pt x="12233" y="19326"/>
                  <a:pt x="14657" y="18317"/>
                  <a:pt x="16487" y="16488"/>
                </a:cubicBezTo>
                <a:cubicBezTo>
                  <a:pt x="18317" y="14658"/>
                  <a:pt x="19325" y="12233"/>
                  <a:pt x="19325" y="9664"/>
                </a:cubicBezTo>
                <a:cubicBezTo>
                  <a:pt x="19322" y="7849"/>
                  <a:pt x="18818" y="6070"/>
                  <a:pt x="17864" y="4528"/>
                </a:cubicBezTo>
                <a:lnTo>
                  <a:pt x="19159" y="3232"/>
                </a:lnTo>
                <a:cubicBezTo>
                  <a:pt x="19516" y="2876"/>
                  <a:pt x="19265" y="2266"/>
                  <a:pt x="18761" y="2266"/>
                </a:cubicBezTo>
                <a:lnTo>
                  <a:pt x="17061" y="2266"/>
                </a:lnTo>
                <a:lnTo>
                  <a:pt x="17061" y="569"/>
                </a:lnTo>
                <a:cubicBezTo>
                  <a:pt x="17061" y="226"/>
                  <a:pt x="16782" y="0"/>
                  <a:pt x="164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31" name="Google Shape;9031;p75"/>
          <p:cNvGrpSpPr/>
          <p:nvPr/>
        </p:nvGrpSpPr>
        <p:grpSpPr>
          <a:xfrm>
            <a:off x="4190322" y="3125806"/>
            <a:ext cx="340221" cy="340168"/>
            <a:chOff x="5648375" y="1427025"/>
            <a:chExt cx="483200" cy="483125"/>
          </a:xfrm>
        </p:grpSpPr>
        <p:sp>
          <p:nvSpPr>
            <p:cNvPr id="9032" name="Google Shape;9032;p75"/>
            <p:cNvSpPr/>
            <p:nvPr/>
          </p:nvSpPr>
          <p:spPr>
            <a:xfrm>
              <a:off x="5801075" y="1484625"/>
              <a:ext cx="177725" cy="162475"/>
            </a:xfrm>
            <a:custGeom>
              <a:avLst/>
              <a:gdLst/>
              <a:ahLst/>
              <a:cxnLst/>
              <a:rect l="l" t="t" r="r" b="b"/>
              <a:pathLst>
                <a:path w="7109" h="6499" extrusionOk="0">
                  <a:moveTo>
                    <a:pt x="3554" y="1845"/>
                  </a:moveTo>
                  <a:lnTo>
                    <a:pt x="3920" y="2582"/>
                  </a:lnTo>
                  <a:cubicBezTo>
                    <a:pt x="4001" y="2751"/>
                    <a:pt x="4161" y="2866"/>
                    <a:pt x="4345" y="2893"/>
                  </a:cubicBezTo>
                  <a:lnTo>
                    <a:pt x="5158" y="3011"/>
                  </a:lnTo>
                  <a:lnTo>
                    <a:pt x="4569" y="3584"/>
                  </a:lnTo>
                  <a:cubicBezTo>
                    <a:pt x="4436" y="3714"/>
                    <a:pt x="4376" y="3901"/>
                    <a:pt x="4406" y="4086"/>
                  </a:cubicBezTo>
                  <a:lnTo>
                    <a:pt x="4545" y="4898"/>
                  </a:lnTo>
                  <a:lnTo>
                    <a:pt x="3820" y="4514"/>
                  </a:lnTo>
                  <a:cubicBezTo>
                    <a:pt x="3737" y="4469"/>
                    <a:pt x="3646" y="4446"/>
                    <a:pt x="3555" y="4446"/>
                  </a:cubicBezTo>
                  <a:cubicBezTo>
                    <a:pt x="3464" y="4446"/>
                    <a:pt x="3373" y="4469"/>
                    <a:pt x="3292" y="4514"/>
                  </a:cubicBezTo>
                  <a:lnTo>
                    <a:pt x="2561" y="4895"/>
                  </a:lnTo>
                  <a:lnTo>
                    <a:pt x="2703" y="4086"/>
                  </a:lnTo>
                  <a:cubicBezTo>
                    <a:pt x="2733" y="3901"/>
                    <a:pt x="2673" y="3714"/>
                    <a:pt x="2540" y="3584"/>
                  </a:cubicBezTo>
                  <a:lnTo>
                    <a:pt x="1951" y="3011"/>
                  </a:lnTo>
                  <a:lnTo>
                    <a:pt x="2763" y="2893"/>
                  </a:lnTo>
                  <a:cubicBezTo>
                    <a:pt x="2947" y="2866"/>
                    <a:pt x="3107" y="2751"/>
                    <a:pt x="3192" y="2582"/>
                  </a:cubicBezTo>
                  <a:lnTo>
                    <a:pt x="3554" y="1845"/>
                  </a:lnTo>
                  <a:close/>
                  <a:moveTo>
                    <a:pt x="3554" y="0"/>
                  </a:moveTo>
                  <a:cubicBezTo>
                    <a:pt x="3353" y="0"/>
                    <a:pt x="3151" y="106"/>
                    <a:pt x="3047" y="317"/>
                  </a:cubicBezTo>
                  <a:lnTo>
                    <a:pt x="2307" y="1815"/>
                  </a:lnTo>
                  <a:lnTo>
                    <a:pt x="653" y="2056"/>
                  </a:lnTo>
                  <a:cubicBezTo>
                    <a:pt x="188" y="2123"/>
                    <a:pt x="0" y="2694"/>
                    <a:pt x="339" y="3023"/>
                  </a:cubicBezTo>
                  <a:lnTo>
                    <a:pt x="1537" y="4188"/>
                  </a:lnTo>
                  <a:lnTo>
                    <a:pt x="1253" y="5837"/>
                  </a:lnTo>
                  <a:cubicBezTo>
                    <a:pt x="1191" y="6202"/>
                    <a:pt x="1480" y="6499"/>
                    <a:pt x="1809" y="6499"/>
                  </a:cubicBezTo>
                  <a:cubicBezTo>
                    <a:pt x="1897" y="6499"/>
                    <a:pt x="1987" y="6478"/>
                    <a:pt x="2075" y="6432"/>
                  </a:cubicBezTo>
                  <a:lnTo>
                    <a:pt x="3554" y="5656"/>
                  </a:lnTo>
                  <a:lnTo>
                    <a:pt x="5034" y="6432"/>
                  </a:lnTo>
                  <a:cubicBezTo>
                    <a:pt x="5121" y="6478"/>
                    <a:pt x="5212" y="6499"/>
                    <a:pt x="5299" y="6499"/>
                  </a:cubicBezTo>
                  <a:cubicBezTo>
                    <a:pt x="5629" y="6499"/>
                    <a:pt x="5917" y="6202"/>
                    <a:pt x="5855" y="5837"/>
                  </a:cubicBezTo>
                  <a:lnTo>
                    <a:pt x="5574" y="4188"/>
                  </a:lnTo>
                  <a:lnTo>
                    <a:pt x="6770" y="3023"/>
                  </a:lnTo>
                  <a:cubicBezTo>
                    <a:pt x="7108" y="2694"/>
                    <a:pt x="6921" y="2123"/>
                    <a:pt x="6456" y="2056"/>
                  </a:cubicBezTo>
                  <a:lnTo>
                    <a:pt x="4801" y="1815"/>
                  </a:lnTo>
                  <a:lnTo>
                    <a:pt x="4062" y="317"/>
                  </a:lnTo>
                  <a:cubicBezTo>
                    <a:pt x="3957" y="106"/>
                    <a:pt x="3756" y="0"/>
                    <a:pt x="3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33" name="Google Shape;9033;p75"/>
            <p:cNvSpPr/>
            <p:nvPr/>
          </p:nvSpPr>
          <p:spPr>
            <a:xfrm>
              <a:off x="5648375" y="1427025"/>
              <a:ext cx="483200" cy="483125"/>
            </a:xfrm>
            <a:custGeom>
              <a:avLst/>
              <a:gdLst/>
              <a:ahLst/>
              <a:cxnLst/>
              <a:rect l="l" t="t" r="r" b="b"/>
              <a:pathLst>
                <a:path w="19328" h="19325" extrusionOk="0">
                  <a:moveTo>
                    <a:pt x="2265" y="2304"/>
                  </a:moveTo>
                  <a:cubicBezTo>
                    <a:pt x="2890" y="2304"/>
                    <a:pt x="3397" y="2808"/>
                    <a:pt x="3397" y="3437"/>
                  </a:cubicBezTo>
                  <a:lnTo>
                    <a:pt x="3397" y="7398"/>
                  </a:lnTo>
                  <a:lnTo>
                    <a:pt x="3397" y="7474"/>
                  </a:lnTo>
                  <a:lnTo>
                    <a:pt x="1637" y="6299"/>
                  </a:lnTo>
                  <a:cubicBezTo>
                    <a:pt x="1320" y="6088"/>
                    <a:pt x="1129" y="5734"/>
                    <a:pt x="1132" y="5357"/>
                  </a:cubicBezTo>
                  <a:lnTo>
                    <a:pt x="1132" y="3437"/>
                  </a:lnTo>
                  <a:cubicBezTo>
                    <a:pt x="1132" y="2808"/>
                    <a:pt x="1640" y="2304"/>
                    <a:pt x="2265" y="2304"/>
                  </a:cubicBezTo>
                  <a:close/>
                  <a:moveTo>
                    <a:pt x="17060" y="2304"/>
                  </a:moveTo>
                  <a:cubicBezTo>
                    <a:pt x="17685" y="2304"/>
                    <a:pt x="18192" y="2808"/>
                    <a:pt x="18192" y="3437"/>
                  </a:cubicBezTo>
                  <a:lnTo>
                    <a:pt x="18192" y="5357"/>
                  </a:lnTo>
                  <a:cubicBezTo>
                    <a:pt x="18192" y="5737"/>
                    <a:pt x="18005" y="6091"/>
                    <a:pt x="17688" y="6302"/>
                  </a:cubicBezTo>
                  <a:lnTo>
                    <a:pt x="15928" y="7474"/>
                  </a:lnTo>
                  <a:lnTo>
                    <a:pt x="15928" y="7398"/>
                  </a:lnTo>
                  <a:lnTo>
                    <a:pt x="15928" y="3437"/>
                  </a:lnTo>
                  <a:cubicBezTo>
                    <a:pt x="15928" y="2808"/>
                    <a:pt x="16435" y="2304"/>
                    <a:pt x="17060" y="2304"/>
                  </a:cubicBezTo>
                  <a:close/>
                  <a:moveTo>
                    <a:pt x="14795" y="1133"/>
                  </a:moveTo>
                  <a:lnTo>
                    <a:pt x="14795" y="7398"/>
                  </a:lnTo>
                  <a:cubicBezTo>
                    <a:pt x="14795" y="8763"/>
                    <a:pt x="14095" y="9641"/>
                    <a:pt x="12120" y="10759"/>
                  </a:cubicBezTo>
                  <a:cubicBezTo>
                    <a:pt x="11069" y="11354"/>
                    <a:pt x="10372" y="12422"/>
                    <a:pt x="10248" y="13627"/>
                  </a:cubicBezTo>
                  <a:lnTo>
                    <a:pt x="9058" y="13627"/>
                  </a:lnTo>
                  <a:cubicBezTo>
                    <a:pt x="8877" y="12368"/>
                    <a:pt x="8041" y="11269"/>
                    <a:pt x="6791" y="10686"/>
                  </a:cubicBezTo>
                  <a:cubicBezTo>
                    <a:pt x="5332" y="10007"/>
                    <a:pt x="4529" y="8835"/>
                    <a:pt x="4529" y="7398"/>
                  </a:cubicBezTo>
                  <a:lnTo>
                    <a:pt x="4529" y="1133"/>
                  </a:lnTo>
                  <a:close/>
                  <a:moveTo>
                    <a:pt x="11927" y="14759"/>
                  </a:moveTo>
                  <a:cubicBezTo>
                    <a:pt x="12241" y="14759"/>
                    <a:pt x="12495" y="15010"/>
                    <a:pt x="12495" y="15324"/>
                  </a:cubicBezTo>
                  <a:lnTo>
                    <a:pt x="12495" y="15892"/>
                  </a:lnTo>
                  <a:lnTo>
                    <a:pt x="10795" y="15892"/>
                  </a:lnTo>
                  <a:cubicBezTo>
                    <a:pt x="10481" y="15892"/>
                    <a:pt x="10230" y="16142"/>
                    <a:pt x="10230" y="16456"/>
                  </a:cubicBezTo>
                  <a:cubicBezTo>
                    <a:pt x="10230" y="16770"/>
                    <a:pt x="10481" y="17024"/>
                    <a:pt x="10795" y="17024"/>
                  </a:cubicBezTo>
                  <a:lnTo>
                    <a:pt x="13059" y="17024"/>
                  </a:lnTo>
                  <a:cubicBezTo>
                    <a:pt x="13373" y="17024"/>
                    <a:pt x="13627" y="17275"/>
                    <a:pt x="13627" y="17589"/>
                  </a:cubicBezTo>
                  <a:lnTo>
                    <a:pt x="13627" y="18193"/>
                  </a:lnTo>
                  <a:lnTo>
                    <a:pt x="5701" y="18193"/>
                  </a:lnTo>
                  <a:lnTo>
                    <a:pt x="5701" y="17589"/>
                  </a:lnTo>
                  <a:cubicBezTo>
                    <a:pt x="5701" y="17275"/>
                    <a:pt x="5951" y="17024"/>
                    <a:pt x="6265" y="17024"/>
                  </a:cubicBezTo>
                  <a:lnTo>
                    <a:pt x="8530" y="17024"/>
                  </a:lnTo>
                  <a:cubicBezTo>
                    <a:pt x="8844" y="17024"/>
                    <a:pt x="9095" y="16770"/>
                    <a:pt x="9095" y="16456"/>
                  </a:cubicBezTo>
                  <a:cubicBezTo>
                    <a:pt x="9095" y="16142"/>
                    <a:pt x="8844" y="15892"/>
                    <a:pt x="8530" y="15892"/>
                  </a:cubicBezTo>
                  <a:lnTo>
                    <a:pt x="6833" y="15892"/>
                  </a:lnTo>
                  <a:lnTo>
                    <a:pt x="6833" y="15324"/>
                  </a:lnTo>
                  <a:cubicBezTo>
                    <a:pt x="6833" y="15010"/>
                    <a:pt x="7084" y="14759"/>
                    <a:pt x="7398" y="14759"/>
                  </a:cubicBezTo>
                  <a:close/>
                  <a:moveTo>
                    <a:pt x="3965" y="0"/>
                  </a:moveTo>
                  <a:cubicBezTo>
                    <a:pt x="3651" y="0"/>
                    <a:pt x="3397" y="254"/>
                    <a:pt x="3397" y="568"/>
                  </a:cubicBezTo>
                  <a:lnTo>
                    <a:pt x="3397" y="1474"/>
                  </a:lnTo>
                  <a:cubicBezTo>
                    <a:pt x="3032" y="1264"/>
                    <a:pt x="2645" y="1168"/>
                    <a:pt x="2269" y="1168"/>
                  </a:cubicBezTo>
                  <a:cubicBezTo>
                    <a:pt x="1086" y="1168"/>
                    <a:pt x="0" y="2113"/>
                    <a:pt x="0" y="3437"/>
                  </a:cubicBezTo>
                  <a:lnTo>
                    <a:pt x="0" y="5357"/>
                  </a:lnTo>
                  <a:cubicBezTo>
                    <a:pt x="0" y="6115"/>
                    <a:pt x="378" y="6821"/>
                    <a:pt x="1009" y="7241"/>
                  </a:cubicBezTo>
                  <a:lnTo>
                    <a:pt x="3651" y="9001"/>
                  </a:lnTo>
                  <a:cubicBezTo>
                    <a:pt x="3663" y="9010"/>
                    <a:pt x="3678" y="9019"/>
                    <a:pt x="3690" y="9026"/>
                  </a:cubicBezTo>
                  <a:cubicBezTo>
                    <a:pt x="4125" y="10170"/>
                    <a:pt x="5027" y="11112"/>
                    <a:pt x="6314" y="11710"/>
                  </a:cubicBezTo>
                  <a:cubicBezTo>
                    <a:pt x="7156" y="12105"/>
                    <a:pt x="7736" y="12812"/>
                    <a:pt x="7911" y="13627"/>
                  </a:cubicBezTo>
                  <a:lnTo>
                    <a:pt x="7398" y="13627"/>
                  </a:lnTo>
                  <a:cubicBezTo>
                    <a:pt x="6459" y="13627"/>
                    <a:pt x="5701" y="14385"/>
                    <a:pt x="5701" y="15324"/>
                  </a:cubicBezTo>
                  <a:lnTo>
                    <a:pt x="5701" y="15988"/>
                  </a:lnTo>
                  <a:cubicBezTo>
                    <a:pt x="5021" y="16227"/>
                    <a:pt x="4569" y="16870"/>
                    <a:pt x="4569" y="17589"/>
                  </a:cubicBezTo>
                  <a:lnTo>
                    <a:pt x="4569" y="18760"/>
                  </a:lnTo>
                  <a:cubicBezTo>
                    <a:pt x="4569" y="19071"/>
                    <a:pt x="4819" y="19325"/>
                    <a:pt x="5133" y="19325"/>
                  </a:cubicBezTo>
                  <a:lnTo>
                    <a:pt x="14191" y="19325"/>
                  </a:lnTo>
                  <a:cubicBezTo>
                    <a:pt x="14506" y="19325"/>
                    <a:pt x="14759" y="19071"/>
                    <a:pt x="14759" y="18760"/>
                  </a:cubicBezTo>
                  <a:lnTo>
                    <a:pt x="14759" y="17589"/>
                  </a:lnTo>
                  <a:cubicBezTo>
                    <a:pt x="14756" y="16870"/>
                    <a:pt x="14303" y="16227"/>
                    <a:pt x="13627" y="15988"/>
                  </a:cubicBezTo>
                  <a:lnTo>
                    <a:pt x="13627" y="15324"/>
                  </a:lnTo>
                  <a:cubicBezTo>
                    <a:pt x="13624" y="14385"/>
                    <a:pt x="12866" y="13627"/>
                    <a:pt x="11927" y="13627"/>
                  </a:cubicBezTo>
                  <a:lnTo>
                    <a:pt x="11389" y="13627"/>
                  </a:lnTo>
                  <a:cubicBezTo>
                    <a:pt x="11507" y="12833"/>
                    <a:pt x="11981" y="12139"/>
                    <a:pt x="12679" y="11743"/>
                  </a:cubicBezTo>
                  <a:cubicBezTo>
                    <a:pt x="14044" y="10973"/>
                    <a:pt x="15088" y="10170"/>
                    <a:pt x="15593" y="9047"/>
                  </a:cubicBezTo>
                  <a:cubicBezTo>
                    <a:pt x="15623" y="9035"/>
                    <a:pt x="15650" y="9019"/>
                    <a:pt x="15677" y="9001"/>
                  </a:cubicBezTo>
                  <a:lnTo>
                    <a:pt x="18319" y="7241"/>
                  </a:lnTo>
                  <a:cubicBezTo>
                    <a:pt x="18947" y="6821"/>
                    <a:pt x="19328" y="6115"/>
                    <a:pt x="19328" y="5357"/>
                  </a:cubicBezTo>
                  <a:lnTo>
                    <a:pt x="19328" y="3437"/>
                  </a:lnTo>
                  <a:cubicBezTo>
                    <a:pt x="19325" y="2113"/>
                    <a:pt x="18239" y="1168"/>
                    <a:pt x="17057" y="1168"/>
                  </a:cubicBezTo>
                  <a:cubicBezTo>
                    <a:pt x="16681" y="1168"/>
                    <a:pt x="16295" y="1264"/>
                    <a:pt x="15931" y="1474"/>
                  </a:cubicBezTo>
                  <a:lnTo>
                    <a:pt x="15931" y="568"/>
                  </a:lnTo>
                  <a:cubicBezTo>
                    <a:pt x="15931" y="254"/>
                    <a:pt x="15677" y="0"/>
                    <a:pt x="15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34" name="Google Shape;9034;p75"/>
          <p:cNvGrpSpPr/>
          <p:nvPr/>
        </p:nvGrpSpPr>
        <p:grpSpPr>
          <a:xfrm>
            <a:off x="4604808" y="3125789"/>
            <a:ext cx="344622" cy="340204"/>
            <a:chOff x="6238300" y="1426975"/>
            <a:chExt cx="489450" cy="483175"/>
          </a:xfrm>
        </p:grpSpPr>
        <p:sp>
          <p:nvSpPr>
            <p:cNvPr id="9035" name="Google Shape;9035;p75"/>
            <p:cNvSpPr/>
            <p:nvPr/>
          </p:nvSpPr>
          <p:spPr>
            <a:xfrm>
              <a:off x="6238300" y="1426975"/>
              <a:ext cx="489450" cy="483175"/>
            </a:xfrm>
            <a:custGeom>
              <a:avLst/>
              <a:gdLst/>
              <a:ahLst/>
              <a:cxnLst/>
              <a:rect l="l" t="t" r="r" b="b"/>
              <a:pathLst>
                <a:path w="19578" h="19327" extrusionOk="0">
                  <a:moveTo>
                    <a:pt x="16109" y="2267"/>
                  </a:moveTo>
                  <a:lnTo>
                    <a:pt x="16109" y="4803"/>
                  </a:lnTo>
                  <a:lnTo>
                    <a:pt x="14977" y="3831"/>
                  </a:lnTo>
                  <a:lnTo>
                    <a:pt x="14977" y="2267"/>
                  </a:lnTo>
                  <a:close/>
                  <a:moveTo>
                    <a:pt x="9880" y="1135"/>
                  </a:moveTo>
                  <a:cubicBezTo>
                    <a:pt x="10011" y="1135"/>
                    <a:pt x="10142" y="1181"/>
                    <a:pt x="10248" y="1274"/>
                  </a:cubicBezTo>
                  <a:lnTo>
                    <a:pt x="18174" y="8067"/>
                  </a:lnTo>
                  <a:cubicBezTo>
                    <a:pt x="18413" y="8270"/>
                    <a:pt x="18440" y="8626"/>
                    <a:pt x="18238" y="8864"/>
                  </a:cubicBezTo>
                  <a:lnTo>
                    <a:pt x="18238" y="8861"/>
                  </a:lnTo>
                  <a:cubicBezTo>
                    <a:pt x="18129" y="8988"/>
                    <a:pt x="17972" y="9061"/>
                    <a:pt x="17809" y="9061"/>
                  </a:cubicBezTo>
                  <a:cubicBezTo>
                    <a:pt x="17673" y="9061"/>
                    <a:pt x="17540" y="9012"/>
                    <a:pt x="17440" y="8925"/>
                  </a:cubicBezTo>
                  <a:lnTo>
                    <a:pt x="10251" y="2762"/>
                  </a:lnTo>
                  <a:cubicBezTo>
                    <a:pt x="10145" y="2672"/>
                    <a:pt x="10014" y="2626"/>
                    <a:pt x="9883" y="2626"/>
                  </a:cubicBezTo>
                  <a:cubicBezTo>
                    <a:pt x="9751" y="2626"/>
                    <a:pt x="9620" y="2672"/>
                    <a:pt x="9514" y="2762"/>
                  </a:cubicBezTo>
                  <a:lnTo>
                    <a:pt x="2687" y="8553"/>
                  </a:lnTo>
                  <a:cubicBezTo>
                    <a:pt x="2657" y="8575"/>
                    <a:pt x="2633" y="8596"/>
                    <a:pt x="2609" y="8623"/>
                  </a:cubicBezTo>
                  <a:lnTo>
                    <a:pt x="2250" y="8925"/>
                  </a:lnTo>
                  <a:cubicBezTo>
                    <a:pt x="2142" y="9016"/>
                    <a:pt x="2012" y="9060"/>
                    <a:pt x="1882" y="9060"/>
                  </a:cubicBezTo>
                  <a:cubicBezTo>
                    <a:pt x="1723" y="9060"/>
                    <a:pt x="1565" y="8994"/>
                    <a:pt x="1452" y="8864"/>
                  </a:cubicBezTo>
                  <a:cubicBezTo>
                    <a:pt x="1250" y="8629"/>
                    <a:pt x="1274" y="8273"/>
                    <a:pt x="1510" y="8067"/>
                  </a:cubicBezTo>
                  <a:lnTo>
                    <a:pt x="9511" y="1274"/>
                  </a:lnTo>
                  <a:cubicBezTo>
                    <a:pt x="9617" y="1181"/>
                    <a:pt x="9748" y="1135"/>
                    <a:pt x="9880" y="1135"/>
                  </a:cubicBezTo>
                  <a:close/>
                  <a:moveTo>
                    <a:pt x="12147" y="13665"/>
                  </a:moveTo>
                  <a:lnTo>
                    <a:pt x="12147" y="18195"/>
                  </a:lnTo>
                  <a:lnTo>
                    <a:pt x="7543" y="18195"/>
                  </a:lnTo>
                  <a:lnTo>
                    <a:pt x="7543" y="13665"/>
                  </a:lnTo>
                  <a:close/>
                  <a:moveTo>
                    <a:pt x="9883" y="3937"/>
                  </a:moveTo>
                  <a:lnTo>
                    <a:pt x="16109" y="9275"/>
                  </a:lnTo>
                  <a:lnTo>
                    <a:pt x="16109" y="18195"/>
                  </a:lnTo>
                  <a:lnTo>
                    <a:pt x="13280" y="18195"/>
                  </a:lnTo>
                  <a:lnTo>
                    <a:pt x="13280" y="13101"/>
                  </a:lnTo>
                  <a:cubicBezTo>
                    <a:pt x="13280" y="12787"/>
                    <a:pt x="13026" y="12533"/>
                    <a:pt x="12712" y="12533"/>
                  </a:cubicBezTo>
                  <a:lnTo>
                    <a:pt x="6975" y="12533"/>
                  </a:lnTo>
                  <a:cubicBezTo>
                    <a:pt x="6661" y="12533"/>
                    <a:pt x="6410" y="12787"/>
                    <a:pt x="6410" y="13101"/>
                  </a:cubicBezTo>
                  <a:lnTo>
                    <a:pt x="6410" y="18195"/>
                  </a:lnTo>
                  <a:lnTo>
                    <a:pt x="3578" y="18195"/>
                  </a:lnTo>
                  <a:lnTo>
                    <a:pt x="3578" y="9281"/>
                  </a:lnTo>
                  <a:lnTo>
                    <a:pt x="9883" y="3937"/>
                  </a:lnTo>
                  <a:close/>
                  <a:moveTo>
                    <a:pt x="9883" y="0"/>
                  </a:moveTo>
                  <a:cubicBezTo>
                    <a:pt x="9489" y="0"/>
                    <a:pt x="9095" y="137"/>
                    <a:pt x="8778" y="410"/>
                  </a:cubicBezTo>
                  <a:lnTo>
                    <a:pt x="773" y="7204"/>
                  </a:lnTo>
                  <a:cubicBezTo>
                    <a:pt x="154" y="7738"/>
                    <a:pt x="0" y="8635"/>
                    <a:pt x="411" y="9345"/>
                  </a:cubicBezTo>
                  <a:cubicBezTo>
                    <a:pt x="720" y="9881"/>
                    <a:pt x="1289" y="10193"/>
                    <a:pt x="1882" y="10193"/>
                  </a:cubicBezTo>
                  <a:cubicBezTo>
                    <a:pt x="2070" y="10193"/>
                    <a:pt x="2261" y="10162"/>
                    <a:pt x="2446" y="10096"/>
                  </a:cubicBezTo>
                  <a:lnTo>
                    <a:pt x="2446" y="18762"/>
                  </a:lnTo>
                  <a:cubicBezTo>
                    <a:pt x="2446" y="19073"/>
                    <a:pt x="2699" y="19327"/>
                    <a:pt x="3010" y="19327"/>
                  </a:cubicBezTo>
                  <a:lnTo>
                    <a:pt x="16673" y="19327"/>
                  </a:lnTo>
                  <a:cubicBezTo>
                    <a:pt x="16987" y="19327"/>
                    <a:pt x="17241" y="19073"/>
                    <a:pt x="17241" y="18762"/>
                  </a:cubicBezTo>
                  <a:lnTo>
                    <a:pt x="17241" y="10096"/>
                  </a:lnTo>
                  <a:cubicBezTo>
                    <a:pt x="17431" y="10163"/>
                    <a:pt x="17623" y="10195"/>
                    <a:pt x="17809" y="10195"/>
                  </a:cubicBezTo>
                  <a:cubicBezTo>
                    <a:pt x="18756" y="10195"/>
                    <a:pt x="19578" y="9388"/>
                    <a:pt x="19500" y="8363"/>
                  </a:cubicBezTo>
                  <a:cubicBezTo>
                    <a:pt x="19466" y="7913"/>
                    <a:pt x="19255" y="7497"/>
                    <a:pt x="18914" y="7204"/>
                  </a:cubicBezTo>
                  <a:lnTo>
                    <a:pt x="17241" y="5770"/>
                  </a:lnTo>
                  <a:lnTo>
                    <a:pt x="17241" y="1702"/>
                  </a:lnTo>
                  <a:cubicBezTo>
                    <a:pt x="17241" y="1388"/>
                    <a:pt x="16987" y="1135"/>
                    <a:pt x="16676" y="1135"/>
                  </a:cubicBezTo>
                  <a:lnTo>
                    <a:pt x="14412" y="1135"/>
                  </a:lnTo>
                  <a:cubicBezTo>
                    <a:pt x="14098" y="1135"/>
                    <a:pt x="13844" y="1388"/>
                    <a:pt x="13844" y="1702"/>
                  </a:cubicBezTo>
                  <a:lnTo>
                    <a:pt x="13844" y="2862"/>
                  </a:lnTo>
                  <a:lnTo>
                    <a:pt x="10988" y="410"/>
                  </a:lnTo>
                  <a:cubicBezTo>
                    <a:pt x="10671" y="137"/>
                    <a:pt x="10277" y="0"/>
                    <a:pt x="98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36" name="Google Shape;9036;p75"/>
            <p:cNvSpPr/>
            <p:nvPr/>
          </p:nvSpPr>
          <p:spPr>
            <a:xfrm>
              <a:off x="6426850" y="1596875"/>
              <a:ext cx="115150" cy="113250"/>
            </a:xfrm>
            <a:custGeom>
              <a:avLst/>
              <a:gdLst/>
              <a:ahLst/>
              <a:cxnLst/>
              <a:rect l="l" t="t" r="r" b="b"/>
              <a:pathLst>
                <a:path w="4606" h="4530" extrusionOk="0">
                  <a:moveTo>
                    <a:pt x="3473" y="1132"/>
                  </a:moveTo>
                  <a:lnTo>
                    <a:pt x="3473" y="3397"/>
                  </a:lnTo>
                  <a:lnTo>
                    <a:pt x="1133" y="3397"/>
                  </a:lnTo>
                  <a:lnTo>
                    <a:pt x="1133" y="1132"/>
                  </a:lnTo>
                  <a:close/>
                  <a:moveTo>
                    <a:pt x="565" y="0"/>
                  </a:moveTo>
                  <a:cubicBezTo>
                    <a:pt x="251" y="0"/>
                    <a:pt x="1" y="254"/>
                    <a:pt x="1" y="568"/>
                  </a:cubicBezTo>
                  <a:lnTo>
                    <a:pt x="1" y="3965"/>
                  </a:lnTo>
                  <a:cubicBezTo>
                    <a:pt x="1" y="4276"/>
                    <a:pt x="251" y="4529"/>
                    <a:pt x="565" y="4529"/>
                  </a:cubicBezTo>
                  <a:lnTo>
                    <a:pt x="4038" y="4529"/>
                  </a:lnTo>
                  <a:cubicBezTo>
                    <a:pt x="4352" y="4529"/>
                    <a:pt x="4605" y="4276"/>
                    <a:pt x="4605" y="3965"/>
                  </a:cubicBezTo>
                  <a:lnTo>
                    <a:pt x="4605" y="568"/>
                  </a:lnTo>
                  <a:cubicBezTo>
                    <a:pt x="4605" y="254"/>
                    <a:pt x="4352" y="0"/>
                    <a:pt x="4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37" name="Google Shape;9037;p75"/>
            <p:cNvSpPr/>
            <p:nvPr/>
          </p:nvSpPr>
          <p:spPr>
            <a:xfrm>
              <a:off x="6485350" y="1796900"/>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38" name="Google Shape;9038;p75"/>
          <p:cNvSpPr/>
          <p:nvPr/>
        </p:nvSpPr>
        <p:spPr>
          <a:xfrm>
            <a:off x="865437" y="3545273"/>
            <a:ext cx="300792" cy="338725"/>
          </a:xfrm>
          <a:custGeom>
            <a:avLst/>
            <a:gdLst/>
            <a:ahLst/>
            <a:cxnLst/>
            <a:rect l="l" t="t" r="r" b="b"/>
            <a:pathLst>
              <a:path w="17088" h="19243" extrusionOk="0">
                <a:moveTo>
                  <a:pt x="15955" y="1281"/>
                </a:moveTo>
                <a:lnTo>
                  <a:pt x="15955" y="3452"/>
                </a:lnTo>
                <a:lnTo>
                  <a:pt x="5586" y="5877"/>
                </a:lnTo>
                <a:lnTo>
                  <a:pt x="5586" y="3703"/>
                </a:lnTo>
                <a:lnTo>
                  <a:pt x="15955" y="1281"/>
                </a:lnTo>
                <a:close/>
                <a:moveTo>
                  <a:pt x="14425" y="12363"/>
                </a:moveTo>
                <a:cubicBezTo>
                  <a:pt x="14622" y="12363"/>
                  <a:pt x="14821" y="12401"/>
                  <a:pt x="15010" y="12480"/>
                </a:cubicBezTo>
                <a:cubicBezTo>
                  <a:pt x="15584" y="12716"/>
                  <a:pt x="15955" y="13274"/>
                  <a:pt x="15955" y="13893"/>
                </a:cubicBezTo>
                <a:cubicBezTo>
                  <a:pt x="15955" y="14739"/>
                  <a:pt x="15270" y="15421"/>
                  <a:pt x="14424" y="15421"/>
                </a:cubicBezTo>
                <a:cubicBezTo>
                  <a:pt x="13805" y="15421"/>
                  <a:pt x="13250" y="15050"/>
                  <a:pt x="13011" y="14479"/>
                </a:cubicBezTo>
                <a:cubicBezTo>
                  <a:pt x="12776" y="13905"/>
                  <a:pt x="12905" y="13247"/>
                  <a:pt x="13343" y="12809"/>
                </a:cubicBezTo>
                <a:cubicBezTo>
                  <a:pt x="13636" y="12519"/>
                  <a:pt x="14027" y="12363"/>
                  <a:pt x="14425" y="12363"/>
                </a:cubicBezTo>
                <a:close/>
                <a:moveTo>
                  <a:pt x="2925" y="15050"/>
                </a:moveTo>
                <a:cubicBezTo>
                  <a:pt x="3122" y="15050"/>
                  <a:pt x="3322" y="15088"/>
                  <a:pt x="3512" y="15168"/>
                </a:cubicBezTo>
                <a:cubicBezTo>
                  <a:pt x="4083" y="15403"/>
                  <a:pt x="4454" y="15962"/>
                  <a:pt x="4454" y="16581"/>
                </a:cubicBezTo>
                <a:cubicBezTo>
                  <a:pt x="4454" y="17423"/>
                  <a:pt x="3769" y="18108"/>
                  <a:pt x="2926" y="18108"/>
                </a:cubicBezTo>
                <a:cubicBezTo>
                  <a:pt x="2307" y="18108"/>
                  <a:pt x="1749" y="17737"/>
                  <a:pt x="1513" y="17166"/>
                </a:cubicBezTo>
                <a:cubicBezTo>
                  <a:pt x="1275" y="16593"/>
                  <a:pt x="1407" y="15934"/>
                  <a:pt x="1845" y="15497"/>
                </a:cubicBezTo>
                <a:cubicBezTo>
                  <a:pt x="2136" y="15206"/>
                  <a:pt x="2527" y="15050"/>
                  <a:pt x="2925" y="15050"/>
                </a:cubicBezTo>
                <a:close/>
                <a:moveTo>
                  <a:pt x="16525" y="0"/>
                </a:moveTo>
                <a:cubicBezTo>
                  <a:pt x="16481" y="0"/>
                  <a:pt x="16437" y="5"/>
                  <a:pt x="16393" y="16"/>
                </a:cubicBezTo>
                <a:lnTo>
                  <a:pt x="4892" y="2703"/>
                </a:lnTo>
                <a:cubicBezTo>
                  <a:pt x="4635" y="2761"/>
                  <a:pt x="4454" y="2990"/>
                  <a:pt x="4454" y="3253"/>
                </a:cubicBezTo>
                <a:lnTo>
                  <a:pt x="4454" y="14404"/>
                </a:lnTo>
                <a:cubicBezTo>
                  <a:pt x="3994" y="14081"/>
                  <a:pt x="3459" y="13921"/>
                  <a:pt x="2926" y="13921"/>
                </a:cubicBezTo>
                <a:cubicBezTo>
                  <a:pt x="2299" y="13921"/>
                  <a:pt x="1673" y="14143"/>
                  <a:pt x="1175" y="14579"/>
                </a:cubicBezTo>
                <a:cubicBezTo>
                  <a:pt x="251" y="15388"/>
                  <a:pt x="0" y="16720"/>
                  <a:pt x="568" y="17810"/>
                </a:cubicBezTo>
                <a:cubicBezTo>
                  <a:pt x="1032" y="18704"/>
                  <a:pt x="1950" y="19242"/>
                  <a:pt x="2925" y="19242"/>
                </a:cubicBezTo>
                <a:cubicBezTo>
                  <a:pt x="3136" y="19242"/>
                  <a:pt x="3349" y="19217"/>
                  <a:pt x="3560" y="19165"/>
                </a:cubicBezTo>
                <a:cubicBezTo>
                  <a:pt x="4750" y="18872"/>
                  <a:pt x="5589" y="17807"/>
                  <a:pt x="5586" y="16581"/>
                </a:cubicBezTo>
                <a:lnTo>
                  <a:pt x="5586" y="7039"/>
                </a:lnTo>
                <a:lnTo>
                  <a:pt x="15955" y="4618"/>
                </a:lnTo>
                <a:lnTo>
                  <a:pt x="15955" y="11716"/>
                </a:lnTo>
                <a:cubicBezTo>
                  <a:pt x="15508" y="11399"/>
                  <a:pt x="14974" y="11230"/>
                  <a:pt x="14424" y="11230"/>
                </a:cubicBezTo>
                <a:cubicBezTo>
                  <a:pt x="13349" y="11230"/>
                  <a:pt x="12377" y="11879"/>
                  <a:pt x="11966" y="12873"/>
                </a:cubicBezTo>
                <a:cubicBezTo>
                  <a:pt x="11553" y="13869"/>
                  <a:pt x="11782" y="15014"/>
                  <a:pt x="12543" y="15774"/>
                </a:cubicBezTo>
                <a:cubicBezTo>
                  <a:pt x="13052" y="16283"/>
                  <a:pt x="13733" y="16555"/>
                  <a:pt x="14426" y="16555"/>
                </a:cubicBezTo>
                <a:cubicBezTo>
                  <a:pt x="14769" y="16555"/>
                  <a:pt x="15115" y="16488"/>
                  <a:pt x="15445" y="16351"/>
                </a:cubicBezTo>
                <a:cubicBezTo>
                  <a:pt x="16438" y="15941"/>
                  <a:pt x="17087" y="14968"/>
                  <a:pt x="17087" y="13893"/>
                </a:cubicBezTo>
                <a:lnTo>
                  <a:pt x="17087" y="565"/>
                </a:lnTo>
                <a:cubicBezTo>
                  <a:pt x="17087" y="246"/>
                  <a:pt x="16826" y="0"/>
                  <a:pt x="165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39" name="Google Shape;9039;p75"/>
          <p:cNvGrpSpPr/>
          <p:nvPr/>
        </p:nvGrpSpPr>
        <p:grpSpPr>
          <a:xfrm>
            <a:off x="1263703" y="3544794"/>
            <a:ext cx="340168" cy="340186"/>
            <a:chOff x="1487200" y="2021475"/>
            <a:chExt cx="483125" cy="483150"/>
          </a:xfrm>
        </p:grpSpPr>
        <p:sp>
          <p:nvSpPr>
            <p:cNvPr id="9040" name="Google Shape;9040;p75"/>
            <p:cNvSpPr/>
            <p:nvPr/>
          </p:nvSpPr>
          <p:spPr>
            <a:xfrm>
              <a:off x="1487200" y="2021475"/>
              <a:ext cx="483125" cy="483150"/>
            </a:xfrm>
            <a:custGeom>
              <a:avLst/>
              <a:gdLst/>
              <a:ahLst/>
              <a:cxnLst/>
              <a:rect l="l" t="t" r="r" b="b"/>
              <a:pathLst>
                <a:path w="19325" h="19326" extrusionOk="0">
                  <a:moveTo>
                    <a:pt x="17628" y="1133"/>
                  </a:moveTo>
                  <a:cubicBezTo>
                    <a:pt x="17939" y="1133"/>
                    <a:pt x="18192" y="1386"/>
                    <a:pt x="18192" y="1701"/>
                  </a:cubicBezTo>
                  <a:lnTo>
                    <a:pt x="18192" y="14796"/>
                  </a:lnTo>
                  <a:lnTo>
                    <a:pt x="1132" y="14796"/>
                  </a:lnTo>
                  <a:lnTo>
                    <a:pt x="1132" y="1701"/>
                  </a:lnTo>
                  <a:cubicBezTo>
                    <a:pt x="1132" y="1386"/>
                    <a:pt x="1386" y="1133"/>
                    <a:pt x="1700" y="1133"/>
                  </a:cubicBezTo>
                  <a:close/>
                  <a:moveTo>
                    <a:pt x="18192" y="15928"/>
                  </a:moveTo>
                  <a:lnTo>
                    <a:pt x="18192" y="17628"/>
                  </a:lnTo>
                  <a:cubicBezTo>
                    <a:pt x="18192" y="17939"/>
                    <a:pt x="17939" y="18193"/>
                    <a:pt x="17628" y="18193"/>
                  </a:cubicBezTo>
                  <a:lnTo>
                    <a:pt x="1700" y="18193"/>
                  </a:lnTo>
                  <a:cubicBezTo>
                    <a:pt x="1386" y="18193"/>
                    <a:pt x="1132" y="17939"/>
                    <a:pt x="1132" y="17628"/>
                  </a:cubicBezTo>
                  <a:lnTo>
                    <a:pt x="1132" y="15928"/>
                  </a:lnTo>
                  <a:close/>
                  <a:moveTo>
                    <a:pt x="1700" y="1"/>
                  </a:moveTo>
                  <a:cubicBezTo>
                    <a:pt x="761" y="1"/>
                    <a:pt x="0" y="761"/>
                    <a:pt x="0" y="1701"/>
                  </a:cubicBezTo>
                  <a:lnTo>
                    <a:pt x="0" y="17628"/>
                  </a:lnTo>
                  <a:cubicBezTo>
                    <a:pt x="0" y="18564"/>
                    <a:pt x="761" y="19325"/>
                    <a:pt x="1700" y="19325"/>
                  </a:cubicBezTo>
                  <a:lnTo>
                    <a:pt x="17628" y="19325"/>
                  </a:lnTo>
                  <a:cubicBezTo>
                    <a:pt x="18564" y="19325"/>
                    <a:pt x="19325" y="18564"/>
                    <a:pt x="19325" y="17628"/>
                  </a:cubicBezTo>
                  <a:lnTo>
                    <a:pt x="19325" y="1701"/>
                  </a:lnTo>
                  <a:cubicBezTo>
                    <a:pt x="19325" y="761"/>
                    <a:pt x="18564" y="1"/>
                    <a:pt x="176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1" name="Google Shape;9041;p75"/>
            <p:cNvSpPr/>
            <p:nvPr/>
          </p:nvSpPr>
          <p:spPr>
            <a:xfrm>
              <a:off x="1573100" y="2078100"/>
              <a:ext cx="84875" cy="284000"/>
            </a:xfrm>
            <a:custGeom>
              <a:avLst/>
              <a:gdLst/>
              <a:ahLst/>
              <a:cxnLst/>
              <a:rect l="l" t="t" r="r" b="b"/>
              <a:pathLst>
                <a:path w="3395" h="11360" extrusionOk="0">
                  <a:moveTo>
                    <a:pt x="1697" y="6833"/>
                  </a:moveTo>
                  <a:cubicBezTo>
                    <a:pt x="2201" y="6833"/>
                    <a:pt x="2455" y="7440"/>
                    <a:pt x="2099" y="7799"/>
                  </a:cubicBezTo>
                  <a:cubicBezTo>
                    <a:pt x="1983" y="7914"/>
                    <a:pt x="1841" y="7966"/>
                    <a:pt x="1702" y="7966"/>
                  </a:cubicBezTo>
                  <a:cubicBezTo>
                    <a:pt x="1411" y="7966"/>
                    <a:pt x="1133" y="7739"/>
                    <a:pt x="1133" y="7398"/>
                  </a:cubicBezTo>
                  <a:cubicBezTo>
                    <a:pt x="1133" y="7084"/>
                    <a:pt x="1383" y="6833"/>
                    <a:pt x="1697" y="6833"/>
                  </a:cubicBezTo>
                  <a:close/>
                  <a:moveTo>
                    <a:pt x="1697" y="0"/>
                  </a:moveTo>
                  <a:cubicBezTo>
                    <a:pt x="1383" y="0"/>
                    <a:pt x="1133" y="254"/>
                    <a:pt x="1133" y="568"/>
                  </a:cubicBezTo>
                  <a:lnTo>
                    <a:pt x="1133" y="5798"/>
                  </a:lnTo>
                  <a:cubicBezTo>
                    <a:pt x="453" y="6036"/>
                    <a:pt x="0" y="6679"/>
                    <a:pt x="0" y="7398"/>
                  </a:cubicBezTo>
                  <a:cubicBezTo>
                    <a:pt x="0" y="8116"/>
                    <a:pt x="453" y="8760"/>
                    <a:pt x="1133" y="8998"/>
                  </a:cubicBezTo>
                  <a:lnTo>
                    <a:pt x="1133" y="10795"/>
                  </a:lnTo>
                  <a:cubicBezTo>
                    <a:pt x="1133" y="11109"/>
                    <a:pt x="1383" y="11359"/>
                    <a:pt x="1697" y="11359"/>
                  </a:cubicBezTo>
                  <a:cubicBezTo>
                    <a:pt x="2011" y="11359"/>
                    <a:pt x="2265" y="11109"/>
                    <a:pt x="2265" y="10795"/>
                  </a:cubicBezTo>
                  <a:lnTo>
                    <a:pt x="2265" y="8998"/>
                  </a:lnTo>
                  <a:cubicBezTo>
                    <a:pt x="2941" y="8760"/>
                    <a:pt x="3394" y="8116"/>
                    <a:pt x="3394" y="7398"/>
                  </a:cubicBezTo>
                  <a:cubicBezTo>
                    <a:pt x="3394" y="6679"/>
                    <a:pt x="2941" y="6036"/>
                    <a:pt x="2265" y="5798"/>
                  </a:cubicBezTo>
                  <a:lnTo>
                    <a:pt x="2265" y="568"/>
                  </a:lnTo>
                  <a:cubicBezTo>
                    <a:pt x="2265" y="254"/>
                    <a:pt x="2011"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2" name="Google Shape;9042;p75"/>
            <p:cNvSpPr/>
            <p:nvPr/>
          </p:nvSpPr>
          <p:spPr>
            <a:xfrm>
              <a:off x="1686325" y="2078100"/>
              <a:ext cx="84875" cy="284000"/>
            </a:xfrm>
            <a:custGeom>
              <a:avLst/>
              <a:gdLst/>
              <a:ahLst/>
              <a:cxnLst/>
              <a:rect l="l" t="t" r="r" b="b"/>
              <a:pathLst>
                <a:path w="3395" h="11360" extrusionOk="0">
                  <a:moveTo>
                    <a:pt x="1697" y="3436"/>
                  </a:moveTo>
                  <a:cubicBezTo>
                    <a:pt x="2011" y="3436"/>
                    <a:pt x="2262" y="3687"/>
                    <a:pt x="2262" y="4001"/>
                  </a:cubicBezTo>
                  <a:cubicBezTo>
                    <a:pt x="2262" y="4315"/>
                    <a:pt x="2011" y="4569"/>
                    <a:pt x="1697" y="4569"/>
                  </a:cubicBezTo>
                  <a:cubicBezTo>
                    <a:pt x="1383" y="4569"/>
                    <a:pt x="1133" y="4315"/>
                    <a:pt x="1133" y="4001"/>
                  </a:cubicBezTo>
                  <a:cubicBezTo>
                    <a:pt x="1133" y="3687"/>
                    <a:pt x="1383" y="3436"/>
                    <a:pt x="1697" y="3436"/>
                  </a:cubicBezTo>
                  <a:close/>
                  <a:moveTo>
                    <a:pt x="1697" y="0"/>
                  </a:moveTo>
                  <a:cubicBezTo>
                    <a:pt x="1383" y="0"/>
                    <a:pt x="1133" y="254"/>
                    <a:pt x="1133" y="568"/>
                  </a:cubicBezTo>
                  <a:lnTo>
                    <a:pt x="1133" y="2401"/>
                  </a:lnTo>
                  <a:cubicBezTo>
                    <a:pt x="453" y="2639"/>
                    <a:pt x="0" y="3282"/>
                    <a:pt x="0" y="4001"/>
                  </a:cubicBezTo>
                  <a:cubicBezTo>
                    <a:pt x="0" y="4720"/>
                    <a:pt x="453" y="5363"/>
                    <a:pt x="1133" y="5601"/>
                  </a:cubicBezTo>
                  <a:lnTo>
                    <a:pt x="1133" y="10795"/>
                  </a:lnTo>
                  <a:cubicBezTo>
                    <a:pt x="1133" y="11109"/>
                    <a:pt x="1383" y="11359"/>
                    <a:pt x="1697" y="11359"/>
                  </a:cubicBezTo>
                  <a:cubicBezTo>
                    <a:pt x="2011" y="11359"/>
                    <a:pt x="2265" y="11109"/>
                    <a:pt x="2265" y="10795"/>
                  </a:cubicBezTo>
                  <a:lnTo>
                    <a:pt x="2265" y="5601"/>
                  </a:lnTo>
                  <a:cubicBezTo>
                    <a:pt x="2941" y="5363"/>
                    <a:pt x="3394" y="4720"/>
                    <a:pt x="3394" y="4001"/>
                  </a:cubicBezTo>
                  <a:cubicBezTo>
                    <a:pt x="3394" y="3282"/>
                    <a:pt x="2941" y="2639"/>
                    <a:pt x="2265" y="2401"/>
                  </a:cubicBezTo>
                  <a:lnTo>
                    <a:pt x="2265" y="568"/>
                  </a:lnTo>
                  <a:cubicBezTo>
                    <a:pt x="2265" y="254"/>
                    <a:pt x="2011"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3" name="Google Shape;9043;p75"/>
            <p:cNvSpPr/>
            <p:nvPr/>
          </p:nvSpPr>
          <p:spPr>
            <a:xfrm>
              <a:off x="1799550" y="2078100"/>
              <a:ext cx="84875" cy="284000"/>
            </a:xfrm>
            <a:custGeom>
              <a:avLst/>
              <a:gdLst/>
              <a:ahLst/>
              <a:cxnLst/>
              <a:rect l="l" t="t" r="r" b="b"/>
              <a:pathLst>
                <a:path w="3395" h="11360" extrusionOk="0">
                  <a:moveTo>
                    <a:pt x="1698" y="6833"/>
                  </a:moveTo>
                  <a:cubicBezTo>
                    <a:pt x="2202" y="6833"/>
                    <a:pt x="2455" y="7440"/>
                    <a:pt x="2099" y="7799"/>
                  </a:cubicBezTo>
                  <a:cubicBezTo>
                    <a:pt x="1983" y="7914"/>
                    <a:pt x="1841" y="7966"/>
                    <a:pt x="1703" y="7966"/>
                  </a:cubicBezTo>
                  <a:cubicBezTo>
                    <a:pt x="1411" y="7966"/>
                    <a:pt x="1133" y="7739"/>
                    <a:pt x="1133" y="7398"/>
                  </a:cubicBezTo>
                  <a:cubicBezTo>
                    <a:pt x="1133" y="7084"/>
                    <a:pt x="1384" y="6833"/>
                    <a:pt x="1698" y="6833"/>
                  </a:cubicBezTo>
                  <a:close/>
                  <a:moveTo>
                    <a:pt x="1698" y="0"/>
                  </a:moveTo>
                  <a:cubicBezTo>
                    <a:pt x="1384" y="0"/>
                    <a:pt x="1133" y="254"/>
                    <a:pt x="1133" y="568"/>
                  </a:cubicBezTo>
                  <a:lnTo>
                    <a:pt x="1133" y="5798"/>
                  </a:lnTo>
                  <a:cubicBezTo>
                    <a:pt x="454" y="6036"/>
                    <a:pt x="1" y="6679"/>
                    <a:pt x="1" y="7398"/>
                  </a:cubicBezTo>
                  <a:cubicBezTo>
                    <a:pt x="1" y="8116"/>
                    <a:pt x="454" y="8760"/>
                    <a:pt x="1133" y="8998"/>
                  </a:cubicBezTo>
                  <a:lnTo>
                    <a:pt x="1133" y="10795"/>
                  </a:lnTo>
                  <a:cubicBezTo>
                    <a:pt x="1133" y="11109"/>
                    <a:pt x="1384" y="11359"/>
                    <a:pt x="1698" y="11359"/>
                  </a:cubicBezTo>
                  <a:cubicBezTo>
                    <a:pt x="2012" y="11359"/>
                    <a:pt x="2265" y="11109"/>
                    <a:pt x="2265" y="10795"/>
                  </a:cubicBezTo>
                  <a:lnTo>
                    <a:pt x="2265" y="8998"/>
                  </a:lnTo>
                  <a:cubicBezTo>
                    <a:pt x="2942" y="8760"/>
                    <a:pt x="3394" y="8116"/>
                    <a:pt x="3394" y="7398"/>
                  </a:cubicBezTo>
                  <a:cubicBezTo>
                    <a:pt x="3394" y="6679"/>
                    <a:pt x="2942" y="6036"/>
                    <a:pt x="2265" y="5798"/>
                  </a:cubicBezTo>
                  <a:lnTo>
                    <a:pt x="2265" y="568"/>
                  </a:lnTo>
                  <a:cubicBezTo>
                    <a:pt x="2265" y="254"/>
                    <a:pt x="2012" y="0"/>
                    <a:pt x="16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44" name="Google Shape;9044;p75"/>
          <p:cNvGrpSpPr/>
          <p:nvPr/>
        </p:nvGrpSpPr>
        <p:grpSpPr>
          <a:xfrm>
            <a:off x="1678040" y="3565398"/>
            <a:ext cx="340168" cy="298978"/>
            <a:chOff x="2081650" y="2050750"/>
            <a:chExt cx="483125" cy="424625"/>
          </a:xfrm>
        </p:grpSpPr>
        <p:sp>
          <p:nvSpPr>
            <p:cNvPr id="9045" name="Google Shape;9045;p75"/>
            <p:cNvSpPr/>
            <p:nvPr/>
          </p:nvSpPr>
          <p:spPr>
            <a:xfrm>
              <a:off x="2081650" y="2050750"/>
              <a:ext cx="483125" cy="424625"/>
            </a:xfrm>
            <a:custGeom>
              <a:avLst/>
              <a:gdLst/>
              <a:ahLst/>
              <a:cxnLst/>
              <a:rect l="l" t="t" r="r" b="b"/>
              <a:pathLst>
                <a:path w="19325" h="16985" extrusionOk="0">
                  <a:moveTo>
                    <a:pt x="5662" y="1402"/>
                  </a:moveTo>
                  <a:lnTo>
                    <a:pt x="5662" y="13770"/>
                  </a:lnTo>
                  <a:lnTo>
                    <a:pt x="1133" y="15581"/>
                  </a:lnTo>
                  <a:lnTo>
                    <a:pt x="1133" y="3214"/>
                  </a:lnTo>
                  <a:lnTo>
                    <a:pt x="5662" y="1402"/>
                  </a:lnTo>
                  <a:close/>
                  <a:moveTo>
                    <a:pt x="18192" y="1402"/>
                  </a:moveTo>
                  <a:lnTo>
                    <a:pt x="18192" y="13770"/>
                  </a:lnTo>
                  <a:lnTo>
                    <a:pt x="13663" y="15581"/>
                  </a:lnTo>
                  <a:lnTo>
                    <a:pt x="13663" y="3214"/>
                  </a:lnTo>
                  <a:lnTo>
                    <a:pt x="18192" y="1402"/>
                  </a:lnTo>
                  <a:close/>
                  <a:moveTo>
                    <a:pt x="6794" y="1348"/>
                  </a:moveTo>
                  <a:lnTo>
                    <a:pt x="12531" y="3241"/>
                  </a:lnTo>
                  <a:lnTo>
                    <a:pt x="12531" y="9464"/>
                  </a:lnTo>
                  <a:lnTo>
                    <a:pt x="12510" y="9461"/>
                  </a:lnTo>
                  <a:cubicBezTo>
                    <a:pt x="12205" y="9437"/>
                    <a:pt x="11903" y="9364"/>
                    <a:pt x="11619" y="9244"/>
                  </a:cubicBezTo>
                  <a:cubicBezTo>
                    <a:pt x="11548" y="9214"/>
                    <a:pt x="11474" y="9200"/>
                    <a:pt x="11401" y="9200"/>
                  </a:cubicBezTo>
                  <a:cubicBezTo>
                    <a:pt x="11181" y="9200"/>
                    <a:pt x="10970" y="9330"/>
                    <a:pt x="10879" y="9546"/>
                  </a:cubicBezTo>
                  <a:cubicBezTo>
                    <a:pt x="10759" y="9832"/>
                    <a:pt x="10891" y="10165"/>
                    <a:pt x="11178" y="10288"/>
                  </a:cubicBezTo>
                  <a:cubicBezTo>
                    <a:pt x="11574" y="10454"/>
                    <a:pt x="11994" y="10557"/>
                    <a:pt x="12422" y="10590"/>
                  </a:cubicBezTo>
                  <a:lnTo>
                    <a:pt x="12468" y="10590"/>
                  </a:lnTo>
                  <a:cubicBezTo>
                    <a:pt x="12489" y="10590"/>
                    <a:pt x="12510" y="10587"/>
                    <a:pt x="12531" y="10584"/>
                  </a:cubicBezTo>
                  <a:lnTo>
                    <a:pt x="12531" y="15633"/>
                  </a:lnTo>
                  <a:lnTo>
                    <a:pt x="6794" y="13746"/>
                  </a:lnTo>
                  <a:lnTo>
                    <a:pt x="6794" y="6774"/>
                  </a:lnTo>
                  <a:cubicBezTo>
                    <a:pt x="6951" y="6777"/>
                    <a:pt x="7105" y="6795"/>
                    <a:pt x="7259" y="6822"/>
                  </a:cubicBezTo>
                  <a:cubicBezTo>
                    <a:pt x="7295" y="6828"/>
                    <a:pt x="7331" y="6834"/>
                    <a:pt x="7368" y="6834"/>
                  </a:cubicBezTo>
                  <a:cubicBezTo>
                    <a:pt x="7658" y="6831"/>
                    <a:pt x="7902" y="6611"/>
                    <a:pt x="7929" y="6321"/>
                  </a:cubicBezTo>
                  <a:cubicBezTo>
                    <a:pt x="7957" y="6028"/>
                    <a:pt x="7760" y="5765"/>
                    <a:pt x="7473" y="5711"/>
                  </a:cubicBezTo>
                  <a:cubicBezTo>
                    <a:pt x="7250" y="5669"/>
                    <a:pt x="7020" y="5644"/>
                    <a:pt x="6794" y="5641"/>
                  </a:cubicBezTo>
                  <a:lnTo>
                    <a:pt x="6794" y="1348"/>
                  </a:lnTo>
                  <a:close/>
                  <a:moveTo>
                    <a:pt x="18757" y="0"/>
                  </a:moveTo>
                  <a:cubicBezTo>
                    <a:pt x="18687" y="0"/>
                    <a:pt x="18616" y="13"/>
                    <a:pt x="18549" y="40"/>
                  </a:cubicBezTo>
                  <a:lnTo>
                    <a:pt x="13077" y="2229"/>
                  </a:lnTo>
                  <a:lnTo>
                    <a:pt x="6405" y="28"/>
                  </a:lnTo>
                  <a:cubicBezTo>
                    <a:pt x="6395" y="25"/>
                    <a:pt x="6386" y="25"/>
                    <a:pt x="6380" y="22"/>
                  </a:cubicBezTo>
                  <a:cubicBezTo>
                    <a:pt x="6371" y="19"/>
                    <a:pt x="6359" y="16"/>
                    <a:pt x="6347" y="13"/>
                  </a:cubicBezTo>
                  <a:lnTo>
                    <a:pt x="6311" y="7"/>
                  </a:lnTo>
                  <a:cubicBezTo>
                    <a:pt x="6302" y="7"/>
                    <a:pt x="6290" y="4"/>
                    <a:pt x="6281" y="4"/>
                  </a:cubicBezTo>
                  <a:lnTo>
                    <a:pt x="6211" y="4"/>
                  </a:lnTo>
                  <a:cubicBezTo>
                    <a:pt x="6199" y="4"/>
                    <a:pt x="6187" y="4"/>
                    <a:pt x="6172" y="7"/>
                  </a:cubicBezTo>
                  <a:cubicBezTo>
                    <a:pt x="6166" y="9"/>
                    <a:pt x="6161" y="9"/>
                    <a:pt x="6157" y="9"/>
                  </a:cubicBezTo>
                  <a:cubicBezTo>
                    <a:pt x="6152" y="9"/>
                    <a:pt x="6148" y="9"/>
                    <a:pt x="6142" y="10"/>
                  </a:cubicBezTo>
                  <a:cubicBezTo>
                    <a:pt x="6133" y="13"/>
                    <a:pt x="6118" y="13"/>
                    <a:pt x="6106" y="16"/>
                  </a:cubicBezTo>
                  <a:lnTo>
                    <a:pt x="6075" y="22"/>
                  </a:lnTo>
                  <a:cubicBezTo>
                    <a:pt x="6063" y="28"/>
                    <a:pt x="6048" y="31"/>
                    <a:pt x="6036" y="37"/>
                  </a:cubicBezTo>
                  <a:cubicBezTo>
                    <a:pt x="6027" y="40"/>
                    <a:pt x="6021" y="40"/>
                    <a:pt x="6015" y="43"/>
                  </a:cubicBezTo>
                  <a:lnTo>
                    <a:pt x="354" y="2308"/>
                  </a:lnTo>
                  <a:cubicBezTo>
                    <a:pt x="139" y="2396"/>
                    <a:pt x="0" y="2601"/>
                    <a:pt x="0" y="2830"/>
                  </a:cubicBezTo>
                  <a:lnTo>
                    <a:pt x="0" y="16418"/>
                  </a:lnTo>
                  <a:cubicBezTo>
                    <a:pt x="0" y="16744"/>
                    <a:pt x="267" y="16984"/>
                    <a:pt x="566" y="16984"/>
                  </a:cubicBezTo>
                  <a:cubicBezTo>
                    <a:pt x="635" y="16984"/>
                    <a:pt x="706" y="16971"/>
                    <a:pt x="776" y="16943"/>
                  </a:cubicBezTo>
                  <a:lnTo>
                    <a:pt x="6248" y="14754"/>
                  </a:lnTo>
                  <a:lnTo>
                    <a:pt x="12917" y="16952"/>
                  </a:lnTo>
                  <a:cubicBezTo>
                    <a:pt x="12933" y="16958"/>
                    <a:pt x="12951" y="16964"/>
                    <a:pt x="12966" y="16967"/>
                  </a:cubicBezTo>
                  <a:cubicBezTo>
                    <a:pt x="13008" y="16976"/>
                    <a:pt x="13050" y="16983"/>
                    <a:pt x="13096" y="16983"/>
                  </a:cubicBezTo>
                  <a:lnTo>
                    <a:pt x="13099" y="16983"/>
                  </a:lnTo>
                  <a:cubicBezTo>
                    <a:pt x="13156" y="16983"/>
                    <a:pt x="13213" y="16973"/>
                    <a:pt x="13271" y="16955"/>
                  </a:cubicBezTo>
                  <a:cubicBezTo>
                    <a:pt x="13283" y="16952"/>
                    <a:pt x="13295" y="16946"/>
                    <a:pt x="13307" y="16940"/>
                  </a:cubicBezTo>
                  <a:lnTo>
                    <a:pt x="18965" y="14676"/>
                  </a:lnTo>
                  <a:cubicBezTo>
                    <a:pt x="19183" y="14591"/>
                    <a:pt x="19325" y="14386"/>
                    <a:pt x="19325" y="14153"/>
                  </a:cubicBezTo>
                  <a:lnTo>
                    <a:pt x="19325" y="566"/>
                  </a:lnTo>
                  <a:cubicBezTo>
                    <a:pt x="19325" y="379"/>
                    <a:pt x="19231" y="203"/>
                    <a:pt x="19077" y="98"/>
                  </a:cubicBezTo>
                  <a:cubicBezTo>
                    <a:pt x="18981" y="33"/>
                    <a:pt x="18869" y="0"/>
                    <a:pt x="18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6" name="Google Shape;9046;p75"/>
            <p:cNvSpPr/>
            <p:nvPr/>
          </p:nvSpPr>
          <p:spPr>
            <a:xfrm>
              <a:off x="2136375" y="2292025"/>
              <a:ext cx="36400" cy="41975"/>
            </a:xfrm>
            <a:custGeom>
              <a:avLst/>
              <a:gdLst/>
              <a:ahLst/>
              <a:cxnLst/>
              <a:rect l="l" t="t" r="r" b="b"/>
              <a:pathLst>
                <a:path w="1456" h="1679" extrusionOk="0">
                  <a:moveTo>
                    <a:pt x="820" y="1"/>
                  </a:moveTo>
                  <a:cubicBezTo>
                    <a:pt x="583" y="1"/>
                    <a:pt x="361" y="151"/>
                    <a:pt x="284" y="390"/>
                  </a:cubicBezTo>
                  <a:lnTo>
                    <a:pt x="103" y="927"/>
                  </a:lnTo>
                  <a:cubicBezTo>
                    <a:pt x="0" y="1223"/>
                    <a:pt x="160" y="1549"/>
                    <a:pt x="459" y="1649"/>
                  </a:cubicBezTo>
                  <a:cubicBezTo>
                    <a:pt x="519" y="1669"/>
                    <a:pt x="579" y="1678"/>
                    <a:pt x="639" y="1678"/>
                  </a:cubicBezTo>
                  <a:cubicBezTo>
                    <a:pt x="878" y="1678"/>
                    <a:pt x="1101" y="1525"/>
                    <a:pt x="1178" y="1284"/>
                  </a:cubicBezTo>
                  <a:lnTo>
                    <a:pt x="1356" y="746"/>
                  </a:lnTo>
                  <a:cubicBezTo>
                    <a:pt x="1456" y="450"/>
                    <a:pt x="1296" y="130"/>
                    <a:pt x="1000" y="30"/>
                  </a:cubicBezTo>
                  <a:cubicBezTo>
                    <a:pt x="940" y="10"/>
                    <a:pt x="880"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7" name="Google Shape;9047;p75"/>
            <p:cNvSpPr/>
            <p:nvPr/>
          </p:nvSpPr>
          <p:spPr>
            <a:xfrm>
              <a:off x="2296850" y="2220800"/>
              <a:ext cx="46075" cy="51650"/>
            </a:xfrm>
            <a:custGeom>
              <a:avLst/>
              <a:gdLst/>
              <a:ahLst/>
              <a:cxnLst/>
              <a:rect l="l" t="t" r="r" b="b"/>
              <a:pathLst>
                <a:path w="1843" h="2066" extrusionOk="0">
                  <a:moveTo>
                    <a:pt x="634" y="1"/>
                  </a:moveTo>
                  <a:cubicBezTo>
                    <a:pt x="506" y="1"/>
                    <a:pt x="378" y="44"/>
                    <a:pt x="272" y="132"/>
                  </a:cubicBezTo>
                  <a:cubicBezTo>
                    <a:pt x="37" y="331"/>
                    <a:pt x="1" y="681"/>
                    <a:pt x="194" y="920"/>
                  </a:cubicBezTo>
                  <a:cubicBezTo>
                    <a:pt x="354" y="1113"/>
                    <a:pt x="487" y="1327"/>
                    <a:pt x="593" y="1557"/>
                  </a:cubicBezTo>
                  <a:cubicBezTo>
                    <a:pt x="626" y="1626"/>
                    <a:pt x="662" y="1696"/>
                    <a:pt x="698" y="1765"/>
                  </a:cubicBezTo>
                  <a:cubicBezTo>
                    <a:pt x="798" y="1957"/>
                    <a:pt x="993" y="2065"/>
                    <a:pt x="1195" y="2065"/>
                  </a:cubicBezTo>
                  <a:cubicBezTo>
                    <a:pt x="1285" y="2065"/>
                    <a:pt x="1377" y="2044"/>
                    <a:pt x="1462" y="1998"/>
                  </a:cubicBezTo>
                  <a:cubicBezTo>
                    <a:pt x="1740" y="1853"/>
                    <a:pt x="1843" y="1509"/>
                    <a:pt x="1698" y="1234"/>
                  </a:cubicBezTo>
                  <a:cubicBezTo>
                    <a:pt x="1670" y="1183"/>
                    <a:pt x="1643" y="1131"/>
                    <a:pt x="1622" y="1083"/>
                  </a:cubicBezTo>
                  <a:cubicBezTo>
                    <a:pt x="1474" y="763"/>
                    <a:pt x="1287" y="464"/>
                    <a:pt x="1061" y="195"/>
                  </a:cubicBezTo>
                  <a:cubicBezTo>
                    <a:pt x="949" y="67"/>
                    <a:pt x="792" y="1"/>
                    <a:pt x="6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8" name="Google Shape;9048;p75"/>
            <p:cNvSpPr/>
            <p:nvPr/>
          </p:nvSpPr>
          <p:spPr>
            <a:xfrm>
              <a:off x="2158650" y="2216775"/>
              <a:ext cx="47275" cy="51425"/>
            </a:xfrm>
            <a:custGeom>
              <a:avLst/>
              <a:gdLst/>
              <a:ahLst/>
              <a:cxnLst/>
              <a:rect l="l" t="t" r="r" b="b"/>
              <a:pathLst>
                <a:path w="1891" h="2057" extrusionOk="0">
                  <a:moveTo>
                    <a:pt x="1264" y="1"/>
                  </a:moveTo>
                  <a:cubicBezTo>
                    <a:pt x="1109" y="1"/>
                    <a:pt x="955" y="63"/>
                    <a:pt x="843" y="187"/>
                  </a:cubicBezTo>
                  <a:lnTo>
                    <a:pt x="846" y="184"/>
                  </a:lnTo>
                  <a:lnTo>
                    <a:pt x="846" y="184"/>
                  </a:lnTo>
                  <a:cubicBezTo>
                    <a:pt x="547" y="498"/>
                    <a:pt x="305" y="860"/>
                    <a:pt x="130" y="1256"/>
                  </a:cubicBezTo>
                  <a:cubicBezTo>
                    <a:pt x="0" y="1543"/>
                    <a:pt x="127" y="1878"/>
                    <a:pt x="414" y="2005"/>
                  </a:cubicBezTo>
                  <a:cubicBezTo>
                    <a:pt x="486" y="2038"/>
                    <a:pt x="565" y="2056"/>
                    <a:pt x="643" y="2056"/>
                  </a:cubicBezTo>
                  <a:cubicBezTo>
                    <a:pt x="867" y="2056"/>
                    <a:pt x="1069" y="1923"/>
                    <a:pt x="1163" y="1721"/>
                  </a:cubicBezTo>
                  <a:cubicBezTo>
                    <a:pt x="1286" y="1443"/>
                    <a:pt x="1455" y="1187"/>
                    <a:pt x="1664" y="966"/>
                  </a:cubicBezTo>
                  <a:cubicBezTo>
                    <a:pt x="1890" y="740"/>
                    <a:pt x="1884" y="374"/>
                    <a:pt x="1655" y="157"/>
                  </a:cubicBezTo>
                  <a:cubicBezTo>
                    <a:pt x="1544" y="52"/>
                    <a:pt x="1404" y="1"/>
                    <a:pt x="12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49" name="Google Shape;9049;p75"/>
            <p:cNvSpPr/>
            <p:nvPr/>
          </p:nvSpPr>
          <p:spPr>
            <a:xfrm>
              <a:off x="2426475" y="2255725"/>
              <a:ext cx="55875" cy="46900"/>
            </a:xfrm>
            <a:custGeom>
              <a:avLst/>
              <a:gdLst/>
              <a:ahLst/>
              <a:cxnLst/>
              <a:rect l="l" t="t" r="r" b="b"/>
              <a:pathLst>
                <a:path w="2235" h="1876" extrusionOk="0">
                  <a:moveTo>
                    <a:pt x="1592" y="1"/>
                  </a:moveTo>
                  <a:cubicBezTo>
                    <a:pt x="1423" y="1"/>
                    <a:pt x="1257" y="76"/>
                    <a:pt x="1144" y="220"/>
                  </a:cubicBezTo>
                  <a:cubicBezTo>
                    <a:pt x="960" y="462"/>
                    <a:pt x="734" y="667"/>
                    <a:pt x="477" y="830"/>
                  </a:cubicBezTo>
                  <a:cubicBezTo>
                    <a:pt x="0" y="1135"/>
                    <a:pt x="218" y="1875"/>
                    <a:pt x="782" y="1875"/>
                  </a:cubicBezTo>
                  <a:cubicBezTo>
                    <a:pt x="891" y="1875"/>
                    <a:pt x="997" y="1845"/>
                    <a:pt x="1087" y="1784"/>
                  </a:cubicBezTo>
                  <a:cubicBezTo>
                    <a:pt x="1452" y="1552"/>
                    <a:pt x="1776" y="1256"/>
                    <a:pt x="2041" y="912"/>
                  </a:cubicBezTo>
                  <a:cubicBezTo>
                    <a:pt x="2234" y="667"/>
                    <a:pt x="2186" y="311"/>
                    <a:pt x="1939" y="121"/>
                  </a:cubicBezTo>
                  <a:cubicBezTo>
                    <a:pt x="1835" y="40"/>
                    <a:pt x="1713" y="1"/>
                    <a:pt x="15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50" name="Google Shape;9050;p75"/>
            <p:cNvSpPr/>
            <p:nvPr/>
          </p:nvSpPr>
          <p:spPr>
            <a:xfrm>
              <a:off x="2473050" y="2192325"/>
              <a:ext cx="37000" cy="41500"/>
            </a:xfrm>
            <a:custGeom>
              <a:avLst/>
              <a:gdLst/>
              <a:ahLst/>
              <a:cxnLst/>
              <a:rect l="l" t="t" r="r" b="b"/>
              <a:pathLst>
                <a:path w="1480" h="1660" extrusionOk="0">
                  <a:moveTo>
                    <a:pt x="838" y="0"/>
                  </a:moveTo>
                  <a:cubicBezTo>
                    <a:pt x="609" y="0"/>
                    <a:pt x="393" y="140"/>
                    <a:pt x="308" y="368"/>
                  </a:cubicBezTo>
                  <a:lnTo>
                    <a:pt x="109" y="896"/>
                  </a:lnTo>
                  <a:cubicBezTo>
                    <a:pt x="0" y="1189"/>
                    <a:pt x="148" y="1515"/>
                    <a:pt x="441" y="1624"/>
                  </a:cubicBezTo>
                  <a:cubicBezTo>
                    <a:pt x="506" y="1648"/>
                    <a:pt x="573" y="1660"/>
                    <a:pt x="639" y="1660"/>
                  </a:cubicBezTo>
                  <a:cubicBezTo>
                    <a:pt x="868" y="1660"/>
                    <a:pt x="1084" y="1520"/>
                    <a:pt x="1169" y="1292"/>
                  </a:cubicBezTo>
                  <a:lnTo>
                    <a:pt x="1368" y="764"/>
                  </a:lnTo>
                  <a:cubicBezTo>
                    <a:pt x="1480" y="471"/>
                    <a:pt x="1329" y="145"/>
                    <a:pt x="1036" y="36"/>
                  </a:cubicBezTo>
                  <a:cubicBezTo>
                    <a:pt x="971" y="12"/>
                    <a:pt x="904" y="0"/>
                    <a:pt x="8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51" name="Google Shape;9051;p75"/>
          <p:cNvGrpSpPr/>
          <p:nvPr/>
        </p:nvGrpSpPr>
        <p:grpSpPr>
          <a:xfrm>
            <a:off x="2105973" y="3588721"/>
            <a:ext cx="340168" cy="252332"/>
            <a:chOff x="2676100" y="2083800"/>
            <a:chExt cx="483125" cy="358375"/>
          </a:xfrm>
        </p:grpSpPr>
        <p:sp>
          <p:nvSpPr>
            <p:cNvPr id="9052" name="Google Shape;9052;p75"/>
            <p:cNvSpPr/>
            <p:nvPr/>
          </p:nvSpPr>
          <p:spPr>
            <a:xfrm>
              <a:off x="2676100" y="2083800"/>
              <a:ext cx="483125" cy="358375"/>
            </a:xfrm>
            <a:custGeom>
              <a:avLst/>
              <a:gdLst/>
              <a:ahLst/>
              <a:cxnLst/>
              <a:rect l="l" t="t" r="r" b="b"/>
              <a:pathLst>
                <a:path w="19325" h="14335" extrusionOk="0">
                  <a:moveTo>
                    <a:pt x="1932" y="6375"/>
                  </a:moveTo>
                  <a:cubicBezTo>
                    <a:pt x="2126" y="6375"/>
                    <a:pt x="2324" y="6447"/>
                    <a:pt x="2485" y="6608"/>
                  </a:cubicBezTo>
                  <a:cubicBezTo>
                    <a:pt x="2984" y="7109"/>
                    <a:pt x="2630" y="7964"/>
                    <a:pt x="1927" y="7964"/>
                  </a:cubicBezTo>
                  <a:cubicBezTo>
                    <a:pt x="1489" y="7964"/>
                    <a:pt x="1133" y="7608"/>
                    <a:pt x="1133" y="7170"/>
                  </a:cubicBezTo>
                  <a:cubicBezTo>
                    <a:pt x="1133" y="6692"/>
                    <a:pt x="1524" y="6375"/>
                    <a:pt x="1932" y="6375"/>
                  </a:cubicBezTo>
                  <a:close/>
                  <a:moveTo>
                    <a:pt x="17401" y="6379"/>
                  </a:moveTo>
                  <a:cubicBezTo>
                    <a:pt x="17836" y="6379"/>
                    <a:pt x="18193" y="6732"/>
                    <a:pt x="18193" y="7170"/>
                  </a:cubicBezTo>
                  <a:cubicBezTo>
                    <a:pt x="18193" y="7648"/>
                    <a:pt x="17801" y="7964"/>
                    <a:pt x="17394" y="7964"/>
                  </a:cubicBezTo>
                  <a:cubicBezTo>
                    <a:pt x="17199" y="7964"/>
                    <a:pt x="17001" y="7892"/>
                    <a:pt x="16840" y="7731"/>
                  </a:cubicBezTo>
                  <a:cubicBezTo>
                    <a:pt x="16342" y="7230"/>
                    <a:pt x="16695" y="6379"/>
                    <a:pt x="17401" y="6379"/>
                  </a:cubicBezTo>
                  <a:close/>
                  <a:moveTo>
                    <a:pt x="9669" y="1276"/>
                  </a:moveTo>
                  <a:lnTo>
                    <a:pt x="14542" y="4851"/>
                  </a:lnTo>
                  <a:cubicBezTo>
                    <a:pt x="14642" y="4924"/>
                    <a:pt x="14760" y="4960"/>
                    <a:pt x="14877" y="4960"/>
                  </a:cubicBezTo>
                  <a:cubicBezTo>
                    <a:pt x="15021" y="4960"/>
                    <a:pt x="15164" y="4905"/>
                    <a:pt x="15273" y="4797"/>
                  </a:cubicBezTo>
                  <a:lnTo>
                    <a:pt x="18193" y="1925"/>
                  </a:lnTo>
                  <a:lnTo>
                    <a:pt x="18193" y="5419"/>
                  </a:lnTo>
                  <a:cubicBezTo>
                    <a:pt x="17930" y="5300"/>
                    <a:pt x="17661" y="5245"/>
                    <a:pt x="17398" y="5245"/>
                  </a:cubicBezTo>
                  <a:cubicBezTo>
                    <a:pt x="16385" y="5245"/>
                    <a:pt x="15475" y="6060"/>
                    <a:pt x="15475" y="7173"/>
                  </a:cubicBezTo>
                  <a:cubicBezTo>
                    <a:pt x="15475" y="8283"/>
                    <a:pt x="16385" y="9098"/>
                    <a:pt x="17398" y="9098"/>
                  </a:cubicBezTo>
                  <a:cubicBezTo>
                    <a:pt x="17660" y="9098"/>
                    <a:pt x="17930" y="9043"/>
                    <a:pt x="18193" y="8924"/>
                  </a:cubicBezTo>
                  <a:lnTo>
                    <a:pt x="18193" y="10878"/>
                  </a:lnTo>
                  <a:lnTo>
                    <a:pt x="1133" y="10878"/>
                  </a:lnTo>
                  <a:lnTo>
                    <a:pt x="1133" y="8924"/>
                  </a:lnTo>
                  <a:cubicBezTo>
                    <a:pt x="1395" y="9043"/>
                    <a:pt x="1665" y="9098"/>
                    <a:pt x="1928" y="9098"/>
                  </a:cubicBezTo>
                  <a:cubicBezTo>
                    <a:pt x="2940" y="9098"/>
                    <a:pt x="3850" y="8283"/>
                    <a:pt x="3850" y="7173"/>
                  </a:cubicBezTo>
                  <a:cubicBezTo>
                    <a:pt x="3850" y="6060"/>
                    <a:pt x="2940" y="5245"/>
                    <a:pt x="1927" y="5245"/>
                  </a:cubicBezTo>
                  <a:cubicBezTo>
                    <a:pt x="1665" y="5245"/>
                    <a:pt x="1395" y="5300"/>
                    <a:pt x="1133" y="5419"/>
                  </a:cubicBezTo>
                  <a:lnTo>
                    <a:pt x="1133" y="1883"/>
                  </a:lnTo>
                  <a:lnTo>
                    <a:pt x="4240" y="4806"/>
                  </a:lnTo>
                  <a:cubicBezTo>
                    <a:pt x="4349" y="4908"/>
                    <a:pt x="4488" y="4960"/>
                    <a:pt x="4628" y="4960"/>
                  </a:cubicBezTo>
                  <a:cubicBezTo>
                    <a:pt x="4748" y="4960"/>
                    <a:pt x="4869" y="4922"/>
                    <a:pt x="4970" y="4845"/>
                  </a:cubicBezTo>
                  <a:lnTo>
                    <a:pt x="9669" y="1276"/>
                  </a:lnTo>
                  <a:close/>
                  <a:moveTo>
                    <a:pt x="18193" y="12007"/>
                  </a:moveTo>
                  <a:lnTo>
                    <a:pt x="18193" y="13203"/>
                  </a:lnTo>
                  <a:lnTo>
                    <a:pt x="1133" y="13206"/>
                  </a:lnTo>
                  <a:lnTo>
                    <a:pt x="1133" y="12007"/>
                  </a:lnTo>
                  <a:close/>
                  <a:moveTo>
                    <a:pt x="570" y="0"/>
                  </a:moveTo>
                  <a:cubicBezTo>
                    <a:pt x="278" y="0"/>
                    <a:pt x="0" y="228"/>
                    <a:pt x="0" y="569"/>
                  </a:cubicBezTo>
                  <a:lnTo>
                    <a:pt x="0" y="13770"/>
                  </a:lnTo>
                  <a:cubicBezTo>
                    <a:pt x="0" y="14081"/>
                    <a:pt x="254" y="14335"/>
                    <a:pt x="565" y="14335"/>
                  </a:cubicBezTo>
                  <a:lnTo>
                    <a:pt x="18760" y="14335"/>
                  </a:lnTo>
                  <a:cubicBezTo>
                    <a:pt x="19071" y="14335"/>
                    <a:pt x="19325" y="14081"/>
                    <a:pt x="19325" y="13770"/>
                  </a:cubicBezTo>
                  <a:lnTo>
                    <a:pt x="19325" y="569"/>
                  </a:lnTo>
                  <a:cubicBezTo>
                    <a:pt x="19325" y="343"/>
                    <a:pt x="19189" y="134"/>
                    <a:pt x="18978" y="47"/>
                  </a:cubicBezTo>
                  <a:cubicBezTo>
                    <a:pt x="18907" y="18"/>
                    <a:pt x="18832" y="3"/>
                    <a:pt x="18758" y="3"/>
                  </a:cubicBezTo>
                  <a:cubicBezTo>
                    <a:pt x="18613" y="3"/>
                    <a:pt x="18470" y="59"/>
                    <a:pt x="18362" y="168"/>
                  </a:cubicBezTo>
                  <a:lnTo>
                    <a:pt x="14823" y="3652"/>
                  </a:lnTo>
                  <a:lnTo>
                    <a:pt x="9998" y="113"/>
                  </a:lnTo>
                  <a:cubicBezTo>
                    <a:pt x="9898" y="39"/>
                    <a:pt x="9780" y="2"/>
                    <a:pt x="9662" y="2"/>
                  </a:cubicBezTo>
                  <a:cubicBezTo>
                    <a:pt x="9542" y="2"/>
                    <a:pt x="9422" y="40"/>
                    <a:pt x="9321" y="116"/>
                  </a:cubicBezTo>
                  <a:lnTo>
                    <a:pt x="4668" y="3652"/>
                  </a:lnTo>
                  <a:lnTo>
                    <a:pt x="955" y="156"/>
                  </a:lnTo>
                  <a:cubicBezTo>
                    <a:pt x="840" y="48"/>
                    <a:pt x="704" y="0"/>
                    <a:pt x="5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53" name="Google Shape;9053;p75"/>
            <p:cNvSpPr/>
            <p:nvPr/>
          </p:nvSpPr>
          <p:spPr>
            <a:xfrm>
              <a:off x="2869575" y="2214900"/>
              <a:ext cx="100050" cy="96325"/>
            </a:xfrm>
            <a:custGeom>
              <a:avLst/>
              <a:gdLst/>
              <a:ahLst/>
              <a:cxnLst/>
              <a:rect l="l" t="t" r="r" b="b"/>
              <a:pathLst>
                <a:path w="4002" h="3853" extrusionOk="0">
                  <a:moveTo>
                    <a:pt x="1924" y="1135"/>
                  </a:moveTo>
                  <a:cubicBezTo>
                    <a:pt x="2630" y="1135"/>
                    <a:pt x="2983" y="1986"/>
                    <a:pt x="2485" y="2487"/>
                  </a:cubicBezTo>
                  <a:cubicBezTo>
                    <a:pt x="2323" y="2648"/>
                    <a:pt x="2125" y="2720"/>
                    <a:pt x="1930" y="2720"/>
                  </a:cubicBezTo>
                  <a:cubicBezTo>
                    <a:pt x="1523" y="2720"/>
                    <a:pt x="1133" y="2404"/>
                    <a:pt x="1133" y="1926"/>
                  </a:cubicBezTo>
                  <a:cubicBezTo>
                    <a:pt x="1133" y="1488"/>
                    <a:pt x="1486" y="1135"/>
                    <a:pt x="1924" y="1135"/>
                  </a:cubicBezTo>
                  <a:close/>
                  <a:moveTo>
                    <a:pt x="1922" y="0"/>
                  </a:moveTo>
                  <a:cubicBezTo>
                    <a:pt x="1675" y="0"/>
                    <a:pt x="1425" y="48"/>
                    <a:pt x="1187" y="147"/>
                  </a:cubicBezTo>
                  <a:cubicBezTo>
                    <a:pt x="468" y="446"/>
                    <a:pt x="0" y="1147"/>
                    <a:pt x="0" y="1926"/>
                  </a:cubicBezTo>
                  <a:cubicBezTo>
                    <a:pt x="0" y="2989"/>
                    <a:pt x="861" y="3849"/>
                    <a:pt x="1924" y="3852"/>
                  </a:cubicBezTo>
                  <a:cubicBezTo>
                    <a:pt x="2703" y="3852"/>
                    <a:pt x="3403" y="3381"/>
                    <a:pt x="3702" y="2663"/>
                  </a:cubicBezTo>
                  <a:cubicBezTo>
                    <a:pt x="4001" y="1944"/>
                    <a:pt x="3835" y="1117"/>
                    <a:pt x="3285" y="564"/>
                  </a:cubicBezTo>
                  <a:cubicBezTo>
                    <a:pt x="2916" y="196"/>
                    <a:pt x="2423" y="0"/>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54" name="Google Shape;9054;p75"/>
          <p:cNvGrpSpPr/>
          <p:nvPr/>
        </p:nvGrpSpPr>
        <p:grpSpPr>
          <a:xfrm>
            <a:off x="2531487" y="3554766"/>
            <a:ext cx="323587" cy="320242"/>
            <a:chOff x="3282325" y="2035675"/>
            <a:chExt cx="459575" cy="454825"/>
          </a:xfrm>
        </p:grpSpPr>
        <p:sp>
          <p:nvSpPr>
            <p:cNvPr id="9055" name="Google Shape;9055;p75"/>
            <p:cNvSpPr/>
            <p:nvPr/>
          </p:nvSpPr>
          <p:spPr>
            <a:xfrm>
              <a:off x="3337050" y="2234125"/>
              <a:ext cx="85925" cy="206325"/>
            </a:xfrm>
            <a:custGeom>
              <a:avLst/>
              <a:gdLst/>
              <a:ahLst/>
              <a:cxnLst/>
              <a:rect l="l" t="t" r="r" b="b"/>
              <a:pathLst>
                <a:path w="3437" h="8253" extrusionOk="0">
                  <a:moveTo>
                    <a:pt x="2305" y="1133"/>
                  </a:moveTo>
                  <a:lnTo>
                    <a:pt x="2305" y="7120"/>
                  </a:lnTo>
                  <a:lnTo>
                    <a:pt x="1133" y="7120"/>
                  </a:lnTo>
                  <a:lnTo>
                    <a:pt x="1133" y="1133"/>
                  </a:lnTo>
                  <a:close/>
                  <a:moveTo>
                    <a:pt x="568" y="0"/>
                  </a:moveTo>
                  <a:cubicBezTo>
                    <a:pt x="254" y="0"/>
                    <a:pt x="1" y="254"/>
                    <a:pt x="1" y="568"/>
                  </a:cubicBezTo>
                  <a:lnTo>
                    <a:pt x="1" y="7688"/>
                  </a:lnTo>
                  <a:cubicBezTo>
                    <a:pt x="1" y="7999"/>
                    <a:pt x="254" y="8253"/>
                    <a:pt x="568" y="8253"/>
                  </a:cubicBezTo>
                  <a:lnTo>
                    <a:pt x="2869" y="8253"/>
                  </a:lnTo>
                  <a:cubicBezTo>
                    <a:pt x="3183" y="8253"/>
                    <a:pt x="3437" y="7999"/>
                    <a:pt x="3437" y="7688"/>
                  </a:cubicBezTo>
                  <a:lnTo>
                    <a:pt x="3437" y="568"/>
                  </a:lnTo>
                  <a:cubicBezTo>
                    <a:pt x="3437" y="254"/>
                    <a:pt x="3183" y="0"/>
                    <a:pt x="28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56" name="Google Shape;9056;p75"/>
            <p:cNvSpPr/>
            <p:nvPr/>
          </p:nvSpPr>
          <p:spPr>
            <a:xfrm>
              <a:off x="3451275" y="2175475"/>
              <a:ext cx="84925" cy="264975"/>
            </a:xfrm>
            <a:custGeom>
              <a:avLst/>
              <a:gdLst/>
              <a:ahLst/>
              <a:cxnLst/>
              <a:rect l="l" t="t" r="r" b="b"/>
              <a:pathLst>
                <a:path w="3397" h="10599" extrusionOk="0">
                  <a:moveTo>
                    <a:pt x="2265" y="1133"/>
                  </a:moveTo>
                  <a:lnTo>
                    <a:pt x="2265" y="9466"/>
                  </a:lnTo>
                  <a:lnTo>
                    <a:pt x="1132" y="9466"/>
                  </a:lnTo>
                  <a:lnTo>
                    <a:pt x="1132" y="1133"/>
                  </a:lnTo>
                  <a:close/>
                  <a:moveTo>
                    <a:pt x="565" y="0"/>
                  </a:moveTo>
                  <a:cubicBezTo>
                    <a:pt x="254" y="0"/>
                    <a:pt x="0" y="254"/>
                    <a:pt x="0" y="565"/>
                  </a:cubicBezTo>
                  <a:lnTo>
                    <a:pt x="0" y="10034"/>
                  </a:lnTo>
                  <a:cubicBezTo>
                    <a:pt x="0" y="10345"/>
                    <a:pt x="254" y="10599"/>
                    <a:pt x="565" y="10599"/>
                  </a:cubicBezTo>
                  <a:lnTo>
                    <a:pt x="2829" y="10599"/>
                  </a:lnTo>
                  <a:cubicBezTo>
                    <a:pt x="3143" y="10599"/>
                    <a:pt x="3397" y="10345"/>
                    <a:pt x="3397" y="10034"/>
                  </a:cubicBezTo>
                  <a:lnTo>
                    <a:pt x="3397" y="565"/>
                  </a:lnTo>
                  <a:cubicBezTo>
                    <a:pt x="3397" y="254"/>
                    <a:pt x="3143" y="0"/>
                    <a:pt x="2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57" name="Google Shape;9057;p75"/>
            <p:cNvSpPr/>
            <p:nvPr/>
          </p:nvSpPr>
          <p:spPr>
            <a:xfrm>
              <a:off x="3564500" y="2116825"/>
              <a:ext cx="84950" cy="323625"/>
            </a:xfrm>
            <a:custGeom>
              <a:avLst/>
              <a:gdLst/>
              <a:ahLst/>
              <a:cxnLst/>
              <a:rect l="l" t="t" r="r" b="b"/>
              <a:pathLst>
                <a:path w="3398" h="12945" extrusionOk="0">
                  <a:moveTo>
                    <a:pt x="2265" y="1132"/>
                  </a:moveTo>
                  <a:lnTo>
                    <a:pt x="2265" y="11812"/>
                  </a:lnTo>
                  <a:lnTo>
                    <a:pt x="1133" y="11812"/>
                  </a:lnTo>
                  <a:lnTo>
                    <a:pt x="1133" y="1132"/>
                  </a:lnTo>
                  <a:close/>
                  <a:moveTo>
                    <a:pt x="565" y="0"/>
                  </a:moveTo>
                  <a:cubicBezTo>
                    <a:pt x="254" y="0"/>
                    <a:pt x="0" y="251"/>
                    <a:pt x="0" y="565"/>
                  </a:cubicBezTo>
                  <a:lnTo>
                    <a:pt x="0" y="12380"/>
                  </a:lnTo>
                  <a:cubicBezTo>
                    <a:pt x="0" y="12691"/>
                    <a:pt x="254" y="12945"/>
                    <a:pt x="565" y="12945"/>
                  </a:cubicBezTo>
                  <a:lnTo>
                    <a:pt x="2829" y="12945"/>
                  </a:lnTo>
                  <a:cubicBezTo>
                    <a:pt x="3144" y="12945"/>
                    <a:pt x="3397" y="12691"/>
                    <a:pt x="3397" y="12380"/>
                  </a:cubicBezTo>
                  <a:lnTo>
                    <a:pt x="3397" y="565"/>
                  </a:lnTo>
                  <a:cubicBezTo>
                    <a:pt x="3397" y="251"/>
                    <a:pt x="3144" y="0"/>
                    <a:pt x="2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58" name="Google Shape;9058;p75"/>
            <p:cNvSpPr/>
            <p:nvPr/>
          </p:nvSpPr>
          <p:spPr>
            <a:xfrm>
              <a:off x="3282325" y="2035675"/>
              <a:ext cx="459575" cy="454825"/>
            </a:xfrm>
            <a:custGeom>
              <a:avLst/>
              <a:gdLst/>
              <a:ahLst/>
              <a:cxnLst/>
              <a:rect l="l" t="t" r="r" b="b"/>
              <a:pathLst>
                <a:path w="18383" h="18193" extrusionOk="0">
                  <a:moveTo>
                    <a:pt x="568" y="0"/>
                  </a:moveTo>
                  <a:cubicBezTo>
                    <a:pt x="254" y="0"/>
                    <a:pt x="1" y="251"/>
                    <a:pt x="1" y="565"/>
                  </a:cubicBezTo>
                  <a:lnTo>
                    <a:pt x="1" y="17625"/>
                  </a:lnTo>
                  <a:cubicBezTo>
                    <a:pt x="1" y="17939"/>
                    <a:pt x="254" y="18192"/>
                    <a:pt x="568" y="18192"/>
                  </a:cubicBezTo>
                  <a:lnTo>
                    <a:pt x="17815" y="18192"/>
                  </a:lnTo>
                  <a:cubicBezTo>
                    <a:pt x="18129" y="18192"/>
                    <a:pt x="18383" y="17939"/>
                    <a:pt x="18383" y="17625"/>
                  </a:cubicBezTo>
                  <a:cubicBezTo>
                    <a:pt x="18383" y="17311"/>
                    <a:pt x="18129" y="17060"/>
                    <a:pt x="17815" y="17060"/>
                  </a:cubicBezTo>
                  <a:lnTo>
                    <a:pt x="1133" y="17060"/>
                  </a:lnTo>
                  <a:lnTo>
                    <a:pt x="1133" y="565"/>
                  </a:lnTo>
                  <a:cubicBezTo>
                    <a:pt x="1133" y="251"/>
                    <a:pt x="879"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59" name="Google Shape;9059;p75"/>
          <p:cNvSpPr/>
          <p:nvPr/>
        </p:nvSpPr>
        <p:spPr>
          <a:xfrm>
            <a:off x="2940184" y="3556291"/>
            <a:ext cx="330434" cy="316687"/>
          </a:xfrm>
          <a:custGeom>
            <a:avLst/>
            <a:gdLst/>
            <a:ahLst/>
            <a:cxnLst/>
            <a:rect l="l" t="t" r="r" b="b"/>
            <a:pathLst>
              <a:path w="18772" h="17991" extrusionOk="0">
                <a:moveTo>
                  <a:pt x="17492" y="6197"/>
                </a:moveTo>
                <a:lnTo>
                  <a:pt x="17217" y="8063"/>
                </a:lnTo>
                <a:lnTo>
                  <a:pt x="15626" y="6472"/>
                </a:lnTo>
                <a:lnTo>
                  <a:pt x="17492" y="6197"/>
                </a:lnTo>
                <a:close/>
                <a:moveTo>
                  <a:pt x="6055" y="9391"/>
                </a:moveTo>
                <a:lnTo>
                  <a:pt x="6055" y="16858"/>
                </a:lnTo>
                <a:lnTo>
                  <a:pt x="1133" y="16858"/>
                </a:lnTo>
                <a:lnTo>
                  <a:pt x="1133" y="13332"/>
                </a:lnTo>
                <a:lnTo>
                  <a:pt x="6055" y="9391"/>
                </a:lnTo>
                <a:close/>
                <a:moveTo>
                  <a:pt x="7187" y="9141"/>
                </a:moveTo>
                <a:lnTo>
                  <a:pt x="11903" y="11568"/>
                </a:lnTo>
                <a:lnTo>
                  <a:pt x="11903" y="16858"/>
                </a:lnTo>
                <a:lnTo>
                  <a:pt x="7187" y="16858"/>
                </a:lnTo>
                <a:lnTo>
                  <a:pt x="7187" y="9141"/>
                </a:lnTo>
                <a:close/>
                <a:moveTo>
                  <a:pt x="565" y="1"/>
                </a:moveTo>
                <a:cubicBezTo>
                  <a:pt x="254" y="1"/>
                  <a:pt x="1" y="255"/>
                  <a:pt x="1" y="569"/>
                </a:cubicBezTo>
                <a:lnTo>
                  <a:pt x="1" y="17423"/>
                </a:lnTo>
                <a:cubicBezTo>
                  <a:pt x="1" y="17737"/>
                  <a:pt x="254" y="17991"/>
                  <a:pt x="565" y="17991"/>
                </a:cubicBezTo>
                <a:lnTo>
                  <a:pt x="18141" y="17991"/>
                </a:lnTo>
                <a:cubicBezTo>
                  <a:pt x="18455" y="17991"/>
                  <a:pt x="18706" y="17737"/>
                  <a:pt x="18706" y="17423"/>
                </a:cubicBezTo>
                <a:cubicBezTo>
                  <a:pt x="18706" y="17112"/>
                  <a:pt x="18455" y="16858"/>
                  <a:pt x="18141" y="16858"/>
                </a:cubicBezTo>
                <a:lnTo>
                  <a:pt x="13033" y="16858"/>
                </a:lnTo>
                <a:lnTo>
                  <a:pt x="13033" y="11457"/>
                </a:lnTo>
                <a:lnTo>
                  <a:pt x="16022" y="8467"/>
                </a:lnTo>
                <a:lnTo>
                  <a:pt x="17214" y="9660"/>
                </a:lnTo>
                <a:cubicBezTo>
                  <a:pt x="17329" y="9774"/>
                  <a:pt x="17471" y="9826"/>
                  <a:pt x="17611" y="9826"/>
                </a:cubicBezTo>
                <a:cubicBezTo>
                  <a:pt x="17874" y="9826"/>
                  <a:pt x="18129" y="9643"/>
                  <a:pt x="18175" y="9343"/>
                </a:cubicBezTo>
                <a:lnTo>
                  <a:pt x="18721" y="5608"/>
                </a:lnTo>
                <a:cubicBezTo>
                  <a:pt x="18771" y="5262"/>
                  <a:pt x="18501" y="4962"/>
                  <a:pt x="18164" y="4962"/>
                </a:cubicBezTo>
                <a:cubicBezTo>
                  <a:pt x="18137" y="4962"/>
                  <a:pt x="18109" y="4964"/>
                  <a:pt x="18081" y="4968"/>
                </a:cubicBezTo>
                <a:lnTo>
                  <a:pt x="14346" y="5514"/>
                </a:lnTo>
                <a:cubicBezTo>
                  <a:pt x="13887" y="5584"/>
                  <a:pt x="13700" y="6145"/>
                  <a:pt x="14029" y="6475"/>
                </a:cubicBezTo>
                <a:lnTo>
                  <a:pt x="15222" y="7667"/>
                </a:lnTo>
                <a:lnTo>
                  <a:pt x="12359" y="10530"/>
                </a:lnTo>
                <a:lnTo>
                  <a:pt x="6879" y="7710"/>
                </a:lnTo>
                <a:cubicBezTo>
                  <a:pt x="6867" y="7703"/>
                  <a:pt x="6855" y="7697"/>
                  <a:pt x="6846" y="7694"/>
                </a:cubicBezTo>
                <a:lnTo>
                  <a:pt x="6831" y="7688"/>
                </a:lnTo>
                <a:lnTo>
                  <a:pt x="6794" y="7673"/>
                </a:lnTo>
                <a:lnTo>
                  <a:pt x="6776" y="7670"/>
                </a:lnTo>
                <a:cubicBezTo>
                  <a:pt x="6767" y="7667"/>
                  <a:pt x="6755" y="7664"/>
                  <a:pt x="6743" y="7661"/>
                </a:cubicBezTo>
                <a:lnTo>
                  <a:pt x="6728" y="7658"/>
                </a:lnTo>
                <a:cubicBezTo>
                  <a:pt x="6713" y="7655"/>
                  <a:pt x="6695" y="7652"/>
                  <a:pt x="6680" y="7649"/>
                </a:cubicBezTo>
                <a:lnTo>
                  <a:pt x="6553" y="7649"/>
                </a:lnTo>
                <a:cubicBezTo>
                  <a:pt x="6541" y="7649"/>
                  <a:pt x="6526" y="7655"/>
                  <a:pt x="6514" y="7655"/>
                </a:cubicBezTo>
                <a:lnTo>
                  <a:pt x="6495" y="7661"/>
                </a:lnTo>
                <a:cubicBezTo>
                  <a:pt x="6483" y="7661"/>
                  <a:pt x="6474" y="7664"/>
                  <a:pt x="6465" y="7667"/>
                </a:cubicBezTo>
                <a:lnTo>
                  <a:pt x="6447" y="7673"/>
                </a:lnTo>
                <a:cubicBezTo>
                  <a:pt x="6432" y="7679"/>
                  <a:pt x="6417" y="7682"/>
                  <a:pt x="6405" y="7688"/>
                </a:cubicBezTo>
                <a:lnTo>
                  <a:pt x="6387" y="7697"/>
                </a:lnTo>
                <a:lnTo>
                  <a:pt x="6360" y="7710"/>
                </a:lnTo>
                <a:lnTo>
                  <a:pt x="6341" y="7719"/>
                </a:lnTo>
                <a:cubicBezTo>
                  <a:pt x="6332" y="7725"/>
                  <a:pt x="6323" y="7731"/>
                  <a:pt x="6314" y="7737"/>
                </a:cubicBezTo>
                <a:lnTo>
                  <a:pt x="6299" y="7746"/>
                </a:lnTo>
                <a:cubicBezTo>
                  <a:pt x="6287" y="7752"/>
                  <a:pt x="6275" y="7761"/>
                  <a:pt x="6266" y="7770"/>
                </a:cubicBezTo>
                <a:lnTo>
                  <a:pt x="6260" y="7776"/>
                </a:lnTo>
                <a:lnTo>
                  <a:pt x="1133" y="11879"/>
                </a:lnTo>
                <a:lnTo>
                  <a:pt x="1133" y="569"/>
                </a:lnTo>
                <a:cubicBezTo>
                  <a:pt x="1133" y="255"/>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0" name="Google Shape;9060;p75"/>
          <p:cNvSpPr/>
          <p:nvPr/>
        </p:nvSpPr>
        <p:spPr>
          <a:xfrm>
            <a:off x="3373188" y="3544543"/>
            <a:ext cx="300263" cy="340186"/>
          </a:xfrm>
          <a:custGeom>
            <a:avLst/>
            <a:gdLst/>
            <a:ahLst/>
            <a:cxnLst/>
            <a:rect l="l" t="t" r="r" b="b"/>
            <a:pathLst>
              <a:path w="17058" h="19326" extrusionOk="0">
                <a:moveTo>
                  <a:pt x="15013" y="2021"/>
                </a:moveTo>
                <a:lnTo>
                  <a:pt x="11577" y="5741"/>
                </a:lnTo>
                <a:cubicBezTo>
                  <a:pt x="11378" y="5958"/>
                  <a:pt x="11378" y="6290"/>
                  <a:pt x="11577" y="6507"/>
                </a:cubicBezTo>
                <a:lnTo>
                  <a:pt x="15013" y="10230"/>
                </a:lnTo>
                <a:lnTo>
                  <a:pt x="3195" y="10230"/>
                </a:lnTo>
                <a:lnTo>
                  <a:pt x="3195" y="2021"/>
                </a:lnTo>
                <a:close/>
                <a:moveTo>
                  <a:pt x="1716" y="1133"/>
                </a:moveTo>
                <a:cubicBezTo>
                  <a:pt x="1906" y="1136"/>
                  <a:pt x="2060" y="1290"/>
                  <a:pt x="2063" y="1480"/>
                </a:cubicBezTo>
                <a:lnTo>
                  <a:pt x="2063" y="17846"/>
                </a:lnTo>
                <a:cubicBezTo>
                  <a:pt x="2060" y="18036"/>
                  <a:pt x="1906" y="18190"/>
                  <a:pt x="1716" y="18193"/>
                </a:cubicBezTo>
                <a:lnTo>
                  <a:pt x="1483" y="18193"/>
                </a:lnTo>
                <a:cubicBezTo>
                  <a:pt x="1290" y="18190"/>
                  <a:pt x="1136" y="18036"/>
                  <a:pt x="1133" y="17846"/>
                </a:cubicBezTo>
                <a:lnTo>
                  <a:pt x="1133" y="1480"/>
                </a:lnTo>
                <a:cubicBezTo>
                  <a:pt x="1136" y="1290"/>
                  <a:pt x="1290" y="1136"/>
                  <a:pt x="1483" y="1133"/>
                </a:cubicBezTo>
                <a:close/>
                <a:moveTo>
                  <a:pt x="1483" y="1"/>
                </a:moveTo>
                <a:cubicBezTo>
                  <a:pt x="665" y="1"/>
                  <a:pt x="4" y="665"/>
                  <a:pt x="1" y="1480"/>
                </a:cubicBezTo>
                <a:lnTo>
                  <a:pt x="1" y="17846"/>
                </a:lnTo>
                <a:cubicBezTo>
                  <a:pt x="4" y="18661"/>
                  <a:pt x="665" y="19325"/>
                  <a:pt x="1483" y="19325"/>
                </a:cubicBezTo>
                <a:lnTo>
                  <a:pt x="1716" y="19325"/>
                </a:lnTo>
                <a:cubicBezTo>
                  <a:pt x="2531" y="19325"/>
                  <a:pt x="3195" y="18661"/>
                  <a:pt x="3195" y="17846"/>
                </a:cubicBezTo>
                <a:lnTo>
                  <a:pt x="3195" y="11363"/>
                </a:lnTo>
                <a:lnTo>
                  <a:pt x="16306" y="11363"/>
                </a:lnTo>
                <a:cubicBezTo>
                  <a:pt x="16801" y="11360"/>
                  <a:pt x="17058" y="10774"/>
                  <a:pt x="16722" y="10412"/>
                </a:cubicBezTo>
                <a:lnTo>
                  <a:pt x="12764" y="6124"/>
                </a:lnTo>
                <a:lnTo>
                  <a:pt x="16722" y="1836"/>
                </a:lnTo>
                <a:cubicBezTo>
                  <a:pt x="16873" y="1673"/>
                  <a:pt x="16916" y="1432"/>
                  <a:pt x="16825" y="1226"/>
                </a:cubicBezTo>
                <a:cubicBezTo>
                  <a:pt x="16734" y="1021"/>
                  <a:pt x="16532" y="885"/>
                  <a:pt x="16306" y="885"/>
                </a:cubicBezTo>
                <a:lnTo>
                  <a:pt x="3071" y="885"/>
                </a:lnTo>
                <a:cubicBezTo>
                  <a:pt x="2833" y="348"/>
                  <a:pt x="2302" y="1"/>
                  <a:pt x="17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61" name="Google Shape;9061;p75"/>
          <p:cNvGrpSpPr/>
          <p:nvPr/>
        </p:nvGrpSpPr>
        <p:grpSpPr>
          <a:xfrm>
            <a:off x="3776187" y="3544803"/>
            <a:ext cx="340608" cy="340168"/>
            <a:chOff x="5053900" y="2021500"/>
            <a:chExt cx="483750" cy="483125"/>
          </a:xfrm>
        </p:grpSpPr>
        <p:sp>
          <p:nvSpPr>
            <p:cNvPr id="9062" name="Google Shape;9062;p75"/>
            <p:cNvSpPr/>
            <p:nvPr/>
          </p:nvSpPr>
          <p:spPr>
            <a:xfrm>
              <a:off x="5281350" y="2078100"/>
              <a:ext cx="127375" cy="127350"/>
            </a:xfrm>
            <a:custGeom>
              <a:avLst/>
              <a:gdLst/>
              <a:ahLst/>
              <a:cxnLst/>
              <a:rect l="l" t="t" r="r" b="b"/>
              <a:pathLst>
                <a:path w="5095" h="5094" extrusionOk="0">
                  <a:moveTo>
                    <a:pt x="565" y="0"/>
                  </a:moveTo>
                  <a:cubicBezTo>
                    <a:pt x="251" y="0"/>
                    <a:pt x="1" y="254"/>
                    <a:pt x="1" y="568"/>
                  </a:cubicBezTo>
                  <a:cubicBezTo>
                    <a:pt x="1" y="879"/>
                    <a:pt x="251" y="1132"/>
                    <a:pt x="565" y="1132"/>
                  </a:cubicBezTo>
                  <a:cubicBezTo>
                    <a:pt x="2440" y="1135"/>
                    <a:pt x="3959" y="2654"/>
                    <a:pt x="3962" y="4529"/>
                  </a:cubicBezTo>
                  <a:cubicBezTo>
                    <a:pt x="3962" y="4843"/>
                    <a:pt x="4216" y="5094"/>
                    <a:pt x="4530" y="5094"/>
                  </a:cubicBezTo>
                  <a:cubicBezTo>
                    <a:pt x="4841" y="5094"/>
                    <a:pt x="5094" y="4843"/>
                    <a:pt x="5094" y="4529"/>
                  </a:cubicBezTo>
                  <a:cubicBezTo>
                    <a:pt x="5091" y="2029"/>
                    <a:pt x="3065" y="3"/>
                    <a:pt x="5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3" name="Google Shape;9063;p75"/>
            <p:cNvSpPr/>
            <p:nvPr/>
          </p:nvSpPr>
          <p:spPr>
            <a:xfrm>
              <a:off x="5118000" y="2021500"/>
              <a:ext cx="368700" cy="483125"/>
            </a:xfrm>
            <a:custGeom>
              <a:avLst/>
              <a:gdLst/>
              <a:ahLst/>
              <a:cxnLst/>
              <a:rect l="l" t="t" r="r" b="b"/>
              <a:pathLst>
                <a:path w="14748" h="19325" extrusionOk="0">
                  <a:moveTo>
                    <a:pt x="7088" y="1135"/>
                  </a:moveTo>
                  <a:cubicBezTo>
                    <a:pt x="8391" y="1135"/>
                    <a:pt x="9651" y="1571"/>
                    <a:pt x="10668" y="2397"/>
                  </a:cubicBezTo>
                  <a:cubicBezTo>
                    <a:pt x="13159" y="4417"/>
                    <a:pt x="13473" y="8104"/>
                    <a:pt x="11360" y="10516"/>
                  </a:cubicBezTo>
                  <a:cubicBezTo>
                    <a:pt x="10572" y="11419"/>
                    <a:pt x="10085" y="12503"/>
                    <a:pt x="9962" y="13626"/>
                  </a:cubicBezTo>
                  <a:lnTo>
                    <a:pt x="4237" y="13626"/>
                  </a:lnTo>
                  <a:cubicBezTo>
                    <a:pt x="4107" y="12482"/>
                    <a:pt x="3630" y="11407"/>
                    <a:pt x="2866" y="10550"/>
                  </a:cubicBezTo>
                  <a:cubicBezTo>
                    <a:pt x="1658" y="9191"/>
                    <a:pt x="1184" y="7367"/>
                    <a:pt x="1571" y="5549"/>
                  </a:cubicBezTo>
                  <a:cubicBezTo>
                    <a:pt x="2020" y="3427"/>
                    <a:pt x="3748" y="1706"/>
                    <a:pt x="5873" y="1262"/>
                  </a:cubicBezTo>
                  <a:cubicBezTo>
                    <a:pt x="6278" y="1177"/>
                    <a:pt x="6685" y="1135"/>
                    <a:pt x="7088" y="1135"/>
                  </a:cubicBezTo>
                  <a:close/>
                  <a:moveTo>
                    <a:pt x="9931" y="14759"/>
                  </a:moveTo>
                  <a:lnTo>
                    <a:pt x="9931" y="15323"/>
                  </a:lnTo>
                  <a:cubicBezTo>
                    <a:pt x="9931" y="15637"/>
                    <a:pt x="9678" y="15891"/>
                    <a:pt x="9364" y="15891"/>
                  </a:cubicBezTo>
                  <a:lnTo>
                    <a:pt x="4835" y="15891"/>
                  </a:lnTo>
                  <a:cubicBezTo>
                    <a:pt x="4521" y="15891"/>
                    <a:pt x="4270" y="15637"/>
                    <a:pt x="4270" y="15323"/>
                  </a:cubicBezTo>
                  <a:lnTo>
                    <a:pt x="4270" y="14759"/>
                  </a:lnTo>
                  <a:close/>
                  <a:moveTo>
                    <a:pt x="8699" y="17023"/>
                  </a:moveTo>
                  <a:cubicBezTo>
                    <a:pt x="8464" y="17694"/>
                    <a:pt x="7827" y="18192"/>
                    <a:pt x="7099" y="18192"/>
                  </a:cubicBezTo>
                  <a:cubicBezTo>
                    <a:pt x="6371" y="18192"/>
                    <a:pt x="5734" y="17694"/>
                    <a:pt x="5499" y="17023"/>
                  </a:cubicBezTo>
                  <a:close/>
                  <a:moveTo>
                    <a:pt x="7087" y="0"/>
                  </a:moveTo>
                  <a:cubicBezTo>
                    <a:pt x="6607" y="0"/>
                    <a:pt x="6123" y="50"/>
                    <a:pt x="5641" y="151"/>
                  </a:cubicBezTo>
                  <a:cubicBezTo>
                    <a:pt x="3053" y="712"/>
                    <a:pt x="1027" y="2729"/>
                    <a:pt x="462" y="5314"/>
                  </a:cubicBezTo>
                  <a:cubicBezTo>
                    <a:pt x="0" y="7488"/>
                    <a:pt x="568" y="9671"/>
                    <a:pt x="2020" y="11301"/>
                  </a:cubicBezTo>
                  <a:cubicBezTo>
                    <a:pt x="2730" y="12099"/>
                    <a:pt x="3135" y="13149"/>
                    <a:pt x="3135" y="14191"/>
                  </a:cubicBezTo>
                  <a:lnTo>
                    <a:pt x="3135" y="15323"/>
                  </a:lnTo>
                  <a:cubicBezTo>
                    <a:pt x="3138" y="16060"/>
                    <a:pt x="3612" y="16709"/>
                    <a:pt x="4309" y="16939"/>
                  </a:cubicBezTo>
                  <a:cubicBezTo>
                    <a:pt x="4409" y="17518"/>
                    <a:pt x="4681" y="18053"/>
                    <a:pt x="5094" y="18473"/>
                  </a:cubicBezTo>
                  <a:cubicBezTo>
                    <a:pt x="5642" y="19040"/>
                    <a:pt x="6371" y="19324"/>
                    <a:pt x="7099" y="19324"/>
                  </a:cubicBezTo>
                  <a:cubicBezTo>
                    <a:pt x="7828" y="19324"/>
                    <a:pt x="8556" y="19040"/>
                    <a:pt x="9104" y="18473"/>
                  </a:cubicBezTo>
                  <a:cubicBezTo>
                    <a:pt x="9518" y="18053"/>
                    <a:pt x="9790" y="17518"/>
                    <a:pt x="9889" y="16939"/>
                  </a:cubicBezTo>
                  <a:cubicBezTo>
                    <a:pt x="10587" y="16709"/>
                    <a:pt x="11061" y="16060"/>
                    <a:pt x="11064" y="15323"/>
                  </a:cubicBezTo>
                  <a:lnTo>
                    <a:pt x="11064" y="14191"/>
                  </a:lnTo>
                  <a:cubicBezTo>
                    <a:pt x="11064" y="13149"/>
                    <a:pt x="11471" y="12108"/>
                    <a:pt x="12211" y="11262"/>
                  </a:cubicBezTo>
                  <a:cubicBezTo>
                    <a:pt x="14747" y="8366"/>
                    <a:pt x="14370" y="3943"/>
                    <a:pt x="11381" y="1518"/>
                  </a:cubicBezTo>
                  <a:cubicBezTo>
                    <a:pt x="10159" y="525"/>
                    <a:pt x="8647" y="0"/>
                    <a:pt x="70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4" name="Google Shape;9064;p75"/>
            <p:cNvSpPr/>
            <p:nvPr/>
          </p:nvSpPr>
          <p:spPr>
            <a:xfrm>
              <a:off x="5053900" y="2191325"/>
              <a:ext cx="56650" cy="28325"/>
            </a:xfrm>
            <a:custGeom>
              <a:avLst/>
              <a:gdLst/>
              <a:ahLst/>
              <a:cxnLst/>
              <a:rect l="l" t="t" r="r" b="b"/>
              <a:pathLst>
                <a:path w="2266" h="1133" extrusionOk="0">
                  <a:moveTo>
                    <a:pt x="569" y="0"/>
                  </a:moveTo>
                  <a:cubicBezTo>
                    <a:pt x="255" y="0"/>
                    <a:pt x="1" y="254"/>
                    <a:pt x="1" y="568"/>
                  </a:cubicBezTo>
                  <a:cubicBezTo>
                    <a:pt x="1" y="879"/>
                    <a:pt x="255" y="1133"/>
                    <a:pt x="569" y="1133"/>
                  </a:cubicBezTo>
                  <a:lnTo>
                    <a:pt x="1701" y="1133"/>
                  </a:lnTo>
                  <a:cubicBezTo>
                    <a:pt x="2012" y="1133"/>
                    <a:pt x="2266" y="879"/>
                    <a:pt x="2266" y="568"/>
                  </a:cubicBezTo>
                  <a:cubicBezTo>
                    <a:pt x="2266" y="254"/>
                    <a:pt x="2012"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5" name="Google Shape;9065;p75"/>
            <p:cNvSpPr/>
            <p:nvPr/>
          </p:nvSpPr>
          <p:spPr>
            <a:xfrm>
              <a:off x="5056850" y="2096550"/>
              <a:ext cx="50750" cy="48025"/>
            </a:xfrm>
            <a:custGeom>
              <a:avLst/>
              <a:gdLst/>
              <a:ahLst/>
              <a:cxnLst/>
              <a:rect l="l" t="t" r="r" b="b"/>
              <a:pathLst>
                <a:path w="2030" h="1921" extrusionOk="0">
                  <a:moveTo>
                    <a:pt x="622" y="0"/>
                  </a:moveTo>
                  <a:cubicBezTo>
                    <a:pt x="476" y="0"/>
                    <a:pt x="331" y="56"/>
                    <a:pt x="221" y="168"/>
                  </a:cubicBezTo>
                  <a:cubicBezTo>
                    <a:pt x="4" y="385"/>
                    <a:pt x="1" y="739"/>
                    <a:pt x="215" y="962"/>
                  </a:cubicBezTo>
                  <a:lnTo>
                    <a:pt x="1015" y="1762"/>
                  </a:lnTo>
                  <a:cubicBezTo>
                    <a:pt x="1125" y="1868"/>
                    <a:pt x="1267" y="1921"/>
                    <a:pt x="1409" y="1921"/>
                  </a:cubicBezTo>
                  <a:cubicBezTo>
                    <a:pt x="1554" y="1921"/>
                    <a:pt x="1699" y="1865"/>
                    <a:pt x="1809" y="1753"/>
                  </a:cubicBezTo>
                  <a:cubicBezTo>
                    <a:pt x="2027" y="1536"/>
                    <a:pt x="2030" y="1183"/>
                    <a:pt x="1815" y="962"/>
                  </a:cubicBezTo>
                  <a:lnTo>
                    <a:pt x="1015" y="159"/>
                  </a:lnTo>
                  <a:cubicBezTo>
                    <a:pt x="905" y="53"/>
                    <a:pt x="763" y="0"/>
                    <a:pt x="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6" name="Google Shape;9066;p75"/>
            <p:cNvSpPr/>
            <p:nvPr/>
          </p:nvSpPr>
          <p:spPr>
            <a:xfrm>
              <a:off x="5056400" y="2266400"/>
              <a:ext cx="51200" cy="48350"/>
            </a:xfrm>
            <a:custGeom>
              <a:avLst/>
              <a:gdLst/>
              <a:ahLst/>
              <a:cxnLst/>
              <a:rect l="l" t="t" r="r" b="b"/>
              <a:pathLst>
                <a:path w="2048" h="1934" extrusionOk="0">
                  <a:moveTo>
                    <a:pt x="1427" y="0"/>
                  </a:moveTo>
                  <a:cubicBezTo>
                    <a:pt x="1285" y="0"/>
                    <a:pt x="1143" y="53"/>
                    <a:pt x="1033" y="159"/>
                  </a:cubicBezTo>
                  <a:lnTo>
                    <a:pt x="233" y="962"/>
                  </a:lnTo>
                  <a:cubicBezTo>
                    <a:pt x="4" y="1179"/>
                    <a:pt x="1" y="1545"/>
                    <a:pt x="227" y="1768"/>
                  </a:cubicBezTo>
                  <a:cubicBezTo>
                    <a:pt x="338" y="1879"/>
                    <a:pt x="482" y="1934"/>
                    <a:pt x="627" y="1934"/>
                  </a:cubicBezTo>
                  <a:cubicBezTo>
                    <a:pt x="774" y="1934"/>
                    <a:pt x="922" y="1876"/>
                    <a:pt x="1033" y="1762"/>
                  </a:cubicBezTo>
                  <a:lnTo>
                    <a:pt x="1833" y="962"/>
                  </a:lnTo>
                  <a:cubicBezTo>
                    <a:pt x="2048" y="738"/>
                    <a:pt x="2045" y="385"/>
                    <a:pt x="1827" y="168"/>
                  </a:cubicBezTo>
                  <a:cubicBezTo>
                    <a:pt x="1717" y="56"/>
                    <a:pt x="1572" y="0"/>
                    <a:pt x="1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7" name="Google Shape;9067;p75"/>
            <p:cNvSpPr/>
            <p:nvPr/>
          </p:nvSpPr>
          <p:spPr>
            <a:xfrm>
              <a:off x="5480400" y="2191325"/>
              <a:ext cx="56650" cy="28325"/>
            </a:xfrm>
            <a:custGeom>
              <a:avLst/>
              <a:gdLst/>
              <a:ahLst/>
              <a:cxnLst/>
              <a:rect l="l" t="t" r="r" b="b"/>
              <a:pathLst>
                <a:path w="2266" h="1133" extrusionOk="0">
                  <a:moveTo>
                    <a:pt x="568" y="0"/>
                  </a:moveTo>
                  <a:cubicBezTo>
                    <a:pt x="254" y="0"/>
                    <a:pt x="1" y="254"/>
                    <a:pt x="1" y="568"/>
                  </a:cubicBezTo>
                  <a:cubicBezTo>
                    <a:pt x="1" y="879"/>
                    <a:pt x="254" y="1133"/>
                    <a:pt x="568" y="1133"/>
                  </a:cubicBezTo>
                  <a:lnTo>
                    <a:pt x="1701" y="1133"/>
                  </a:lnTo>
                  <a:cubicBezTo>
                    <a:pt x="2012" y="1133"/>
                    <a:pt x="2265" y="879"/>
                    <a:pt x="2265" y="568"/>
                  </a:cubicBezTo>
                  <a:cubicBezTo>
                    <a:pt x="2265" y="254"/>
                    <a:pt x="2012"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8" name="Google Shape;9068;p75"/>
            <p:cNvSpPr/>
            <p:nvPr/>
          </p:nvSpPr>
          <p:spPr>
            <a:xfrm>
              <a:off x="5479800" y="2096550"/>
              <a:ext cx="54300" cy="48225"/>
            </a:xfrm>
            <a:custGeom>
              <a:avLst/>
              <a:gdLst/>
              <a:ahLst/>
              <a:cxnLst/>
              <a:rect l="l" t="t" r="r" b="b"/>
              <a:pathLst>
                <a:path w="2172" h="1929" extrusionOk="0">
                  <a:moveTo>
                    <a:pt x="1550" y="0"/>
                  </a:moveTo>
                  <a:cubicBezTo>
                    <a:pt x="1409" y="0"/>
                    <a:pt x="1267" y="53"/>
                    <a:pt x="1157" y="159"/>
                  </a:cubicBezTo>
                  <a:lnTo>
                    <a:pt x="357" y="962"/>
                  </a:lnTo>
                  <a:cubicBezTo>
                    <a:pt x="1" y="1318"/>
                    <a:pt x="251" y="1928"/>
                    <a:pt x="756" y="1928"/>
                  </a:cubicBezTo>
                  <a:cubicBezTo>
                    <a:pt x="907" y="1928"/>
                    <a:pt x="1051" y="1868"/>
                    <a:pt x="1157" y="1762"/>
                  </a:cubicBezTo>
                  <a:lnTo>
                    <a:pt x="1957" y="959"/>
                  </a:lnTo>
                  <a:cubicBezTo>
                    <a:pt x="2172" y="739"/>
                    <a:pt x="2169" y="385"/>
                    <a:pt x="1951" y="168"/>
                  </a:cubicBezTo>
                  <a:cubicBezTo>
                    <a:pt x="1841" y="56"/>
                    <a:pt x="1696" y="0"/>
                    <a:pt x="15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69" name="Google Shape;9069;p75"/>
            <p:cNvSpPr/>
            <p:nvPr/>
          </p:nvSpPr>
          <p:spPr>
            <a:xfrm>
              <a:off x="5483350" y="2266400"/>
              <a:ext cx="54300" cy="48225"/>
            </a:xfrm>
            <a:custGeom>
              <a:avLst/>
              <a:gdLst/>
              <a:ahLst/>
              <a:cxnLst/>
              <a:rect l="l" t="t" r="r" b="b"/>
              <a:pathLst>
                <a:path w="2172" h="1929" extrusionOk="0">
                  <a:moveTo>
                    <a:pt x="622" y="0"/>
                  </a:moveTo>
                  <a:cubicBezTo>
                    <a:pt x="476" y="0"/>
                    <a:pt x="331" y="56"/>
                    <a:pt x="221" y="168"/>
                  </a:cubicBezTo>
                  <a:cubicBezTo>
                    <a:pt x="4" y="385"/>
                    <a:pt x="1" y="738"/>
                    <a:pt x="215" y="962"/>
                  </a:cubicBezTo>
                  <a:lnTo>
                    <a:pt x="1015" y="1762"/>
                  </a:lnTo>
                  <a:cubicBezTo>
                    <a:pt x="1121" y="1868"/>
                    <a:pt x="1266" y="1928"/>
                    <a:pt x="1417" y="1928"/>
                  </a:cubicBezTo>
                  <a:cubicBezTo>
                    <a:pt x="1921" y="1928"/>
                    <a:pt x="2172" y="1318"/>
                    <a:pt x="1815" y="962"/>
                  </a:cubicBezTo>
                  <a:lnTo>
                    <a:pt x="1015" y="159"/>
                  </a:lnTo>
                  <a:cubicBezTo>
                    <a:pt x="905" y="53"/>
                    <a:pt x="763" y="0"/>
                    <a:pt x="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70" name="Google Shape;9070;p75"/>
          <p:cNvSpPr/>
          <p:nvPr/>
        </p:nvSpPr>
        <p:spPr>
          <a:xfrm>
            <a:off x="4249525" y="3544640"/>
            <a:ext cx="220489" cy="339992"/>
          </a:xfrm>
          <a:custGeom>
            <a:avLst/>
            <a:gdLst/>
            <a:ahLst/>
            <a:cxnLst/>
            <a:rect l="l" t="t" r="r" b="b"/>
            <a:pathLst>
              <a:path w="12526" h="19315" extrusionOk="0">
                <a:moveTo>
                  <a:pt x="9690" y="1133"/>
                </a:moveTo>
                <a:cubicBezTo>
                  <a:pt x="9980" y="1139"/>
                  <a:pt x="10213" y="1377"/>
                  <a:pt x="10213" y="1670"/>
                </a:cubicBezTo>
                <a:cubicBezTo>
                  <a:pt x="10213" y="1960"/>
                  <a:pt x="9980" y="2199"/>
                  <a:pt x="9690" y="2208"/>
                </a:cubicBezTo>
                <a:lnTo>
                  <a:pt x="2836" y="2208"/>
                </a:lnTo>
                <a:cubicBezTo>
                  <a:pt x="2540" y="2208"/>
                  <a:pt x="2302" y="1966"/>
                  <a:pt x="2302" y="1670"/>
                </a:cubicBezTo>
                <a:cubicBezTo>
                  <a:pt x="2302" y="1371"/>
                  <a:pt x="2540" y="1133"/>
                  <a:pt x="2839" y="1133"/>
                </a:cubicBezTo>
                <a:close/>
                <a:moveTo>
                  <a:pt x="8564" y="3340"/>
                </a:moveTo>
                <a:lnTo>
                  <a:pt x="8564" y="9554"/>
                </a:lnTo>
                <a:cubicBezTo>
                  <a:pt x="8543" y="9781"/>
                  <a:pt x="8658" y="10001"/>
                  <a:pt x="8860" y="10110"/>
                </a:cubicBezTo>
                <a:cubicBezTo>
                  <a:pt x="9805" y="10620"/>
                  <a:pt x="10581" y="11396"/>
                  <a:pt x="11088" y="12341"/>
                </a:cubicBezTo>
                <a:lnTo>
                  <a:pt x="1435" y="12341"/>
                </a:lnTo>
                <a:cubicBezTo>
                  <a:pt x="1946" y="11396"/>
                  <a:pt x="2718" y="10620"/>
                  <a:pt x="3667" y="10110"/>
                </a:cubicBezTo>
                <a:cubicBezTo>
                  <a:pt x="3869" y="10001"/>
                  <a:pt x="3984" y="9784"/>
                  <a:pt x="3959" y="9554"/>
                </a:cubicBezTo>
                <a:lnTo>
                  <a:pt x="3959" y="3340"/>
                </a:lnTo>
                <a:close/>
                <a:moveTo>
                  <a:pt x="6731" y="13476"/>
                </a:moveTo>
                <a:lnTo>
                  <a:pt x="6731" y="16263"/>
                </a:lnTo>
                <a:cubicBezTo>
                  <a:pt x="6734" y="16879"/>
                  <a:pt x="6571" y="17486"/>
                  <a:pt x="6263" y="18024"/>
                </a:cubicBezTo>
                <a:cubicBezTo>
                  <a:pt x="5955" y="17486"/>
                  <a:pt x="5792" y="16879"/>
                  <a:pt x="5795" y="16263"/>
                </a:cubicBezTo>
                <a:lnTo>
                  <a:pt x="5795" y="13476"/>
                </a:lnTo>
                <a:close/>
                <a:moveTo>
                  <a:pt x="2831" y="1"/>
                </a:moveTo>
                <a:cubicBezTo>
                  <a:pt x="1912" y="1"/>
                  <a:pt x="1166" y="745"/>
                  <a:pt x="1163" y="1664"/>
                </a:cubicBezTo>
                <a:cubicBezTo>
                  <a:pt x="1160" y="2585"/>
                  <a:pt x="1906" y="3337"/>
                  <a:pt x="2827" y="3340"/>
                </a:cubicBezTo>
                <a:lnTo>
                  <a:pt x="2827" y="9285"/>
                </a:lnTo>
                <a:cubicBezTo>
                  <a:pt x="1529" y="10077"/>
                  <a:pt x="544" y="11287"/>
                  <a:pt x="34" y="12719"/>
                </a:cubicBezTo>
                <a:lnTo>
                  <a:pt x="31" y="12728"/>
                </a:lnTo>
                <a:cubicBezTo>
                  <a:pt x="28" y="12740"/>
                  <a:pt x="25" y="12749"/>
                  <a:pt x="22" y="12761"/>
                </a:cubicBezTo>
                <a:cubicBezTo>
                  <a:pt x="19" y="12773"/>
                  <a:pt x="19" y="12776"/>
                  <a:pt x="16" y="12785"/>
                </a:cubicBezTo>
                <a:cubicBezTo>
                  <a:pt x="13" y="12791"/>
                  <a:pt x="13" y="12803"/>
                  <a:pt x="10" y="12812"/>
                </a:cubicBezTo>
                <a:cubicBezTo>
                  <a:pt x="10" y="12821"/>
                  <a:pt x="7" y="12833"/>
                  <a:pt x="7" y="12842"/>
                </a:cubicBezTo>
                <a:lnTo>
                  <a:pt x="4" y="12866"/>
                </a:lnTo>
                <a:lnTo>
                  <a:pt x="4" y="12900"/>
                </a:lnTo>
                <a:cubicBezTo>
                  <a:pt x="4" y="12903"/>
                  <a:pt x="4" y="12906"/>
                  <a:pt x="4" y="12909"/>
                </a:cubicBezTo>
                <a:cubicBezTo>
                  <a:pt x="1" y="12912"/>
                  <a:pt x="1" y="12918"/>
                  <a:pt x="1" y="12921"/>
                </a:cubicBezTo>
                <a:cubicBezTo>
                  <a:pt x="1" y="12933"/>
                  <a:pt x="1" y="12945"/>
                  <a:pt x="4" y="12957"/>
                </a:cubicBezTo>
                <a:lnTo>
                  <a:pt x="7" y="12978"/>
                </a:lnTo>
                <a:cubicBezTo>
                  <a:pt x="7" y="12990"/>
                  <a:pt x="10" y="12999"/>
                  <a:pt x="10" y="13008"/>
                </a:cubicBezTo>
                <a:cubicBezTo>
                  <a:pt x="13" y="13020"/>
                  <a:pt x="13" y="13030"/>
                  <a:pt x="16" y="13039"/>
                </a:cubicBezTo>
                <a:cubicBezTo>
                  <a:pt x="19" y="13048"/>
                  <a:pt x="19" y="13054"/>
                  <a:pt x="22" y="13063"/>
                </a:cubicBezTo>
                <a:cubicBezTo>
                  <a:pt x="25" y="13069"/>
                  <a:pt x="28" y="13081"/>
                  <a:pt x="31" y="13093"/>
                </a:cubicBezTo>
                <a:cubicBezTo>
                  <a:pt x="34" y="13102"/>
                  <a:pt x="37" y="13105"/>
                  <a:pt x="40" y="13111"/>
                </a:cubicBezTo>
                <a:cubicBezTo>
                  <a:pt x="43" y="13120"/>
                  <a:pt x="46" y="13132"/>
                  <a:pt x="52" y="13144"/>
                </a:cubicBezTo>
                <a:lnTo>
                  <a:pt x="61" y="13162"/>
                </a:lnTo>
                <a:cubicBezTo>
                  <a:pt x="67" y="13171"/>
                  <a:pt x="70" y="13181"/>
                  <a:pt x="76" y="13190"/>
                </a:cubicBezTo>
                <a:cubicBezTo>
                  <a:pt x="83" y="13199"/>
                  <a:pt x="86" y="13205"/>
                  <a:pt x="89" y="13211"/>
                </a:cubicBezTo>
                <a:cubicBezTo>
                  <a:pt x="92" y="13217"/>
                  <a:pt x="98" y="13229"/>
                  <a:pt x="104" y="13235"/>
                </a:cubicBezTo>
                <a:lnTo>
                  <a:pt x="122" y="13256"/>
                </a:lnTo>
                <a:lnTo>
                  <a:pt x="137" y="13277"/>
                </a:lnTo>
                <a:cubicBezTo>
                  <a:pt x="143" y="13286"/>
                  <a:pt x="152" y="13292"/>
                  <a:pt x="158" y="13298"/>
                </a:cubicBezTo>
                <a:cubicBezTo>
                  <a:pt x="164" y="13307"/>
                  <a:pt x="167" y="13310"/>
                  <a:pt x="173" y="13316"/>
                </a:cubicBezTo>
                <a:cubicBezTo>
                  <a:pt x="179" y="13322"/>
                  <a:pt x="188" y="13331"/>
                  <a:pt x="197" y="13338"/>
                </a:cubicBezTo>
                <a:lnTo>
                  <a:pt x="215" y="13353"/>
                </a:lnTo>
                <a:lnTo>
                  <a:pt x="240" y="13371"/>
                </a:lnTo>
                <a:lnTo>
                  <a:pt x="264" y="13386"/>
                </a:lnTo>
                <a:lnTo>
                  <a:pt x="285" y="13398"/>
                </a:lnTo>
                <a:cubicBezTo>
                  <a:pt x="294" y="13404"/>
                  <a:pt x="303" y="13410"/>
                  <a:pt x="312" y="13413"/>
                </a:cubicBezTo>
                <a:lnTo>
                  <a:pt x="333" y="13422"/>
                </a:lnTo>
                <a:lnTo>
                  <a:pt x="366" y="13437"/>
                </a:lnTo>
                <a:lnTo>
                  <a:pt x="378" y="13443"/>
                </a:lnTo>
                <a:lnTo>
                  <a:pt x="384" y="13446"/>
                </a:lnTo>
                <a:lnTo>
                  <a:pt x="415" y="13452"/>
                </a:lnTo>
                <a:cubicBezTo>
                  <a:pt x="421" y="13455"/>
                  <a:pt x="430" y="13458"/>
                  <a:pt x="439" y="13458"/>
                </a:cubicBezTo>
                <a:lnTo>
                  <a:pt x="463" y="13464"/>
                </a:lnTo>
                <a:cubicBezTo>
                  <a:pt x="475" y="13467"/>
                  <a:pt x="484" y="13467"/>
                  <a:pt x="496" y="13470"/>
                </a:cubicBezTo>
                <a:lnTo>
                  <a:pt x="514" y="13470"/>
                </a:lnTo>
                <a:cubicBezTo>
                  <a:pt x="532" y="13473"/>
                  <a:pt x="548" y="13473"/>
                  <a:pt x="566" y="13473"/>
                </a:cubicBezTo>
                <a:lnTo>
                  <a:pt x="4663" y="13473"/>
                </a:lnTo>
                <a:lnTo>
                  <a:pt x="4663" y="16263"/>
                </a:lnTo>
                <a:cubicBezTo>
                  <a:pt x="4660" y="17205"/>
                  <a:pt x="4947" y="18126"/>
                  <a:pt x="5481" y="18902"/>
                </a:cubicBezTo>
                <a:cubicBezTo>
                  <a:pt x="5670" y="19177"/>
                  <a:pt x="5967" y="19315"/>
                  <a:pt x="6263" y="19315"/>
                </a:cubicBezTo>
                <a:cubicBezTo>
                  <a:pt x="6560" y="19315"/>
                  <a:pt x="6857" y="19177"/>
                  <a:pt x="7045" y="18902"/>
                </a:cubicBezTo>
                <a:cubicBezTo>
                  <a:pt x="7580" y="18126"/>
                  <a:pt x="7867" y="17205"/>
                  <a:pt x="7864" y="16263"/>
                </a:cubicBezTo>
                <a:lnTo>
                  <a:pt x="7864" y="13476"/>
                </a:lnTo>
                <a:lnTo>
                  <a:pt x="11961" y="13476"/>
                </a:lnTo>
                <a:cubicBezTo>
                  <a:pt x="11979" y="13473"/>
                  <a:pt x="11997" y="13473"/>
                  <a:pt x="12015" y="13473"/>
                </a:cubicBezTo>
                <a:lnTo>
                  <a:pt x="12024" y="13473"/>
                </a:lnTo>
                <a:cubicBezTo>
                  <a:pt x="12040" y="13473"/>
                  <a:pt x="12052" y="13467"/>
                  <a:pt x="12067" y="13464"/>
                </a:cubicBezTo>
                <a:lnTo>
                  <a:pt x="12085" y="13461"/>
                </a:lnTo>
                <a:lnTo>
                  <a:pt x="12115" y="13455"/>
                </a:lnTo>
                <a:lnTo>
                  <a:pt x="12139" y="13446"/>
                </a:lnTo>
                <a:cubicBezTo>
                  <a:pt x="12142" y="13446"/>
                  <a:pt x="12145" y="13443"/>
                  <a:pt x="12148" y="13443"/>
                </a:cubicBezTo>
                <a:lnTo>
                  <a:pt x="12163" y="13437"/>
                </a:lnTo>
                <a:cubicBezTo>
                  <a:pt x="12172" y="13434"/>
                  <a:pt x="12181" y="13431"/>
                  <a:pt x="12194" y="13425"/>
                </a:cubicBezTo>
                <a:lnTo>
                  <a:pt x="12218" y="13413"/>
                </a:lnTo>
                <a:cubicBezTo>
                  <a:pt x="12224" y="13410"/>
                  <a:pt x="12233" y="13404"/>
                  <a:pt x="12242" y="13401"/>
                </a:cubicBezTo>
                <a:cubicBezTo>
                  <a:pt x="12248" y="13395"/>
                  <a:pt x="12257" y="13392"/>
                  <a:pt x="12266" y="13386"/>
                </a:cubicBezTo>
                <a:lnTo>
                  <a:pt x="12284" y="13374"/>
                </a:lnTo>
                <a:cubicBezTo>
                  <a:pt x="12296" y="13365"/>
                  <a:pt x="12305" y="13359"/>
                  <a:pt x="12311" y="13353"/>
                </a:cubicBezTo>
                <a:lnTo>
                  <a:pt x="12329" y="13341"/>
                </a:lnTo>
                <a:cubicBezTo>
                  <a:pt x="12335" y="13331"/>
                  <a:pt x="12344" y="13325"/>
                  <a:pt x="12354" y="13316"/>
                </a:cubicBezTo>
                <a:cubicBezTo>
                  <a:pt x="12363" y="13307"/>
                  <a:pt x="12363" y="13307"/>
                  <a:pt x="12369" y="13301"/>
                </a:cubicBezTo>
                <a:cubicBezTo>
                  <a:pt x="12372" y="13295"/>
                  <a:pt x="12384" y="13286"/>
                  <a:pt x="12390" y="13277"/>
                </a:cubicBezTo>
                <a:cubicBezTo>
                  <a:pt x="12399" y="13268"/>
                  <a:pt x="12399" y="13265"/>
                  <a:pt x="12405" y="13259"/>
                </a:cubicBezTo>
                <a:lnTo>
                  <a:pt x="12423" y="13235"/>
                </a:lnTo>
                <a:cubicBezTo>
                  <a:pt x="12429" y="13229"/>
                  <a:pt x="12432" y="13220"/>
                  <a:pt x="12438" y="13214"/>
                </a:cubicBezTo>
                <a:cubicBezTo>
                  <a:pt x="12441" y="13205"/>
                  <a:pt x="12447" y="13199"/>
                  <a:pt x="12450" y="13190"/>
                </a:cubicBezTo>
                <a:cubicBezTo>
                  <a:pt x="12456" y="13184"/>
                  <a:pt x="12459" y="13174"/>
                  <a:pt x="12465" y="13165"/>
                </a:cubicBezTo>
                <a:cubicBezTo>
                  <a:pt x="12468" y="13156"/>
                  <a:pt x="12471" y="13150"/>
                  <a:pt x="12474" y="13144"/>
                </a:cubicBezTo>
                <a:cubicBezTo>
                  <a:pt x="12477" y="13135"/>
                  <a:pt x="12483" y="13123"/>
                  <a:pt x="12486" y="13114"/>
                </a:cubicBezTo>
                <a:cubicBezTo>
                  <a:pt x="12492" y="13105"/>
                  <a:pt x="12492" y="13099"/>
                  <a:pt x="12495" y="13093"/>
                </a:cubicBezTo>
                <a:cubicBezTo>
                  <a:pt x="12498" y="13084"/>
                  <a:pt x="12501" y="13072"/>
                  <a:pt x="12505" y="13063"/>
                </a:cubicBezTo>
                <a:cubicBezTo>
                  <a:pt x="12508" y="13054"/>
                  <a:pt x="12511" y="13045"/>
                  <a:pt x="12511" y="13039"/>
                </a:cubicBezTo>
                <a:cubicBezTo>
                  <a:pt x="12514" y="13030"/>
                  <a:pt x="12514" y="13020"/>
                  <a:pt x="12517" y="13011"/>
                </a:cubicBezTo>
                <a:cubicBezTo>
                  <a:pt x="12517" y="13002"/>
                  <a:pt x="12520" y="12990"/>
                  <a:pt x="12523" y="12981"/>
                </a:cubicBezTo>
                <a:cubicBezTo>
                  <a:pt x="12523" y="12969"/>
                  <a:pt x="12523" y="12966"/>
                  <a:pt x="12523" y="12957"/>
                </a:cubicBezTo>
                <a:cubicBezTo>
                  <a:pt x="12523" y="12948"/>
                  <a:pt x="12523" y="12933"/>
                  <a:pt x="12526" y="12921"/>
                </a:cubicBezTo>
                <a:lnTo>
                  <a:pt x="12526" y="12909"/>
                </a:lnTo>
                <a:cubicBezTo>
                  <a:pt x="12526" y="12906"/>
                  <a:pt x="12526" y="12903"/>
                  <a:pt x="12526" y="12900"/>
                </a:cubicBezTo>
                <a:lnTo>
                  <a:pt x="12526" y="12866"/>
                </a:lnTo>
                <a:cubicBezTo>
                  <a:pt x="12526" y="12854"/>
                  <a:pt x="12526" y="12851"/>
                  <a:pt x="12523" y="12842"/>
                </a:cubicBezTo>
                <a:cubicBezTo>
                  <a:pt x="12520" y="12833"/>
                  <a:pt x="12520" y="12824"/>
                  <a:pt x="12520" y="12815"/>
                </a:cubicBezTo>
                <a:cubicBezTo>
                  <a:pt x="12517" y="12803"/>
                  <a:pt x="12517" y="12794"/>
                  <a:pt x="12514" y="12785"/>
                </a:cubicBezTo>
                <a:cubicBezTo>
                  <a:pt x="12511" y="12773"/>
                  <a:pt x="12511" y="12770"/>
                  <a:pt x="12508" y="12764"/>
                </a:cubicBezTo>
                <a:cubicBezTo>
                  <a:pt x="12505" y="12755"/>
                  <a:pt x="12501" y="12740"/>
                  <a:pt x="12498" y="12728"/>
                </a:cubicBezTo>
                <a:lnTo>
                  <a:pt x="12495" y="12719"/>
                </a:lnTo>
                <a:cubicBezTo>
                  <a:pt x="11985" y="11290"/>
                  <a:pt x="11001" y="10077"/>
                  <a:pt x="9702" y="9288"/>
                </a:cubicBezTo>
                <a:lnTo>
                  <a:pt x="9702" y="3340"/>
                </a:lnTo>
                <a:cubicBezTo>
                  <a:pt x="10623" y="3337"/>
                  <a:pt x="11369" y="2585"/>
                  <a:pt x="11366" y="1664"/>
                </a:cubicBezTo>
                <a:cubicBezTo>
                  <a:pt x="11363" y="745"/>
                  <a:pt x="10617" y="1"/>
                  <a:pt x="9699" y="1"/>
                </a:cubicBezTo>
                <a:cubicBezTo>
                  <a:pt x="9697" y="1"/>
                  <a:pt x="9695" y="1"/>
                  <a:pt x="9693" y="1"/>
                </a:cubicBezTo>
                <a:lnTo>
                  <a:pt x="2836" y="1"/>
                </a:lnTo>
                <a:cubicBezTo>
                  <a:pt x="2834" y="1"/>
                  <a:pt x="2833" y="1"/>
                  <a:pt x="28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71" name="Google Shape;9071;p75"/>
          <p:cNvGrpSpPr/>
          <p:nvPr/>
        </p:nvGrpSpPr>
        <p:grpSpPr>
          <a:xfrm>
            <a:off x="4601286" y="3547971"/>
            <a:ext cx="351663" cy="333831"/>
            <a:chOff x="6222125" y="2025975"/>
            <a:chExt cx="499450" cy="474125"/>
          </a:xfrm>
        </p:grpSpPr>
        <p:sp>
          <p:nvSpPr>
            <p:cNvPr id="9072" name="Google Shape;9072;p75"/>
            <p:cNvSpPr/>
            <p:nvPr/>
          </p:nvSpPr>
          <p:spPr>
            <a:xfrm>
              <a:off x="6222125" y="2025975"/>
              <a:ext cx="499450" cy="474125"/>
            </a:xfrm>
            <a:custGeom>
              <a:avLst/>
              <a:gdLst/>
              <a:ahLst/>
              <a:cxnLst/>
              <a:rect l="l" t="t" r="r" b="b"/>
              <a:pathLst>
                <a:path w="19978" h="18965" extrusionOk="0">
                  <a:moveTo>
                    <a:pt x="10490" y="1134"/>
                  </a:moveTo>
                  <a:cubicBezTo>
                    <a:pt x="15095" y="1134"/>
                    <a:pt x="18839" y="4878"/>
                    <a:pt x="18839" y="9483"/>
                  </a:cubicBezTo>
                  <a:cubicBezTo>
                    <a:pt x="18839" y="14087"/>
                    <a:pt x="15095" y="17832"/>
                    <a:pt x="10490" y="17832"/>
                  </a:cubicBezTo>
                  <a:cubicBezTo>
                    <a:pt x="5886" y="17832"/>
                    <a:pt x="2142" y="14087"/>
                    <a:pt x="2142" y="9483"/>
                  </a:cubicBezTo>
                  <a:cubicBezTo>
                    <a:pt x="2142" y="4878"/>
                    <a:pt x="5886" y="1134"/>
                    <a:pt x="10490" y="1134"/>
                  </a:cubicBezTo>
                  <a:close/>
                  <a:moveTo>
                    <a:pt x="10488" y="0"/>
                  </a:moveTo>
                  <a:cubicBezTo>
                    <a:pt x="6717" y="0"/>
                    <a:pt x="3222" y="2259"/>
                    <a:pt x="1731" y="5853"/>
                  </a:cubicBezTo>
                  <a:cubicBezTo>
                    <a:pt x="1" y="10032"/>
                    <a:pt x="1462" y="14854"/>
                    <a:pt x="5222" y="17367"/>
                  </a:cubicBezTo>
                  <a:cubicBezTo>
                    <a:pt x="6828" y="18439"/>
                    <a:pt x="8663" y="18964"/>
                    <a:pt x="10487" y="18964"/>
                  </a:cubicBezTo>
                  <a:cubicBezTo>
                    <a:pt x="12934" y="18964"/>
                    <a:pt x="15362" y="18020"/>
                    <a:pt x="17194" y="16186"/>
                  </a:cubicBezTo>
                  <a:cubicBezTo>
                    <a:pt x="18978" y="14414"/>
                    <a:pt x="19978" y="11998"/>
                    <a:pt x="19972" y="9483"/>
                  </a:cubicBezTo>
                  <a:cubicBezTo>
                    <a:pt x="19972" y="4960"/>
                    <a:pt x="16777" y="1065"/>
                    <a:pt x="12341" y="183"/>
                  </a:cubicBezTo>
                  <a:cubicBezTo>
                    <a:pt x="11721" y="60"/>
                    <a:pt x="11101" y="0"/>
                    <a:pt x="104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73" name="Google Shape;9073;p75"/>
            <p:cNvSpPr/>
            <p:nvPr/>
          </p:nvSpPr>
          <p:spPr>
            <a:xfrm>
              <a:off x="6309175" y="2087825"/>
              <a:ext cx="350425" cy="350425"/>
            </a:xfrm>
            <a:custGeom>
              <a:avLst/>
              <a:gdLst/>
              <a:ahLst/>
              <a:cxnLst/>
              <a:rect l="l" t="t" r="r" b="b"/>
              <a:pathLst>
                <a:path w="14017" h="14017" extrusionOk="0">
                  <a:moveTo>
                    <a:pt x="7008" y="1133"/>
                  </a:moveTo>
                  <a:cubicBezTo>
                    <a:pt x="10248" y="1133"/>
                    <a:pt x="12884" y="3769"/>
                    <a:pt x="12884" y="7009"/>
                  </a:cubicBezTo>
                  <a:cubicBezTo>
                    <a:pt x="12884" y="10249"/>
                    <a:pt x="10248" y="12885"/>
                    <a:pt x="7008" y="12885"/>
                  </a:cubicBezTo>
                  <a:cubicBezTo>
                    <a:pt x="3769" y="12885"/>
                    <a:pt x="1133" y="10249"/>
                    <a:pt x="1133" y="7009"/>
                  </a:cubicBezTo>
                  <a:cubicBezTo>
                    <a:pt x="1133" y="3769"/>
                    <a:pt x="3769" y="1133"/>
                    <a:pt x="7008" y="1133"/>
                  </a:cubicBezTo>
                  <a:close/>
                  <a:moveTo>
                    <a:pt x="7008" y="1"/>
                  </a:moveTo>
                  <a:cubicBezTo>
                    <a:pt x="3144" y="1"/>
                    <a:pt x="0" y="3144"/>
                    <a:pt x="0" y="7009"/>
                  </a:cubicBezTo>
                  <a:cubicBezTo>
                    <a:pt x="0" y="10874"/>
                    <a:pt x="3144" y="14017"/>
                    <a:pt x="7008" y="14017"/>
                  </a:cubicBezTo>
                  <a:cubicBezTo>
                    <a:pt x="10873" y="14017"/>
                    <a:pt x="14017" y="10874"/>
                    <a:pt x="14017" y="7009"/>
                  </a:cubicBezTo>
                  <a:cubicBezTo>
                    <a:pt x="14017" y="3144"/>
                    <a:pt x="10873" y="1"/>
                    <a:pt x="7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74" name="Google Shape;9074;p75"/>
            <p:cNvSpPr/>
            <p:nvPr/>
          </p:nvSpPr>
          <p:spPr>
            <a:xfrm>
              <a:off x="6431600" y="2142250"/>
              <a:ext cx="105575" cy="241575"/>
            </a:xfrm>
            <a:custGeom>
              <a:avLst/>
              <a:gdLst/>
              <a:ahLst/>
              <a:cxnLst/>
              <a:rect l="l" t="t" r="r" b="b"/>
              <a:pathLst>
                <a:path w="4223" h="9663" extrusionOk="0">
                  <a:moveTo>
                    <a:pt x="2111" y="1"/>
                  </a:moveTo>
                  <a:cubicBezTo>
                    <a:pt x="1797" y="1"/>
                    <a:pt x="1547" y="254"/>
                    <a:pt x="1547" y="568"/>
                  </a:cubicBezTo>
                  <a:lnTo>
                    <a:pt x="1547" y="1504"/>
                  </a:lnTo>
                  <a:cubicBezTo>
                    <a:pt x="599" y="1785"/>
                    <a:pt x="1" y="2718"/>
                    <a:pt x="143" y="3697"/>
                  </a:cubicBezTo>
                  <a:cubicBezTo>
                    <a:pt x="285" y="4675"/>
                    <a:pt x="1124" y="5399"/>
                    <a:pt x="2111" y="5399"/>
                  </a:cubicBezTo>
                  <a:cubicBezTo>
                    <a:pt x="2872" y="5399"/>
                    <a:pt x="3256" y="6320"/>
                    <a:pt x="2715" y="6858"/>
                  </a:cubicBezTo>
                  <a:cubicBezTo>
                    <a:pt x="2542" y="7033"/>
                    <a:pt x="2328" y="7111"/>
                    <a:pt x="2118" y="7111"/>
                  </a:cubicBezTo>
                  <a:cubicBezTo>
                    <a:pt x="1679" y="7111"/>
                    <a:pt x="1257" y="6769"/>
                    <a:pt x="1257" y="6254"/>
                  </a:cubicBezTo>
                  <a:cubicBezTo>
                    <a:pt x="1257" y="5940"/>
                    <a:pt x="1003" y="5686"/>
                    <a:pt x="689" y="5686"/>
                  </a:cubicBezTo>
                  <a:cubicBezTo>
                    <a:pt x="378" y="5686"/>
                    <a:pt x="125" y="5940"/>
                    <a:pt x="125" y="6254"/>
                  </a:cubicBezTo>
                  <a:cubicBezTo>
                    <a:pt x="125" y="7133"/>
                    <a:pt x="701" y="7909"/>
                    <a:pt x="1547" y="8159"/>
                  </a:cubicBezTo>
                  <a:lnTo>
                    <a:pt x="1547" y="9098"/>
                  </a:lnTo>
                  <a:cubicBezTo>
                    <a:pt x="1547" y="9409"/>
                    <a:pt x="1797" y="9663"/>
                    <a:pt x="2111" y="9663"/>
                  </a:cubicBezTo>
                  <a:cubicBezTo>
                    <a:pt x="2425" y="9663"/>
                    <a:pt x="2679" y="9409"/>
                    <a:pt x="2679" y="9098"/>
                  </a:cubicBezTo>
                  <a:lnTo>
                    <a:pt x="2679" y="8159"/>
                  </a:lnTo>
                  <a:cubicBezTo>
                    <a:pt x="3624" y="7878"/>
                    <a:pt x="4222" y="6945"/>
                    <a:pt x="4080" y="5967"/>
                  </a:cubicBezTo>
                  <a:cubicBezTo>
                    <a:pt x="3939" y="4991"/>
                    <a:pt x="3102" y="4267"/>
                    <a:pt x="2118" y="4267"/>
                  </a:cubicBezTo>
                  <a:cubicBezTo>
                    <a:pt x="2116" y="4267"/>
                    <a:pt x="2114" y="4267"/>
                    <a:pt x="2111" y="4267"/>
                  </a:cubicBezTo>
                  <a:cubicBezTo>
                    <a:pt x="2106" y="4267"/>
                    <a:pt x="2100" y="4267"/>
                    <a:pt x="2095" y="4267"/>
                  </a:cubicBezTo>
                  <a:cubicBezTo>
                    <a:pt x="1622" y="4267"/>
                    <a:pt x="1239" y="3884"/>
                    <a:pt x="1239" y="3410"/>
                  </a:cubicBezTo>
                  <a:cubicBezTo>
                    <a:pt x="1239" y="2935"/>
                    <a:pt x="1622" y="2555"/>
                    <a:pt x="2095" y="2555"/>
                  </a:cubicBezTo>
                  <a:cubicBezTo>
                    <a:pt x="2100" y="2555"/>
                    <a:pt x="2106" y="2555"/>
                    <a:pt x="2111" y="2555"/>
                  </a:cubicBezTo>
                  <a:cubicBezTo>
                    <a:pt x="2582" y="2555"/>
                    <a:pt x="2966" y="2939"/>
                    <a:pt x="2966" y="3410"/>
                  </a:cubicBezTo>
                  <a:cubicBezTo>
                    <a:pt x="2966" y="3724"/>
                    <a:pt x="3220" y="3977"/>
                    <a:pt x="3534" y="3977"/>
                  </a:cubicBezTo>
                  <a:cubicBezTo>
                    <a:pt x="3845" y="3977"/>
                    <a:pt x="4098" y="3724"/>
                    <a:pt x="4098" y="3410"/>
                  </a:cubicBezTo>
                  <a:cubicBezTo>
                    <a:pt x="4098" y="2531"/>
                    <a:pt x="3522" y="1755"/>
                    <a:pt x="2679" y="1504"/>
                  </a:cubicBezTo>
                  <a:lnTo>
                    <a:pt x="2679" y="568"/>
                  </a:lnTo>
                  <a:cubicBezTo>
                    <a:pt x="2679" y="254"/>
                    <a:pt x="2425"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75" name="Google Shape;9075;p75"/>
          <p:cNvGrpSpPr/>
          <p:nvPr/>
        </p:nvGrpSpPr>
        <p:grpSpPr>
          <a:xfrm>
            <a:off x="5058848" y="2364541"/>
            <a:ext cx="335504" cy="185953"/>
            <a:chOff x="896050" y="2725450"/>
            <a:chExt cx="476500" cy="264100"/>
          </a:xfrm>
        </p:grpSpPr>
        <p:sp>
          <p:nvSpPr>
            <p:cNvPr id="9076" name="Google Shape;9076;p75"/>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77" name="Google Shape;9077;p75"/>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78" name="Google Shape;9078;p75"/>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79" name="Google Shape;9079;p75"/>
          <p:cNvGrpSpPr/>
          <p:nvPr/>
        </p:nvGrpSpPr>
        <p:grpSpPr>
          <a:xfrm>
            <a:off x="5489588" y="2287425"/>
            <a:ext cx="340168" cy="340186"/>
            <a:chOff x="1487200" y="2615925"/>
            <a:chExt cx="483125" cy="483150"/>
          </a:xfrm>
        </p:grpSpPr>
        <p:sp>
          <p:nvSpPr>
            <p:cNvPr id="9080" name="Google Shape;9080;p75"/>
            <p:cNvSpPr/>
            <p:nvPr/>
          </p:nvSpPr>
          <p:spPr>
            <a:xfrm>
              <a:off x="1601400" y="2844275"/>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81" name="Google Shape;9081;p75"/>
            <p:cNvSpPr/>
            <p:nvPr/>
          </p:nvSpPr>
          <p:spPr>
            <a:xfrm>
              <a:off x="1487200" y="2731050"/>
              <a:ext cx="483125" cy="368025"/>
            </a:xfrm>
            <a:custGeom>
              <a:avLst/>
              <a:gdLst/>
              <a:ahLst/>
              <a:cxnLst/>
              <a:rect l="l" t="t" r="r" b="b"/>
              <a:pathLst>
                <a:path w="19325" h="14721" extrusionOk="0">
                  <a:moveTo>
                    <a:pt x="4566" y="1232"/>
                  </a:moveTo>
                  <a:cubicBezTo>
                    <a:pt x="4994" y="1386"/>
                    <a:pt x="5342" y="1703"/>
                    <a:pt x="5535" y="2117"/>
                  </a:cubicBezTo>
                  <a:cubicBezTo>
                    <a:pt x="5630" y="2320"/>
                    <a:pt x="5833" y="2444"/>
                    <a:pt x="6050" y="2444"/>
                  </a:cubicBezTo>
                  <a:cubicBezTo>
                    <a:pt x="6094" y="2444"/>
                    <a:pt x="6139" y="2439"/>
                    <a:pt x="6184" y="2428"/>
                  </a:cubicBezTo>
                  <a:cubicBezTo>
                    <a:pt x="6580" y="2322"/>
                    <a:pt x="6987" y="2268"/>
                    <a:pt x="7398" y="2265"/>
                  </a:cubicBezTo>
                  <a:lnTo>
                    <a:pt x="11927" y="2265"/>
                  </a:lnTo>
                  <a:cubicBezTo>
                    <a:pt x="14738" y="2265"/>
                    <a:pt x="17024" y="4551"/>
                    <a:pt x="17024" y="7362"/>
                  </a:cubicBezTo>
                  <a:cubicBezTo>
                    <a:pt x="17021" y="9385"/>
                    <a:pt x="15819" y="11215"/>
                    <a:pt x="13965" y="12024"/>
                  </a:cubicBezTo>
                  <a:cubicBezTo>
                    <a:pt x="13760" y="12114"/>
                    <a:pt x="13624" y="12320"/>
                    <a:pt x="13627" y="12543"/>
                  </a:cubicBezTo>
                  <a:lnTo>
                    <a:pt x="13627" y="13588"/>
                  </a:lnTo>
                  <a:lnTo>
                    <a:pt x="12495" y="13588"/>
                  </a:lnTo>
                  <a:lnTo>
                    <a:pt x="12495" y="13023"/>
                  </a:lnTo>
                  <a:cubicBezTo>
                    <a:pt x="12495" y="12709"/>
                    <a:pt x="12241" y="12456"/>
                    <a:pt x="11927" y="12456"/>
                  </a:cubicBezTo>
                  <a:lnTo>
                    <a:pt x="7398" y="12456"/>
                  </a:lnTo>
                  <a:cubicBezTo>
                    <a:pt x="7084" y="12456"/>
                    <a:pt x="6833" y="12709"/>
                    <a:pt x="6833" y="13023"/>
                  </a:cubicBezTo>
                  <a:lnTo>
                    <a:pt x="6833" y="13588"/>
                  </a:lnTo>
                  <a:lnTo>
                    <a:pt x="5701" y="13588"/>
                  </a:lnTo>
                  <a:lnTo>
                    <a:pt x="5701" y="12537"/>
                  </a:lnTo>
                  <a:cubicBezTo>
                    <a:pt x="5698" y="12314"/>
                    <a:pt x="5565" y="12108"/>
                    <a:pt x="5360" y="12021"/>
                  </a:cubicBezTo>
                  <a:cubicBezTo>
                    <a:pt x="4185" y="11508"/>
                    <a:pt x="3249" y="10572"/>
                    <a:pt x="2733" y="9400"/>
                  </a:cubicBezTo>
                  <a:cubicBezTo>
                    <a:pt x="2642" y="9192"/>
                    <a:pt x="2440" y="9059"/>
                    <a:pt x="2213" y="9059"/>
                  </a:cubicBezTo>
                  <a:lnTo>
                    <a:pt x="1132" y="9059"/>
                  </a:lnTo>
                  <a:lnTo>
                    <a:pt x="1132" y="6794"/>
                  </a:lnTo>
                  <a:lnTo>
                    <a:pt x="1851" y="6794"/>
                  </a:lnTo>
                  <a:cubicBezTo>
                    <a:pt x="2120" y="6794"/>
                    <a:pt x="2349" y="6604"/>
                    <a:pt x="2404" y="6341"/>
                  </a:cubicBezTo>
                  <a:cubicBezTo>
                    <a:pt x="2651" y="5130"/>
                    <a:pt x="3349" y="4046"/>
                    <a:pt x="4369" y="3286"/>
                  </a:cubicBezTo>
                  <a:cubicBezTo>
                    <a:pt x="4566" y="3138"/>
                    <a:pt x="4644" y="2884"/>
                    <a:pt x="4569" y="2652"/>
                  </a:cubicBezTo>
                  <a:lnTo>
                    <a:pt x="4566" y="2645"/>
                  </a:lnTo>
                  <a:lnTo>
                    <a:pt x="4566" y="1232"/>
                  </a:lnTo>
                  <a:close/>
                  <a:moveTo>
                    <a:pt x="4001" y="0"/>
                  </a:moveTo>
                  <a:cubicBezTo>
                    <a:pt x="3687" y="0"/>
                    <a:pt x="3436" y="254"/>
                    <a:pt x="3436" y="568"/>
                  </a:cubicBezTo>
                  <a:lnTo>
                    <a:pt x="3436" y="2582"/>
                  </a:lnTo>
                  <a:cubicBezTo>
                    <a:pt x="2461" y="3379"/>
                    <a:pt x="1754" y="4454"/>
                    <a:pt x="1407" y="5662"/>
                  </a:cubicBezTo>
                  <a:lnTo>
                    <a:pt x="568" y="5662"/>
                  </a:lnTo>
                  <a:cubicBezTo>
                    <a:pt x="254" y="5662"/>
                    <a:pt x="0" y="5916"/>
                    <a:pt x="0" y="6230"/>
                  </a:cubicBezTo>
                  <a:lnTo>
                    <a:pt x="0" y="9626"/>
                  </a:lnTo>
                  <a:cubicBezTo>
                    <a:pt x="0" y="9937"/>
                    <a:pt x="254" y="10191"/>
                    <a:pt x="568" y="10191"/>
                  </a:cubicBezTo>
                  <a:lnTo>
                    <a:pt x="1857" y="10191"/>
                  </a:lnTo>
                  <a:cubicBezTo>
                    <a:pt x="2452" y="11357"/>
                    <a:pt x="3400" y="12302"/>
                    <a:pt x="4569" y="12897"/>
                  </a:cubicBezTo>
                  <a:lnTo>
                    <a:pt x="4569" y="14156"/>
                  </a:lnTo>
                  <a:cubicBezTo>
                    <a:pt x="4569" y="14467"/>
                    <a:pt x="4819" y="14720"/>
                    <a:pt x="5133" y="14720"/>
                  </a:cubicBezTo>
                  <a:lnTo>
                    <a:pt x="7398" y="14720"/>
                  </a:lnTo>
                  <a:cubicBezTo>
                    <a:pt x="7712" y="14720"/>
                    <a:pt x="7965" y="14467"/>
                    <a:pt x="7965" y="14156"/>
                  </a:cubicBezTo>
                  <a:lnTo>
                    <a:pt x="7965" y="13588"/>
                  </a:lnTo>
                  <a:lnTo>
                    <a:pt x="11362" y="13588"/>
                  </a:lnTo>
                  <a:lnTo>
                    <a:pt x="11362" y="14156"/>
                  </a:lnTo>
                  <a:cubicBezTo>
                    <a:pt x="11362" y="14467"/>
                    <a:pt x="11613" y="14720"/>
                    <a:pt x="11927" y="14720"/>
                  </a:cubicBezTo>
                  <a:lnTo>
                    <a:pt x="14192" y="14720"/>
                  </a:lnTo>
                  <a:cubicBezTo>
                    <a:pt x="14506" y="14720"/>
                    <a:pt x="14759" y="14467"/>
                    <a:pt x="14759" y="14156"/>
                  </a:cubicBezTo>
                  <a:lnTo>
                    <a:pt x="14759" y="12903"/>
                  </a:lnTo>
                  <a:cubicBezTo>
                    <a:pt x="16689" y="11915"/>
                    <a:pt x="17969" y="9998"/>
                    <a:pt x="18135" y="7839"/>
                  </a:cubicBezTo>
                  <a:cubicBezTo>
                    <a:pt x="18383" y="7754"/>
                    <a:pt x="18612" y="7618"/>
                    <a:pt x="18799" y="7437"/>
                  </a:cubicBezTo>
                  <a:cubicBezTo>
                    <a:pt x="19134" y="7123"/>
                    <a:pt x="19325" y="6685"/>
                    <a:pt x="19325" y="6230"/>
                  </a:cubicBezTo>
                  <a:lnTo>
                    <a:pt x="19325" y="5097"/>
                  </a:lnTo>
                  <a:cubicBezTo>
                    <a:pt x="19325" y="4783"/>
                    <a:pt x="19071" y="4530"/>
                    <a:pt x="18760" y="4530"/>
                  </a:cubicBezTo>
                  <a:cubicBezTo>
                    <a:pt x="18446" y="4530"/>
                    <a:pt x="18192" y="4783"/>
                    <a:pt x="18192" y="5097"/>
                  </a:cubicBezTo>
                  <a:lnTo>
                    <a:pt x="18192" y="6230"/>
                  </a:lnTo>
                  <a:cubicBezTo>
                    <a:pt x="18192" y="6332"/>
                    <a:pt x="18159" y="6435"/>
                    <a:pt x="18099" y="6522"/>
                  </a:cubicBezTo>
                  <a:cubicBezTo>
                    <a:pt x="17688" y="3482"/>
                    <a:pt x="15079" y="1133"/>
                    <a:pt x="11927" y="1133"/>
                  </a:cubicBezTo>
                  <a:lnTo>
                    <a:pt x="7398" y="1133"/>
                  </a:lnTo>
                  <a:cubicBezTo>
                    <a:pt x="7041" y="1136"/>
                    <a:pt x="6685" y="1169"/>
                    <a:pt x="6332" y="1238"/>
                  </a:cubicBezTo>
                  <a:cubicBezTo>
                    <a:pt x="5807" y="465"/>
                    <a:pt x="4934" y="3"/>
                    <a:pt x="40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82" name="Google Shape;9082;p75"/>
            <p:cNvSpPr/>
            <p:nvPr/>
          </p:nvSpPr>
          <p:spPr>
            <a:xfrm>
              <a:off x="1658025" y="2615925"/>
              <a:ext cx="141550" cy="143450"/>
            </a:xfrm>
            <a:custGeom>
              <a:avLst/>
              <a:gdLst/>
              <a:ahLst/>
              <a:cxnLst/>
              <a:rect l="l" t="t" r="r" b="b"/>
              <a:pathLst>
                <a:path w="5662" h="5738" extrusionOk="0">
                  <a:moveTo>
                    <a:pt x="2829" y="1133"/>
                  </a:moveTo>
                  <a:cubicBezTo>
                    <a:pt x="3750" y="1133"/>
                    <a:pt x="4529" y="1945"/>
                    <a:pt x="4529" y="2908"/>
                  </a:cubicBezTo>
                  <a:cubicBezTo>
                    <a:pt x="4526" y="3845"/>
                    <a:pt x="3768" y="4605"/>
                    <a:pt x="2829" y="4605"/>
                  </a:cubicBezTo>
                  <a:cubicBezTo>
                    <a:pt x="1890" y="4605"/>
                    <a:pt x="1132" y="3845"/>
                    <a:pt x="1132" y="2908"/>
                  </a:cubicBezTo>
                  <a:cubicBezTo>
                    <a:pt x="1132" y="1945"/>
                    <a:pt x="1908" y="1133"/>
                    <a:pt x="2829" y="1133"/>
                  </a:cubicBezTo>
                  <a:close/>
                  <a:moveTo>
                    <a:pt x="2829" y="1"/>
                  </a:moveTo>
                  <a:cubicBezTo>
                    <a:pt x="2075" y="1"/>
                    <a:pt x="1359" y="312"/>
                    <a:pt x="818" y="876"/>
                  </a:cubicBezTo>
                  <a:cubicBezTo>
                    <a:pt x="293" y="1423"/>
                    <a:pt x="0" y="2151"/>
                    <a:pt x="0" y="2908"/>
                  </a:cubicBezTo>
                  <a:cubicBezTo>
                    <a:pt x="0" y="4470"/>
                    <a:pt x="1265" y="5738"/>
                    <a:pt x="2829" y="5738"/>
                  </a:cubicBezTo>
                  <a:cubicBezTo>
                    <a:pt x="4393" y="5738"/>
                    <a:pt x="5662" y="4470"/>
                    <a:pt x="5662" y="2908"/>
                  </a:cubicBezTo>
                  <a:cubicBezTo>
                    <a:pt x="5659" y="2151"/>
                    <a:pt x="5366" y="1423"/>
                    <a:pt x="4840" y="876"/>
                  </a:cubicBezTo>
                  <a:cubicBezTo>
                    <a:pt x="4303" y="312"/>
                    <a:pt x="3584" y="1"/>
                    <a:pt x="2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83" name="Google Shape;9083;p75"/>
          <p:cNvGrpSpPr/>
          <p:nvPr/>
        </p:nvGrpSpPr>
        <p:grpSpPr>
          <a:xfrm>
            <a:off x="5889537" y="2287425"/>
            <a:ext cx="353564" cy="340186"/>
            <a:chOff x="2077575" y="2615925"/>
            <a:chExt cx="502150" cy="483150"/>
          </a:xfrm>
        </p:grpSpPr>
        <p:sp>
          <p:nvSpPr>
            <p:cNvPr id="9084" name="Google Shape;9084;p75"/>
            <p:cNvSpPr/>
            <p:nvPr/>
          </p:nvSpPr>
          <p:spPr>
            <a:xfrm>
              <a:off x="2213375" y="2817500"/>
              <a:ext cx="151225" cy="148400"/>
            </a:xfrm>
            <a:custGeom>
              <a:avLst/>
              <a:gdLst/>
              <a:ahLst/>
              <a:cxnLst/>
              <a:rect l="l" t="t" r="r" b="b"/>
              <a:pathLst>
                <a:path w="6049" h="5936" extrusionOk="0">
                  <a:moveTo>
                    <a:pt x="5426" y="0"/>
                  </a:moveTo>
                  <a:cubicBezTo>
                    <a:pt x="5281" y="0"/>
                    <a:pt x="5136" y="56"/>
                    <a:pt x="5025" y="166"/>
                  </a:cubicBezTo>
                  <a:lnTo>
                    <a:pt x="4557" y="634"/>
                  </a:lnTo>
                  <a:cubicBezTo>
                    <a:pt x="4322" y="522"/>
                    <a:pt x="4072" y="468"/>
                    <a:pt x="3825" y="468"/>
                  </a:cubicBezTo>
                  <a:cubicBezTo>
                    <a:pt x="3288" y="468"/>
                    <a:pt x="2764" y="723"/>
                    <a:pt x="2437" y="1186"/>
                  </a:cubicBezTo>
                  <a:cubicBezTo>
                    <a:pt x="1957" y="1863"/>
                    <a:pt x="2038" y="2784"/>
                    <a:pt x="2624" y="3369"/>
                  </a:cubicBezTo>
                  <a:cubicBezTo>
                    <a:pt x="2980" y="3726"/>
                    <a:pt x="2727" y="4336"/>
                    <a:pt x="2223" y="4336"/>
                  </a:cubicBezTo>
                  <a:cubicBezTo>
                    <a:pt x="1718" y="4336"/>
                    <a:pt x="1468" y="3726"/>
                    <a:pt x="1824" y="3369"/>
                  </a:cubicBezTo>
                  <a:cubicBezTo>
                    <a:pt x="2044" y="3149"/>
                    <a:pt x="2044" y="2790"/>
                    <a:pt x="1824" y="2569"/>
                  </a:cubicBezTo>
                  <a:cubicBezTo>
                    <a:pt x="1714" y="2458"/>
                    <a:pt x="1569" y="2402"/>
                    <a:pt x="1424" y="2402"/>
                  </a:cubicBezTo>
                  <a:cubicBezTo>
                    <a:pt x="1279" y="2402"/>
                    <a:pt x="1134" y="2458"/>
                    <a:pt x="1024" y="2569"/>
                  </a:cubicBezTo>
                  <a:cubicBezTo>
                    <a:pt x="514" y="3077"/>
                    <a:pt x="381" y="3853"/>
                    <a:pt x="692" y="4502"/>
                  </a:cubicBezTo>
                  <a:lnTo>
                    <a:pt x="221" y="4970"/>
                  </a:lnTo>
                  <a:cubicBezTo>
                    <a:pt x="0" y="5190"/>
                    <a:pt x="0" y="5549"/>
                    <a:pt x="221" y="5770"/>
                  </a:cubicBezTo>
                  <a:cubicBezTo>
                    <a:pt x="332" y="5880"/>
                    <a:pt x="477" y="5935"/>
                    <a:pt x="622" y="5935"/>
                  </a:cubicBezTo>
                  <a:cubicBezTo>
                    <a:pt x="767" y="5935"/>
                    <a:pt x="912" y="5880"/>
                    <a:pt x="1024" y="5770"/>
                  </a:cubicBezTo>
                  <a:lnTo>
                    <a:pt x="1492" y="5302"/>
                  </a:lnTo>
                  <a:cubicBezTo>
                    <a:pt x="1726" y="5414"/>
                    <a:pt x="1975" y="5467"/>
                    <a:pt x="2220" y="5467"/>
                  </a:cubicBezTo>
                  <a:cubicBezTo>
                    <a:pt x="2758" y="5467"/>
                    <a:pt x="3281" y="5211"/>
                    <a:pt x="3608" y="4749"/>
                  </a:cubicBezTo>
                  <a:cubicBezTo>
                    <a:pt x="4089" y="4073"/>
                    <a:pt x="4010" y="3152"/>
                    <a:pt x="3424" y="2569"/>
                  </a:cubicBezTo>
                  <a:cubicBezTo>
                    <a:pt x="3068" y="2210"/>
                    <a:pt x="3322" y="1600"/>
                    <a:pt x="3826" y="1600"/>
                  </a:cubicBezTo>
                  <a:cubicBezTo>
                    <a:pt x="4330" y="1600"/>
                    <a:pt x="4581" y="2210"/>
                    <a:pt x="4224" y="2569"/>
                  </a:cubicBezTo>
                  <a:cubicBezTo>
                    <a:pt x="4004" y="2790"/>
                    <a:pt x="4004" y="3146"/>
                    <a:pt x="4224" y="3369"/>
                  </a:cubicBezTo>
                  <a:cubicBezTo>
                    <a:pt x="4335" y="3480"/>
                    <a:pt x="4480" y="3535"/>
                    <a:pt x="4624" y="3535"/>
                  </a:cubicBezTo>
                  <a:cubicBezTo>
                    <a:pt x="4769" y="3535"/>
                    <a:pt x="4914" y="3480"/>
                    <a:pt x="5025" y="3369"/>
                  </a:cubicBezTo>
                  <a:cubicBezTo>
                    <a:pt x="5535" y="2859"/>
                    <a:pt x="5668" y="2086"/>
                    <a:pt x="5360" y="1434"/>
                  </a:cubicBezTo>
                  <a:lnTo>
                    <a:pt x="5828" y="966"/>
                  </a:lnTo>
                  <a:cubicBezTo>
                    <a:pt x="6048" y="745"/>
                    <a:pt x="6048" y="386"/>
                    <a:pt x="5828" y="166"/>
                  </a:cubicBezTo>
                  <a:cubicBezTo>
                    <a:pt x="5716" y="56"/>
                    <a:pt x="5571" y="0"/>
                    <a:pt x="5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85" name="Google Shape;9085;p75"/>
            <p:cNvSpPr/>
            <p:nvPr/>
          </p:nvSpPr>
          <p:spPr>
            <a:xfrm>
              <a:off x="2333550" y="2737450"/>
              <a:ext cx="51050" cy="48325"/>
            </a:xfrm>
            <a:custGeom>
              <a:avLst/>
              <a:gdLst/>
              <a:ahLst/>
              <a:cxnLst/>
              <a:rect l="l" t="t" r="r" b="b"/>
              <a:pathLst>
                <a:path w="2042" h="1933" extrusionOk="0">
                  <a:moveTo>
                    <a:pt x="619" y="1"/>
                  </a:moveTo>
                  <a:cubicBezTo>
                    <a:pt x="475" y="1"/>
                    <a:pt x="330" y="56"/>
                    <a:pt x="221" y="167"/>
                  </a:cubicBezTo>
                  <a:cubicBezTo>
                    <a:pt x="0" y="388"/>
                    <a:pt x="0" y="747"/>
                    <a:pt x="221" y="967"/>
                  </a:cubicBezTo>
                  <a:lnTo>
                    <a:pt x="1021" y="1767"/>
                  </a:lnTo>
                  <a:cubicBezTo>
                    <a:pt x="1131" y="1878"/>
                    <a:pt x="1276" y="1933"/>
                    <a:pt x="1421" y="1933"/>
                  </a:cubicBezTo>
                  <a:cubicBezTo>
                    <a:pt x="1566" y="1933"/>
                    <a:pt x="1711" y="1878"/>
                    <a:pt x="1821" y="1767"/>
                  </a:cubicBezTo>
                  <a:cubicBezTo>
                    <a:pt x="2041" y="1547"/>
                    <a:pt x="2041" y="1188"/>
                    <a:pt x="1821" y="967"/>
                  </a:cubicBezTo>
                  <a:lnTo>
                    <a:pt x="1021" y="167"/>
                  </a:lnTo>
                  <a:cubicBezTo>
                    <a:pt x="910" y="57"/>
                    <a:pt x="765" y="1"/>
                    <a:pt x="6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86" name="Google Shape;9086;p75"/>
            <p:cNvSpPr/>
            <p:nvPr/>
          </p:nvSpPr>
          <p:spPr>
            <a:xfrm>
              <a:off x="2393550" y="2797500"/>
              <a:ext cx="51125" cy="48375"/>
            </a:xfrm>
            <a:custGeom>
              <a:avLst/>
              <a:gdLst/>
              <a:ahLst/>
              <a:cxnLst/>
              <a:rect l="l" t="t" r="r" b="b"/>
              <a:pathLst>
                <a:path w="2045" h="1935" extrusionOk="0">
                  <a:moveTo>
                    <a:pt x="621" y="0"/>
                  </a:moveTo>
                  <a:cubicBezTo>
                    <a:pt x="476" y="0"/>
                    <a:pt x="331" y="55"/>
                    <a:pt x="221" y="166"/>
                  </a:cubicBezTo>
                  <a:cubicBezTo>
                    <a:pt x="1" y="386"/>
                    <a:pt x="1" y="745"/>
                    <a:pt x="221" y="966"/>
                  </a:cubicBezTo>
                  <a:lnTo>
                    <a:pt x="1021" y="1769"/>
                  </a:lnTo>
                  <a:cubicBezTo>
                    <a:pt x="1131" y="1879"/>
                    <a:pt x="1276" y="1934"/>
                    <a:pt x="1421" y="1934"/>
                  </a:cubicBezTo>
                  <a:cubicBezTo>
                    <a:pt x="1566" y="1934"/>
                    <a:pt x="1711" y="1879"/>
                    <a:pt x="1821" y="1769"/>
                  </a:cubicBezTo>
                  <a:cubicBezTo>
                    <a:pt x="2045" y="1545"/>
                    <a:pt x="2042" y="1189"/>
                    <a:pt x="1821" y="966"/>
                  </a:cubicBezTo>
                  <a:lnTo>
                    <a:pt x="1021" y="166"/>
                  </a:lnTo>
                  <a:cubicBezTo>
                    <a:pt x="911" y="55"/>
                    <a:pt x="766"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87" name="Google Shape;9087;p75"/>
            <p:cNvSpPr/>
            <p:nvPr/>
          </p:nvSpPr>
          <p:spPr>
            <a:xfrm>
              <a:off x="2077575" y="2615925"/>
              <a:ext cx="502150" cy="483150"/>
            </a:xfrm>
            <a:custGeom>
              <a:avLst/>
              <a:gdLst/>
              <a:ahLst/>
              <a:cxnLst/>
              <a:rect l="l" t="t" r="r" b="b"/>
              <a:pathLst>
                <a:path w="20086" h="19326" extrusionOk="0">
                  <a:moveTo>
                    <a:pt x="14865" y="4061"/>
                  </a:moveTo>
                  <a:cubicBezTo>
                    <a:pt x="14901" y="4061"/>
                    <a:pt x="14937" y="4064"/>
                    <a:pt x="14974" y="4071"/>
                  </a:cubicBezTo>
                  <a:cubicBezTo>
                    <a:pt x="15239" y="4125"/>
                    <a:pt x="15430" y="4358"/>
                    <a:pt x="15430" y="4627"/>
                  </a:cubicBezTo>
                  <a:cubicBezTo>
                    <a:pt x="15430" y="4778"/>
                    <a:pt x="15369" y="4922"/>
                    <a:pt x="15264" y="5028"/>
                  </a:cubicBezTo>
                  <a:cubicBezTo>
                    <a:pt x="15153" y="5137"/>
                    <a:pt x="15008" y="5194"/>
                    <a:pt x="14862" y="5194"/>
                  </a:cubicBezTo>
                  <a:cubicBezTo>
                    <a:pt x="14753" y="5194"/>
                    <a:pt x="14643" y="5162"/>
                    <a:pt x="14548" y="5098"/>
                  </a:cubicBezTo>
                  <a:cubicBezTo>
                    <a:pt x="14324" y="4947"/>
                    <a:pt x="14237" y="4660"/>
                    <a:pt x="14340" y="4409"/>
                  </a:cubicBezTo>
                  <a:cubicBezTo>
                    <a:pt x="14428" y="4195"/>
                    <a:pt x="14638" y="4061"/>
                    <a:pt x="14865" y="4061"/>
                  </a:cubicBezTo>
                  <a:close/>
                  <a:moveTo>
                    <a:pt x="13258" y="1136"/>
                  </a:moveTo>
                  <a:cubicBezTo>
                    <a:pt x="14386" y="1136"/>
                    <a:pt x="15514" y="1507"/>
                    <a:pt x="16441" y="2247"/>
                  </a:cubicBezTo>
                  <a:lnTo>
                    <a:pt x="15593" y="3096"/>
                  </a:lnTo>
                  <a:cubicBezTo>
                    <a:pt x="15349" y="2979"/>
                    <a:pt x="15100" y="2926"/>
                    <a:pt x="14858" y="2926"/>
                  </a:cubicBezTo>
                  <a:cubicBezTo>
                    <a:pt x="13865" y="2926"/>
                    <a:pt x="12999" y="3824"/>
                    <a:pt x="13186" y="4916"/>
                  </a:cubicBezTo>
                  <a:cubicBezTo>
                    <a:pt x="13295" y="5541"/>
                    <a:pt x="13742" y="6055"/>
                    <a:pt x="14346" y="6248"/>
                  </a:cubicBezTo>
                  <a:cubicBezTo>
                    <a:pt x="14514" y="6301"/>
                    <a:pt x="14688" y="6327"/>
                    <a:pt x="14859" y="6327"/>
                  </a:cubicBezTo>
                  <a:cubicBezTo>
                    <a:pt x="15304" y="6327"/>
                    <a:pt x="15739" y="6153"/>
                    <a:pt x="16064" y="5828"/>
                  </a:cubicBezTo>
                  <a:cubicBezTo>
                    <a:pt x="16571" y="5321"/>
                    <a:pt x="16704" y="4545"/>
                    <a:pt x="16396" y="3896"/>
                  </a:cubicBezTo>
                  <a:lnTo>
                    <a:pt x="17241" y="3050"/>
                  </a:lnTo>
                  <a:lnTo>
                    <a:pt x="17241" y="3050"/>
                  </a:lnTo>
                  <a:cubicBezTo>
                    <a:pt x="18842" y="5046"/>
                    <a:pt x="18715" y="7981"/>
                    <a:pt x="16864" y="9832"/>
                  </a:cubicBezTo>
                  <a:lnTo>
                    <a:pt x="16462" y="10231"/>
                  </a:lnTo>
                  <a:lnTo>
                    <a:pt x="16064" y="9832"/>
                  </a:lnTo>
                  <a:cubicBezTo>
                    <a:pt x="15952" y="9722"/>
                    <a:pt x="15806" y="9666"/>
                    <a:pt x="15661" y="9666"/>
                  </a:cubicBezTo>
                  <a:cubicBezTo>
                    <a:pt x="15516" y="9666"/>
                    <a:pt x="15372" y="9721"/>
                    <a:pt x="15261" y="9832"/>
                  </a:cubicBezTo>
                  <a:cubicBezTo>
                    <a:pt x="15040" y="10053"/>
                    <a:pt x="15040" y="10412"/>
                    <a:pt x="15261" y="10632"/>
                  </a:cubicBezTo>
                  <a:lnTo>
                    <a:pt x="15662" y="11034"/>
                  </a:lnTo>
                  <a:lnTo>
                    <a:pt x="8666" y="18027"/>
                  </a:lnTo>
                  <a:cubicBezTo>
                    <a:pt x="8556" y="18137"/>
                    <a:pt x="8411" y="18192"/>
                    <a:pt x="8266" y="18192"/>
                  </a:cubicBezTo>
                  <a:cubicBezTo>
                    <a:pt x="8121" y="18192"/>
                    <a:pt x="7976" y="18137"/>
                    <a:pt x="7866" y="18027"/>
                  </a:cubicBezTo>
                  <a:lnTo>
                    <a:pt x="1462" y="11623"/>
                  </a:lnTo>
                  <a:cubicBezTo>
                    <a:pt x="1241" y="11402"/>
                    <a:pt x="1241" y="11043"/>
                    <a:pt x="1462" y="10822"/>
                  </a:cubicBezTo>
                  <a:lnTo>
                    <a:pt x="8458" y="3826"/>
                  </a:lnTo>
                  <a:lnTo>
                    <a:pt x="8856" y="4228"/>
                  </a:lnTo>
                  <a:cubicBezTo>
                    <a:pt x="8966" y="4338"/>
                    <a:pt x="9111" y="4393"/>
                    <a:pt x="9256" y="4393"/>
                  </a:cubicBezTo>
                  <a:cubicBezTo>
                    <a:pt x="9401" y="4393"/>
                    <a:pt x="9546" y="4338"/>
                    <a:pt x="9656" y="4228"/>
                  </a:cubicBezTo>
                  <a:cubicBezTo>
                    <a:pt x="9880" y="4005"/>
                    <a:pt x="9877" y="3648"/>
                    <a:pt x="9656" y="3425"/>
                  </a:cubicBezTo>
                  <a:lnTo>
                    <a:pt x="9258" y="3026"/>
                  </a:lnTo>
                  <a:lnTo>
                    <a:pt x="9656" y="2625"/>
                  </a:lnTo>
                  <a:cubicBezTo>
                    <a:pt x="10649" y="1632"/>
                    <a:pt x="11954" y="1136"/>
                    <a:pt x="13258" y="1136"/>
                  </a:cubicBezTo>
                  <a:close/>
                  <a:moveTo>
                    <a:pt x="13261" y="1"/>
                  </a:moveTo>
                  <a:cubicBezTo>
                    <a:pt x="11661" y="1"/>
                    <a:pt x="10066" y="615"/>
                    <a:pt x="8856" y="1825"/>
                  </a:cubicBezTo>
                  <a:lnTo>
                    <a:pt x="8056" y="2625"/>
                  </a:lnTo>
                  <a:lnTo>
                    <a:pt x="661" y="10019"/>
                  </a:lnTo>
                  <a:cubicBezTo>
                    <a:pt x="0" y="10684"/>
                    <a:pt x="0" y="11759"/>
                    <a:pt x="661" y="12423"/>
                  </a:cubicBezTo>
                  <a:lnTo>
                    <a:pt x="7066" y="18827"/>
                  </a:lnTo>
                  <a:cubicBezTo>
                    <a:pt x="7398" y="19159"/>
                    <a:pt x="7833" y="19325"/>
                    <a:pt x="8267" y="19325"/>
                  </a:cubicBezTo>
                  <a:cubicBezTo>
                    <a:pt x="8702" y="19325"/>
                    <a:pt x="9137" y="19159"/>
                    <a:pt x="9469" y="18827"/>
                  </a:cubicBezTo>
                  <a:lnTo>
                    <a:pt x="17664" y="10632"/>
                  </a:lnTo>
                  <a:cubicBezTo>
                    <a:pt x="19956" y="8337"/>
                    <a:pt x="20086" y="4687"/>
                    <a:pt x="18044" y="2244"/>
                  </a:cubicBezTo>
                  <a:lnTo>
                    <a:pt x="19264" y="1024"/>
                  </a:lnTo>
                  <a:cubicBezTo>
                    <a:pt x="19485" y="804"/>
                    <a:pt x="19485" y="445"/>
                    <a:pt x="19264" y="224"/>
                  </a:cubicBezTo>
                  <a:cubicBezTo>
                    <a:pt x="19154" y="114"/>
                    <a:pt x="19009" y="59"/>
                    <a:pt x="18864" y="59"/>
                  </a:cubicBezTo>
                  <a:cubicBezTo>
                    <a:pt x="18719" y="59"/>
                    <a:pt x="18574" y="114"/>
                    <a:pt x="18464" y="224"/>
                  </a:cubicBezTo>
                  <a:lnTo>
                    <a:pt x="17244" y="1444"/>
                  </a:lnTo>
                  <a:cubicBezTo>
                    <a:pt x="16086" y="478"/>
                    <a:pt x="14671" y="1"/>
                    <a:pt x="13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88" name="Google Shape;9088;p75"/>
          <p:cNvGrpSpPr/>
          <p:nvPr/>
        </p:nvGrpSpPr>
        <p:grpSpPr>
          <a:xfrm>
            <a:off x="6313326" y="2303452"/>
            <a:ext cx="334536" cy="308132"/>
            <a:chOff x="2680100" y="2638725"/>
            <a:chExt cx="475125" cy="437625"/>
          </a:xfrm>
        </p:grpSpPr>
        <p:sp>
          <p:nvSpPr>
            <p:cNvPr id="9089" name="Google Shape;9089;p75"/>
            <p:cNvSpPr/>
            <p:nvPr/>
          </p:nvSpPr>
          <p:spPr>
            <a:xfrm>
              <a:off x="2680100" y="2638725"/>
              <a:ext cx="475125" cy="437625"/>
            </a:xfrm>
            <a:custGeom>
              <a:avLst/>
              <a:gdLst/>
              <a:ahLst/>
              <a:cxnLst/>
              <a:rect l="l" t="t" r="r" b="b"/>
              <a:pathLst>
                <a:path w="19005" h="17505" extrusionOk="0">
                  <a:moveTo>
                    <a:pt x="11399" y="1133"/>
                  </a:moveTo>
                  <a:cubicBezTo>
                    <a:pt x="11803" y="1133"/>
                    <a:pt x="12130" y="1462"/>
                    <a:pt x="12133" y="1867"/>
                  </a:cubicBezTo>
                  <a:lnTo>
                    <a:pt x="12133" y="3301"/>
                  </a:lnTo>
                  <a:lnTo>
                    <a:pt x="6876" y="3301"/>
                  </a:lnTo>
                  <a:lnTo>
                    <a:pt x="6873" y="1867"/>
                  </a:lnTo>
                  <a:cubicBezTo>
                    <a:pt x="6876" y="1462"/>
                    <a:pt x="7202" y="1133"/>
                    <a:pt x="7606" y="1133"/>
                  </a:cubicBezTo>
                  <a:close/>
                  <a:moveTo>
                    <a:pt x="2815" y="4433"/>
                  </a:moveTo>
                  <a:lnTo>
                    <a:pt x="2815" y="5430"/>
                  </a:lnTo>
                  <a:cubicBezTo>
                    <a:pt x="2815" y="5880"/>
                    <a:pt x="2449" y="6245"/>
                    <a:pt x="1999" y="6245"/>
                  </a:cubicBezTo>
                  <a:lnTo>
                    <a:pt x="1133" y="6245"/>
                  </a:lnTo>
                  <a:lnTo>
                    <a:pt x="1133" y="4433"/>
                  </a:lnTo>
                  <a:close/>
                  <a:moveTo>
                    <a:pt x="17873" y="4433"/>
                  </a:moveTo>
                  <a:lnTo>
                    <a:pt x="17873" y="6248"/>
                  </a:lnTo>
                  <a:lnTo>
                    <a:pt x="17006" y="6248"/>
                  </a:lnTo>
                  <a:cubicBezTo>
                    <a:pt x="16556" y="6248"/>
                    <a:pt x="16191" y="5883"/>
                    <a:pt x="16191" y="5433"/>
                  </a:cubicBezTo>
                  <a:lnTo>
                    <a:pt x="16191" y="4433"/>
                  </a:lnTo>
                  <a:close/>
                  <a:moveTo>
                    <a:pt x="15058" y="4430"/>
                  </a:moveTo>
                  <a:lnTo>
                    <a:pt x="15058" y="5430"/>
                  </a:lnTo>
                  <a:cubicBezTo>
                    <a:pt x="15058" y="6505"/>
                    <a:pt x="15931" y="7377"/>
                    <a:pt x="17006" y="7377"/>
                  </a:cubicBezTo>
                  <a:lnTo>
                    <a:pt x="17873" y="7377"/>
                  </a:lnTo>
                  <a:lnTo>
                    <a:pt x="17873" y="13422"/>
                  </a:lnTo>
                  <a:lnTo>
                    <a:pt x="17006" y="13422"/>
                  </a:lnTo>
                  <a:cubicBezTo>
                    <a:pt x="15931" y="13425"/>
                    <a:pt x="15058" y="14295"/>
                    <a:pt x="15058" y="15373"/>
                  </a:cubicBezTo>
                  <a:lnTo>
                    <a:pt x="15058" y="16369"/>
                  </a:lnTo>
                  <a:lnTo>
                    <a:pt x="3947" y="16369"/>
                  </a:lnTo>
                  <a:lnTo>
                    <a:pt x="3947" y="15373"/>
                  </a:lnTo>
                  <a:cubicBezTo>
                    <a:pt x="3947" y="14295"/>
                    <a:pt x="3074" y="13425"/>
                    <a:pt x="1999" y="13422"/>
                  </a:cubicBezTo>
                  <a:lnTo>
                    <a:pt x="1133" y="13422"/>
                  </a:lnTo>
                  <a:lnTo>
                    <a:pt x="1133" y="7377"/>
                  </a:lnTo>
                  <a:lnTo>
                    <a:pt x="1999" y="7377"/>
                  </a:lnTo>
                  <a:cubicBezTo>
                    <a:pt x="3074" y="7377"/>
                    <a:pt x="3947" y="6505"/>
                    <a:pt x="3947" y="5430"/>
                  </a:cubicBezTo>
                  <a:lnTo>
                    <a:pt x="3947" y="4430"/>
                  </a:lnTo>
                  <a:close/>
                  <a:moveTo>
                    <a:pt x="1999" y="14557"/>
                  </a:moveTo>
                  <a:cubicBezTo>
                    <a:pt x="2449" y="14557"/>
                    <a:pt x="2815" y="14923"/>
                    <a:pt x="2815" y="15376"/>
                  </a:cubicBezTo>
                  <a:lnTo>
                    <a:pt x="2815" y="16372"/>
                  </a:lnTo>
                  <a:lnTo>
                    <a:pt x="1133" y="16372"/>
                  </a:lnTo>
                  <a:lnTo>
                    <a:pt x="1133" y="14557"/>
                  </a:lnTo>
                  <a:close/>
                  <a:moveTo>
                    <a:pt x="17873" y="14557"/>
                  </a:moveTo>
                  <a:lnTo>
                    <a:pt x="17873" y="16372"/>
                  </a:lnTo>
                  <a:lnTo>
                    <a:pt x="16191" y="16372"/>
                  </a:lnTo>
                  <a:lnTo>
                    <a:pt x="16191" y="15376"/>
                  </a:lnTo>
                  <a:cubicBezTo>
                    <a:pt x="16191" y="14923"/>
                    <a:pt x="16556" y="14557"/>
                    <a:pt x="17006" y="14557"/>
                  </a:cubicBezTo>
                  <a:close/>
                  <a:moveTo>
                    <a:pt x="7606" y="1"/>
                  </a:moveTo>
                  <a:cubicBezTo>
                    <a:pt x="6577" y="1"/>
                    <a:pt x="5743" y="837"/>
                    <a:pt x="5743" y="1867"/>
                  </a:cubicBezTo>
                  <a:lnTo>
                    <a:pt x="5743" y="3301"/>
                  </a:lnTo>
                  <a:lnTo>
                    <a:pt x="1133" y="3301"/>
                  </a:lnTo>
                  <a:cubicBezTo>
                    <a:pt x="508" y="3301"/>
                    <a:pt x="0" y="3808"/>
                    <a:pt x="0" y="4433"/>
                  </a:cubicBezTo>
                  <a:lnTo>
                    <a:pt x="0" y="16372"/>
                  </a:lnTo>
                  <a:cubicBezTo>
                    <a:pt x="0" y="16997"/>
                    <a:pt x="508" y="17504"/>
                    <a:pt x="1133" y="17504"/>
                  </a:cubicBezTo>
                  <a:lnTo>
                    <a:pt x="17873" y="17504"/>
                  </a:lnTo>
                  <a:cubicBezTo>
                    <a:pt x="18498" y="17504"/>
                    <a:pt x="19005" y="16997"/>
                    <a:pt x="19005" y="16372"/>
                  </a:cubicBezTo>
                  <a:lnTo>
                    <a:pt x="19005" y="4430"/>
                  </a:lnTo>
                  <a:cubicBezTo>
                    <a:pt x="19005" y="3805"/>
                    <a:pt x="18498" y="3298"/>
                    <a:pt x="17873" y="3298"/>
                  </a:cubicBezTo>
                  <a:lnTo>
                    <a:pt x="13265" y="3298"/>
                  </a:lnTo>
                  <a:lnTo>
                    <a:pt x="13265" y="1864"/>
                  </a:lnTo>
                  <a:cubicBezTo>
                    <a:pt x="13262" y="834"/>
                    <a:pt x="12428" y="1"/>
                    <a:pt x="113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0" name="Google Shape;9090;p75"/>
            <p:cNvSpPr/>
            <p:nvPr/>
          </p:nvSpPr>
          <p:spPr>
            <a:xfrm>
              <a:off x="2795000" y="2810525"/>
              <a:ext cx="237800" cy="164300"/>
            </a:xfrm>
            <a:custGeom>
              <a:avLst/>
              <a:gdLst/>
              <a:ahLst/>
              <a:cxnLst/>
              <a:rect l="l" t="t" r="r" b="b"/>
              <a:pathLst>
                <a:path w="9512" h="6572" extrusionOk="0">
                  <a:moveTo>
                    <a:pt x="8379" y="1133"/>
                  </a:moveTo>
                  <a:lnTo>
                    <a:pt x="8379" y="5439"/>
                  </a:lnTo>
                  <a:lnTo>
                    <a:pt x="1132" y="5439"/>
                  </a:lnTo>
                  <a:lnTo>
                    <a:pt x="1132" y="1133"/>
                  </a:lnTo>
                  <a:close/>
                  <a:moveTo>
                    <a:pt x="568" y="1"/>
                  </a:moveTo>
                  <a:cubicBezTo>
                    <a:pt x="254" y="1"/>
                    <a:pt x="0" y="255"/>
                    <a:pt x="0" y="566"/>
                  </a:cubicBezTo>
                  <a:lnTo>
                    <a:pt x="0" y="6007"/>
                  </a:lnTo>
                  <a:cubicBezTo>
                    <a:pt x="0" y="6318"/>
                    <a:pt x="254" y="6571"/>
                    <a:pt x="568" y="6571"/>
                  </a:cubicBezTo>
                  <a:lnTo>
                    <a:pt x="8947" y="6571"/>
                  </a:lnTo>
                  <a:cubicBezTo>
                    <a:pt x="9258" y="6571"/>
                    <a:pt x="9511" y="6318"/>
                    <a:pt x="9511" y="6007"/>
                  </a:cubicBezTo>
                  <a:lnTo>
                    <a:pt x="9511" y="566"/>
                  </a:lnTo>
                  <a:cubicBezTo>
                    <a:pt x="9511" y="255"/>
                    <a:pt x="9258" y="1"/>
                    <a:pt x="89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1" name="Google Shape;9091;p75"/>
            <p:cNvSpPr/>
            <p:nvPr/>
          </p:nvSpPr>
          <p:spPr>
            <a:xfrm>
              <a:off x="2871900" y="2856725"/>
              <a:ext cx="91525" cy="28350"/>
            </a:xfrm>
            <a:custGeom>
              <a:avLst/>
              <a:gdLst/>
              <a:ahLst/>
              <a:cxnLst/>
              <a:rect l="l" t="t" r="r" b="b"/>
              <a:pathLst>
                <a:path w="3661" h="1134" extrusionOk="0">
                  <a:moveTo>
                    <a:pt x="565" y="1"/>
                  </a:moveTo>
                  <a:cubicBezTo>
                    <a:pt x="254" y="1"/>
                    <a:pt x="1" y="254"/>
                    <a:pt x="1" y="565"/>
                  </a:cubicBezTo>
                  <a:cubicBezTo>
                    <a:pt x="1" y="879"/>
                    <a:pt x="254" y="1133"/>
                    <a:pt x="565" y="1133"/>
                  </a:cubicBezTo>
                  <a:lnTo>
                    <a:pt x="3096" y="1133"/>
                  </a:lnTo>
                  <a:cubicBezTo>
                    <a:pt x="3407" y="1133"/>
                    <a:pt x="3660" y="879"/>
                    <a:pt x="3660" y="565"/>
                  </a:cubicBezTo>
                  <a:cubicBezTo>
                    <a:pt x="3660" y="254"/>
                    <a:pt x="3407" y="1"/>
                    <a:pt x="3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2" name="Google Shape;9092;p75"/>
            <p:cNvSpPr/>
            <p:nvPr/>
          </p:nvSpPr>
          <p:spPr>
            <a:xfrm>
              <a:off x="2845500" y="2900300"/>
              <a:ext cx="144350" cy="28325"/>
            </a:xfrm>
            <a:custGeom>
              <a:avLst/>
              <a:gdLst/>
              <a:ahLst/>
              <a:cxnLst/>
              <a:rect l="l" t="t" r="r" b="b"/>
              <a:pathLst>
                <a:path w="5774" h="1133" extrusionOk="0">
                  <a:moveTo>
                    <a:pt x="565" y="0"/>
                  </a:moveTo>
                  <a:cubicBezTo>
                    <a:pt x="254" y="0"/>
                    <a:pt x="0" y="254"/>
                    <a:pt x="0" y="568"/>
                  </a:cubicBezTo>
                  <a:cubicBezTo>
                    <a:pt x="0" y="879"/>
                    <a:pt x="254" y="1132"/>
                    <a:pt x="565" y="1132"/>
                  </a:cubicBezTo>
                  <a:lnTo>
                    <a:pt x="5209" y="1132"/>
                  </a:lnTo>
                  <a:cubicBezTo>
                    <a:pt x="5520" y="1132"/>
                    <a:pt x="5773" y="879"/>
                    <a:pt x="5773" y="568"/>
                  </a:cubicBezTo>
                  <a:cubicBezTo>
                    <a:pt x="5773" y="254"/>
                    <a:pt x="5520" y="0"/>
                    <a:pt x="52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093" name="Google Shape;9093;p75"/>
          <p:cNvGrpSpPr/>
          <p:nvPr/>
        </p:nvGrpSpPr>
        <p:grpSpPr>
          <a:xfrm>
            <a:off x="6778965" y="2287425"/>
            <a:ext cx="239183" cy="340186"/>
            <a:chOff x="3342275" y="2615925"/>
            <a:chExt cx="339700" cy="483150"/>
          </a:xfrm>
        </p:grpSpPr>
        <p:sp>
          <p:nvSpPr>
            <p:cNvPr id="9094" name="Google Shape;9094;p75"/>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5" name="Google Shape;9095;p75"/>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096" name="Google Shape;9096;p75"/>
          <p:cNvSpPr/>
          <p:nvPr/>
        </p:nvSpPr>
        <p:spPr>
          <a:xfrm>
            <a:off x="7172212" y="2287100"/>
            <a:ext cx="279052" cy="340186"/>
          </a:xfrm>
          <a:custGeom>
            <a:avLst/>
            <a:gdLst/>
            <a:ahLst/>
            <a:cxnLst/>
            <a:rect l="l" t="t" r="r" b="b"/>
            <a:pathLst>
              <a:path w="15853" h="19326" extrusionOk="0">
                <a:moveTo>
                  <a:pt x="9627" y="1133"/>
                </a:moveTo>
                <a:cubicBezTo>
                  <a:pt x="9938" y="1133"/>
                  <a:pt x="10191" y="1387"/>
                  <a:pt x="10191" y="1701"/>
                </a:cubicBezTo>
                <a:lnTo>
                  <a:pt x="10191" y="2265"/>
                </a:lnTo>
                <a:lnTo>
                  <a:pt x="1133" y="2265"/>
                </a:lnTo>
                <a:lnTo>
                  <a:pt x="1133" y="1701"/>
                </a:lnTo>
                <a:cubicBezTo>
                  <a:pt x="1133" y="1387"/>
                  <a:pt x="1387" y="1133"/>
                  <a:pt x="1701" y="1133"/>
                </a:cubicBezTo>
                <a:close/>
                <a:moveTo>
                  <a:pt x="10191" y="3398"/>
                </a:moveTo>
                <a:lnTo>
                  <a:pt x="10191" y="8063"/>
                </a:lnTo>
                <a:cubicBezTo>
                  <a:pt x="10009" y="7998"/>
                  <a:pt x="9817" y="7965"/>
                  <a:pt x="9625" y="7965"/>
                </a:cubicBezTo>
                <a:cubicBezTo>
                  <a:pt x="9434" y="7965"/>
                  <a:pt x="9242" y="7998"/>
                  <a:pt x="9059" y="8063"/>
                </a:cubicBezTo>
                <a:lnTo>
                  <a:pt x="9059" y="6230"/>
                </a:lnTo>
                <a:cubicBezTo>
                  <a:pt x="9059" y="5291"/>
                  <a:pt x="8298" y="4530"/>
                  <a:pt x="7362" y="4530"/>
                </a:cubicBezTo>
                <a:cubicBezTo>
                  <a:pt x="6423" y="4530"/>
                  <a:pt x="5662" y="5291"/>
                  <a:pt x="5662" y="6230"/>
                </a:cubicBezTo>
                <a:lnTo>
                  <a:pt x="5662" y="10285"/>
                </a:lnTo>
                <a:cubicBezTo>
                  <a:pt x="4346" y="10557"/>
                  <a:pt x="3401" y="11716"/>
                  <a:pt x="3398" y="13060"/>
                </a:cubicBezTo>
                <a:lnTo>
                  <a:pt x="3398" y="14231"/>
                </a:lnTo>
                <a:cubicBezTo>
                  <a:pt x="3398" y="14419"/>
                  <a:pt x="3404" y="14609"/>
                  <a:pt x="3413" y="14796"/>
                </a:cubicBezTo>
                <a:lnTo>
                  <a:pt x="1133" y="14796"/>
                </a:lnTo>
                <a:lnTo>
                  <a:pt x="1133" y="3398"/>
                </a:lnTo>
                <a:close/>
                <a:moveTo>
                  <a:pt x="3543" y="15928"/>
                </a:moveTo>
                <a:cubicBezTo>
                  <a:pt x="3606" y="16312"/>
                  <a:pt x="3694" y="16689"/>
                  <a:pt x="3802" y="17061"/>
                </a:cubicBezTo>
                <a:lnTo>
                  <a:pt x="1701" y="17061"/>
                </a:lnTo>
                <a:cubicBezTo>
                  <a:pt x="1387" y="17061"/>
                  <a:pt x="1133" y="16807"/>
                  <a:pt x="1133" y="16496"/>
                </a:cubicBezTo>
                <a:lnTo>
                  <a:pt x="1133" y="15928"/>
                </a:lnTo>
                <a:close/>
                <a:moveTo>
                  <a:pt x="7362" y="5662"/>
                </a:moveTo>
                <a:cubicBezTo>
                  <a:pt x="7673" y="5662"/>
                  <a:pt x="7927" y="5916"/>
                  <a:pt x="7927" y="6230"/>
                </a:cubicBezTo>
                <a:lnTo>
                  <a:pt x="7927" y="11928"/>
                </a:lnTo>
                <a:cubicBezTo>
                  <a:pt x="7927" y="12242"/>
                  <a:pt x="8181" y="12492"/>
                  <a:pt x="8495" y="12492"/>
                </a:cubicBezTo>
                <a:cubicBezTo>
                  <a:pt x="8806" y="12492"/>
                  <a:pt x="9059" y="12242"/>
                  <a:pt x="9059" y="11928"/>
                </a:cubicBezTo>
                <a:lnTo>
                  <a:pt x="9059" y="9663"/>
                </a:lnTo>
                <a:cubicBezTo>
                  <a:pt x="9059" y="9349"/>
                  <a:pt x="9313" y="9098"/>
                  <a:pt x="9627" y="9098"/>
                </a:cubicBezTo>
                <a:cubicBezTo>
                  <a:pt x="9938" y="9098"/>
                  <a:pt x="10191" y="9349"/>
                  <a:pt x="10191" y="9663"/>
                </a:cubicBezTo>
                <a:lnTo>
                  <a:pt x="10191" y="11928"/>
                </a:lnTo>
                <a:cubicBezTo>
                  <a:pt x="10191" y="12242"/>
                  <a:pt x="10445" y="12492"/>
                  <a:pt x="10759" y="12492"/>
                </a:cubicBezTo>
                <a:cubicBezTo>
                  <a:pt x="11070" y="12492"/>
                  <a:pt x="11324" y="12242"/>
                  <a:pt x="11324" y="11928"/>
                </a:cubicBezTo>
                <a:lnTo>
                  <a:pt x="11324" y="10795"/>
                </a:lnTo>
                <a:cubicBezTo>
                  <a:pt x="11324" y="10481"/>
                  <a:pt x="11577" y="10231"/>
                  <a:pt x="11891" y="10231"/>
                </a:cubicBezTo>
                <a:cubicBezTo>
                  <a:pt x="12202" y="10231"/>
                  <a:pt x="12456" y="10481"/>
                  <a:pt x="12456" y="10795"/>
                </a:cubicBezTo>
                <a:lnTo>
                  <a:pt x="12456" y="13060"/>
                </a:lnTo>
                <a:cubicBezTo>
                  <a:pt x="12456" y="13374"/>
                  <a:pt x="12710" y="13625"/>
                  <a:pt x="13024" y="13625"/>
                </a:cubicBezTo>
                <a:cubicBezTo>
                  <a:pt x="13335" y="13625"/>
                  <a:pt x="13588" y="13374"/>
                  <a:pt x="13588" y="13060"/>
                </a:cubicBezTo>
                <a:lnTo>
                  <a:pt x="13588" y="11928"/>
                </a:lnTo>
                <a:cubicBezTo>
                  <a:pt x="13588" y="11614"/>
                  <a:pt x="13842" y="11363"/>
                  <a:pt x="14156" y="11363"/>
                </a:cubicBezTo>
                <a:cubicBezTo>
                  <a:pt x="14467" y="11363"/>
                  <a:pt x="14721" y="11614"/>
                  <a:pt x="14721" y="11928"/>
                </a:cubicBezTo>
                <a:lnTo>
                  <a:pt x="14721" y="14231"/>
                </a:lnTo>
                <a:cubicBezTo>
                  <a:pt x="14718" y="15602"/>
                  <a:pt x="14407" y="16958"/>
                  <a:pt x="13806" y="18193"/>
                </a:cubicBezTo>
                <a:lnTo>
                  <a:pt x="5448" y="18193"/>
                </a:lnTo>
                <a:cubicBezTo>
                  <a:pt x="4844" y="16958"/>
                  <a:pt x="4533" y="15602"/>
                  <a:pt x="4530" y="14231"/>
                </a:cubicBezTo>
                <a:lnTo>
                  <a:pt x="4530" y="13060"/>
                </a:lnTo>
                <a:cubicBezTo>
                  <a:pt x="4530" y="12341"/>
                  <a:pt x="4983" y="11698"/>
                  <a:pt x="5662" y="11460"/>
                </a:cubicBezTo>
                <a:lnTo>
                  <a:pt x="5662" y="14231"/>
                </a:lnTo>
                <a:cubicBezTo>
                  <a:pt x="5662" y="14542"/>
                  <a:pt x="5916" y="14796"/>
                  <a:pt x="6230" y="14796"/>
                </a:cubicBezTo>
                <a:cubicBezTo>
                  <a:pt x="6541" y="14796"/>
                  <a:pt x="6795" y="14542"/>
                  <a:pt x="6795" y="14231"/>
                </a:cubicBezTo>
                <a:lnTo>
                  <a:pt x="6795" y="6230"/>
                </a:lnTo>
                <a:cubicBezTo>
                  <a:pt x="6795" y="5916"/>
                  <a:pt x="7048" y="5662"/>
                  <a:pt x="7362" y="5662"/>
                </a:cubicBezTo>
                <a:close/>
                <a:moveTo>
                  <a:pt x="1701" y="1"/>
                </a:moveTo>
                <a:cubicBezTo>
                  <a:pt x="762" y="1"/>
                  <a:pt x="1" y="762"/>
                  <a:pt x="1" y="1701"/>
                </a:cubicBezTo>
                <a:lnTo>
                  <a:pt x="1" y="16496"/>
                </a:lnTo>
                <a:cubicBezTo>
                  <a:pt x="1" y="17432"/>
                  <a:pt x="762" y="18193"/>
                  <a:pt x="1701" y="18193"/>
                </a:cubicBezTo>
                <a:lnTo>
                  <a:pt x="4204" y="18193"/>
                </a:lnTo>
                <a:cubicBezTo>
                  <a:pt x="4285" y="18389"/>
                  <a:pt x="4376" y="18582"/>
                  <a:pt x="4470" y="18773"/>
                </a:cubicBezTo>
                <a:lnTo>
                  <a:pt x="4590" y="19011"/>
                </a:lnTo>
                <a:cubicBezTo>
                  <a:pt x="4687" y="19204"/>
                  <a:pt x="4880" y="19325"/>
                  <a:pt x="5098" y="19325"/>
                </a:cubicBezTo>
                <a:lnTo>
                  <a:pt x="14156" y="19325"/>
                </a:lnTo>
                <a:cubicBezTo>
                  <a:pt x="14370" y="19325"/>
                  <a:pt x="14564" y="19204"/>
                  <a:pt x="14660" y="19011"/>
                </a:cubicBezTo>
                <a:lnTo>
                  <a:pt x="14781" y="18773"/>
                </a:lnTo>
                <a:cubicBezTo>
                  <a:pt x="15485" y="17363"/>
                  <a:pt x="15850" y="15808"/>
                  <a:pt x="15853" y="14231"/>
                </a:cubicBezTo>
                <a:lnTo>
                  <a:pt x="15853" y="11928"/>
                </a:lnTo>
                <a:cubicBezTo>
                  <a:pt x="15853" y="10953"/>
                  <a:pt x="15054" y="10228"/>
                  <a:pt x="14155" y="10228"/>
                </a:cubicBezTo>
                <a:cubicBezTo>
                  <a:pt x="13949" y="10228"/>
                  <a:pt x="13737" y="10266"/>
                  <a:pt x="13528" y="10348"/>
                </a:cubicBezTo>
                <a:cubicBezTo>
                  <a:pt x="13326" y="9609"/>
                  <a:pt x="12655" y="9098"/>
                  <a:pt x="11891" y="9098"/>
                </a:cubicBezTo>
                <a:cubicBezTo>
                  <a:pt x="11883" y="9098"/>
                  <a:pt x="11875" y="9098"/>
                  <a:pt x="11867" y="9098"/>
                </a:cubicBezTo>
                <a:cubicBezTo>
                  <a:pt x="11682" y="9098"/>
                  <a:pt x="11497" y="9131"/>
                  <a:pt x="11324" y="9195"/>
                </a:cubicBezTo>
                <a:lnTo>
                  <a:pt x="11324" y="1701"/>
                </a:lnTo>
                <a:cubicBezTo>
                  <a:pt x="11324" y="762"/>
                  <a:pt x="10563" y="1"/>
                  <a:pt x="96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7" name="Google Shape;9097;p75"/>
          <p:cNvSpPr/>
          <p:nvPr/>
        </p:nvSpPr>
        <p:spPr>
          <a:xfrm>
            <a:off x="7565246" y="2297730"/>
            <a:ext cx="340186" cy="318922"/>
          </a:xfrm>
          <a:custGeom>
            <a:avLst/>
            <a:gdLst/>
            <a:ahLst/>
            <a:cxnLst/>
            <a:rect l="l" t="t" r="r" b="b"/>
            <a:pathLst>
              <a:path w="19326" h="18118" extrusionOk="0">
                <a:moveTo>
                  <a:pt x="17628" y="6794"/>
                </a:moveTo>
                <a:cubicBezTo>
                  <a:pt x="17939" y="6794"/>
                  <a:pt x="18193" y="7048"/>
                  <a:pt x="18193" y="7362"/>
                </a:cubicBezTo>
                <a:lnTo>
                  <a:pt x="18193" y="7927"/>
                </a:lnTo>
                <a:lnTo>
                  <a:pt x="12532" y="7927"/>
                </a:lnTo>
                <a:lnTo>
                  <a:pt x="12532" y="7362"/>
                </a:lnTo>
                <a:cubicBezTo>
                  <a:pt x="12532" y="7048"/>
                  <a:pt x="12785" y="6794"/>
                  <a:pt x="13099" y="6794"/>
                </a:cubicBezTo>
                <a:close/>
                <a:moveTo>
                  <a:pt x="17628" y="1133"/>
                </a:moveTo>
                <a:cubicBezTo>
                  <a:pt x="17939" y="1133"/>
                  <a:pt x="18193" y="1387"/>
                  <a:pt x="18193" y="1701"/>
                </a:cubicBezTo>
                <a:lnTo>
                  <a:pt x="18193" y="5759"/>
                </a:lnTo>
                <a:cubicBezTo>
                  <a:pt x="18012" y="5695"/>
                  <a:pt x="17819" y="5662"/>
                  <a:pt x="17628" y="5662"/>
                </a:cubicBezTo>
                <a:lnTo>
                  <a:pt x="13099" y="5662"/>
                </a:lnTo>
                <a:cubicBezTo>
                  <a:pt x="12160" y="5662"/>
                  <a:pt x="11399" y="6423"/>
                  <a:pt x="11399" y="7362"/>
                </a:cubicBezTo>
                <a:lnTo>
                  <a:pt x="11399" y="11324"/>
                </a:lnTo>
                <a:lnTo>
                  <a:pt x="1133" y="11324"/>
                </a:lnTo>
                <a:lnTo>
                  <a:pt x="1133" y="1701"/>
                </a:lnTo>
                <a:cubicBezTo>
                  <a:pt x="1133" y="1387"/>
                  <a:pt x="1387" y="1133"/>
                  <a:pt x="1701" y="1133"/>
                </a:cubicBezTo>
                <a:close/>
                <a:moveTo>
                  <a:pt x="11399" y="12456"/>
                </a:moveTo>
                <a:lnTo>
                  <a:pt x="11399" y="13588"/>
                </a:lnTo>
                <a:lnTo>
                  <a:pt x="1701" y="13588"/>
                </a:lnTo>
                <a:cubicBezTo>
                  <a:pt x="1387" y="13588"/>
                  <a:pt x="1133" y="13335"/>
                  <a:pt x="1133" y="13024"/>
                </a:cubicBezTo>
                <a:lnTo>
                  <a:pt x="1133" y="12456"/>
                </a:lnTo>
                <a:close/>
                <a:moveTo>
                  <a:pt x="18193" y="9059"/>
                </a:moveTo>
                <a:lnTo>
                  <a:pt x="18193" y="14720"/>
                </a:lnTo>
                <a:lnTo>
                  <a:pt x="12532" y="14720"/>
                </a:lnTo>
                <a:lnTo>
                  <a:pt x="12532" y="9059"/>
                </a:lnTo>
                <a:close/>
                <a:moveTo>
                  <a:pt x="11399" y="14720"/>
                </a:moveTo>
                <a:lnTo>
                  <a:pt x="11399" y="16420"/>
                </a:lnTo>
                <a:cubicBezTo>
                  <a:pt x="11399" y="16611"/>
                  <a:pt x="11432" y="16804"/>
                  <a:pt x="11496" y="16985"/>
                </a:cubicBezTo>
                <a:lnTo>
                  <a:pt x="7051" y="16985"/>
                </a:lnTo>
                <a:lnTo>
                  <a:pt x="7806" y="14720"/>
                </a:lnTo>
                <a:close/>
                <a:moveTo>
                  <a:pt x="18193" y="15853"/>
                </a:moveTo>
                <a:lnTo>
                  <a:pt x="18193" y="16420"/>
                </a:lnTo>
                <a:cubicBezTo>
                  <a:pt x="18193" y="16731"/>
                  <a:pt x="17939" y="16985"/>
                  <a:pt x="17628" y="16985"/>
                </a:cubicBezTo>
                <a:lnTo>
                  <a:pt x="13099" y="16985"/>
                </a:lnTo>
                <a:cubicBezTo>
                  <a:pt x="12785" y="16985"/>
                  <a:pt x="12532" y="16731"/>
                  <a:pt x="12532" y="16420"/>
                </a:cubicBezTo>
                <a:lnTo>
                  <a:pt x="12532" y="15853"/>
                </a:lnTo>
                <a:close/>
                <a:moveTo>
                  <a:pt x="1701" y="1"/>
                </a:moveTo>
                <a:cubicBezTo>
                  <a:pt x="762" y="1"/>
                  <a:pt x="1" y="762"/>
                  <a:pt x="1" y="1701"/>
                </a:cubicBezTo>
                <a:lnTo>
                  <a:pt x="1" y="13024"/>
                </a:lnTo>
                <a:cubicBezTo>
                  <a:pt x="1" y="13960"/>
                  <a:pt x="762" y="14720"/>
                  <a:pt x="1701" y="14720"/>
                </a:cubicBezTo>
                <a:lnTo>
                  <a:pt x="6613" y="14720"/>
                </a:lnTo>
                <a:lnTo>
                  <a:pt x="5859" y="16985"/>
                </a:lnTo>
                <a:lnTo>
                  <a:pt x="4002" y="16985"/>
                </a:lnTo>
                <a:cubicBezTo>
                  <a:pt x="3688" y="16985"/>
                  <a:pt x="3437" y="17239"/>
                  <a:pt x="3437" y="17553"/>
                </a:cubicBezTo>
                <a:cubicBezTo>
                  <a:pt x="3437" y="17864"/>
                  <a:pt x="3688" y="18117"/>
                  <a:pt x="4002" y="18117"/>
                </a:cubicBezTo>
                <a:lnTo>
                  <a:pt x="17628" y="18117"/>
                </a:lnTo>
                <a:cubicBezTo>
                  <a:pt x="18564" y="18117"/>
                  <a:pt x="19325" y="17356"/>
                  <a:pt x="19325" y="16420"/>
                </a:cubicBezTo>
                <a:lnTo>
                  <a:pt x="19325" y="1701"/>
                </a:lnTo>
                <a:cubicBezTo>
                  <a:pt x="19325" y="762"/>
                  <a:pt x="18564" y="1"/>
                  <a:pt x="176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098" name="Google Shape;9098;p75"/>
          <p:cNvSpPr/>
          <p:nvPr/>
        </p:nvSpPr>
        <p:spPr>
          <a:xfrm>
            <a:off x="7990101" y="2297730"/>
            <a:ext cx="340186" cy="318922"/>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099" name="Google Shape;9099;p75"/>
          <p:cNvGrpSpPr/>
          <p:nvPr/>
        </p:nvGrpSpPr>
        <p:grpSpPr>
          <a:xfrm>
            <a:off x="6415846" y="3956426"/>
            <a:ext cx="339482" cy="339271"/>
            <a:chOff x="5648900" y="2616600"/>
            <a:chExt cx="482150" cy="481850"/>
          </a:xfrm>
        </p:grpSpPr>
        <p:sp>
          <p:nvSpPr>
            <p:cNvPr id="9100" name="Google Shape;9100;p75"/>
            <p:cNvSpPr/>
            <p:nvPr/>
          </p:nvSpPr>
          <p:spPr>
            <a:xfrm>
              <a:off x="5811500" y="2777025"/>
              <a:ext cx="156875" cy="148275"/>
            </a:xfrm>
            <a:custGeom>
              <a:avLst/>
              <a:gdLst/>
              <a:ahLst/>
              <a:cxnLst/>
              <a:rect l="l" t="t" r="r" b="b"/>
              <a:pathLst>
                <a:path w="6275" h="5931" extrusionOk="0">
                  <a:moveTo>
                    <a:pt x="3137" y="1265"/>
                  </a:moveTo>
                  <a:lnTo>
                    <a:pt x="4994" y="2615"/>
                  </a:lnTo>
                  <a:lnTo>
                    <a:pt x="4285" y="4798"/>
                  </a:lnTo>
                  <a:lnTo>
                    <a:pt x="1990" y="4798"/>
                  </a:lnTo>
                  <a:lnTo>
                    <a:pt x="1280" y="2615"/>
                  </a:lnTo>
                  <a:lnTo>
                    <a:pt x="3137" y="1265"/>
                  </a:lnTo>
                  <a:close/>
                  <a:moveTo>
                    <a:pt x="3137" y="0"/>
                  </a:moveTo>
                  <a:cubicBezTo>
                    <a:pt x="3020" y="0"/>
                    <a:pt x="2903" y="37"/>
                    <a:pt x="2805" y="109"/>
                  </a:cubicBezTo>
                  <a:lnTo>
                    <a:pt x="281" y="1942"/>
                  </a:lnTo>
                  <a:cubicBezTo>
                    <a:pt x="85" y="2087"/>
                    <a:pt x="0" y="2340"/>
                    <a:pt x="76" y="2573"/>
                  </a:cubicBezTo>
                  <a:lnTo>
                    <a:pt x="1039" y="5541"/>
                  </a:lnTo>
                  <a:cubicBezTo>
                    <a:pt x="1117" y="5773"/>
                    <a:pt x="1335" y="5930"/>
                    <a:pt x="1579" y="5930"/>
                  </a:cubicBezTo>
                  <a:lnTo>
                    <a:pt x="4695" y="5930"/>
                  </a:lnTo>
                  <a:cubicBezTo>
                    <a:pt x="4943" y="5930"/>
                    <a:pt x="5160" y="5773"/>
                    <a:pt x="5236" y="5541"/>
                  </a:cubicBezTo>
                  <a:lnTo>
                    <a:pt x="6199" y="2573"/>
                  </a:lnTo>
                  <a:cubicBezTo>
                    <a:pt x="6275" y="2340"/>
                    <a:pt x="6190" y="2087"/>
                    <a:pt x="5994" y="1942"/>
                  </a:cubicBezTo>
                  <a:lnTo>
                    <a:pt x="3469" y="109"/>
                  </a:lnTo>
                  <a:cubicBezTo>
                    <a:pt x="3371" y="37"/>
                    <a:pt x="3254" y="0"/>
                    <a:pt x="31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01" name="Google Shape;9101;p75"/>
            <p:cNvSpPr/>
            <p:nvPr/>
          </p:nvSpPr>
          <p:spPr>
            <a:xfrm>
              <a:off x="5648900" y="2616600"/>
              <a:ext cx="482150" cy="481850"/>
            </a:xfrm>
            <a:custGeom>
              <a:avLst/>
              <a:gdLst/>
              <a:ahLst/>
              <a:cxnLst/>
              <a:rect l="l" t="t" r="r" b="b"/>
              <a:pathLst>
                <a:path w="19286" h="19274" extrusionOk="0">
                  <a:moveTo>
                    <a:pt x="9641" y="1133"/>
                  </a:moveTo>
                  <a:cubicBezTo>
                    <a:pt x="9936" y="1133"/>
                    <a:pt x="10230" y="1148"/>
                    <a:pt x="10523" y="1179"/>
                  </a:cubicBezTo>
                  <a:cubicBezTo>
                    <a:pt x="10547" y="1182"/>
                    <a:pt x="10571" y="1185"/>
                    <a:pt x="10595" y="1185"/>
                  </a:cubicBezTo>
                  <a:cubicBezTo>
                    <a:pt x="10641" y="1191"/>
                    <a:pt x="10686" y="1197"/>
                    <a:pt x="10731" y="1203"/>
                  </a:cubicBezTo>
                  <a:cubicBezTo>
                    <a:pt x="10958" y="1230"/>
                    <a:pt x="11181" y="1269"/>
                    <a:pt x="11402" y="1314"/>
                  </a:cubicBezTo>
                  <a:lnTo>
                    <a:pt x="11501" y="1622"/>
                  </a:lnTo>
                  <a:lnTo>
                    <a:pt x="9644" y="2969"/>
                  </a:lnTo>
                  <a:lnTo>
                    <a:pt x="7787" y="1622"/>
                  </a:lnTo>
                  <a:lnTo>
                    <a:pt x="7887" y="1314"/>
                  </a:lnTo>
                  <a:cubicBezTo>
                    <a:pt x="8038" y="1281"/>
                    <a:pt x="8192" y="1254"/>
                    <a:pt x="8349" y="1230"/>
                  </a:cubicBezTo>
                  <a:lnTo>
                    <a:pt x="8352" y="1230"/>
                  </a:lnTo>
                  <a:cubicBezTo>
                    <a:pt x="8418" y="1221"/>
                    <a:pt x="8488" y="1209"/>
                    <a:pt x="8554" y="1203"/>
                  </a:cubicBezTo>
                  <a:cubicBezTo>
                    <a:pt x="8606" y="1194"/>
                    <a:pt x="8660" y="1188"/>
                    <a:pt x="8714" y="1185"/>
                  </a:cubicBezTo>
                  <a:lnTo>
                    <a:pt x="8760" y="1179"/>
                  </a:lnTo>
                  <a:cubicBezTo>
                    <a:pt x="9053" y="1148"/>
                    <a:pt x="9347" y="1133"/>
                    <a:pt x="9641" y="1133"/>
                  </a:cubicBezTo>
                  <a:close/>
                  <a:moveTo>
                    <a:pt x="2591" y="5394"/>
                  </a:moveTo>
                  <a:lnTo>
                    <a:pt x="3300" y="7577"/>
                  </a:lnTo>
                  <a:lnTo>
                    <a:pt x="1444" y="8926"/>
                  </a:lnTo>
                  <a:lnTo>
                    <a:pt x="1184" y="8736"/>
                  </a:lnTo>
                  <a:cubicBezTo>
                    <a:pt x="1187" y="8700"/>
                    <a:pt x="1193" y="8661"/>
                    <a:pt x="1199" y="8621"/>
                  </a:cubicBezTo>
                  <a:cubicBezTo>
                    <a:pt x="1202" y="8594"/>
                    <a:pt x="1205" y="8567"/>
                    <a:pt x="1208" y="8540"/>
                  </a:cubicBezTo>
                  <a:cubicBezTo>
                    <a:pt x="1211" y="8498"/>
                    <a:pt x="1220" y="8455"/>
                    <a:pt x="1226" y="8413"/>
                  </a:cubicBezTo>
                  <a:cubicBezTo>
                    <a:pt x="1229" y="8383"/>
                    <a:pt x="1232" y="8353"/>
                    <a:pt x="1238" y="8326"/>
                  </a:cubicBezTo>
                  <a:cubicBezTo>
                    <a:pt x="1244" y="8286"/>
                    <a:pt x="1250" y="8247"/>
                    <a:pt x="1256" y="8208"/>
                  </a:cubicBezTo>
                  <a:cubicBezTo>
                    <a:pt x="1265" y="8169"/>
                    <a:pt x="1268" y="8141"/>
                    <a:pt x="1274" y="8108"/>
                  </a:cubicBezTo>
                  <a:cubicBezTo>
                    <a:pt x="1280" y="8075"/>
                    <a:pt x="1290" y="8036"/>
                    <a:pt x="1296" y="7999"/>
                  </a:cubicBezTo>
                  <a:cubicBezTo>
                    <a:pt x="1302" y="7966"/>
                    <a:pt x="1308" y="7930"/>
                    <a:pt x="1317" y="7894"/>
                  </a:cubicBezTo>
                  <a:cubicBezTo>
                    <a:pt x="1323" y="7861"/>
                    <a:pt x="1332" y="7824"/>
                    <a:pt x="1338" y="7791"/>
                  </a:cubicBezTo>
                  <a:cubicBezTo>
                    <a:pt x="1347" y="7755"/>
                    <a:pt x="1356" y="7719"/>
                    <a:pt x="1362" y="7682"/>
                  </a:cubicBezTo>
                  <a:cubicBezTo>
                    <a:pt x="1371" y="7649"/>
                    <a:pt x="1380" y="7613"/>
                    <a:pt x="1389" y="7577"/>
                  </a:cubicBezTo>
                  <a:cubicBezTo>
                    <a:pt x="1398" y="7541"/>
                    <a:pt x="1407" y="7510"/>
                    <a:pt x="1413" y="7477"/>
                  </a:cubicBezTo>
                  <a:cubicBezTo>
                    <a:pt x="1425" y="7441"/>
                    <a:pt x="1434" y="7399"/>
                    <a:pt x="1447" y="7359"/>
                  </a:cubicBezTo>
                  <a:cubicBezTo>
                    <a:pt x="1456" y="7332"/>
                    <a:pt x="1462" y="7305"/>
                    <a:pt x="1471" y="7278"/>
                  </a:cubicBezTo>
                  <a:cubicBezTo>
                    <a:pt x="1483" y="7233"/>
                    <a:pt x="1495" y="7187"/>
                    <a:pt x="1510" y="7142"/>
                  </a:cubicBezTo>
                  <a:cubicBezTo>
                    <a:pt x="1516" y="7124"/>
                    <a:pt x="1522" y="7106"/>
                    <a:pt x="1528" y="7085"/>
                  </a:cubicBezTo>
                  <a:cubicBezTo>
                    <a:pt x="1546" y="7030"/>
                    <a:pt x="1561" y="6976"/>
                    <a:pt x="1579" y="6925"/>
                  </a:cubicBezTo>
                  <a:lnTo>
                    <a:pt x="1588" y="6900"/>
                  </a:lnTo>
                  <a:cubicBezTo>
                    <a:pt x="1767" y="6375"/>
                    <a:pt x="1996" y="5871"/>
                    <a:pt x="2274" y="5394"/>
                  </a:cubicBezTo>
                  <a:close/>
                  <a:moveTo>
                    <a:pt x="17012" y="5394"/>
                  </a:moveTo>
                  <a:cubicBezTo>
                    <a:pt x="17253" y="5813"/>
                    <a:pt x="17462" y="6257"/>
                    <a:pt x="17628" y="6713"/>
                  </a:cubicBezTo>
                  <a:lnTo>
                    <a:pt x="17628" y="6719"/>
                  </a:lnTo>
                  <a:cubicBezTo>
                    <a:pt x="17649" y="6774"/>
                    <a:pt x="17670" y="6831"/>
                    <a:pt x="17688" y="6888"/>
                  </a:cubicBezTo>
                  <a:cubicBezTo>
                    <a:pt x="17694" y="6906"/>
                    <a:pt x="17700" y="6922"/>
                    <a:pt x="17706" y="6937"/>
                  </a:cubicBezTo>
                  <a:cubicBezTo>
                    <a:pt x="17721" y="6982"/>
                    <a:pt x="17736" y="7027"/>
                    <a:pt x="17749" y="7072"/>
                  </a:cubicBezTo>
                  <a:cubicBezTo>
                    <a:pt x="17758" y="7103"/>
                    <a:pt x="17767" y="7130"/>
                    <a:pt x="17776" y="7157"/>
                  </a:cubicBezTo>
                  <a:cubicBezTo>
                    <a:pt x="17788" y="7196"/>
                    <a:pt x="17797" y="7230"/>
                    <a:pt x="17809" y="7266"/>
                  </a:cubicBezTo>
                  <a:cubicBezTo>
                    <a:pt x="17818" y="7305"/>
                    <a:pt x="17830" y="7341"/>
                    <a:pt x="17839" y="7377"/>
                  </a:cubicBezTo>
                  <a:cubicBezTo>
                    <a:pt x="17848" y="7408"/>
                    <a:pt x="17857" y="7438"/>
                    <a:pt x="17863" y="7468"/>
                  </a:cubicBezTo>
                  <a:cubicBezTo>
                    <a:pt x="17875" y="7510"/>
                    <a:pt x="17887" y="7553"/>
                    <a:pt x="17896" y="7598"/>
                  </a:cubicBezTo>
                  <a:lnTo>
                    <a:pt x="17915" y="7673"/>
                  </a:lnTo>
                  <a:cubicBezTo>
                    <a:pt x="17927" y="7722"/>
                    <a:pt x="17936" y="7767"/>
                    <a:pt x="17948" y="7812"/>
                  </a:cubicBezTo>
                  <a:lnTo>
                    <a:pt x="17963" y="7885"/>
                  </a:lnTo>
                  <a:cubicBezTo>
                    <a:pt x="17972" y="7933"/>
                    <a:pt x="17981" y="7978"/>
                    <a:pt x="17990" y="8027"/>
                  </a:cubicBezTo>
                  <a:cubicBezTo>
                    <a:pt x="17996" y="8051"/>
                    <a:pt x="18002" y="8075"/>
                    <a:pt x="18005" y="8099"/>
                  </a:cubicBezTo>
                  <a:cubicBezTo>
                    <a:pt x="18014" y="8144"/>
                    <a:pt x="18020" y="8193"/>
                    <a:pt x="18029" y="8238"/>
                  </a:cubicBezTo>
                  <a:cubicBezTo>
                    <a:pt x="18032" y="8265"/>
                    <a:pt x="18038" y="8289"/>
                    <a:pt x="18041" y="8317"/>
                  </a:cubicBezTo>
                  <a:cubicBezTo>
                    <a:pt x="18050" y="8362"/>
                    <a:pt x="18057" y="8404"/>
                    <a:pt x="18063" y="8449"/>
                  </a:cubicBezTo>
                  <a:cubicBezTo>
                    <a:pt x="18066" y="8477"/>
                    <a:pt x="18069" y="8507"/>
                    <a:pt x="18075" y="8534"/>
                  </a:cubicBezTo>
                  <a:cubicBezTo>
                    <a:pt x="18078" y="8576"/>
                    <a:pt x="18084" y="8621"/>
                    <a:pt x="18090" y="8664"/>
                  </a:cubicBezTo>
                  <a:cubicBezTo>
                    <a:pt x="18093" y="8688"/>
                    <a:pt x="18096" y="8712"/>
                    <a:pt x="18096" y="8739"/>
                  </a:cubicBezTo>
                  <a:lnTo>
                    <a:pt x="17836" y="8926"/>
                  </a:lnTo>
                  <a:lnTo>
                    <a:pt x="15979" y="7580"/>
                  </a:lnTo>
                  <a:lnTo>
                    <a:pt x="16689" y="5397"/>
                  </a:lnTo>
                  <a:lnTo>
                    <a:pt x="17012" y="5394"/>
                  </a:lnTo>
                  <a:close/>
                  <a:moveTo>
                    <a:pt x="5722" y="15029"/>
                  </a:moveTo>
                  <a:lnTo>
                    <a:pt x="6432" y="17212"/>
                  </a:lnTo>
                  <a:lnTo>
                    <a:pt x="6172" y="17402"/>
                  </a:lnTo>
                  <a:cubicBezTo>
                    <a:pt x="5091" y="16916"/>
                    <a:pt x="4125" y="16209"/>
                    <a:pt x="3331" y="15331"/>
                  </a:cubicBezTo>
                  <a:lnTo>
                    <a:pt x="3427" y="15029"/>
                  </a:lnTo>
                  <a:close/>
                  <a:moveTo>
                    <a:pt x="15855" y="15029"/>
                  </a:moveTo>
                  <a:lnTo>
                    <a:pt x="15952" y="15331"/>
                  </a:lnTo>
                  <a:cubicBezTo>
                    <a:pt x="15158" y="16209"/>
                    <a:pt x="14192" y="16916"/>
                    <a:pt x="13111" y="17402"/>
                  </a:cubicBezTo>
                  <a:lnTo>
                    <a:pt x="12851" y="17212"/>
                  </a:lnTo>
                  <a:lnTo>
                    <a:pt x="13561" y="15029"/>
                  </a:lnTo>
                  <a:close/>
                  <a:moveTo>
                    <a:pt x="6571" y="1707"/>
                  </a:moveTo>
                  <a:cubicBezTo>
                    <a:pt x="6516" y="1927"/>
                    <a:pt x="6604" y="2160"/>
                    <a:pt x="6788" y="2296"/>
                  </a:cubicBezTo>
                  <a:lnTo>
                    <a:pt x="9309" y="4129"/>
                  </a:lnTo>
                  <a:cubicBezTo>
                    <a:pt x="9409" y="4199"/>
                    <a:pt x="9526" y="4235"/>
                    <a:pt x="9643" y="4235"/>
                  </a:cubicBezTo>
                  <a:cubicBezTo>
                    <a:pt x="9760" y="4235"/>
                    <a:pt x="9877" y="4199"/>
                    <a:pt x="9976" y="4129"/>
                  </a:cubicBezTo>
                  <a:lnTo>
                    <a:pt x="12498" y="2296"/>
                  </a:lnTo>
                  <a:cubicBezTo>
                    <a:pt x="12682" y="2160"/>
                    <a:pt x="12769" y="1927"/>
                    <a:pt x="12715" y="1707"/>
                  </a:cubicBezTo>
                  <a:lnTo>
                    <a:pt x="12715" y="1707"/>
                  </a:lnTo>
                  <a:cubicBezTo>
                    <a:pt x="14089" y="2241"/>
                    <a:pt x="15300" y="3123"/>
                    <a:pt x="16230" y="4264"/>
                  </a:cubicBezTo>
                  <a:cubicBezTo>
                    <a:pt x="16003" y="4283"/>
                    <a:pt x="15813" y="4437"/>
                    <a:pt x="15744" y="4651"/>
                  </a:cubicBezTo>
                  <a:lnTo>
                    <a:pt x="14777" y="7616"/>
                  </a:lnTo>
                  <a:cubicBezTo>
                    <a:pt x="14702" y="7852"/>
                    <a:pt x="14786" y="8105"/>
                    <a:pt x="14986" y="8250"/>
                  </a:cubicBezTo>
                  <a:lnTo>
                    <a:pt x="17507" y="10083"/>
                  </a:lnTo>
                  <a:cubicBezTo>
                    <a:pt x="17605" y="10155"/>
                    <a:pt x="17721" y="10192"/>
                    <a:pt x="17838" y="10192"/>
                  </a:cubicBezTo>
                  <a:cubicBezTo>
                    <a:pt x="17940" y="10192"/>
                    <a:pt x="18043" y="10164"/>
                    <a:pt x="18135" y="10107"/>
                  </a:cubicBezTo>
                  <a:lnTo>
                    <a:pt x="18135" y="10107"/>
                  </a:lnTo>
                  <a:cubicBezTo>
                    <a:pt x="18053" y="11581"/>
                    <a:pt x="17592" y="13006"/>
                    <a:pt x="16788" y="14244"/>
                  </a:cubicBezTo>
                  <a:cubicBezTo>
                    <a:pt x="16701" y="14032"/>
                    <a:pt x="16495" y="13896"/>
                    <a:pt x="16269" y="13896"/>
                  </a:cubicBezTo>
                  <a:lnTo>
                    <a:pt x="13150" y="13896"/>
                  </a:lnTo>
                  <a:cubicBezTo>
                    <a:pt x="12905" y="13896"/>
                    <a:pt x="12688" y="14053"/>
                    <a:pt x="12612" y="14289"/>
                  </a:cubicBezTo>
                  <a:lnTo>
                    <a:pt x="11649" y="17254"/>
                  </a:lnTo>
                  <a:cubicBezTo>
                    <a:pt x="11577" y="17471"/>
                    <a:pt x="11646" y="17710"/>
                    <a:pt x="11818" y="17858"/>
                  </a:cubicBezTo>
                  <a:cubicBezTo>
                    <a:pt x="11106" y="18045"/>
                    <a:pt x="10374" y="18139"/>
                    <a:pt x="9643" y="18139"/>
                  </a:cubicBezTo>
                  <a:cubicBezTo>
                    <a:pt x="8911" y="18139"/>
                    <a:pt x="8180" y="18045"/>
                    <a:pt x="7467" y="17858"/>
                  </a:cubicBezTo>
                  <a:cubicBezTo>
                    <a:pt x="7639" y="17710"/>
                    <a:pt x="7709" y="17471"/>
                    <a:pt x="7636" y="17254"/>
                  </a:cubicBezTo>
                  <a:lnTo>
                    <a:pt x="6673" y="14289"/>
                  </a:lnTo>
                  <a:cubicBezTo>
                    <a:pt x="6598" y="14053"/>
                    <a:pt x="6380" y="13896"/>
                    <a:pt x="6136" y="13896"/>
                  </a:cubicBezTo>
                  <a:lnTo>
                    <a:pt x="3020" y="13896"/>
                  </a:lnTo>
                  <a:cubicBezTo>
                    <a:pt x="2790" y="13896"/>
                    <a:pt x="2585" y="14032"/>
                    <a:pt x="2497" y="14244"/>
                  </a:cubicBezTo>
                  <a:cubicBezTo>
                    <a:pt x="1694" y="13006"/>
                    <a:pt x="1229" y="11581"/>
                    <a:pt x="1151" y="10107"/>
                  </a:cubicBezTo>
                  <a:lnTo>
                    <a:pt x="1151" y="10107"/>
                  </a:lnTo>
                  <a:cubicBezTo>
                    <a:pt x="1240" y="10163"/>
                    <a:pt x="1342" y="10191"/>
                    <a:pt x="1443" y="10191"/>
                  </a:cubicBezTo>
                  <a:cubicBezTo>
                    <a:pt x="1560" y="10191"/>
                    <a:pt x="1677" y="10154"/>
                    <a:pt x="1776" y="10083"/>
                  </a:cubicBezTo>
                  <a:lnTo>
                    <a:pt x="4300" y="8250"/>
                  </a:lnTo>
                  <a:cubicBezTo>
                    <a:pt x="4496" y="8105"/>
                    <a:pt x="4581" y="7852"/>
                    <a:pt x="4505" y="7616"/>
                  </a:cubicBezTo>
                  <a:lnTo>
                    <a:pt x="3542" y="4654"/>
                  </a:lnTo>
                  <a:cubicBezTo>
                    <a:pt x="3473" y="4440"/>
                    <a:pt x="3279" y="4286"/>
                    <a:pt x="3053" y="4264"/>
                  </a:cubicBezTo>
                  <a:cubicBezTo>
                    <a:pt x="3986" y="3123"/>
                    <a:pt x="5197" y="2241"/>
                    <a:pt x="6568" y="1707"/>
                  </a:cubicBezTo>
                  <a:close/>
                  <a:moveTo>
                    <a:pt x="9641" y="1"/>
                  </a:moveTo>
                  <a:cubicBezTo>
                    <a:pt x="9566" y="1"/>
                    <a:pt x="9490" y="1"/>
                    <a:pt x="9412" y="4"/>
                  </a:cubicBezTo>
                  <a:lnTo>
                    <a:pt x="9394" y="4"/>
                  </a:lnTo>
                  <a:cubicBezTo>
                    <a:pt x="9318" y="7"/>
                    <a:pt x="9246" y="7"/>
                    <a:pt x="9173" y="13"/>
                  </a:cubicBezTo>
                  <a:lnTo>
                    <a:pt x="9137" y="13"/>
                  </a:lnTo>
                  <a:cubicBezTo>
                    <a:pt x="9077" y="16"/>
                    <a:pt x="9019" y="19"/>
                    <a:pt x="8959" y="22"/>
                  </a:cubicBezTo>
                  <a:lnTo>
                    <a:pt x="8908" y="25"/>
                  </a:lnTo>
                  <a:cubicBezTo>
                    <a:pt x="8850" y="31"/>
                    <a:pt x="8790" y="37"/>
                    <a:pt x="8732" y="40"/>
                  </a:cubicBezTo>
                  <a:lnTo>
                    <a:pt x="8630" y="52"/>
                  </a:lnTo>
                  <a:lnTo>
                    <a:pt x="8551" y="61"/>
                  </a:lnTo>
                  <a:cubicBezTo>
                    <a:pt x="8476" y="67"/>
                    <a:pt x="8400" y="76"/>
                    <a:pt x="8325" y="88"/>
                  </a:cubicBezTo>
                  <a:lnTo>
                    <a:pt x="8313" y="88"/>
                  </a:lnTo>
                  <a:cubicBezTo>
                    <a:pt x="3965" y="695"/>
                    <a:pt x="574" y="4162"/>
                    <a:pt x="67" y="8522"/>
                  </a:cubicBezTo>
                  <a:lnTo>
                    <a:pt x="67" y="8525"/>
                  </a:lnTo>
                  <a:lnTo>
                    <a:pt x="67" y="8537"/>
                  </a:lnTo>
                  <a:cubicBezTo>
                    <a:pt x="61" y="8609"/>
                    <a:pt x="52" y="8685"/>
                    <a:pt x="46" y="8760"/>
                  </a:cubicBezTo>
                  <a:cubicBezTo>
                    <a:pt x="42" y="8794"/>
                    <a:pt x="39" y="8827"/>
                    <a:pt x="36" y="8860"/>
                  </a:cubicBezTo>
                  <a:cubicBezTo>
                    <a:pt x="33" y="8893"/>
                    <a:pt x="33" y="8920"/>
                    <a:pt x="30" y="8951"/>
                  </a:cubicBezTo>
                  <a:lnTo>
                    <a:pt x="30" y="8966"/>
                  </a:lnTo>
                  <a:cubicBezTo>
                    <a:pt x="30" y="8969"/>
                    <a:pt x="30" y="8972"/>
                    <a:pt x="30" y="8975"/>
                  </a:cubicBezTo>
                  <a:cubicBezTo>
                    <a:pt x="15" y="9195"/>
                    <a:pt x="6" y="9416"/>
                    <a:pt x="6" y="9636"/>
                  </a:cubicBezTo>
                  <a:cubicBezTo>
                    <a:pt x="0" y="12000"/>
                    <a:pt x="870" y="14286"/>
                    <a:pt x="2449" y="16046"/>
                  </a:cubicBezTo>
                  <a:lnTo>
                    <a:pt x="2458" y="16055"/>
                  </a:lnTo>
                  <a:cubicBezTo>
                    <a:pt x="2576" y="16191"/>
                    <a:pt x="2703" y="16321"/>
                    <a:pt x="2829" y="16451"/>
                  </a:cubicBezTo>
                  <a:lnTo>
                    <a:pt x="2860" y="16478"/>
                  </a:lnTo>
                  <a:lnTo>
                    <a:pt x="2866" y="16484"/>
                  </a:lnTo>
                  <a:cubicBezTo>
                    <a:pt x="2932" y="16551"/>
                    <a:pt x="2999" y="16617"/>
                    <a:pt x="3068" y="16680"/>
                  </a:cubicBezTo>
                  <a:lnTo>
                    <a:pt x="3077" y="16689"/>
                  </a:lnTo>
                  <a:cubicBezTo>
                    <a:pt x="4927" y="18412"/>
                    <a:pt x="7285" y="19274"/>
                    <a:pt x="9643" y="19274"/>
                  </a:cubicBezTo>
                  <a:cubicBezTo>
                    <a:pt x="12000" y="19274"/>
                    <a:pt x="14357" y="18413"/>
                    <a:pt x="16206" y="16692"/>
                  </a:cubicBezTo>
                  <a:lnTo>
                    <a:pt x="16224" y="16677"/>
                  </a:lnTo>
                  <a:cubicBezTo>
                    <a:pt x="16287" y="16620"/>
                    <a:pt x="16351" y="16560"/>
                    <a:pt x="16411" y="16496"/>
                  </a:cubicBezTo>
                  <a:lnTo>
                    <a:pt x="16435" y="16475"/>
                  </a:lnTo>
                  <a:lnTo>
                    <a:pt x="16459" y="16451"/>
                  </a:lnTo>
                  <a:cubicBezTo>
                    <a:pt x="16583" y="16324"/>
                    <a:pt x="16704" y="16197"/>
                    <a:pt x="16822" y="16067"/>
                  </a:cubicBezTo>
                  <a:lnTo>
                    <a:pt x="16861" y="16025"/>
                  </a:lnTo>
                  <a:cubicBezTo>
                    <a:pt x="16912" y="15965"/>
                    <a:pt x="16963" y="15907"/>
                    <a:pt x="17015" y="15847"/>
                  </a:cubicBezTo>
                  <a:lnTo>
                    <a:pt x="17030" y="15829"/>
                  </a:lnTo>
                  <a:lnTo>
                    <a:pt x="17036" y="15823"/>
                  </a:lnTo>
                  <a:cubicBezTo>
                    <a:pt x="18491" y="14090"/>
                    <a:pt x="19285" y="11898"/>
                    <a:pt x="19279" y="9636"/>
                  </a:cubicBezTo>
                  <a:cubicBezTo>
                    <a:pt x="19279" y="9413"/>
                    <a:pt x="19270" y="9189"/>
                    <a:pt x="19255" y="8969"/>
                  </a:cubicBezTo>
                  <a:cubicBezTo>
                    <a:pt x="19255" y="8969"/>
                    <a:pt x="19255" y="8969"/>
                    <a:pt x="19255" y="8966"/>
                  </a:cubicBezTo>
                  <a:lnTo>
                    <a:pt x="19255" y="8963"/>
                  </a:lnTo>
                  <a:cubicBezTo>
                    <a:pt x="19252" y="8923"/>
                    <a:pt x="19249" y="8881"/>
                    <a:pt x="19246" y="8842"/>
                  </a:cubicBezTo>
                  <a:lnTo>
                    <a:pt x="19243" y="8788"/>
                  </a:lnTo>
                  <a:cubicBezTo>
                    <a:pt x="18848" y="4319"/>
                    <a:pt x="15421" y="714"/>
                    <a:pt x="10976" y="92"/>
                  </a:cubicBezTo>
                  <a:lnTo>
                    <a:pt x="10946" y="85"/>
                  </a:lnTo>
                  <a:cubicBezTo>
                    <a:pt x="10879" y="76"/>
                    <a:pt x="10810" y="70"/>
                    <a:pt x="10740" y="61"/>
                  </a:cubicBezTo>
                  <a:lnTo>
                    <a:pt x="10650" y="52"/>
                  </a:lnTo>
                  <a:lnTo>
                    <a:pt x="10553" y="40"/>
                  </a:lnTo>
                  <a:cubicBezTo>
                    <a:pt x="10496" y="37"/>
                    <a:pt x="10435" y="31"/>
                    <a:pt x="10375" y="25"/>
                  </a:cubicBezTo>
                  <a:lnTo>
                    <a:pt x="10327" y="22"/>
                  </a:lnTo>
                  <a:cubicBezTo>
                    <a:pt x="10266" y="19"/>
                    <a:pt x="10206" y="16"/>
                    <a:pt x="10146" y="13"/>
                  </a:cubicBezTo>
                  <a:lnTo>
                    <a:pt x="10112" y="13"/>
                  </a:lnTo>
                  <a:cubicBezTo>
                    <a:pt x="10040" y="7"/>
                    <a:pt x="9964" y="4"/>
                    <a:pt x="9892" y="4"/>
                  </a:cubicBezTo>
                  <a:lnTo>
                    <a:pt x="9871" y="4"/>
                  </a:lnTo>
                  <a:cubicBezTo>
                    <a:pt x="9795" y="1"/>
                    <a:pt x="9720" y="1"/>
                    <a:pt x="9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02" name="Google Shape;9102;p75"/>
          <p:cNvGrpSpPr/>
          <p:nvPr/>
        </p:nvGrpSpPr>
        <p:grpSpPr>
          <a:xfrm>
            <a:off x="4735130" y="3963142"/>
            <a:ext cx="325626" cy="325694"/>
            <a:chOff x="6242825" y="2615925"/>
            <a:chExt cx="483125" cy="483225"/>
          </a:xfrm>
        </p:grpSpPr>
        <p:sp>
          <p:nvSpPr>
            <p:cNvPr id="9103" name="Google Shape;9103;p75"/>
            <p:cNvSpPr/>
            <p:nvPr/>
          </p:nvSpPr>
          <p:spPr>
            <a:xfrm>
              <a:off x="6242825" y="2672550"/>
              <a:ext cx="483125" cy="426600"/>
            </a:xfrm>
            <a:custGeom>
              <a:avLst/>
              <a:gdLst/>
              <a:ahLst/>
              <a:cxnLst/>
              <a:rect l="l" t="t" r="r" b="b"/>
              <a:pathLst>
                <a:path w="19325" h="17064" extrusionOk="0">
                  <a:moveTo>
                    <a:pt x="10230" y="2331"/>
                  </a:moveTo>
                  <a:cubicBezTo>
                    <a:pt x="11387" y="2603"/>
                    <a:pt x="12437" y="3687"/>
                    <a:pt x="13056" y="5299"/>
                  </a:cubicBezTo>
                  <a:cubicBezTo>
                    <a:pt x="13144" y="5524"/>
                    <a:pt x="13357" y="5662"/>
                    <a:pt x="13583" y="5662"/>
                  </a:cubicBezTo>
                  <a:cubicBezTo>
                    <a:pt x="13652" y="5662"/>
                    <a:pt x="13722" y="5649"/>
                    <a:pt x="13790" y="5623"/>
                  </a:cubicBezTo>
                  <a:cubicBezTo>
                    <a:pt x="14083" y="5511"/>
                    <a:pt x="14228" y="5185"/>
                    <a:pt x="14113" y="4892"/>
                  </a:cubicBezTo>
                  <a:cubicBezTo>
                    <a:pt x="13790" y="4049"/>
                    <a:pt x="13349" y="3307"/>
                    <a:pt x="12830" y="2712"/>
                  </a:cubicBezTo>
                  <a:lnTo>
                    <a:pt x="12830" y="2712"/>
                  </a:lnTo>
                  <a:cubicBezTo>
                    <a:pt x="13911" y="3029"/>
                    <a:pt x="14901" y="3512"/>
                    <a:pt x="15750" y="4143"/>
                  </a:cubicBezTo>
                  <a:cubicBezTo>
                    <a:pt x="16882" y="4988"/>
                    <a:pt x="17649" y="6024"/>
                    <a:pt x="17990" y="7147"/>
                  </a:cubicBezTo>
                  <a:cubicBezTo>
                    <a:pt x="17519" y="6915"/>
                    <a:pt x="17000" y="6794"/>
                    <a:pt x="16476" y="6794"/>
                  </a:cubicBezTo>
                  <a:cubicBezTo>
                    <a:pt x="16469" y="6794"/>
                    <a:pt x="16463" y="6794"/>
                    <a:pt x="16456" y="6794"/>
                  </a:cubicBezTo>
                  <a:cubicBezTo>
                    <a:pt x="15729" y="6794"/>
                    <a:pt x="15040" y="7012"/>
                    <a:pt x="14515" y="7404"/>
                  </a:cubicBezTo>
                  <a:cubicBezTo>
                    <a:pt x="14400" y="7492"/>
                    <a:pt x="14291" y="7588"/>
                    <a:pt x="14192" y="7694"/>
                  </a:cubicBezTo>
                  <a:cubicBezTo>
                    <a:pt x="14092" y="7588"/>
                    <a:pt x="13983" y="7492"/>
                    <a:pt x="13869" y="7404"/>
                  </a:cubicBezTo>
                  <a:cubicBezTo>
                    <a:pt x="13343" y="7012"/>
                    <a:pt x="12655" y="6794"/>
                    <a:pt x="11927" y="6794"/>
                  </a:cubicBezTo>
                  <a:cubicBezTo>
                    <a:pt x="11199" y="6794"/>
                    <a:pt x="10511" y="7012"/>
                    <a:pt x="9986" y="7404"/>
                  </a:cubicBezTo>
                  <a:cubicBezTo>
                    <a:pt x="9871" y="7492"/>
                    <a:pt x="9762" y="7588"/>
                    <a:pt x="9662" y="7694"/>
                  </a:cubicBezTo>
                  <a:cubicBezTo>
                    <a:pt x="9563" y="7588"/>
                    <a:pt x="9454" y="7492"/>
                    <a:pt x="9339" y="7404"/>
                  </a:cubicBezTo>
                  <a:cubicBezTo>
                    <a:pt x="8814" y="7012"/>
                    <a:pt x="8126" y="6794"/>
                    <a:pt x="7398" y="6794"/>
                  </a:cubicBezTo>
                  <a:cubicBezTo>
                    <a:pt x="6670" y="6794"/>
                    <a:pt x="5982" y="7012"/>
                    <a:pt x="5456" y="7404"/>
                  </a:cubicBezTo>
                  <a:cubicBezTo>
                    <a:pt x="5342" y="7492"/>
                    <a:pt x="5233" y="7588"/>
                    <a:pt x="5133" y="7694"/>
                  </a:cubicBezTo>
                  <a:cubicBezTo>
                    <a:pt x="5034" y="7588"/>
                    <a:pt x="4925" y="7492"/>
                    <a:pt x="4810" y="7404"/>
                  </a:cubicBezTo>
                  <a:cubicBezTo>
                    <a:pt x="4285" y="7012"/>
                    <a:pt x="3596" y="6794"/>
                    <a:pt x="2869" y="6794"/>
                  </a:cubicBezTo>
                  <a:cubicBezTo>
                    <a:pt x="2862" y="6794"/>
                    <a:pt x="2856" y="6794"/>
                    <a:pt x="2849" y="6794"/>
                  </a:cubicBezTo>
                  <a:cubicBezTo>
                    <a:pt x="2324" y="6794"/>
                    <a:pt x="1806" y="6915"/>
                    <a:pt x="1335" y="7147"/>
                  </a:cubicBezTo>
                  <a:cubicBezTo>
                    <a:pt x="1676" y="6024"/>
                    <a:pt x="2443" y="4988"/>
                    <a:pt x="3578" y="4143"/>
                  </a:cubicBezTo>
                  <a:cubicBezTo>
                    <a:pt x="4424" y="3512"/>
                    <a:pt x="5414" y="3029"/>
                    <a:pt x="6498" y="2712"/>
                  </a:cubicBezTo>
                  <a:lnTo>
                    <a:pt x="6498" y="2712"/>
                  </a:lnTo>
                  <a:cubicBezTo>
                    <a:pt x="5976" y="3307"/>
                    <a:pt x="5538" y="4049"/>
                    <a:pt x="5212" y="4892"/>
                  </a:cubicBezTo>
                  <a:cubicBezTo>
                    <a:pt x="5097" y="5185"/>
                    <a:pt x="5245" y="5511"/>
                    <a:pt x="5535" y="5623"/>
                  </a:cubicBezTo>
                  <a:cubicBezTo>
                    <a:pt x="5603" y="5649"/>
                    <a:pt x="5673" y="5662"/>
                    <a:pt x="5742" y="5662"/>
                  </a:cubicBezTo>
                  <a:cubicBezTo>
                    <a:pt x="5968" y="5662"/>
                    <a:pt x="6181" y="5524"/>
                    <a:pt x="6269" y="5299"/>
                  </a:cubicBezTo>
                  <a:cubicBezTo>
                    <a:pt x="6891" y="3687"/>
                    <a:pt x="7941" y="2603"/>
                    <a:pt x="9098" y="2331"/>
                  </a:cubicBezTo>
                  <a:lnTo>
                    <a:pt x="9098" y="5097"/>
                  </a:lnTo>
                  <a:cubicBezTo>
                    <a:pt x="9098" y="5408"/>
                    <a:pt x="9351" y="5662"/>
                    <a:pt x="9662" y="5662"/>
                  </a:cubicBezTo>
                  <a:cubicBezTo>
                    <a:pt x="9976" y="5662"/>
                    <a:pt x="10230" y="5408"/>
                    <a:pt x="10230" y="5097"/>
                  </a:cubicBezTo>
                  <a:lnTo>
                    <a:pt x="10230" y="2331"/>
                  </a:lnTo>
                  <a:close/>
                  <a:moveTo>
                    <a:pt x="9662" y="0"/>
                  </a:moveTo>
                  <a:cubicBezTo>
                    <a:pt x="9348" y="0"/>
                    <a:pt x="9098" y="254"/>
                    <a:pt x="9098" y="568"/>
                  </a:cubicBezTo>
                  <a:lnTo>
                    <a:pt x="9098" y="1145"/>
                  </a:lnTo>
                  <a:cubicBezTo>
                    <a:pt x="6764" y="1247"/>
                    <a:pt x="4584" y="1981"/>
                    <a:pt x="2899" y="3234"/>
                  </a:cubicBezTo>
                  <a:cubicBezTo>
                    <a:pt x="1030" y="4629"/>
                    <a:pt x="0" y="6495"/>
                    <a:pt x="0" y="8494"/>
                  </a:cubicBezTo>
                  <a:lnTo>
                    <a:pt x="0" y="9059"/>
                  </a:lnTo>
                  <a:cubicBezTo>
                    <a:pt x="0" y="9373"/>
                    <a:pt x="254" y="9626"/>
                    <a:pt x="568" y="9626"/>
                  </a:cubicBezTo>
                  <a:cubicBezTo>
                    <a:pt x="879" y="9626"/>
                    <a:pt x="1133" y="9373"/>
                    <a:pt x="1133" y="9059"/>
                  </a:cubicBezTo>
                  <a:cubicBezTo>
                    <a:pt x="1133" y="8455"/>
                    <a:pt x="1945" y="7926"/>
                    <a:pt x="2869" y="7926"/>
                  </a:cubicBezTo>
                  <a:cubicBezTo>
                    <a:pt x="3793" y="7926"/>
                    <a:pt x="4569" y="8446"/>
                    <a:pt x="4569" y="9059"/>
                  </a:cubicBezTo>
                  <a:cubicBezTo>
                    <a:pt x="4569" y="9373"/>
                    <a:pt x="4819" y="9623"/>
                    <a:pt x="5133" y="9623"/>
                  </a:cubicBezTo>
                  <a:cubicBezTo>
                    <a:pt x="5447" y="9623"/>
                    <a:pt x="5701" y="9373"/>
                    <a:pt x="5701" y="9059"/>
                  </a:cubicBezTo>
                  <a:cubicBezTo>
                    <a:pt x="5701" y="8446"/>
                    <a:pt x="6477" y="7926"/>
                    <a:pt x="7398" y="7926"/>
                  </a:cubicBezTo>
                  <a:cubicBezTo>
                    <a:pt x="8319" y="7926"/>
                    <a:pt x="9098" y="8446"/>
                    <a:pt x="9098" y="9059"/>
                  </a:cubicBezTo>
                  <a:lnTo>
                    <a:pt x="9098" y="9475"/>
                  </a:lnTo>
                  <a:cubicBezTo>
                    <a:pt x="9098" y="9500"/>
                    <a:pt x="9098" y="9527"/>
                    <a:pt x="9101" y="9551"/>
                  </a:cubicBezTo>
                  <a:cubicBezTo>
                    <a:pt x="9098" y="9575"/>
                    <a:pt x="9098" y="9602"/>
                    <a:pt x="9098" y="9626"/>
                  </a:cubicBezTo>
                  <a:lnTo>
                    <a:pt x="9098" y="14799"/>
                  </a:lnTo>
                  <a:cubicBezTo>
                    <a:pt x="9098" y="15424"/>
                    <a:pt x="8591" y="15931"/>
                    <a:pt x="7966" y="15931"/>
                  </a:cubicBezTo>
                  <a:cubicBezTo>
                    <a:pt x="7337" y="15931"/>
                    <a:pt x="6833" y="15424"/>
                    <a:pt x="6833" y="14799"/>
                  </a:cubicBezTo>
                  <a:lnTo>
                    <a:pt x="6833" y="14231"/>
                  </a:lnTo>
                  <a:cubicBezTo>
                    <a:pt x="6833" y="13920"/>
                    <a:pt x="6580" y="13666"/>
                    <a:pt x="6266" y="13666"/>
                  </a:cubicBezTo>
                  <a:cubicBezTo>
                    <a:pt x="5952" y="13666"/>
                    <a:pt x="5701" y="13920"/>
                    <a:pt x="5701" y="14231"/>
                  </a:cubicBezTo>
                  <a:lnTo>
                    <a:pt x="5701" y="14799"/>
                  </a:lnTo>
                  <a:cubicBezTo>
                    <a:pt x="5701" y="16049"/>
                    <a:pt x="6712" y="17063"/>
                    <a:pt x="7966" y="17063"/>
                  </a:cubicBezTo>
                  <a:cubicBezTo>
                    <a:pt x="9216" y="17063"/>
                    <a:pt x="10230" y="16049"/>
                    <a:pt x="10230" y="14799"/>
                  </a:cubicBezTo>
                  <a:lnTo>
                    <a:pt x="10230" y="9626"/>
                  </a:lnTo>
                  <a:cubicBezTo>
                    <a:pt x="10227" y="9599"/>
                    <a:pt x="10227" y="9575"/>
                    <a:pt x="10224" y="9551"/>
                  </a:cubicBezTo>
                  <a:cubicBezTo>
                    <a:pt x="10227" y="9524"/>
                    <a:pt x="10227" y="9500"/>
                    <a:pt x="10230" y="9475"/>
                  </a:cubicBezTo>
                  <a:lnTo>
                    <a:pt x="10230" y="9059"/>
                  </a:lnTo>
                  <a:cubicBezTo>
                    <a:pt x="10230" y="8446"/>
                    <a:pt x="11006" y="7926"/>
                    <a:pt x="11927" y="7926"/>
                  </a:cubicBezTo>
                  <a:cubicBezTo>
                    <a:pt x="12848" y="7926"/>
                    <a:pt x="13627" y="8446"/>
                    <a:pt x="13627" y="9059"/>
                  </a:cubicBezTo>
                  <a:cubicBezTo>
                    <a:pt x="13627" y="9373"/>
                    <a:pt x="13878" y="9623"/>
                    <a:pt x="14192" y="9623"/>
                  </a:cubicBezTo>
                  <a:cubicBezTo>
                    <a:pt x="14506" y="9623"/>
                    <a:pt x="14759" y="9373"/>
                    <a:pt x="14759" y="9059"/>
                  </a:cubicBezTo>
                  <a:cubicBezTo>
                    <a:pt x="14759" y="8446"/>
                    <a:pt x="15535" y="7926"/>
                    <a:pt x="16456" y="7926"/>
                  </a:cubicBezTo>
                  <a:cubicBezTo>
                    <a:pt x="17377" y="7926"/>
                    <a:pt x="18192" y="8455"/>
                    <a:pt x="18192" y="9059"/>
                  </a:cubicBezTo>
                  <a:cubicBezTo>
                    <a:pt x="18192" y="9373"/>
                    <a:pt x="18446" y="9623"/>
                    <a:pt x="18760" y="9623"/>
                  </a:cubicBezTo>
                  <a:cubicBezTo>
                    <a:pt x="19071" y="9623"/>
                    <a:pt x="19325" y="9373"/>
                    <a:pt x="19325" y="9059"/>
                  </a:cubicBezTo>
                  <a:lnTo>
                    <a:pt x="19325" y="8494"/>
                  </a:lnTo>
                  <a:cubicBezTo>
                    <a:pt x="19325" y="6495"/>
                    <a:pt x="18295" y="4629"/>
                    <a:pt x="16426" y="3234"/>
                  </a:cubicBezTo>
                  <a:cubicBezTo>
                    <a:pt x="14744" y="1981"/>
                    <a:pt x="12561" y="1247"/>
                    <a:pt x="10230" y="1145"/>
                  </a:cubicBezTo>
                  <a:lnTo>
                    <a:pt x="10230" y="568"/>
                  </a:lnTo>
                  <a:cubicBezTo>
                    <a:pt x="10230" y="254"/>
                    <a:pt x="9976" y="0"/>
                    <a:pt x="9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04" name="Google Shape;9104;p75"/>
            <p:cNvSpPr/>
            <p:nvPr/>
          </p:nvSpPr>
          <p:spPr>
            <a:xfrm>
              <a:off x="6413650"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05" name="Google Shape;9105;p75"/>
            <p:cNvSpPr/>
            <p:nvPr/>
          </p:nvSpPr>
          <p:spPr>
            <a:xfrm>
              <a:off x="6526875"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06" name="Google Shape;9106;p75"/>
            <p:cNvSpPr/>
            <p:nvPr/>
          </p:nvSpPr>
          <p:spPr>
            <a:xfrm>
              <a:off x="6611800"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07" name="Google Shape;9107;p75"/>
            <p:cNvSpPr/>
            <p:nvPr/>
          </p:nvSpPr>
          <p:spPr>
            <a:xfrm>
              <a:off x="6328725"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08" name="Google Shape;9108;p75"/>
          <p:cNvSpPr/>
          <p:nvPr/>
        </p:nvSpPr>
        <p:spPr>
          <a:xfrm>
            <a:off x="5053509" y="2716141"/>
            <a:ext cx="345977" cy="321175"/>
          </a:xfrm>
          <a:custGeom>
            <a:avLst/>
            <a:gdLst/>
            <a:ahLst/>
            <a:cxnLst/>
            <a:rect l="l" t="t" r="r" b="b"/>
            <a:pathLst>
              <a:path w="19655" h="18246" extrusionOk="0">
                <a:moveTo>
                  <a:pt x="9829" y="1835"/>
                </a:moveTo>
                <a:lnTo>
                  <a:pt x="12133" y="6452"/>
                </a:lnTo>
                <a:cubicBezTo>
                  <a:pt x="12218" y="6618"/>
                  <a:pt x="12375" y="6733"/>
                  <a:pt x="12559" y="6760"/>
                </a:cubicBezTo>
                <a:lnTo>
                  <a:pt x="17698" y="7500"/>
                </a:lnTo>
                <a:lnTo>
                  <a:pt x="13984" y="11078"/>
                </a:lnTo>
                <a:cubicBezTo>
                  <a:pt x="13848" y="11211"/>
                  <a:pt x="13788" y="11398"/>
                  <a:pt x="13821" y="11582"/>
                </a:cubicBezTo>
                <a:lnTo>
                  <a:pt x="14700" y="16646"/>
                </a:lnTo>
                <a:lnTo>
                  <a:pt x="10092" y="14251"/>
                </a:lnTo>
                <a:cubicBezTo>
                  <a:pt x="10009" y="14209"/>
                  <a:pt x="9919" y="14188"/>
                  <a:pt x="9830" y="14188"/>
                </a:cubicBezTo>
                <a:cubicBezTo>
                  <a:pt x="9740" y="14188"/>
                  <a:pt x="9651" y="14209"/>
                  <a:pt x="9570" y="14251"/>
                </a:cubicBezTo>
                <a:lnTo>
                  <a:pt x="4962" y="16646"/>
                </a:lnTo>
                <a:lnTo>
                  <a:pt x="5838" y="11582"/>
                </a:lnTo>
                <a:cubicBezTo>
                  <a:pt x="5871" y="11398"/>
                  <a:pt x="5810" y="11208"/>
                  <a:pt x="5674" y="11078"/>
                </a:cubicBezTo>
                <a:lnTo>
                  <a:pt x="1961" y="7500"/>
                </a:lnTo>
                <a:lnTo>
                  <a:pt x="7100" y="6760"/>
                </a:lnTo>
                <a:cubicBezTo>
                  <a:pt x="7284" y="6733"/>
                  <a:pt x="7441" y="6618"/>
                  <a:pt x="7525" y="6452"/>
                </a:cubicBezTo>
                <a:lnTo>
                  <a:pt x="9829" y="1835"/>
                </a:lnTo>
                <a:close/>
                <a:moveTo>
                  <a:pt x="9828" y="1"/>
                </a:moveTo>
                <a:cubicBezTo>
                  <a:pt x="9627" y="1"/>
                  <a:pt x="9426" y="105"/>
                  <a:pt x="9322" y="313"/>
                </a:cubicBezTo>
                <a:lnTo>
                  <a:pt x="6641" y="5682"/>
                </a:lnTo>
                <a:lnTo>
                  <a:pt x="653" y="6543"/>
                </a:lnTo>
                <a:cubicBezTo>
                  <a:pt x="188" y="6609"/>
                  <a:pt x="1" y="7183"/>
                  <a:pt x="339" y="7509"/>
                </a:cubicBezTo>
                <a:lnTo>
                  <a:pt x="4672" y="11685"/>
                </a:lnTo>
                <a:lnTo>
                  <a:pt x="3648" y="17579"/>
                </a:lnTo>
                <a:cubicBezTo>
                  <a:pt x="3584" y="17947"/>
                  <a:pt x="3875" y="18245"/>
                  <a:pt x="4207" y="18245"/>
                </a:cubicBezTo>
                <a:cubicBezTo>
                  <a:pt x="4293" y="18245"/>
                  <a:pt x="4383" y="18225"/>
                  <a:pt x="4470" y="18180"/>
                </a:cubicBezTo>
                <a:lnTo>
                  <a:pt x="9829" y="15393"/>
                </a:lnTo>
                <a:lnTo>
                  <a:pt x="15189" y="18180"/>
                </a:lnTo>
                <a:cubicBezTo>
                  <a:pt x="15275" y="18225"/>
                  <a:pt x="15365" y="18245"/>
                  <a:pt x="15452" y="18245"/>
                </a:cubicBezTo>
                <a:cubicBezTo>
                  <a:pt x="15782" y="18245"/>
                  <a:pt x="16072" y="17948"/>
                  <a:pt x="16007" y="17582"/>
                </a:cubicBezTo>
                <a:lnTo>
                  <a:pt x="14986" y="11685"/>
                </a:lnTo>
                <a:lnTo>
                  <a:pt x="19316" y="7512"/>
                </a:lnTo>
                <a:cubicBezTo>
                  <a:pt x="19655" y="7183"/>
                  <a:pt x="19470" y="6609"/>
                  <a:pt x="19005" y="6543"/>
                </a:cubicBezTo>
                <a:lnTo>
                  <a:pt x="13015" y="5682"/>
                </a:lnTo>
                <a:lnTo>
                  <a:pt x="10333" y="313"/>
                </a:lnTo>
                <a:cubicBezTo>
                  <a:pt x="10229" y="105"/>
                  <a:pt x="10029" y="1"/>
                  <a:pt x="9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09" name="Google Shape;9109;p75"/>
          <p:cNvGrpSpPr/>
          <p:nvPr/>
        </p:nvGrpSpPr>
        <p:grpSpPr>
          <a:xfrm>
            <a:off x="5488629" y="2707036"/>
            <a:ext cx="342087" cy="340186"/>
            <a:chOff x="1487200" y="3210375"/>
            <a:chExt cx="485850" cy="483150"/>
          </a:xfrm>
        </p:grpSpPr>
        <p:sp>
          <p:nvSpPr>
            <p:cNvPr id="9110" name="Google Shape;9110;p75"/>
            <p:cNvSpPr/>
            <p:nvPr/>
          </p:nvSpPr>
          <p:spPr>
            <a:xfrm>
              <a:off x="1712075" y="3294975"/>
              <a:ext cx="146750" cy="141525"/>
            </a:xfrm>
            <a:custGeom>
              <a:avLst/>
              <a:gdLst/>
              <a:ahLst/>
              <a:cxnLst/>
              <a:rect l="l" t="t" r="r" b="b"/>
              <a:pathLst>
                <a:path w="5870" h="5661" extrusionOk="0">
                  <a:moveTo>
                    <a:pt x="2935" y="1832"/>
                  </a:moveTo>
                  <a:lnTo>
                    <a:pt x="3183" y="2327"/>
                  </a:lnTo>
                  <a:cubicBezTo>
                    <a:pt x="3237" y="2438"/>
                    <a:pt x="3327" y="2526"/>
                    <a:pt x="3436" y="2580"/>
                  </a:cubicBezTo>
                  <a:lnTo>
                    <a:pt x="3931" y="2831"/>
                  </a:lnTo>
                  <a:lnTo>
                    <a:pt x="3436" y="3079"/>
                  </a:lnTo>
                  <a:cubicBezTo>
                    <a:pt x="3327" y="3133"/>
                    <a:pt x="3237" y="3220"/>
                    <a:pt x="3183" y="3332"/>
                  </a:cubicBezTo>
                  <a:lnTo>
                    <a:pt x="2935" y="3827"/>
                  </a:lnTo>
                  <a:lnTo>
                    <a:pt x="2684" y="3332"/>
                  </a:lnTo>
                  <a:cubicBezTo>
                    <a:pt x="2630" y="3220"/>
                    <a:pt x="2542" y="3133"/>
                    <a:pt x="2431" y="3079"/>
                  </a:cubicBezTo>
                  <a:lnTo>
                    <a:pt x="1936" y="2831"/>
                  </a:lnTo>
                  <a:lnTo>
                    <a:pt x="2431" y="2580"/>
                  </a:lnTo>
                  <a:cubicBezTo>
                    <a:pt x="2542" y="2526"/>
                    <a:pt x="2630" y="2438"/>
                    <a:pt x="2684" y="2327"/>
                  </a:cubicBezTo>
                  <a:lnTo>
                    <a:pt x="2935" y="1832"/>
                  </a:lnTo>
                  <a:close/>
                  <a:moveTo>
                    <a:pt x="2933" y="0"/>
                  </a:moveTo>
                  <a:cubicBezTo>
                    <a:pt x="2733" y="0"/>
                    <a:pt x="2532" y="104"/>
                    <a:pt x="2428" y="313"/>
                  </a:cubicBezTo>
                  <a:lnTo>
                    <a:pt x="1757" y="1653"/>
                  </a:lnTo>
                  <a:lnTo>
                    <a:pt x="417" y="2324"/>
                  </a:lnTo>
                  <a:cubicBezTo>
                    <a:pt x="0" y="2532"/>
                    <a:pt x="0" y="3127"/>
                    <a:pt x="417" y="3335"/>
                  </a:cubicBezTo>
                  <a:lnTo>
                    <a:pt x="1757" y="4006"/>
                  </a:lnTo>
                  <a:lnTo>
                    <a:pt x="2428" y="5346"/>
                  </a:lnTo>
                  <a:cubicBezTo>
                    <a:pt x="2532" y="5556"/>
                    <a:pt x="2733" y="5661"/>
                    <a:pt x="2933" y="5661"/>
                  </a:cubicBezTo>
                  <a:cubicBezTo>
                    <a:pt x="3134" y="5661"/>
                    <a:pt x="3335" y="5556"/>
                    <a:pt x="3439" y="5346"/>
                  </a:cubicBezTo>
                  <a:lnTo>
                    <a:pt x="4110" y="4006"/>
                  </a:lnTo>
                  <a:lnTo>
                    <a:pt x="5453" y="3335"/>
                  </a:lnTo>
                  <a:cubicBezTo>
                    <a:pt x="5870" y="3127"/>
                    <a:pt x="5870" y="2532"/>
                    <a:pt x="5453" y="2324"/>
                  </a:cubicBezTo>
                  <a:lnTo>
                    <a:pt x="4110" y="1653"/>
                  </a:lnTo>
                  <a:lnTo>
                    <a:pt x="3439" y="313"/>
                  </a:lnTo>
                  <a:cubicBezTo>
                    <a:pt x="3335" y="104"/>
                    <a:pt x="3134" y="0"/>
                    <a:pt x="2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11" name="Google Shape;9111;p75"/>
            <p:cNvSpPr/>
            <p:nvPr/>
          </p:nvSpPr>
          <p:spPr>
            <a:xfrm>
              <a:off x="1825300" y="3408200"/>
              <a:ext cx="147750" cy="141550"/>
            </a:xfrm>
            <a:custGeom>
              <a:avLst/>
              <a:gdLst/>
              <a:ahLst/>
              <a:cxnLst/>
              <a:rect l="l" t="t" r="r" b="b"/>
              <a:pathLst>
                <a:path w="5910" h="5662" extrusionOk="0">
                  <a:moveTo>
                    <a:pt x="2935" y="1832"/>
                  </a:moveTo>
                  <a:lnTo>
                    <a:pt x="3183" y="2327"/>
                  </a:lnTo>
                  <a:cubicBezTo>
                    <a:pt x="3237" y="2439"/>
                    <a:pt x="3328" y="2529"/>
                    <a:pt x="3442" y="2584"/>
                  </a:cubicBezTo>
                  <a:lnTo>
                    <a:pt x="3944" y="2831"/>
                  </a:lnTo>
                  <a:lnTo>
                    <a:pt x="3442" y="3076"/>
                  </a:lnTo>
                  <a:cubicBezTo>
                    <a:pt x="3328" y="3130"/>
                    <a:pt x="3237" y="3221"/>
                    <a:pt x="3183" y="3332"/>
                  </a:cubicBezTo>
                  <a:lnTo>
                    <a:pt x="2935" y="3828"/>
                  </a:lnTo>
                  <a:lnTo>
                    <a:pt x="2685" y="3332"/>
                  </a:lnTo>
                  <a:cubicBezTo>
                    <a:pt x="2630" y="3221"/>
                    <a:pt x="2543" y="3133"/>
                    <a:pt x="2434" y="3079"/>
                  </a:cubicBezTo>
                  <a:lnTo>
                    <a:pt x="1936" y="2831"/>
                  </a:lnTo>
                  <a:lnTo>
                    <a:pt x="2434" y="2581"/>
                  </a:lnTo>
                  <a:cubicBezTo>
                    <a:pt x="2543" y="2526"/>
                    <a:pt x="2630" y="2439"/>
                    <a:pt x="2685" y="2327"/>
                  </a:cubicBezTo>
                  <a:lnTo>
                    <a:pt x="2935" y="1832"/>
                  </a:lnTo>
                  <a:close/>
                  <a:moveTo>
                    <a:pt x="2934" y="0"/>
                  </a:moveTo>
                  <a:cubicBezTo>
                    <a:pt x="2733" y="0"/>
                    <a:pt x="2532" y="105"/>
                    <a:pt x="2428" y="313"/>
                  </a:cubicBezTo>
                  <a:lnTo>
                    <a:pt x="1758" y="1654"/>
                  </a:lnTo>
                  <a:lnTo>
                    <a:pt x="417" y="2324"/>
                  </a:lnTo>
                  <a:cubicBezTo>
                    <a:pt x="0" y="2532"/>
                    <a:pt x="0" y="3127"/>
                    <a:pt x="417" y="3335"/>
                  </a:cubicBezTo>
                  <a:lnTo>
                    <a:pt x="1758" y="4006"/>
                  </a:lnTo>
                  <a:lnTo>
                    <a:pt x="2428" y="5346"/>
                  </a:lnTo>
                  <a:cubicBezTo>
                    <a:pt x="2532" y="5556"/>
                    <a:pt x="2733" y="5661"/>
                    <a:pt x="2934" y="5661"/>
                  </a:cubicBezTo>
                  <a:cubicBezTo>
                    <a:pt x="3134" y="5661"/>
                    <a:pt x="3335" y="5556"/>
                    <a:pt x="3439" y="5346"/>
                  </a:cubicBezTo>
                  <a:lnTo>
                    <a:pt x="4110" y="4009"/>
                  </a:lnTo>
                  <a:lnTo>
                    <a:pt x="5484" y="3338"/>
                  </a:lnTo>
                  <a:cubicBezTo>
                    <a:pt x="5909" y="3133"/>
                    <a:pt x="5909" y="2526"/>
                    <a:pt x="5484" y="2321"/>
                  </a:cubicBezTo>
                  <a:lnTo>
                    <a:pt x="4110" y="1651"/>
                  </a:lnTo>
                  <a:lnTo>
                    <a:pt x="3439" y="313"/>
                  </a:lnTo>
                  <a:cubicBezTo>
                    <a:pt x="3335" y="105"/>
                    <a:pt x="3134" y="0"/>
                    <a:pt x="29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12" name="Google Shape;9112;p75"/>
            <p:cNvSpPr/>
            <p:nvPr/>
          </p:nvSpPr>
          <p:spPr>
            <a:xfrm>
              <a:off x="1487200" y="3210375"/>
              <a:ext cx="410350" cy="483150"/>
            </a:xfrm>
            <a:custGeom>
              <a:avLst/>
              <a:gdLst/>
              <a:ahLst/>
              <a:cxnLst/>
              <a:rect l="l" t="t" r="r" b="b"/>
              <a:pathLst>
                <a:path w="16414" h="19326" extrusionOk="0">
                  <a:moveTo>
                    <a:pt x="9662" y="1133"/>
                  </a:moveTo>
                  <a:cubicBezTo>
                    <a:pt x="9744" y="1133"/>
                    <a:pt x="9825" y="1133"/>
                    <a:pt x="9910" y="1136"/>
                  </a:cubicBezTo>
                  <a:cubicBezTo>
                    <a:pt x="7953" y="2866"/>
                    <a:pt x="6830" y="5351"/>
                    <a:pt x="6833" y="7966"/>
                  </a:cubicBezTo>
                  <a:cubicBezTo>
                    <a:pt x="6833" y="12311"/>
                    <a:pt x="9907" y="16049"/>
                    <a:pt x="14170" y="16889"/>
                  </a:cubicBezTo>
                  <a:cubicBezTo>
                    <a:pt x="12821" y="17740"/>
                    <a:pt x="11260" y="18193"/>
                    <a:pt x="9662" y="18193"/>
                  </a:cubicBezTo>
                  <a:cubicBezTo>
                    <a:pt x="4958" y="18193"/>
                    <a:pt x="1132" y="14368"/>
                    <a:pt x="1132" y="9663"/>
                  </a:cubicBezTo>
                  <a:cubicBezTo>
                    <a:pt x="1132" y="4959"/>
                    <a:pt x="4958" y="1133"/>
                    <a:pt x="9662" y="1133"/>
                  </a:cubicBezTo>
                  <a:close/>
                  <a:moveTo>
                    <a:pt x="9662" y="1"/>
                  </a:moveTo>
                  <a:cubicBezTo>
                    <a:pt x="7093" y="1"/>
                    <a:pt x="4668" y="1009"/>
                    <a:pt x="2838" y="2839"/>
                  </a:cubicBezTo>
                  <a:cubicBezTo>
                    <a:pt x="1009" y="4669"/>
                    <a:pt x="0" y="7094"/>
                    <a:pt x="0" y="9663"/>
                  </a:cubicBezTo>
                  <a:cubicBezTo>
                    <a:pt x="0" y="12233"/>
                    <a:pt x="1009" y="14657"/>
                    <a:pt x="2838" y="16487"/>
                  </a:cubicBezTo>
                  <a:cubicBezTo>
                    <a:pt x="4668" y="18317"/>
                    <a:pt x="7090" y="19325"/>
                    <a:pt x="9662" y="19325"/>
                  </a:cubicBezTo>
                  <a:cubicBezTo>
                    <a:pt x="12008" y="19322"/>
                    <a:pt x="14273" y="18462"/>
                    <a:pt x="16027" y="16907"/>
                  </a:cubicBezTo>
                  <a:cubicBezTo>
                    <a:pt x="16414" y="16566"/>
                    <a:pt x="16181" y="15932"/>
                    <a:pt x="15668" y="15916"/>
                  </a:cubicBezTo>
                  <a:cubicBezTo>
                    <a:pt x="11420" y="15799"/>
                    <a:pt x="7965" y="12233"/>
                    <a:pt x="7965" y="7966"/>
                  </a:cubicBezTo>
                  <a:cubicBezTo>
                    <a:pt x="7965" y="5243"/>
                    <a:pt x="9391" y="2658"/>
                    <a:pt x="11688" y="1215"/>
                  </a:cubicBezTo>
                  <a:cubicBezTo>
                    <a:pt x="12123" y="943"/>
                    <a:pt x="11999" y="276"/>
                    <a:pt x="11495" y="179"/>
                  </a:cubicBezTo>
                  <a:cubicBezTo>
                    <a:pt x="10891" y="61"/>
                    <a:pt x="10278" y="4"/>
                    <a:pt x="9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13" name="Google Shape;9113;p75"/>
          <p:cNvSpPr/>
          <p:nvPr/>
        </p:nvSpPr>
        <p:spPr>
          <a:xfrm>
            <a:off x="5895994" y="2739750"/>
            <a:ext cx="340168" cy="273948"/>
          </a:xfrm>
          <a:custGeom>
            <a:avLst/>
            <a:gdLst/>
            <a:ahLst/>
            <a:cxnLst/>
            <a:rect l="l" t="t" r="r" b="b"/>
            <a:pathLst>
              <a:path w="19325" h="15563" extrusionOk="0">
                <a:moveTo>
                  <a:pt x="13582" y="1135"/>
                </a:moveTo>
                <a:cubicBezTo>
                  <a:pt x="14814" y="1135"/>
                  <a:pt x="15946" y="1812"/>
                  <a:pt x="16532" y="2896"/>
                </a:cubicBezTo>
                <a:cubicBezTo>
                  <a:pt x="17118" y="3983"/>
                  <a:pt x="17060" y="5302"/>
                  <a:pt x="16381" y="6332"/>
                </a:cubicBezTo>
                <a:cubicBezTo>
                  <a:pt x="15881" y="6149"/>
                  <a:pt x="15358" y="6058"/>
                  <a:pt x="14835" y="6058"/>
                </a:cubicBezTo>
                <a:cubicBezTo>
                  <a:pt x="14169" y="6058"/>
                  <a:pt x="13503" y="6206"/>
                  <a:pt x="12890" y="6501"/>
                </a:cubicBezTo>
                <a:cubicBezTo>
                  <a:pt x="12326" y="5429"/>
                  <a:pt x="11381" y="4611"/>
                  <a:pt x="10239" y="4203"/>
                </a:cubicBezTo>
                <a:cubicBezTo>
                  <a:pt x="10390" y="2470"/>
                  <a:pt x="11843" y="1138"/>
                  <a:pt x="13582" y="1135"/>
                </a:cubicBezTo>
                <a:close/>
                <a:moveTo>
                  <a:pt x="8612" y="5055"/>
                </a:moveTo>
                <a:cubicBezTo>
                  <a:pt x="8920" y="5055"/>
                  <a:pt x="9222" y="5094"/>
                  <a:pt x="9518" y="5172"/>
                </a:cubicBezTo>
                <a:cubicBezTo>
                  <a:pt x="10710" y="5489"/>
                  <a:pt x="11673" y="6413"/>
                  <a:pt x="12093" y="7639"/>
                </a:cubicBezTo>
                <a:cubicBezTo>
                  <a:pt x="12176" y="7879"/>
                  <a:pt x="12400" y="8020"/>
                  <a:pt x="12631" y="8020"/>
                </a:cubicBezTo>
                <a:cubicBezTo>
                  <a:pt x="12744" y="8020"/>
                  <a:pt x="12859" y="7986"/>
                  <a:pt x="12960" y="7914"/>
                </a:cubicBezTo>
                <a:cubicBezTo>
                  <a:pt x="13506" y="7519"/>
                  <a:pt x="14164" y="7304"/>
                  <a:pt x="14838" y="7304"/>
                </a:cubicBezTo>
                <a:cubicBezTo>
                  <a:pt x="14844" y="7304"/>
                  <a:pt x="14850" y="7304"/>
                  <a:pt x="14856" y="7304"/>
                </a:cubicBezTo>
                <a:cubicBezTo>
                  <a:pt x="15360" y="7304"/>
                  <a:pt x="15858" y="7428"/>
                  <a:pt x="16308" y="7663"/>
                </a:cubicBezTo>
                <a:cubicBezTo>
                  <a:pt x="17471" y="8267"/>
                  <a:pt x="18192" y="9493"/>
                  <a:pt x="18192" y="10864"/>
                </a:cubicBezTo>
                <a:cubicBezTo>
                  <a:pt x="18192" y="12830"/>
                  <a:pt x="16689" y="14427"/>
                  <a:pt x="14838" y="14427"/>
                </a:cubicBezTo>
                <a:lnTo>
                  <a:pt x="3904" y="14427"/>
                </a:lnTo>
                <a:cubicBezTo>
                  <a:pt x="2377" y="14427"/>
                  <a:pt x="1133" y="13104"/>
                  <a:pt x="1133" y="11480"/>
                </a:cubicBezTo>
                <a:cubicBezTo>
                  <a:pt x="1133" y="9853"/>
                  <a:pt x="2377" y="8530"/>
                  <a:pt x="3904" y="8530"/>
                </a:cubicBezTo>
                <a:cubicBezTo>
                  <a:pt x="4052" y="8533"/>
                  <a:pt x="4200" y="8545"/>
                  <a:pt x="4345" y="8569"/>
                </a:cubicBezTo>
                <a:cubicBezTo>
                  <a:pt x="4377" y="8575"/>
                  <a:pt x="4409" y="8577"/>
                  <a:pt x="4441" y="8577"/>
                </a:cubicBezTo>
                <a:cubicBezTo>
                  <a:pt x="4704" y="8577"/>
                  <a:pt x="4941" y="8393"/>
                  <a:pt x="4994" y="8128"/>
                </a:cubicBezTo>
                <a:cubicBezTo>
                  <a:pt x="5369" y="6347"/>
                  <a:pt x="6891" y="5055"/>
                  <a:pt x="8612" y="5055"/>
                </a:cubicBezTo>
                <a:close/>
                <a:moveTo>
                  <a:pt x="13579" y="1"/>
                </a:moveTo>
                <a:cubicBezTo>
                  <a:pt x="11392" y="1"/>
                  <a:pt x="9410" y="1624"/>
                  <a:pt x="9128" y="3953"/>
                </a:cubicBezTo>
                <a:cubicBezTo>
                  <a:pt x="8954" y="3933"/>
                  <a:pt x="8780" y="3923"/>
                  <a:pt x="8607" y="3923"/>
                </a:cubicBezTo>
                <a:cubicBezTo>
                  <a:pt x="7490" y="3923"/>
                  <a:pt x="6402" y="4324"/>
                  <a:pt x="5550" y="5064"/>
                </a:cubicBezTo>
                <a:cubicBezTo>
                  <a:pt x="4831" y="5686"/>
                  <a:pt x="4300" y="6495"/>
                  <a:pt x="4016" y="7401"/>
                </a:cubicBezTo>
                <a:lnTo>
                  <a:pt x="3901" y="7401"/>
                </a:lnTo>
                <a:cubicBezTo>
                  <a:pt x="1752" y="7401"/>
                  <a:pt x="0" y="9231"/>
                  <a:pt x="0" y="11480"/>
                </a:cubicBezTo>
                <a:cubicBezTo>
                  <a:pt x="0" y="13730"/>
                  <a:pt x="1749" y="15562"/>
                  <a:pt x="3901" y="15562"/>
                </a:cubicBezTo>
                <a:lnTo>
                  <a:pt x="14838" y="15562"/>
                </a:lnTo>
                <a:cubicBezTo>
                  <a:pt x="17311" y="15562"/>
                  <a:pt x="19325" y="13455"/>
                  <a:pt x="19325" y="10867"/>
                </a:cubicBezTo>
                <a:cubicBezTo>
                  <a:pt x="19325" y="9985"/>
                  <a:pt x="19086" y="9122"/>
                  <a:pt x="18633" y="8364"/>
                </a:cubicBezTo>
                <a:cubicBezTo>
                  <a:pt x="18301" y="7808"/>
                  <a:pt x="17854" y="7331"/>
                  <a:pt x="17326" y="6960"/>
                </a:cubicBezTo>
                <a:cubicBezTo>
                  <a:pt x="18917" y="4544"/>
                  <a:pt x="17842" y="1274"/>
                  <a:pt x="15125" y="278"/>
                </a:cubicBezTo>
                <a:cubicBezTo>
                  <a:pt x="14611" y="89"/>
                  <a:pt x="14089" y="1"/>
                  <a:pt x="135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14" name="Google Shape;9114;p75"/>
          <p:cNvSpPr/>
          <p:nvPr/>
        </p:nvSpPr>
        <p:spPr>
          <a:xfrm>
            <a:off x="6310174" y="2774289"/>
            <a:ext cx="340221" cy="204858"/>
          </a:xfrm>
          <a:custGeom>
            <a:avLst/>
            <a:gdLst/>
            <a:ahLst/>
            <a:cxnLst/>
            <a:rect l="l" t="t" r="r" b="b"/>
            <a:pathLst>
              <a:path w="19328" h="11638" extrusionOk="0">
                <a:moveTo>
                  <a:pt x="8612" y="1133"/>
                </a:moveTo>
                <a:cubicBezTo>
                  <a:pt x="8920" y="1133"/>
                  <a:pt x="9222" y="1172"/>
                  <a:pt x="9518" y="1251"/>
                </a:cubicBezTo>
                <a:cubicBezTo>
                  <a:pt x="10710" y="1571"/>
                  <a:pt x="11674" y="2492"/>
                  <a:pt x="12093" y="3718"/>
                </a:cubicBezTo>
                <a:cubicBezTo>
                  <a:pt x="12176" y="3959"/>
                  <a:pt x="12399" y="4099"/>
                  <a:pt x="12630" y="4099"/>
                </a:cubicBezTo>
                <a:cubicBezTo>
                  <a:pt x="12743" y="4099"/>
                  <a:pt x="12858" y="4065"/>
                  <a:pt x="12960" y="3992"/>
                </a:cubicBezTo>
                <a:cubicBezTo>
                  <a:pt x="13506" y="3597"/>
                  <a:pt x="14165" y="3382"/>
                  <a:pt x="14838" y="3382"/>
                </a:cubicBezTo>
                <a:cubicBezTo>
                  <a:pt x="14844" y="3382"/>
                  <a:pt x="14850" y="3382"/>
                  <a:pt x="14856" y="3382"/>
                </a:cubicBezTo>
                <a:cubicBezTo>
                  <a:pt x="15360" y="3382"/>
                  <a:pt x="15858" y="3506"/>
                  <a:pt x="16308" y="3742"/>
                </a:cubicBezTo>
                <a:cubicBezTo>
                  <a:pt x="17471" y="4346"/>
                  <a:pt x="18193" y="5572"/>
                  <a:pt x="18193" y="6942"/>
                </a:cubicBezTo>
                <a:cubicBezTo>
                  <a:pt x="18193" y="8908"/>
                  <a:pt x="16689" y="10505"/>
                  <a:pt x="14838" y="10505"/>
                </a:cubicBezTo>
                <a:lnTo>
                  <a:pt x="3905" y="10505"/>
                </a:lnTo>
                <a:cubicBezTo>
                  <a:pt x="2377" y="10505"/>
                  <a:pt x="1133" y="9183"/>
                  <a:pt x="1133" y="7558"/>
                </a:cubicBezTo>
                <a:cubicBezTo>
                  <a:pt x="1133" y="5931"/>
                  <a:pt x="2377" y="4611"/>
                  <a:pt x="3905" y="4611"/>
                </a:cubicBezTo>
                <a:cubicBezTo>
                  <a:pt x="4053" y="4611"/>
                  <a:pt x="4200" y="4623"/>
                  <a:pt x="4345" y="4648"/>
                </a:cubicBezTo>
                <a:cubicBezTo>
                  <a:pt x="4378" y="4653"/>
                  <a:pt x="4410" y="4656"/>
                  <a:pt x="4442" y="4656"/>
                </a:cubicBezTo>
                <a:cubicBezTo>
                  <a:pt x="4704" y="4656"/>
                  <a:pt x="4941" y="4473"/>
                  <a:pt x="4995" y="4207"/>
                </a:cubicBezTo>
                <a:cubicBezTo>
                  <a:pt x="5369" y="2425"/>
                  <a:pt x="6891" y="1133"/>
                  <a:pt x="8612" y="1133"/>
                </a:cubicBezTo>
                <a:close/>
                <a:moveTo>
                  <a:pt x="8612" y="1"/>
                </a:moveTo>
                <a:cubicBezTo>
                  <a:pt x="7489" y="4"/>
                  <a:pt x="6405" y="408"/>
                  <a:pt x="5553" y="1142"/>
                </a:cubicBezTo>
                <a:cubicBezTo>
                  <a:pt x="4832" y="1764"/>
                  <a:pt x="4300" y="2573"/>
                  <a:pt x="4016" y="3479"/>
                </a:cubicBezTo>
                <a:lnTo>
                  <a:pt x="3905" y="3479"/>
                </a:lnTo>
                <a:cubicBezTo>
                  <a:pt x="1752" y="3479"/>
                  <a:pt x="0" y="5309"/>
                  <a:pt x="0" y="7558"/>
                </a:cubicBezTo>
                <a:cubicBezTo>
                  <a:pt x="0" y="9808"/>
                  <a:pt x="1752" y="11638"/>
                  <a:pt x="3905" y="11638"/>
                </a:cubicBezTo>
                <a:lnTo>
                  <a:pt x="14838" y="11638"/>
                </a:lnTo>
                <a:cubicBezTo>
                  <a:pt x="17314" y="11638"/>
                  <a:pt x="19325" y="9533"/>
                  <a:pt x="19325" y="6945"/>
                </a:cubicBezTo>
                <a:cubicBezTo>
                  <a:pt x="19328" y="6064"/>
                  <a:pt x="19089" y="5197"/>
                  <a:pt x="18636" y="4442"/>
                </a:cubicBezTo>
                <a:cubicBezTo>
                  <a:pt x="18202" y="3718"/>
                  <a:pt x="17577" y="3129"/>
                  <a:pt x="16831" y="2736"/>
                </a:cubicBezTo>
                <a:cubicBezTo>
                  <a:pt x="16206" y="2412"/>
                  <a:pt x="15522" y="2249"/>
                  <a:pt x="14838" y="2249"/>
                </a:cubicBezTo>
                <a:cubicBezTo>
                  <a:pt x="14173" y="2249"/>
                  <a:pt x="13508" y="2403"/>
                  <a:pt x="12896" y="2709"/>
                </a:cubicBezTo>
                <a:cubicBezTo>
                  <a:pt x="12265" y="1447"/>
                  <a:pt x="11151" y="514"/>
                  <a:pt x="9811" y="158"/>
                </a:cubicBezTo>
                <a:cubicBezTo>
                  <a:pt x="9421" y="55"/>
                  <a:pt x="9016" y="1"/>
                  <a:pt x="86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15" name="Google Shape;9115;p75"/>
          <p:cNvGrpSpPr/>
          <p:nvPr/>
        </p:nvGrpSpPr>
        <p:grpSpPr>
          <a:xfrm>
            <a:off x="6727988" y="2707027"/>
            <a:ext cx="341136" cy="340204"/>
            <a:chOff x="3269875" y="3210400"/>
            <a:chExt cx="484500" cy="483175"/>
          </a:xfrm>
        </p:grpSpPr>
        <p:sp>
          <p:nvSpPr>
            <p:cNvPr id="9116" name="Google Shape;9116;p75"/>
            <p:cNvSpPr/>
            <p:nvPr/>
          </p:nvSpPr>
          <p:spPr>
            <a:xfrm>
              <a:off x="3364000" y="3303850"/>
              <a:ext cx="296300" cy="296300"/>
            </a:xfrm>
            <a:custGeom>
              <a:avLst/>
              <a:gdLst/>
              <a:ahLst/>
              <a:cxnLst/>
              <a:rect l="l" t="t" r="r" b="b"/>
              <a:pathLst>
                <a:path w="11852" h="11852" extrusionOk="0">
                  <a:moveTo>
                    <a:pt x="5925" y="1132"/>
                  </a:moveTo>
                  <a:cubicBezTo>
                    <a:pt x="7863" y="1132"/>
                    <a:pt x="9612" y="2298"/>
                    <a:pt x="10354" y="4088"/>
                  </a:cubicBezTo>
                  <a:cubicBezTo>
                    <a:pt x="11094" y="5882"/>
                    <a:pt x="10683" y="7941"/>
                    <a:pt x="9313" y="9312"/>
                  </a:cubicBezTo>
                  <a:cubicBezTo>
                    <a:pt x="8395" y="10230"/>
                    <a:pt x="7169" y="10717"/>
                    <a:pt x="5920" y="10717"/>
                  </a:cubicBezTo>
                  <a:cubicBezTo>
                    <a:pt x="5304" y="10717"/>
                    <a:pt x="4682" y="10598"/>
                    <a:pt x="4089" y="10354"/>
                  </a:cubicBezTo>
                  <a:cubicBezTo>
                    <a:pt x="2298" y="9611"/>
                    <a:pt x="1133" y="7863"/>
                    <a:pt x="1133" y="5924"/>
                  </a:cubicBezTo>
                  <a:cubicBezTo>
                    <a:pt x="1133" y="3279"/>
                    <a:pt x="3280" y="1132"/>
                    <a:pt x="5925" y="1132"/>
                  </a:cubicBezTo>
                  <a:close/>
                  <a:moveTo>
                    <a:pt x="5925" y="0"/>
                  </a:moveTo>
                  <a:cubicBezTo>
                    <a:pt x="2658" y="0"/>
                    <a:pt x="1" y="2657"/>
                    <a:pt x="1" y="5924"/>
                  </a:cubicBezTo>
                  <a:cubicBezTo>
                    <a:pt x="1" y="9191"/>
                    <a:pt x="2658" y="11851"/>
                    <a:pt x="5925" y="11851"/>
                  </a:cubicBezTo>
                  <a:cubicBezTo>
                    <a:pt x="9192" y="11851"/>
                    <a:pt x="11852" y="9191"/>
                    <a:pt x="11852" y="5924"/>
                  </a:cubicBezTo>
                  <a:cubicBezTo>
                    <a:pt x="11852" y="2657"/>
                    <a:pt x="9192" y="0"/>
                    <a:pt x="59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17" name="Google Shape;9117;p75"/>
            <p:cNvSpPr/>
            <p:nvPr/>
          </p:nvSpPr>
          <p:spPr>
            <a:xfrm>
              <a:off x="3269875" y="3210400"/>
              <a:ext cx="484500" cy="483175"/>
            </a:xfrm>
            <a:custGeom>
              <a:avLst/>
              <a:gdLst/>
              <a:ahLst/>
              <a:cxnLst/>
              <a:rect l="l" t="t" r="r" b="b"/>
              <a:pathLst>
                <a:path w="19380" h="19327" extrusionOk="0">
                  <a:moveTo>
                    <a:pt x="9690" y="1208"/>
                  </a:moveTo>
                  <a:lnTo>
                    <a:pt x="11426" y="2126"/>
                  </a:lnTo>
                  <a:cubicBezTo>
                    <a:pt x="11507" y="2168"/>
                    <a:pt x="11598" y="2192"/>
                    <a:pt x="11692" y="2192"/>
                  </a:cubicBezTo>
                  <a:lnTo>
                    <a:pt x="13651" y="2192"/>
                  </a:lnTo>
                  <a:lnTo>
                    <a:pt x="14765" y="3817"/>
                  </a:lnTo>
                  <a:cubicBezTo>
                    <a:pt x="14817" y="3892"/>
                    <a:pt x="14886" y="3955"/>
                    <a:pt x="14968" y="3998"/>
                  </a:cubicBezTo>
                  <a:lnTo>
                    <a:pt x="16704" y="4916"/>
                  </a:lnTo>
                  <a:lnTo>
                    <a:pt x="16939" y="6878"/>
                  </a:lnTo>
                  <a:cubicBezTo>
                    <a:pt x="16952" y="6969"/>
                    <a:pt x="16985" y="7056"/>
                    <a:pt x="17036" y="7132"/>
                  </a:cubicBezTo>
                  <a:lnTo>
                    <a:pt x="18150" y="8759"/>
                  </a:lnTo>
                  <a:lnTo>
                    <a:pt x="17456" y="10610"/>
                  </a:lnTo>
                  <a:cubicBezTo>
                    <a:pt x="17423" y="10695"/>
                    <a:pt x="17410" y="10785"/>
                    <a:pt x="17423" y="10876"/>
                  </a:cubicBezTo>
                  <a:lnTo>
                    <a:pt x="17658" y="12842"/>
                  </a:lnTo>
                  <a:lnTo>
                    <a:pt x="16188" y="14155"/>
                  </a:lnTo>
                  <a:cubicBezTo>
                    <a:pt x="16121" y="14216"/>
                    <a:pt x="16067" y="14291"/>
                    <a:pt x="16037" y="14379"/>
                  </a:cubicBezTo>
                  <a:lnTo>
                    <a:pt x="15339" y="16226"/>
                  </a:lnTo>
                  <a:lnTo>
                    <a:pt x="13437" y="16701"/>
                  </a:lnTo>
                  <a:cubicBezTo>
                    <a:pt x="13346" y="16722"/>
                    <a:pt x="13265" y="16764"/>
                    <a:pt x="13195" y="16827"/>
                  </a:cubicBezTo>
                  <a:lnTo>
                    <a:pt x="11728" y="18138"/>
                  </a:lnTo>
                  <a:lnTo>
                    <a:pt x="9826" y="17664"/>
                  </a:lnTo>
                  <a:cubicBezTo>
                    <a:pt x="9782" y="17653"/>
                    <a:pt x="9736" y="17648"/>
                    <a:pt x="9690" y="17648"/>
                  </a:cubicBezTo>
                  <a:cubicBezTo>
                    <a:pt x="9644" y="17648"/>
                    <a:pt x="9598" y="17653"/>
                    <a:pt x="9554" y="17664"/>
                  </a:cubicBezTo>
                  <a:lnTo>
                    <a:pt x="7652" y="18138"/>
                  </a:lnTo>
                  <a:lnTo>
                    <a:pt x="6184" y="16827"/>
                  </a:lnTo>
                  <a:cubicBezTo>
                    <a:pt x="6115" y="16767"/>
                    <a:pt x="6033" y="16722"/>
                    <a:pt x="5943" y="16701"/>
                  </a:cubicBezTo>
                  <a:lnTo>
                    <a:pt x="4040" y="16226"/>
                  </a:lnTo>
                  <a:lnTo>
                    <a:pt x="3343" y="14379"/>
                  </a:lnTo>
                  <a:cubicBezTo>
                    <a:pt x="3313" y="14291"/>
                    <a:pt x="3258" y="14216"/>
                    <a:pt x="3192" y="14155"/>
                  </a:cubicBezTo>
                  <a:lnTo>
                    <a:pt x="1721" y="12842"/>
                  </a:lnTo>
                  <a:lnTo>
                    <a:pt x="1960" y="10879"/>
                  </a:lnTo>
                  <a:cubicBezTo>
                    <a:pt x="1969" y="10788"/>
                    <a:pt x="1960" y="10695"/>
                    <a:pt x="1927" y="10610"/>
                  </a:cubicBezTo>
                  <a:lnTo>
                    <a:pt x="1229" y="8762"/>
                  </a:lnTo>
                  <a:lnTo>
                    <a:pt x="2346" y="7132"/>
                  </a:lnTo>
                  <a:cubicBezTo>
                    <a:pt x="2398" y="7056"/>
                    <a:pt x="2428" y="6969"/>
                    <a:pt x="2440" y="6878"/>
                  </a:cubicBezTo>
                  <a:lnTo>
                    <a:pt x="2679" y="4916"/>
                  </a:lnTo>
                  <a:lnTo>
                    <a:pt x="4415" y="3998"/>
                  </a:lnTo>
                  <a:cubicBezTo>
                    <a:pt x="4493" y="3955"/>
                    <a:pt x="4563" y="3892"/>
                    <a:pt x="4617" y="3817"/>
                  </a:cubicBezTo>
                  <a:lnTo>
                    <a:pt x="5731" y="2192"/>
                  </a:lnTo>
                  <a:lnTo>
                    <a:pt x="7691" y="2192"/>
                  </a:lnTo>
                  <a:cubicBezTo>
                    <a:pt x="7781" y="2192"/>
                    <a:pt x="7872" y="2168"/>
                    <a:pt x="7954" y="2126"/>
                  </a:cubicBezTo>
                  <a:lnTo>
                    <a:pt x="9690" y="1208"/>
                  </a:lnTo>
                  <a:close/>
                  <a:moveTo>
                    <a:pt x="9690" y="1"/>
                  </a:moveTo>
                  <a:cubicBezTo>
                    <a:pt x="9599" y="1"/>
                    <a:pt x="9509" y="23"/>
                    <a:pt x="9427" y="66"/>
                  </a:cubicBezTo>
                  <a:lnTo>
                    <a:pt x="7549" y="1057"/>
                  </a:lnTo>
                  <a:lnTo>
                    <a:pt x="5432" y="1057"/>
                  </a:lnTo>
                  <a:cubicBezTo>
                    <a:pt x="5245" y="1057"/>
                    <a:pt x="5070" y="1150"/>
                    <a:pt x="4964" y="1304"/>
                  </a:cubicBezTo>
                  <a:lnTo>
                    <a:pt x="3760" y="3062"/>
                  </a:lnTo>
                  <a:lnTo>
                    <a:pt x="1885" y="4052"/>
                  </a:lnTo>
                  <a:cubicBezTo>
                    <a:pt x="1721" y="4140"/>
                    <a:pt x="1610" y="4300"/>
                    <a:pt x="1586" y="4484"/>
                  </a:cubicBezTo>
                  <a:lnTo>
                    <a:pt x="1332" y="6607"/>
                  </a:lnTo>
                  <a:lnTo>
                    <a:pt x="127" y="8364"/>
                  </a:lnTo>
                  <a:cubicBezTo>
                    <a:pt x="22" y="8515"/>
                    <a:pt x="0" y="8711"/>
                    <a:pt x="67" y="8883"/>
                  </a:cubicBezTo>
                  <a:lnTo>
                    <a:pt x="819" y="10882"/>
                  </a:lnTo>
                  <a:lnTo>
                    <a:pt x="562" y="13002"/>
                  </a:lnTo>
                  <a:cubicBezTo>
                    <a:pt x="538" y="13186"/>
                    <a:pt x="607" y="13370"/>
                    <a:pt x="746" y="13494"/>
                  </a:cubicBezTo>
                  <a:lnTo>
                    <a:pt x="2331" y="14910"/>
                  </a:lnTo>
                  <a:lnTo>
                    <a:pt x="3083" y="16906"/>
                  </a:lnTo>
                  <a:cubicBezTo>
                    <a:pt x="3150" y="17081"/>
                    <a:pt x="3298" y="17211"/>
                    <a:pt x="3476" y="17256"/>
                  </a:cubicBezTo>
                  <a:lnTo>
                    <a:pt x="5535" y="17766"/>
                  </a:lnTo>
                  <a:lnTo>
                    <a:pt x="7120" y="19183"/>
                  </a:lnTo>
                  <a:cubicBezTo>
                    <a:pt x="7225" y="19276"/>
                    <a:pt x="7360" y="19326"/>
                    <a:pt x="7498" y="19326"/>
                  </a:cubicBezTo>
                  <a:cubicBezTo>
                    <a:pt x="7543" y="19326"/>
                    <a:pt x="7589" y="19321"/>
                    <a:pt x="7634" y="19309"/>
                  </a:cubicBezTo>
                  <a:lnTo>
                    <a:pt x="9690" y="18796"/>
                  </a:lnTo>
                  <a:lnTo>
                    <a:pt x="11746" y="19306"/>
                  </a:lnTo>
                  <a:cubicBezTo>
                    <a:pt x="11791" y="19318"/>
                    <a:pt x="11837" y="19324"/>
                    <a:pt x="11882" y="19324"/>
                  </a:cubicBezTo>
                  <a:cubicBezTo>
                    <a:pt x="12021" y="19324"/>
                    <a:pt x="12157" y="19273"/>
                    <a:pt x="12259" y="19180"/>
                  </a:cubicBezTo>
                  <a:lnTo>
                    <a:pt x="13845" y="17763"/>
                  </a:lnTo>
                  <a:lnTo>
                    <a:pt x="15901" y="17253"/>
                  </a:lnTo>
                  <a:cubicBezTo>
                    <a:pt x="16082" y="17208"/>
                    <a:pt x="16230" y="17078"/>
                    <a:pt x="16296" y="16903"/>
                  </a:cubicBezTo>
                  <a:lnTo>
                    <a:pt x="17048" y="14907"/>
                  </a:lnTo>
                  <a:lnTo>
                    <a:pt x="18633" y="13491"/>
                  </a:lnTo>
                  <a:cubicBezTo>
                    <a:pt x="18769" y="13367"/>
                    <a:pt x="18839" y="13183"/>
                    <a:pt x="18818" y="12999"/>
                  </a:cubicBezTo>
                  <a:lnTo>
                    <a:pt x="18561" y="10879"/>
                  </a:lnTo>
                  <a:lnTo>
                    <a:pt x="19313" y="8880"/>
                  </a:lnTo>
                  <a:cubicBezTo>
                    <a:pt x="19379" y="8708"/>
                    <a:pt x="19355" y="8515"/>
                    <a:pt x="19249" y="8361"/>
                  </a:cubicBezTo>
                  <a:lnTo>
                    <a:pt x="18048" y="6607"/>
                  </a:lnTo>
                  <a:lnTo>
                    <a:pt x="17794" y="4484"/>
                  </a:lnTo>
                  <a:cubicBezTo>
                    <a:pt x="17770" y="4300"/>
                    <a:pt x="17658" y="4140"/>
                    <a:pt x="17495" y="4052"/>
                  </a:cubicBezTo>
                  <a:lnTo>
                    <a:pt x="15620" y="3059"/>
                  </a:lnTo>
                  <a:lnTo>
                    <a:pt x="14415" y="1301"/>
                  </a:lnTo>
                  <a:cubicBezTo>
                    <a:pt x="14310" y="1147"/>
                    <a:pt x="14134" y="1057"/>
                    <a:pt x="13947" y="1057"/>
                  </a:cubicBezTo>
                  <a:lnTo>
                    <a:pt x="11831" y="1057"/>
                  </a:lnTo>
                  <a:lnTo>
                    <a:pt x="9955" y="66"/>
                  </a:lnTo>
                  <a:cubicBezTo>
                    <a:pt x="9872" y="23"/>
                    <a:pt x="9781" y="1"/>
                    <a:pt x="96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18" name="Google Shape;9118;p75"/>
          <p:cNvGrpSpPr/>
          <p:nvPr/>
        </p:nvGrpSpPr>
        <p:grpSpPr>
          <a:xfrm>
            <a:off x="7227082" y="2706666"/>
            <a:ext cx="170216" cy="340925"/>
            <a:chOff x="3985700" y="3210375"/>
            <a:chExt cx="241750" cy="484200"/>
          </a:xfrm>
        </p:grpSpPr>
        <p:sp>
          <p:nvSpPr>
            <p:cNvPr id="9119" name="Google Shape;9119;p75"/>
            <p:cNvSpPr/>
            <p:nvPr/>
          </p:nvSpPr>
          <p:spPr>
            <a:xfrm>
              <a:off x="4042700" y="3294475"/>
              <a:ext cx="127750" cy="339425"/>
            </a:xfrm>
            <a:custGeom>
              <a:avLst/>
              <a:gdLst/>
              <a:ahLst/>
              <a:cxnLst/>
              <a:rect l="l" t="t" r="r" b="b"/>
              <a:pathLst>
                <a:path w="5110" h="13577" extrusionOk="0">
                  <a:moveTo>
                    <a:pt x="2554" y="9854"/>
                  </a:moveTo>
                  <a:cubicBezTo>
                    <a:pt x="2721" y="9854"/>
                    <a:pt x="2890" y="9887"/>
                    <a:pt x="3050" y="9953"/>
                  </a:cubicBezTo>
                  <a:cubicBezTo>
                    <a:pt x="3533" y="10155"/>
                    <a:pt x="3850" y="10626"/>
                    <a:pt x="3850" y="11151"/>
                  </a:cubicBezTo>
                  <a:cubicBezTo>
                    <a:pt x="3850" y="11864"/>
                    <a:pt x="3271" y="12444"/>
                    <a:pt x="2555" y="12447"/>
                  </a:cubicBezTo>
                  <a:cubicBezTo>
                    <a:pt x="2030" y="12447"/>
                    <a:pt x="1558" y="12130"/>
                    <a:pt x="1356" y="11647"/>
                  </a:cubicBezTo>
                  <a:cubicBezTo>
                    <a:pt x="1157" y="11164"/>
                    <a:pt x="1269" y="10605"/>
                    <a:pt x="1637" y="10234"/>
                  </a:cubicBezTo>
                  <a:cubicBezTo>
                    <a:pt x="1885" y="9985"/>
                    <a:pt x="2217" y="9854"/>
                    <a:pt x="2554" y="9854"/>
                  </a:cubicBezTo>
                  <a:close/>
                  <a:moveTo>
                    <a:pt x="2555" y="1"/>
                  </a:moveTo>
                  <a:cubicBezTo>
                    <a:pt x="2241" y="1"/>
                    <a:pt x="1990" y="254"/>
                    <a:pt x="1990" y="565"/>
                  </a:cubicBezTo>
                  <a:lnTo>
                    <a:pt x="1990" y="8790"/>
                  </a:lnTo>
                  <a:cubicBezTo>
                    <a:pt x="792" y="9077"/>
                    <a:pt x="0" y="10215"/>
                    <a:pt x="145" y="11435"/>
                  </a:cubicBezTo>
                  <a:cubicBezTo>
                    <a:pt x="287" y="12658"/>
                    <a:pt x="1326" y="13576"/>
                    <a:pt x="2555" y="13576"/>
                  </a:cubicBezTo>
                  <a:cubicBezTo>
                    <a:pt x="3784" y="13576"/>
                    <a:pt x="4823" y="12658"/>
                    <a:pt x="4964" y="11435"/>
                  </a:cubicBezTo>
                  <a:cubicBezTo>
                    <a:pt x="5109" y="10215"/>
                    <a:pt x="4318" y="9077"/>
                    <a:pt x="3123" y="8790"/>
                  </a:cubicBezTo>
                  <a:lnTo>
                    <a:pt x="3123" y="565"/>
                  </a:lnTo>
                  <a:cubicBezTo>
                    <a:pt x="3123" y="254"/>
                    <a:pt x="2869" y="1"/>
                    <a:pt x="25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20" name="Google Shape;9120;p75"/>
            <p:cNvSpPr/>
            <p:nvPr/>
          </p:nvSpPr>
          <p:spPr>
            <a:xfrm>
              <a:off x="3985700" y="3210375"/>
              <a:ext cx="241750" cy="484200"/>
            </a:xfrm>
            <a:custGeom>
              <a:avLst/>
              <a:gdLst/>
              <a:ahLst/>
              <a:cxnLst/>
              <a:rect l="l" t="t" r="r" b="b"/>
              <a:pathLst>
                <a:path w="9670" h="19368" extrusionOk="0">
                  <a:moveTo>
                    <a:pt x="4835" y="1133"/>
                  </a:moveTo>
                  <a:cubicBezTo>
                    <a:pt x="5792" y="1133"/>
                    <a:pt x="6571" y="1909"/>
                    <a:pt x="6571" y="2869"/>
                  </a:cubicBezTo>
                  <a:lnTo>
                    <a:pt x="6574" y="10853"/>
                  </a:lnTo>
                  <a:lnTo>
                    <a:pt x="6574" y="10871"/>
                  </a:lnTo>
                  <a:cubicBezTo>
                    <a:pt x="6568" y="11073"/>
                    <a:pt x="6668" y="11260"/>
                    <a:pt x="6837" y="11369"/>
                  </a:cubicBezTo>
                  <a:cubicBezTo>
                    <a:pt x="7869" y="12027"/>
                    <a:pt x="8513" y="13232"/>
                    <a:pt x="8513" y="14512"/>
                  </a:cubicBezTo>
                  <a:cubicBezTo>
                    <a:pt x="8510" y="16545"/>
                    <a:pt x="6864" y="18190"/>
                    <a:pt x="4835" y="18193"/>
                  </a:cubicBezTo>
                  <a:cubicBezTo>
                    <a:pt x="2803" y="18190"/>
                    <a:pt x="1157" y="16545"/>
                    <a:pt x="1157" y="14515"/>
                  </a:cubicBezTo>
                  <a:cubicBezTo>
                    <a:pt x="1157" y="13280"/>
                    <a:pt x="1818" y="12043"/>
                    <a:pt x="2842" y="11363"/>
                  </a:cubicBezTo>
                  <a:cubicBezTo>
                    <a:pt x="2987" y="11267"/>
                    <a:pt x="3078" y="11110"/>
                    <a:pt x="3093" y="10934"/>
                  </a:cubicBezTo>
                  <a:cubicBezTo>
                    <a:pt x="3096" y="10907"/>
                    <a:pt x="3099" y="10880"/>
                    <a:pt x="3099" y="10856"/>
                  </a:cubicBezTo>
                  <a:lnTo>
                    <a:pt x="3099" y="2869"/>
                  </a:lnTo>
                  <a:cubicBezTo>
                    <a:pt x="3099" y="1909"/>
                    <a:pt x="3875" y="1133"/>
                    <a:pt x="4835" y="1133"/>
                  </a:cubicBezTo>
                  <a:close/>
                  <a:moveTo>
                    <a:pt x="4835" y="1"/>
                  </a:moveTo>
                  <a:cubicBezTo>
                    <a:pt x="3250" y="1"/>
                    <a:pt x="1966" y="1284"/>
                    <a:pt x="1966" y="2869"/>
                  </a:cubicBezTo>
                  <a:lnTo>
                    <a:pt x="1966" y="10596"/>
                  </a:lnTo>
                  <a:cubicBezTo>
                    <a:pt x="750" y="11532"/>
                    <a:pt x="34" y="12979"/>
                    <a:pt x="25" y="14515"/>
                  </a:cubicBezTo>
                  <a:cubicBezTo>
                    <a:pt x="1" y="17188"/>
                    <a:pt x="2163" y="19368"/>
                    <a:pt x="4835" y="19368"/>
                  </a:cubicBezTo>
                  <a:cubicBezTo>
                    <a:pt x="7510" y="19368"/>
                    <a:pt x="9669" y="17188"/>
                    <a:pt x="9648" y="14515"/>
                  </a:cubicBezTo>
                  <a:cubicBezTo>
                    <a:pt x="9648" y="13688"/>
                    <a:pt x="9443" y="12879"/>
                    <a:pt x="9053" y="12151"/>
                  </a:cubicBezTo>
                  <a:cubicBezTo>
                    <a:pt x="8724" y="11541"/>
                    <a:pt x="8265" y="11010"/>
                    <a:pt x="7709" y="10596"/>
                  </a:cubicBezTo>
                  <a:lnTo>
                    <a:pt x="7703" y="2869"/>
                  </a:lnTo>
                  <a:cubicBezTo>
                    <a:pt x="7703" y="1284"/>
                    <a:pt x="6420" y="1"/>
                    <a:pt x="4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21" name="Google Shape;9121;p75"/>
          <p:cNvGrpSpPr/>
          <p:nvPr/>
        </p:nvGrpSpPr>
        <p:grpSpPr>
          <a:xfrm>
            <a:off x="7566351" y="2707678"/>
            <a:ext cx="339007" cy="338901"/>
            <a:chOff x="4460225" y="3211300"/>
            <a:chExt cx="481475" cy="481325"/>
          </a:xfrm>
        </p:grpSpPr>
        <p:sp>
          <p:nvSpPr>
            <p:cNvPr id="9122" name="Google Shape;9122;p75"/>
            <p:cNvSpPr/>
            <p:nvPr/>
          </p:nvSpPr>
          <p:spPr>
            <a:xfrm>
              <a:off x="4602350" y="3353250"/>
              <a:ext cx="205125" cy="197375"/>
            </a:xfrm>
            <a:custGeom>
              <a:avLst/>
              <a:gdLst/>
              <a:ahLst/>
              <a:cxnLst/>
              <a:rect l="l" t="t" r="r" b="b"/>
              <a:pathLst>
                <a:path w="8205" h="7895" extrusionOk="0">
                  <a:moveTo>
                    <a:pt x="3947" y="1134"/>
                  </a:moveTo>
                  <a:cubicBezTo>
                    <a:pt x="5085" y="1134"/>
                    <a:pt x="6112" y="1819"/>
                    <a:pt x="6547" y="2870"/>
                  </a:cubicBezTo>
                  <a:cubicBezTo>
                    <a:pt x="6982" y="3924"/>
                    <a:pt x="6743" y="5132"/>
                    <a:pt x="5937" y="5938"/>
                  </a:cubicBezTo>
                  <a:cubicBezTo>
                    <a:pt x="5398" y="6477"/>
                    <a:pt x="4680" y="6762"/>
                    <a:pt x="3948" y="6762"/>
                  </a:cubicBezTo>
                  <a:cubicBezTo>
                    <a:pt x="3585" y="6762"/>
                    <a:pt x="3218" y="6692"/>
                    <a:pt x="2869" y="6548"/>
                  </a:cubicBezTo>
                  <a:cubicBezTo>
                    <a:pt x="1818" y="6113"/>
                    <a:pt x="1133" y="5087"/>
                    <a:pt x="1133" y="3948"/>
                  </a:cubicBezTo>
                  <a:cubicBezTo>
                    <a:pt x="1133" y="2393"/>
                    <a:pt x="2392" y="1134"/>
                    <a:pt x="3947" y="1134"/>
                  </a:cubicBezTo>
                  <a:close/>
                  <a:moveTo>
                    <a:pt x="3944" y="1"/>
                  </a:moveTo>
                  <a:cubicBezTo>
                    <a:pt x="3436" y="1"/>
                    <a:pt x="2925" y="99"/>
                    <a:pt x="2437" y="301"/>
                  </a:cubicBezTo>
                  <a:cubicBezTo>
                    <a:pt x="961" y="914"/>
                    <a:pt x="1" y="2351"/>
                    <a:pt x="1" y="3948"/>
                  </a:cubicBezTo>
                  <a:cubicBezTo>
                    <a:pt x="4" y="6128"/>
                    <a:pt x="1767" y="7892"/>
                    <a:pt x="3947" y="7895"/>
                  </a:cubicBezTo>
                  <a:cubicBezTo>
                    <a:pt x="5544" y="7895"/>
                    <a:pt x="6982" y="6934"/>
                    <a:pt x="7595" y="5458"/>
                  </a:cubicBezTo>
                  <a:cubicBezTo>
                    <a:pt x="8204" y="3984"/>
                    <a:pt x="7866" y="2287"/>
                    <a:pt x="6737" y="1158"/>
                  </a:cubicBezTo>
                  <a:cubicBezTo>
                    <a:pt x="5981" y="402"/>
                    <a:pt x="4971" y="1"/>
                    <a:pt x="39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23" name="Google Shape;9123;p75"/>
            <p:cNvSpPr/>
            <p:nvPr/>
          </p:nvSpPr>
          <p:spPr>
            <a:xfrm>
              <a:off x="4460225" y="3211300"/>
              <a:ext cx="481475" cy="481325"/>
            </a:xfrm>
            <a:custGeom>
              <a:avLst/>
              <a:gdLst/>
              <a:ahLst/>
              <a:cxnLst/>
              <a:rect l="l" t="t" r="r" b="b"/>
              <a:pathLst>
                <a:path w="19259" h="19253" extrusionOk="0">
                  <a:moveTo>
                    <a:pt x="9632" y="1126"/>
                  </a:moveTo>
                  <a:cubicBezTo>
                    <a:pt x="10704" y="1126"/>
                    <a:pt x="11649" y="1824"/>
                    <a:pt x="11972" y="2845"/>
                  </a:cubicBezTo>
                  <a:cubicBezTo>
                    <a:pt x="12049" y="3090"/>
                    <a:pt x="12276" y="3240"/>
                    <a:pt x="12513" y="3240"/>
                  </a:cubicBezTo>
                  <a:cubicBezTo>
                    <a:pt x="12600" y="3240"/>
                    <a:pt x="12689" y="3220"/>
                    <a:pt x="12772" y="3177"/>
                  </a:cubicBezTo>
                  <a:cubicBezTo>
                    <a:pt x="13131" y="2990"/>
                    <a:pt x="13520" y="2899"/>
                    <a:pt x="13906" y="2899"/>
                  </a:cubicBezTo>
                  <a:cubicBezTo>
                    <a:pt x="14542" y="2899"/>
                    <a:pt x="15169" y="3146"/>
                    <a:pt x="15641" y="3617"/>
                  </a:cubicBezTo>
                  <a:cubicBezTo>
                    <a:pt x="16399" y="4375"/>
                    <a:pt x="16577" y="5535"/>
                    <a:pt x="16082" y="6486"/>
                  </a:cubicBezTo>
                  <a:cubicBezTo>
                    <a:pt x="15922" y="6797"/>
                    <a:pt x="16079" y="7180"/>
                    <a:pt x="16414" y="7286"/>
                  </a:cubicBezTo>
                  <a:cubicBezTo>
                    <a:pt x="17434" y="7609"/>
                    <a:pt x="18132" y="8554"/>
                    <a:pt x="18132" y="9626"/>
                  </a:cubicBezTo>
                  <a:cubicBezTo>
                    <a:pt x="18132" y="10698"/>
                    <a:pt x="17434" y="11643"/>
                    <a:pt x="16414" y="11966"/>
                  </a:cubicBezTo>
                  <a:cubicBezTo>
                    <a:pt x="16079" y="12072"/>
                    <a:pt x="15922" y="12455"/>
                    <a:pt x="16082" y="12766"/>
                  </a:cubicBezTo>
                  <a:cubicBezTo>
                    <a:pt x="16577" y="13718"/>
                    <a:pt x="16399" y="14877"/>
                    <a:pt x="15641" y="15635"/>
                  </a:cubicBezTo>
                  <a:cubicBezTo>
                    <a:pt x="15169" y="16107"/>
                    <a:pt x="14542" y="16354"/>
                    <a:pt x="13906" y="16354"/>
                  </a:cubicBezTo>
                  <a:cubicBezTo>
                    <a:pt x="13520" y="16354"/>
                    <a:pt x="13131" y="16263"/>
                    <a:pt x="12772" y="16076"/>
                  </a:cubicBezTo>
                  <a:cubicBezTo>
                    <a:pt x="12689" y="16033"/>
                    <a:pt x="12600" y="16013"/>
                    <a:pt x="12513" y="16013"/>
                  </a:cubicBezTo>
                  <a:cubicBezTo>
                    <a:pt x="12276" y="16013"/>
                    <a:pt x="12049" y="16163"/>
                    <a:pt x="11972" y="16408"/>
                  </a:cubicBezTo>
                  <a:cubicBezTo>
                    <a:pt x="11649" y="17428"/>
                    <a:pt x="10704" y="18126"/>
                    <a:pt x="9632" y="18126"/>
                  </a:cubicBezTo>
                  <a:cubicBezTo>
                    <a:pt x="8560" y="18126"/>
                    <a:pt x="7615" y="17428"/>
                    <a:pt x="7292" y="16408"/>
                  </a:cubicBezTo>
                  <a:cubicBezTo>
                    <a:pt x="7215" y="16163"/>
                    <a:pt x="6988" y="16013"/>
                    <a:pt x="6751" y="16013"/>
                  </a:cubicBezTo>
                  <a:cubicBezTo>
                    <a:pt x="6664" y="16013"/>
                    <a:pt x="6575" y="16033"/>
                    <a:pt x="6492" y="16076"/>
                  </a:cubicBezTo>
                  <a:cubicBezTo>
                    <a:pt x="6133" y="16263"/>
                    <a:pt x="5744" y="16354"/>
                    <a:pt x="5358" y="16354"/>
                  </a:cubicBezTo>
                  <a:cubicBezTo>
                    <a:pt x="4722" y="16354"/>
                    <a:pt x="4095" y="16107"/>
                    <a:pt x="3623" y="15635"/>
                  </a:cubicBezTo>
                  <a:cubicBezTo>
                    <a:pt x="2865" y="14877"/>
                    <a:pt x="2687" y="13718"/>
                    <a:pt x="3183" y="12766"/>
                  </a:cubicBezTo>
                  <a:cubicBezTo>
                    <a:pt x="3343" y="12455"/>
                    <a:pt x="3186" y="12072"/>
                    <a:pt x="2850" y="11966"/>
                  </a:cubicBezTo>
                  <a:cubicBezTo>
                    <a:pt x="1830" y="11643"/>
                    <a:pt x="1132" y="10698"/>
                    <a:pt x="1132" y="9626"/>
                  </a:cubicBezTo>
                  <a:cubicBezTo>
                    <a:pt x="1132" y="8554"/>
                    <a:pt x="1830" y="7609"/>
                    <a:pt x="2850" y="7286"/>
                  </a:cubicBezTo>
                  <a:cubicBezTo>
                    <a:pt x="3186" y="7180"/>
                    <a:pt x="3343" y="6797"/>
                    <a:pt x="3183" y="6486"/>
                  </a:cubicBezTo>
                  <a:cubicBezTo>
                    <a:pt x="2687" y="5535"/>
                    <a:pt x="2865" y="4375"/>
                    <a:pt x="3623" y="3617"/>
                  </a:cubicBezTo>
                  <a:cubicBezTo>
                    <a:pt x="4095" y="3146"/>
                    <a:pt x="4722" y="2899"/>
                    <a:pt x="5358" y="2899"/>
                  </a:cubicBezTo>
                  <a:cubicBezTo>
                    <a:pt x="5744" y="2899"/>
                    <a:pt x="6133" y="2990"/>
                    <a:pt x="6492" y="3177"/>
                  </a:cubicBezTo>
                  <a:cubicBezTo>
                    <a:pt x="6575" y="3220"/>
                    <a:pt x="6664" y="3240"/>
                    <a:pt x="6751" y="3240"/>
                  </a:cubicBezTo>
                  <a:cubicBezTo>
                    <a:pt x="6988" y="3240"/>
                    <a:pt x="7215" y="3090"/>
                    <a:pt x="7292" y="2845"/>
                  </a:cubicBezTo>
                  <a:cubicBezTo>
                    <a:pt x="7615" y="1824"/>
                    <a:pt x="8560" y="1126"/>
                    <a:pt x="9632" y="1126"/>
                  </a:cubicBezTo>
                  <a:close/>
                  <a:moveTo>
                    <a:pt x="9632" y="0"/>
                  </a:moveTo>
                  <a:cubicBezTo>
                    <a:pt x="8291" y="0"/>
                    <a:pt x="7062" y="746"/>
                    <a:pt x="6447" y="1936"/>
                  </a:cubicBezTo>
                  <a:cubicBezTo>
                    <a:pt x="6091" y="1823"/>
                    <a:pt x="5726" y="1768"/>
                    <a:pt x="5364" y="1768"/>
                  </a:cubicBezTo>
                  <a:cubicBezTo>
                    <a:pt x="4426" y="1768"/>
                    <a:pt x="3508" y="2136"/>
                    <a:pt x="2826" y="2820"/>
                  </a:cubicBezTo>
                  <a:cubicBezTo>
                    <a:pt x="1878" y="3765"/>
                    <a:pt x="1537" y="5163"/>
                    <a:pt x="1942" y="6441"/>
                  </a:cubicBezTo>
                  <a:cubicBezTo>
                    <a:pt x="749" y="7054"/>
                    <a:pt x="0" y="8286"/>
                    <a:pt x="6" y="9626"/>
                  </a:cubicBezTo>
                  <a:cubicBezTo>
                    <a:pt x="0" y="10967"/>
                    <a:pt x="749" y="12199"/>
                    <a:pt x="1942" y="12812"/>
                  </a:cubicBezTo>
                  <a:cubicBezTo>
                    <a:pt x="1537" y="14089"/>
                    <a:pt x="1878" y="15487"/>
                    <a:pt x="2826" y="16432"/>
                  </a:cubicBezTo>
                  <a:cubicBezTo>
                    <a:pt x="3508" y="17116"/>
                    <a:pt x="4426" y="17484"/>
                    <a:pt x="5364" y="17484"/>
                  </a:cubicBezTo>
                  <a:cubicBezTo>
                    <a:pt x="5726" y="17484"/>
                    <a:pt x="6091" y="17429"/>
                    <a:pt x="6447" y="17317"/>
                  </a:cubicBezTo>
                  <a:cubicBezTo>
                    <a:pt x="7062" y="18506"/>
                    <a:pt x="8291" y="19252"/>
                    <a:pt x="9632" y="19252"/>
                  </a:cubicBezTo>
                  <a:cubicBezTo>
                    <a:pt x="10973" y="19252"/>
                    <a:pt x="12202" y="18506"/>
                    <a:pt x="12818" y="17317"/>
                  </a:cubicBezTo>
                  <a:cubicBezTo>
                    <a:pt x="13173" y="17429"/>
                    <a:pt x="13538" y="17484"/>
                    <a:pt x="13900" y="17484"/>
                  </a:cubicBezTo>
                  <a:cubicBezTo>
                    <a:pt x="14838" y="17484"/>
                    <a:pt x="15756" y="17116"/>
                    <a:pt x="16438" y="16432"/>
                  </a:cubicBezTo>
                  <a:cubicBezTo>
                    <a:pt x="17386" y="15487"/>
                    <a:pt x="17727" y="14089"/>
                    <a:pt x="17323" y="12812"/>
                  </a:cubicBezTo>
                  <a:cubicBezTo>
                    <a:pt x="18512" y="12196"/>
                    <a:pt x="19258" y="10967"/>
                    <a:pt x="19258" y="9626"/>
                  </a:cubicBezTo>
                  <a:cubicBezTo>
                    <a:pt x="19258" y="8286"/>
                    <a:pt x="18512" y="7057"/>
                    <a:pt x="17323" y="6441"/>
                  </a:cubicBezTo>
                  <a:cubicBezTo>
                    <a:pt x="17727" y="5163"/>
                    <a:pt x="17386" y="3765"/>
                    <a:pt x="16438" y="2820"/>
                  </a:cubicBezTo>
                  <a:cubicBezTo>
                    <a:pt x="15756" y="2136"/>
                    <a:pt x="14838" y="1768"/>
                    <a:pt x="13900" y="1768"/>
                  </a:cubicBezTo>
                  <a:cubicBezTo>
                    <a:pt x="13538" y="1768"/>
                    <a:pt x="13173" y="1823"/>
                    <a:pt x="12818" y="1936"/>
                  </a:cubicBezTo>
                  <a:cubicBezTo>
                    <a:pt x="12202" y="746"/>
                    <a:pt x="10973" y="0"/>
                    <a:pt x="9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24" name="Google Shape;9124;p75"/>
          <p:cNvSpPr/>
          <p:nvPr/>
        </p:nvSpPr>
        <p:spPr>
          <a:xfrm>
            <a:off x="7990101" y="2726454"/>
            <a:ext cx="340186" cy="300545"/>
          </a:xfrm>
          <a:custGeom>
            <a:avLst/>
            <a:gdLst/>
            <a:ahLst/>
            <a:cxnLst/>
            <a:rect l="l" t="t" r="r" b="b"/>
            <a:pathLst>
              <a:path w="19326" h="17074" extrusionOk="0">
                <a:moveTo>
                  <a:pt x="14226" y="1132"/>
                </a:moveTo>
                <a:cubicBezTo>
                  <a:pt x="15314" y="1132"/>
                  <a:pt x="16352" y="1605"/>
                  <a:pt x="17070" y="2425"/>
                </a:cubicBezTo>
                <a:cubicBezTo>
                  <a:pt x="17798" y="3252"/>
                  <a:pt x="18196" y="4366"/>
                  <a:pt x="18196" y="5568"/>
                </a:cubicBezTo>
                <a:cubicBezTo>
                  <a:pt x="18193" y="8476"/>
                  <a:pt x="15599" y="10686"/>
                  <a:pt x="11671" y="14032"/>
                </a:cubicBezTo>
                <a:cubicBezTo>
                  <a:pt x="11025" y="14581"/>
                  <a:pt x="10364" y="15146"/>
                  <a:pt x="9663" y="15756"/>
                </a:cubicBezTo>
                <a:cubicBezTo>
                  <a:pt x="8963" y="15146"/>
                  <a:pt x="8301" y="14581"/>
                  <a:pt x="7655" y="14032"/>
                </a:cubicBezTo>
                <a:cubicBezTo>
                  <a:pt x="3727" y="10686"/>
                  <a:pt x="1133" y="8476"/>
                  <a:pt x="1133" y="5568"/>
                </a:cubicBezTo>
                <a:cubicBezTo>
                  <a:pt x="1133" y="4366"/>
                  <a:pt x="1535" y="3252"/>
                  <a:pt x="2259" y="2425"/>
                </a:cubicBezTo>
                <a:cubicBezTo>
                  <a:pt x="2977" y="1605"/>
                  <a:pt x="4015" y="1132"/>
                  <a:pt x="5103" y="1132"/>
                </a:cubicBezTo>
                <a:cubicBezTo>
                  <a:pt x="5113" y="1132"/>
                  <a:pt x="5124" y="1132"/>
                  <a:pt x="5134" y="1132"/>
                </a:cubicBezTo>
                <a:cubicBezTo>
                  <a:pt x="6686" y="1132"/>
                  <a:pt x="7691" y="2090"/>
                  <a:pt x="8259" y="2890"/>
                </a:cubicBezTo>
                <a:cubicBezTo>
                  <a:pt x="8631" y="3421"/>
                  <a:pt x="8920" y="4001"/>
                  <a:pt x="9126" y="4614"/>
                </a:cubicBezTo>
                <a:cubicBezTo>
                  <a:pt x="9212" y="4875"/>
                  <a:pt x="9438" y="5006"/>
                  <a:pt x="9665" y="5006"/>
                </a:cubicBezTo>
                <a:cubicBezTo>
                  <a:pt x="9891" y="5006"/>
                  <a:pt x="10118" y="4875"/>
                  <a:pt x="10204" y="4614"/>
                </a:cubicBezTo>
                <a:cubicBezTo>
                  <a:pt x="10409" y="4001"/>
                  <a:pt x="10699" y="3421"/>
                  <a:pt x="11070" y="2890"/>
                </a:cubicBezTo>
                <a:cubicBezTo>
                  <a:pt x="11641" y="2090"/>
                  <a:pt x="12643" y="1132"/>
                  <a:pt x="14195" y="1132"/>
                </a:cubicBezTo>
                <a:cubicBezTo>
                  <a:pt x="14206" y="1132"/>
                  <a:pt x="14216" y="1132"/>
                  <a:pt x="14226" y="1132"/>
                </a:cubicBezTo>
                <a:close/>
                <a:moveTo>
                  <a:pt x="5103" y="0"/>
                </a:moveTo>
                <a:cubicBezTo>
                  <a:pt x="3689" y="0"/>
                  <a:pt x="2343" y="612"/>
                  <a:pt x="1411" y="1676"/>
                </a:cubicBezTo>
                <a:cubicBezTo>
                  <a:pt x="502" y="2709"/>
                  <a:pt x="1" y="4092"/>
                  <a:pt x="1" y="5568"/>
                </a:cubicBezTo>
                <a:cubicBezTo>
                  <a:pt x="1" y="7174"/>
                  <a:pt x="629" y="8672"/>
                  <a:pt x="1976" y="10275"/>
                </a:cubicBezTo>
                <a:cubicBezTo>
                  <a:pt x="3180" y="11710"/>
                  <a:pt x="4914" y="13183"/>
                  <a:pt x="6922" y="14895"/>
                </a:cubicBezTo>
                <a:cubicBezTo>
                  <a:pt x="7670" y="15532"/>
                  <a:pt x="8443" y="16191"/>
                  <a:pt x="9265" y="16909"/>
                </a:cubicBezTo>
                <a:lnTo>
                  <a:pt x="9292" y="16933"/>
                </a:lnTo>
                <a:cubicBezTo>
                  <a:pt x="9397" y="17027"/>
                  <a:pt x="9530" y="17074"/>
                  <a:pt x="9664" y="17074"/>
                </a:cubicBezTo>
                <a:cubicBezTo>
                  <a:pt x="9797" y="17074"/>
                  <a:pt x="9930" y="17027"/>
                  <a:pt x="10038" y="16933"/>
                </a:cubicBezTo>
                <a:lnTo>
                  <a:pt x="10062" y="16909"/>
                </a:lnTo>
                <a:cubicBezTo>
                  <a:pt x="10883" y="16191"/>
                  <a:pt x="11659" y="15532"/>
                  <a:pt x="12405" y="14895"/>
                </a:cubicBezTo>
                <a:cubicBezTo>
                  <a:pt x="14413" y="13183"/>
                  <a:pt x="16146" y="11707"/>
                  <a:pt x="17351" y="10275"/>
                </a:cubicBezTo>
                <a:cubicBezTo>
                  <a:pt x="18697" y="8672"/>
                  <a:pt x="19325" y="7174"/>
                  <a:pt x="19325" y="5568"/>
                </a:cubicBezTo>
                <a:cubicBezTo>
                  <a:pt x="19325" y="4092"/>
                  <a:pt x="18824" y="2709"/>
                  <a:pt x="17915" y="1676"/>
                </a:cubicBezTo>
                <a:cubicBezTo>
                  <a:pt x="16983" y="612"/>
                  <a:pt x="15637" y="0"/>
                  <a:pt x="14224" y="0"/>
                </a:cubicBezTo>
                <a:cubicBezTo>
                  <a:pt x="14213" y="0"/>
                  <a:pt x="14203" y="0"/>
                  <a:pt x="14192" y="0"/>
                </a:cubicBezTo>
                <a:cubicBezTo>
                  <a:pt x="12157" y="0"/>
                  <a:pt x="10868" y="1217"/>
                  <a:pt x="10143" y="2238"/>
                </a:cubicBezTo>
                <a:cubicBezTo>
                  <a:pt x="9968" y="2485"/>
                  <a:pt x="9808" y="2748"/>
                  <a:pt x="9663" y="3017"/>
                </a:cubicBezTo>
                <a:cubicBezTo>
                  <a:pt x="9518" y="2748"/>
                  <a:pt x="9358" y="2485"/>
                  <a:pt x="9183" y="2238"/>
                </a:cubicBezTo>
                <a:cubicBezTo>
                  <a:pt x="8458" y="1217"/>
                  <a:pt x="7169" y="0"/>
                  <a:pt x="5134" y="0"/>
                </a:cubicBezTo>
                <a:cubicBezTo>
                  <a:pt x="5124" y="0"/>
                  <a:pt x="5113" y="0"/>
                  <a:pt x="5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25" name="Google Shape;9125;p75"/>
          <p:cNvGrpSpPr/>
          <p:nvPr/>
        </p:nvGrpSpPr>
        <p:grpSpPr>
          <a:xfrm>
            <a:off x="6859688" y="3985756"/>
            <a:ext cx="342034" cy="280654"/>
            <a:chOff x="5647000" y="3252650"/>
            <a:chExt cx="485775" cy="398600"/>
          </a:xfrm>
        </p:grpSpPr>
        <p:sp>
          <p:nvSpPr>
            <p:cNvPr id="9126" name="Google Shape;9126;p75"/>
            <p:cNvSpPr/>
            <p:nvPr/>
          </p:nvSpPr>
          <p:spPr>
            <a:xfrm>
              <a:off x="5762575" y="3252650"/>
              <a:ext cx="113250" cy="143825"/>
            </a:xfrm>
            <a:custGeom>
              <a:avLst/>
              <a:gdLst/>
              <a:ahLst/>
              <a:cxnLst/>
              <a:rect l="l" t="t" r="r" b="b"/>
              <a:pathLst>
                <a:path w="4530" h="5753" extrusionOk="0">
                  <a:moveTo>
                    <a:pt x="2265" y="1133"/>
                  </a:moveTo>
                  <a:cubicBezTo>
                    <a:pt x="2383" y="1133"/>
                    <a:pt x="2667" y="1348"/>
                    <a:pt x="2960" y="1930"/>
                  </a:cubicBezTo>
                  <a:cubicBezTo>
                    <a:pt x="3246" y="2501"/>
                    <a:pt x="3397" y="3147"/>
                    <a:pt x="3397" y="3488"/>
                  </a:cubicBezTo>
                  <a:cubicBezTo>
                    <a:pt x="3397" y="4113"/>
                    <a:pt x="2890" y="4621"/>
                    <a:pt x="2265" y="4621"/>
                  </a:cubicBezTo>
                  <a:cubicBezTo>
                    <a:pt x="1637" y="4621"/>
                    <a:pt x="1133" y="4113"/>
                    <a:pt x="1133" y="3488"/>
                  </a:cubicBezTo>
                  <a:cubicBezTo>
                    <a:pt x="1133" y="3147"/>
                    <a:pt x="1284" y="2501"/>
                    <a:pt x="1568" y="1930"/>
                  </a:cubicBezTo>
                  <a:cubicBezTo>
                    <a:pt x="1860" y="1348"/>
                    <a:pt x="2144" y="1133"/>
                    <a:pt x="2265" y="1133"/>
                  </a:cubicBezTo>
                  <a:close/>
                  <a:moveTo>
                    <a:pt x="2265" y="1"/>
                  </a:moveTo>
                  <a:cubicBezTo>
                    <a:pt x="1613" y="1"/>
                    <a:pt x="1024" y="493"/>
                    <a:pt x="556" y="1423"/>
                  </a:cubicBezTo>
                  <a:cubicBezTo>
                    <a:pt x="218" y="2096"/>
                    <a:pt x="1" y="2909"/>
                    <a:pt x="1" y="3488"/>
                  </a:cubicBezTo>
                  <a:cubicBezTo>
                    <a:pt x="1" y="4738"/>
                    <a:pt x="1012" y="5750"/>
                    <a:pt x="2265" y="5753"/>
                  </a:cubicBezTo>
                  <a:cubicBezTo>
                    <a:pt x="3515" y="5750"/>
                    <a:pt x="4527" y="4738"/>
                    <a:pt x="4530" y="3488"/>
                  </a:cubicBezTo>
                  <a:cubicBezTo>
                    <a:pt x="4530" y="2909"/>
                    <a:pt x="4309" y="2096"/>
                    <a:pt x="3971" y="1423"/>
                  </a:cubicBezTo>
                  <a:cubicBezTo>
                    <a:pt x="3503" y="493"/>
                    <a:pt x="2914" y="1"/>
                    <a:pt x="22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27" name="Google Shape;9127;p75"/>
            <p:cNvSpPr/>
            <p:nvPr/>
          </p:nvSpPr>
          <p:spPr>
            <a:xfrm>
              <a:off x="5647000" y="3371750"/>
              <a:ext cx="124425" cy="136450"/>
            </a:xfrm>
            <a:custGeom>
              <a:avLst/>
              <a:gdLst/>
              <a:ahLst/>
              <a:cxnLst/>
              <a:rect l="l" t="t" r="r" b="b"/>
              <a:pathLst>
                <a:path w="4977" h="5458" extrusionOk="0">
                  <a:moveTo>
                    <a:pt x="1510" y="1131"/>
                  </a:moveTo>
                  <a:cubicBezTo>
                    <a:pt x="1680" y="1131"/>
                    <a:pt x="1994" y="1221"/>
                    <a:pt x="2422" y="1496"/>
                  </a:cubicBezTo>
                  <a:cubicBezTo>
                    <a:pt x="2969" y="1852"/>
                    <a:pt x="3425" y="2333"/>
                    <a:pt x="3594" y="2625"/>
                  </a:cubicBezTo>
                  <a:cubicBezTo>
                    <a:pt x="3908" y="3166"/>
                    <a:pt x="3721" y="3860"/>
                    <a:pt x="3180" y="4171"/>
                  </a:cubicBezTo>
                  <a:cubicBezTo>
                    <a:pt x="3000" y="4276"/>
                    <a:pt x="2801" y="4325"/>
                    <a:pt x="2603" y="4325"/>
                  </a:cubicBezTo>
                  <a:cubicBezTo>
                    <a:pt x="2200" y="4325"/>
                    <a:pt x="1804" y="4120"/>
                    <a:pt x="1595" y="3758"/>
                  </a:cubicBezTo>
                  <a:cubicBezTo>
                    <a:pt x="1423" y="3462"/>
                    <a:pt x="1233" y="2828"/>
                    <a:pt x="1193" y="2191"/>
                  </a:cubicBezTo>
                  <a:cubicBezTo>
                    <a:pt x="1157" y="1538"/>
                    <a:pt x="1296" y="1212"/>
                    <a:pt x="1399" y="1155"/>
                  </a:cubicBezTo>
                  <a:cubicBezTo>
                    <a:pt x="1432" y="1137"/>
                    <a:pt x="1471" y="1131"/>
                    <a:pt x="1510" y="1131"/>
                  </a:cubicBezTo>
                  <a:close/>
                  <a:moveTo>
                    <a:pt x="1512" y="1"/>
                  </a:moveTo>
                  <a:cubicBezTo>
                    <a:pt x="1262" y="1"/>
                    <a:pt x="1033" y="59"/>
                    <a:pt x="831" y="177"/>
                  </a:cubicBezTo>
                  <a:cubicBezTo>
                    <a:pt x="269" y="500"/>
                    <a:pt x="1" y="1221"/>
                    <a:pt x="61" y="2260"/>
                  </a:cubicBezTo>
                  <a:cubicBezTo>
                    <a:pt x="106" y="3012"/>
                    <a:pt x="324" y="3821"/>
                    <a:pt x="614" y="4325"/>
                  </a:cubicBezTo>
                  <a:cubicBezTo>
                    <a:pt x="919" y="4851"/>
                    <a:pt x="1420" y="5231"/>
                    <a:pt x="2009" y="5382"/>
                  </a:cubicBezTo>
                  <a:cubicBezTo>
                    <a:pt x="2205" y="5431"/>
                    <a:pt x="2404" y="5458"/>
                    <a:pt x="2607" y="5458"/>
                  </a:cubicBezTo>
                  <a:cubicBezTo>
                    <a:pt x="2609" y="5458"/>
                    <a:pt x="2612" y="5458"/>
                    <a:pt x="2615" y="5458"/>
                  </a:cubicBezTo>
                  <a:cubicBezTo>
                    <a:pt x="3421" y="5458"/>
                    <a:pt x="4166" y="5026"/>
                    <a:pt x="4572" y="4328"/>
                  </a:cubicBezTo>
                  <a:cubicBezTo>
                    <a:pt x="4977" y="3628"/>
                    <a:pt x="4977" y="2761"/>
                    <a:pt x="4572" y="2061"/>
                  </a:cubicBezTo>
                  <a:cubicBezTo>
                    <a:pt x="4282" y="1560"/>
                    <a:pt x="3678" y="968"/>
                    <a:pt x="3035" y="548"/>
                  </a:cubicBezTo>
                  <a:cubicBezTo>
                    <a:pt x="2471" y="185"/>
                    <a:pt x="1957" y="1"/>
                    <a:pt x="15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28" name="Google Shape;9128;p75"/>
            <p:cNvSpPr/>
            <p:nvPr/>
          </p:nvSpPr>
          <p:spPr>
            <a:xfrm>
              <a:off x="5904100" y="3252650"/>
              <a:ext cx="113275" cy="143825"/>
            </a:xfrm>
            <a:custGeom>
              <a:avLst/>
              <a:gdLst/>
              <a:ahLst/>
              <a:cxnLst/>
              <a:rect l="l" t="t" r="r" b="b"/>
              <a:pathLst>
                <a:path w="4531" h="5753" extrusionOk="0">
                  <a:moveTo>
                    <a:pt x="2266" y="1133"/>
                  </a:moveTo>
                  <a:cubicBezTo>
                    <a:pt x="2383" y="1133"/>
                    <a:pt x="2667" y="1348"/>
                    <a:pt x="2960" y="1930"/>
                  </a:cubicBezTo>
                  <a:cubicBezTo>
                    <a:pt x="3247" y="2501"/>
                    <a:pt x="3398" y="3147"/>
                    <a:pt x="3398" y="3488"/>
                  </a:cubicBezTo>
                  <a:cubicBezTo>
                    <a:pt x="3398" y="4113"/>
                    <a:pt x="2891" y="4621"/>
                    <a:pt x="2266" y="4621"/>
                  </a:cubicBezTo>
                  <a:cubicBezTo>
                    <a:pt x="1638" y="4621"/>
                    <a:pt x="1133" y="4113"/>
                    <a:pt x="1133" y="3488"/>
                  </a:cubicBezTo>
                  <a:cubicBezTo>
                    <a:pt x="1133" y="3147"/>
                    <a:pt x="1284" y="2501"/>
                    <a:pt x="1568" y="1930"/>
                  </a:cubicBezTo>
                  <a:cubicBezTo>
                    <a:pt x="1861" y="1348"/>
                    <a:pt x="2145" y="1133"/>
                    <a:pt x="2266" y="1133"/>
                  </a:cubicBezTo>
                  <a:close/>
                  <a:moveTo>
                    <a:pt x="2266" y="1"/>
                  </a:moveTo>
                  <a:cubicBezTo>
                    <a:pt x="1613" y="1"/>
                    <a:pt x="1025" y="493"/>
                    <a:pt x="557" y="1423"/>
                  </a:cubicBezTo>
                  <a:cubicBezTo>
                    <a:pt x="218" y="2096"/>
                    <a:pt x="1" y="2909"/>
                    <a:pt x="1" y="3488"/>
                  </a:cubicBezTo>
                  <a:cubicBezTo>
                    <a:pt x="1" y="4738"/>
                    <a:pt x="1012" y="5753"/>
                    <a:pt x="2266" y="5753"/>
                  </a:cubicBezTo>
                  <a:cubicBezTo>
                    <a:pt x="3516" y="5753"/>
                    <a:pt x="4530" y="4738"/>
                    <a:pt x="4530" y="3488"/>
                  </a:cubicBezTo>
                  <a:cubicBezTo>
                    <a:pt x="4530" y="2909"/>
                    <a:pt x="4310" y="2096"/>
                    <a:pt x="3972" y="1423"/>
                  </a:cubicBezTo>
                  <a:cubicBezTo>
                    <a:pt x="3507" y="493"/>
                    <a:pt x="2915" y="1"/>
                    <a:pt x="22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29" name="Google Shape;9129;p75"/>
            <p:cNvSpPr/>
            <p:nvPr/>
          </p:nvSpPr>
          <p:spPr>
            <a:xfrm>
              <a:off x="5996750" y="3371150"/>
              <a:ext cx="136025" cy="136525"/>
            </a:xfrm>
            <a:custGeom>
              <a:avLst/>
              <a:gdLst/>
              <a:ahLst/>
              <a:cxnLst/>
              <a:rect l="l" t="t" r="r" b="b"/>
              <a:pathLst>
                <a:path w="5441" h="5461" extrusionOk="0">
                  <a:moveTo>
                    <a:pt x="3955" y="1136"/>
                  </a:moveTo>
                  <a:cubicBezTo>
                    <a:pt x="3986" y="1136"/>
                    <a:pt x="4019" y="1143"/>
                    <a:pt x="4049" y="1158"/>
                  </a:cubicBezTo>
                  <a:cubicBezTo>
                    <a:pt x="4152" y="1218"/>
                    <a:pt x="4290" y="1541"/>
                    <a:pt x="4251" y="2194"/>
                  </a:cubicBezTo>
                  <a:cubicBezTo>
                    <a:pt x="4215" y="2834"/>
                    <a:pt x="4022" y="3468"/>
                    <a:pt x="3853" y="3761"/>
                  </a:cubicBezTo>
                  <a:cubicBezTo>
                    <a:pt x="3644" y="4124"/>
                    <a:pt x="3246" y="4329"/>
                    <a:pt x="2842" y="4329"/>
                  </a:cubicBezTo>
                  <a:cubicBezTo>
                    <a:pt x="2645" y="4329"/>
                    <a:pt x="2447" y="4280"/>
                    <a:pt x="2267" y="4177"/>
                  </a:cubicBezTo>
                  <a:cubicBezTo>
                    <a:pt x="2008" y="4026"/>
                    <a:pt x="1815" y="3779"/>
                    <a:pt x="1739" y="3489"/>
                  </a:cubicBezTo>
                  <a:cubicBezTo>
                    <a:pt x="1661" y="3199"/>
                    <a:pt x="1703" y="2888"/>
                    <a:pt x="1854" y="2628"/>
                  </a:cubicBezTo>
                  <a:cubicBezTo>
                    <a:pt x="2020" y="2338"/>
                    <a:pt x="2479" y="1855"/>
                    <a:pt x="3025" y="1502"/>
                  </a:cubicBezTo>
                  <a:cubicBezTo>
                    <a:pt x="3451" y="1224"/>
                    <a:pt x="3768" y="1137"/>
                    <a:pt x="3937" y="1137"/>
                  </a:cubicBezTo>
                  <a:cubicBezTo>
                    <a:pt x="3943" y="1136"/>
                    <a:pt x="3949" y="1136"/>
                    <a:pt x="3955" y="1136"/>
                  </a:cubicBezTo>
                  <a:close/>
                  <a:moveTo>
                    <a:pt x="3932" y="1"/>
                  </a:moveTo>
                  <a:cubicBezTo>
                    <a:pt x="3486" y="1"/>
                    <a:pt x="2972" y="186"/>
                    <a:pt x="2409" y="551"/>
                  </a:cubicBezTo>
                  <a:cubicBezTo>
                    <a:pt x="1766" y="968"/>
                    <a:pt x="1162" y="1562"/>
                    <a:pt x="872" y="2064"/>
                  </a:cubicBezTo>
                  <a:cubicBezTo>
                    <a:pt x="1" y="3572"/>
                    <a:pt x="1091" y="5461"/>
                    <a:pt x="2834" y="5461"/>
                  </a:cubicBezTo>
                  <a:cubicBezTo>
                    <a:pt x="2835" y="5461"/>
                    <a:pt x="2837" y="5461"/>
                    <a:pt x="2838" y="5461"/>
                  </a:cubicBezTo>
                  <a:cubicBezTo>
                    <a:pt x="3037" y="5461"/>
                    <a:pt x="3240" y="5433"/>
                    <a:pt x="3436" y="5385"/>
                  </a:cubicBezTo>
                  <a:cubicBezTo>
                    <a:pt x="4022" y="5234"/>
                    <a:pt x="4526" y="4854"/>
                    <a:pt x="4831" y="4328"/>
                  </a:cubicBezTo>
                  <a:cubicBezTo>
                    <a:pt x="5121" y="3824"/>
                    <a:pt x="5335" y="3015"/>
                    <a:pt x="5380" y="2260"/>
                  </a:cubicBezTo>
                  <a:cubicBezTo>
                    <a:pt x="5441" y="1221"/>
                    <a:pt x="5175" y="503"/>
                    <a:pt x="4614" y="177"/>
                  </a:cubicBezTo>
                  <a:cubicBezTo>
                    <a:pt x="4410" y="59"/>
                    <a:pt x="4182" y="1"/>
                    <a:pt x="39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30" name="Google Shape;9130;p75"/>
            <p:cNvSpPr/>
            <p:nvPr/>
          </p:nvSpPr>
          <p:spPr>
            <a:xfrm>
              <a:off x="5734275" y="3424700"/>
              <a:ext cx="311325" cy="226550"/>
            </a:xfrm>
            <a:custGeom>
              <a:avLst/>
              <a:gdLst/>
              <a:ahLst/>
              <a:cxnLst/>
              <a:rect l="l" t="t" r="r" b="b"/>
              <a:pathLst>
                <a:path w="12453" h="9062" extrusionOk="0">
                  <a:moveTo>
                    <a:pt x="6226" y="1135"/>
                  </a:moveTo>
                  <a:cubicBezTo>
                    <a:pt x="8575" y="1135"/>
                    <a:pt x="9059" y="1815"/>
                    <a:pt x="9059" y="2832"/>
                  </a:cubicBezTo>
                  <a:lnTo>
                    <a:pt x="9059" y="3159"/>
                  </a:lnTo>
                  <a:cubicBezTo>
                    <a:pt x="9056" y="3850"/>
                    <a:pt x="9472" y="4472"/>
                    <a:pt x="10115" y="4732"/>
                  </a:cubicBezTo>
                  <a:cubicBezTo>
                    <a:pt x="10846" y="5031"/>
                    <a:pt x="11323" y="5619"/>
                    <a:pt x="11323" y="6229"/>
                  </a:cubicBezTo>
                  <a:cubicBezTo>
                    <a:pt x="11323" y="6658"/>
                    <a:pt x="11103" y="7069"/>
                    <a:pt x="10704" y="7389"/>
                  </a:cubicBezTo>
                  <a:cubicBezTo>
                    <a:pt x="10269" y="7736"/>
                    <a:pt x="9687" y="7929"/>
                    <a:pt x="9059" y="7929"/>
                  </a:cubicBezTo>
                  <a:cubicBezTo>
                    <a:pt x="9046" y="7929"/>
                    <a:pt x="9034" y="7929"/>
                    <a:pt x="9021" y="7929"/>
                  </a:cubicBezTo>
                  <a:cubicBezTo>
                    <a:pt x="8787" y="7929"/>
                    <a:pt x="8554" y="7902"/>
                    <a:pt x="8328" y="7848"/>
                  </a:cubicBezTo>
                  <a:cubicBezTo>
                    <a:pt x="7639" y="7673"/>
                    <a:pt x="6933" y="7585"/>
                    <a:pt x="6223" y="7585"/>
                  </a:cubicBezTo>
                  <a:cubicBezTo>
                    <a:pt x="5517" y="7585"/>
                    <a:pt x="4813" y="7673"/>
                    <a:pt x="4128" y="7848"/>
                  </a:cubicBezTo>
                  <a:cubicBezTo>
                    <a:pt x="3901" y="7902"/>
                    <a:pt x="3666" y="7929"/>
                    <a:pt x="3434" y="7929"/>
                  </a:cubicBezTo>
                  <a:cubicBezTo>
                    <a:pt x="3422" y="7929"/>
                    <a:pt x="3409" y="7929"/>
                    <a:pt x="3397" y="7929"/>
                  </a:cubicBezTo>
                  <a:cubicBezTo>
                    <a:pt x="2769" y="7929"/>
                    <a:pt x="2183" y="7736"/>
                    <a:pt x="1748" y="7389"/>
                  </a:cubicBezTo>
                  <a:cubicBezTo>
                    <a:pt x="1350" y="7069"/>
                    <a:pt x="1133" y="6658"/>
                    <a:pt x="1133" y="6229"/>
                  </a:cubicBezTo>
                  <a:cubicBezTo>
                    <a:pt x="1133" y="5619"/>
                    <a:pt x="1604" y="5031"/>
                    <a:pt x="2340" y="4732"/>
                  </a:cubicBezTo>
                  <a:cubicBezTo>
                    <a:pt x="2980" y="4472"/>
                    <a:pt x="3397" y="3850"/>
                    <a:pt x="3397" y="3159"/>
                  </a:cubicBezTo>
                  <a:lnTo>
                    <a:pt x="3397" y="2832"/>
                  </a:lnTo>
                  <a:cubicBezTo>
                    <a:pt x="3397" y="1815"/>
                    <a:pt x="3877" y="1135"/>
                    <a:pt x="6226" y="1135"/>
                  </a:cubicBezTo>
                  <a:close/>
                  <a:moveTo>
                    <a:pt x="6226" y="0"/>
                  </a:moveTo>
                  <a:cubicBezTo>
                    <a:pt x="5034" y="0"/>
                    <a:pt x="4185" y="157"/>
                    <a:pt x="3557" y="498"/>
                  </a:cubicBezTo>
                  <a:cubicBezTo>
                    <a:pt x="2700" y="960"/>
                    <a:pt x="2262" y="1745"/>
                    <a:pt x="2262" y="2829"/>
                  </a:cubicBezTo>
                  <a:lnTo>
                    <a:pt x="2262" y="3156"/>
                  </a:lnTo>
                  <a:cubicBezTo>
                    <a:pt x="2265" y="3388"/>
                    <a:pt x="2123" y="3593"/>
                    <a:pt x="1912" y="3681"/>
                  </a:cubicBezTo>
                  <a:cubicBezTo>
                    <a:pt x="749" y="4158"/>
                    <a:pt x="0" y="5157"/>
                    <a:pt x="0" y="6229"/>
                  </a:cubicBezTo>
                  <a:cubicBezTo>
                    <a:pt x="0" y="7790"/>
                    <a:pt x="1522" y="9062"/>
                    <a:pt x="3397" y="9062"/>
                  </a:cubicBezTo>
                  <a:cubicBezTo>
                    <a:pt x="3409" y="9062"/>
                    <a:pt x="3421" y="9062"/>
                    <a:pt x="3433" y="9062"/>
                  </a:cubicBezTo>
                  <a:cubicBezTo>
                    <a:pt x="3760" y="9062"/>
                    <a:pt x="4088" y="9022"/>
                    <a:pt x="4409" y="8944"/>
                  </a:cubicBezTo>
                  <a:cubicBezTo>
                    <a:pt x="5005" y="8793"/>
                    <a:pt x="5616" y="8717"/>
                    <a:pt x="6228" y="8717"/>
                  </a:cubicBezTo>
                  <a:cubicBezTo>
                    <a:pt x="6839" y="8717"/>
                    <a:pt x="7451" y="8793"/>
                    <a:pt x="8047" y="8944"/>
                  </a:cubicBezTo>
                  <a:cubicBezTo>
                    <a:pt x="8366" y="9022"/>
                    <a:pt x="8691" y="9059"/>
                    <a:pt x="9017" y="9059"/>
                  </a:cubicBezTo>
                  <a:cubicBezTo>
                    <a:pt x="9030" y="9059"/>
                    <a:pt x="9043" y="9059"/>
                    <a:pt x="9056" y="9059"/>
                  </a:cubicBezTo>
                  <a:cubicBezTo>
                    <a:pt x="10931" y="9059"/>
                    <a:pt x="12452" y="7787"/>
                    <a:pt x="12452" y="6226"/>
                  </a:cubicBezTo>
                  <a:cubicBezTo>
                    <a:pt x="12452" y="5154"/>
                    <a:pt x="11704" y="4155"/>
                    <a:pt x="10541" y="3681"/>
                  </a:cubicBezTo>
                  <a:cubicBezTo>
                    <a:pt x="10330" y="3593"/>
                    <a:pt x="10188" y="3388"/>
                    <a:pt x="10188" y="3156"/>
                  </a:cubicBezTo>
                  <a:lnTo>
                    <a:pt x="10188" y="2829"/>
                  </a:lnTo>
                  <a:cubicBezTo>
                    <a:pt x="10188" y="1745"/>
                    <a:pt x="9753" y="960"/>
                    <a:pt x="8896" y="498"/>
                  </a:cubicBezTo>
                  <a:cubicBezTo>
                    <a:pt x="8267" y="157"/>
                    <a:pt x="7419" y="0"/>
                    <a:pt x="6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31" name="Google Shape;9131;p75"/>
          <p:cNvGrpSpPr/>
          <p:nvPr/>
        </p:nvGrpSpPr>
        <p:grpSpPr>
          <a:xfrm>
            <a:off x="5165128" y="3991768"/>
            <a:ext cx="326536" cy="268454"/>
            <a:chOff x="6242450" y="3252800"/>
            <a:chExt cx="484475" cy="398300"/>
          </a:xfrm>
        </p:grpSpPr>
        <p:sp>
          <p:nvSpPr>
            <p:cNvPr id="9132" name="Google Shape;9132;p75"/>
            <p:cNvSpPr/>
            <p:nvPr/>
          </p:nvSpPr>
          <p:spPr>
            <a:xfrm>
              <a:off x="6626825" y="3427175"/>
              <a:ext cx="28325" cy="28350"/>
            </a:xfrm>
            <a:custGeom>
              <a:avLst/>
              <a:gdLst/>
              <a:ahLst/>
              <a:cxnLst/>
              <a:rect l="l" t="t" r="r" b="b"/>
              <a:pathLst>
                <a:path w="1133" h="1134" extrusionOk="0">
                  <a:moveTo>
                    <a:pt x="568" y="1"/>
                  </a:moveTo>
                  <a:cubicBezTo>
                    <a:pt x="254" y="1"/>
                    <a:pt x="0" y="254"/>
                    <a:pt x="0" y="565"/>
                  </a:cubicBezTo>
                  <a:cubicBezTo>
                    <a:pt x="0" y="879"/>
                    <a:pt x="254" y="1133"/>
                    <a:pt x="568" y="1133"/>
                  </a:cubicBezTo>
                  <a:cubicBezTo>
                    <a:pt x="879" y="1133"/>
                    <a:pt x="1132" y="879"/>
                    <a:pt x="1132" y="565"/>
                  </a:cubicBezTo>
                  <a:cubicBezTo>
                    <a:pt x="1132" y="254"/>
                    <a:pt x="879" y="1"/>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33" name="Google Shape;9133;p75"/>
            <p:cNvSpPr/>
            <p:nvPr/>
          </p:nvSpPr>
          <p:spPr>
            <a:xfrm>
              <a:off x="6508150" y="3418300"/>
              <a:ext cx="45550" cy="68400"/>
            </a:xfrm>
            <a:custGeom>
              <a:avLst/>
              <a:gdLst/>
              <a:ahLst/>
              <a:cxnLst/>
              <a:rect l="l" t="t" r="r" b="b"/>
              <a:pathLst>
                <a:path w="1822" h="2736" extrusionOk="0">
                  <a:moveTo>
                    <a:pt x="1062" y="0"/>
                  </a:moveTo>
                  <a:cubicBezTo>
                    <a:pt x="917" y="0"/>
                    <a:pt x="772" y="55"/>
                    <a:pt x="662" y="166"/>
                  </a:cubicBezTo>
                  <a:cubicBezTo>
                    <a:pt x="1" y="830"/>
                    <a:pt x="1" y="1905"/>
                    <a:pt x="662" y="2569"/>
                  </a:cubicBezTo>
                  <a:cubicBezTo>
                    <a:pt x="768" y="2675"/>
                    <a:pt x="912" y="2732"/>
                    <a:pt x="1063" y="2735"/>
                  </a:cubicBezTo>
                  <a:cubicBezTo>
                    <a:pt x="1568" y="2732"/>
                    <a:pt x="1821" y="2122"/>
                    <a:pt x="1462" y="1766"/>
                  </a:cubicBezTo>
                  <a:cubicBezTo>
                    <a:pt x="1242" y="1545"/>
                    <a:pt x="1242" y="1186"/>
                    <a:pt x="1462" y="966"/>
                  </a:cubicBezTo>
                  <a:cubicBezTo>
                    <a:pt x="1685" y="745"/>
                    <a:pt x="1685" y="386"/>
                    <a:pt x="1462" y="166"/>
                  </a:cubicBezTo>
                  <a:cubicBezTo>
                    <a:pt x="1352" y="55"/>
                    <a:pt x="1207" y="0"/>
                    <a:pt x="10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34" name="Google Shape;9134;p75"/>
            <p:cNvSpPr/>
            <p:nvPr/>
          </p:nvSpPr>
          <p:spPr>
            <a:xfrm>
              <a:off x="6242450" y="3252800"/>
              <a:ext cx="484475" cy="398300"/>
            </a:xfrm>
            <a:custGeom>
              <a:avLst/>
              <a:gdLst/>
              <a:ahLst/>
              <a:cxnLst/>
              <a:rect l="l" t="t" r="r" b="b"/>
              <a:pathLst>
                <a:path w="19379" h="15932" extrusionOk="0">
                  <a:moveTo>
                    <a:pt x="9593" y="1178"/>
                  </a:moveTo>
                  <a:cubicBezTo>
                    <a:pt x="11124" y="1417"/>
                    <a:pt x="12374" y="2528"/>
                    <a:pt x="12794" y="4017"/>
                  </a:cubicBezTo>
                  <a:cubicBezTo>
                    <a:pt x="12443" y="4032"/>
                    <a:pt x="12093" y="4065"/>
                    <a:pt x="11746" y="4116"/>
                  </a:cubicBezTo>
                  <a:cubicBezTo>
                    <a:pt x="10595" y="3543"/>
                    <a:pt x="9792" y="2450"/>
                    <a:pt x="9593" y="1178"/>
                  </a:cubicBezTo>
                  <a:close/>
                  <a:moveTo>
                    <a:pt x="1697" y="2890"/>
                  </a:moveTo>
                  <a:cubicBezTo>
                    <a:pt x="3790" y="2894"/>
                    <a:pt x="5520" y="4524"/>
                    <a:pt x="5653" y="6613"/>
                  </a:cubicBezTo>
                  <a:lnTo>
                    <a:pt x="4360" y="5321"/>
                  </a:lnTo>
                  <a:cubicBezTo>
                    <a:pt x="4250" y="5211"/>
                    <a:pt x="4105" y="5156"/>
                    <a:pt x="3960" y="5156"/>
                  </a:cubicBezTo>
                  <a:cubicBezTo>
                    <a:pt x="3815" y="5156"/>
                    <a:pt x="3670" y="5211"/>
                    <a:pt x="3560" y="5321"/>
                  </a:cubicBezTo>
                  <a:cubicBezTo>
                    <a:pt x="3340" y="5542"/>
                    <a:pt x="3340" y="5901"/>
                    <a:pt x="3560" y="6121"/>
                  </a:cubicBezTo>
                  <a:lnTo>
                    <a:pt x="4852" y="7414"/>
                  </a:lnTo>
                  <a:cubicBezTo>
                    <a:pt x="2763" y="7281"/>
                    <a:pt x="1132" y="5551"/>
                    <a:pt x="1132" y="3458"/>
                  </a:cubicBezTo>
                  <a:lnTo>
                    <a:pt x="1129" y="3458"/>
                  </a:lnTo>
                  <a:lnTo>
                    <a:pt x="1129" y="2890"/>
                  </a:lnTo>
                  <a:close/>
                  <a:moveTo>
                    <a:pt x="15511" y="5593"/>
                  </a:moveTo>
                  <a:cubicBezTo>
                    <a:pt x="16553" y="6067"/>
                    <a:pt x="17477" y="6888"/>
                    <a:pt x="18135" y="7966"/>
                  </a:cubicBezTo>
                  <a:cubicBezTo>
                    <a:pt x="17471" y="9056"/>
                    <a:pt x="16532" y="9887"/>
                    <a:pt x="15472" y="10358"/>
                  </a:cubicBezTo>
                  <a:cubicBezTo>
                    <a:pt x="13748" y="9228"/>
                    <a:pt x="13766" y="6695"/>
                    <a:pt x="15511" y="5593"/>
                  </a:cubicBezTo>
                  <a:close/>
                  <a:moveTo>
                    <a:pt x="13326" y="5134"/>
                  </a:moveTo>
                  <a:cubicBezTo>
                    <a:pt x="13345" y="5134"/>
                    <a:pt x="13363" y="5134"/>
                    <a:pt x="13382" y="5134"/>
                  </a:cubicBezTo>
                  <a:cubicBezTo>
                    <a:pt x="13417" y="5140"/>
                    <a:pt x="13451" y="5143"/>
                    <a:pt x="13485" y="5143"/>
                  </a:cubicBezTo>
                  <a:cubicBezTo>
                    <a:pt x="13504" y="5143"/>
                    <a:pt x="13523" y="5142"/>
                    <a:pt x="13542" y="5140"/>
                  </a:cubicBezTo>
                  <a:cubicBezTo>
                    <a:pt x="13548" y="5140"/>
                    <a:pt x="13554" y="5137"/>
                    <a:pt x="13560" y="5137"/>
                  </a:cubicBezTo>
                  <a:cubicBezTo>
                    <a:pt x="13775" y="5143"/>
                    <a:pt x="13989" y="5161"/>
                    <a:pt x="14204" y="5197"/>
                  </a:cubicBezTo>
                  <a:cubicBezTo>
                    <a:pt x="12688" y="6728"/>
                    <a:pt x="12676" y="9189"/>
                    <a:pt x="14170" y="10738"/>
                  </a:cubicBezTo>
                  <a:cubicBezTo>
                    <a:pt x="13968" y="10771"/>
                    <a:pt x="13763" y="10789"/>
                    <a:pt x="13560" y="10792"/>
                  </a:cubicBezTo>
                  <a:lnTo>
                    <a:pt x="13542" y="10792"/>
                  </a:lnTo>
                  <a:cubicBezTo>
                    <a:pt x="13520" y="10789"/>
                    <a:pt x="13497" y="10787"/>
                    <a:pt x="13475" y="10787"/>
                  </a:cubicBezTo>
                  <a:cubicBezTo>
                    <a:pt x="13444" y="10787"/>
                    <a:pt x="13414" y="10790"/>
                    <a:pt x="13382" y="10795"/>
                  </a:cubicBezTo>
                  <a:cubicBezTo>
                    <a:pt x="13362" y="10796"/>
                    <a:pt x="13341" y="10796"/>
                    <a:pt x="13321" y="10796"/>
                  </a:cubicBezTo>
                  <a:cubicBezTo>
                    <a:pt x="12807" y="10796"/>
                    <a:pt x="12296" y="10759"/>
                    <a:pt x="11788" y="10684"/>
                  </a:cubicBezTo>
                  <a:cubicBezTo>
                    <a:pt x="11755" y="10675"/>
                    <a:pt x="11722" y="10672"/>
                    <a:pt x="11691" y="10669"/>
                  </a:cubicBezTo>
                  <a:cubicBezTo>
                    <a:pt x="9931" y="10370"/>
                    <a:pt x="8938" y="9530"/>
                    <a:pt x="7114" y="7990"/>
                  </a:cubicBezTo>
                  <a:lnTo>
                    <a:pt x="7105" y="7987"/>
                  </a:lnTo>
                  <a:lnTo>
                    <a:pt x="7177" y="7927"/>
                  </a:lnTo>
                  <a:cubicBezTo>
                    <a:pt x="8986" y="6402"/>
                    <a:pt x="9973" y="5569"/>
                    <a:pt x="11691" y="5267"/>
                  </a:cubicBezTo>
                  <a:cubicBezTo>
                    <a:pt x="11731" y="5264"/>
                    <a:pt x="11767" y="5258"/>
                    <a:pt x="11806" y="5249"/>
                  </a:cubicBezTo>
                  <a:cubicBezTo>
                    <a:pt x="12310" y="5173"/>
                    <a:pt x="12816" y="5134"/>
                    <a:pt x="13326" y="5134"/>
                  </a:cubicBezTo>
                  <a:close/>
                  <a:moveTo>
                    <a:pt x="4852" y="8561"/>
                  </a:moveTo>
                  <a:lnTo>
                    <a:pt x="3560" y="9850"/>
                  </a:lnTo>
                  <a:cubicBezTo>
                    <a:pt x="3340" y="10071"/>
                    <a:pt x="3340" y="10430"/>
                    <a:pt x="3560" y="10650"/>
                  </a:cubicBezTo>
                  <a:cubicBezTo>
                    <a:pt x="3670" y="10762"/>
                    <a:pt x="3815" y="10818"/>
                    <a:pt x="3960" y="10818"/>
                  </a:cubicBezTo>
                  <a:cubicBezTo>
                    <a:pt x="4105" y="10818"/>
                    <a:pt x="4250" y="10762"/>
                    <a:pt x="4360" y="10650"/>
                  </a:cubicBezTo>
                  <a:lnTo>
                    <a:pt x="5653" y="9361"/>
                  </a:lnTo>
                  <a:lnTo>
                    <a:pt x="5653" y="9361"/>
                  </a:lnTo>
                  <a:cubicBezTo>
                    <a:pt x="5520" y="11451"/>
                    <a:pt x="3790" y="13078"/>
                    <a:pt x="1697" y="13081"/>
                  </a:cubicBezTo>
                  <a:lnTo>
                    <a:pt x="1129" y="13081"/>
                  </a:lnTo>
                  <a:lnTo>
                    <a:pt x="1129" y="12517"/>
                  </a:lnTo>
                  <a:cubicBezTo>
                    <a:pt x="1132" y="10421"/>
                    <a:pt x="2760" y="8691"/>
                    <a:pt x="4852" y="8561"/>
                  </a:cubicBezTo>
                  <a:close/>
                  <a:moveTo>
                    <a:pt x="11734" y="11822"/>
                  </a:moveTo>
                  <a:cubicBezTo>
                    <a:pt x="12066" y="11870"/>
                    <a:pt x="12416" y="11901"/>
                    <a:pt x="12794" y="11916"/>
                  </a:cubicBezTo>
                  <a:cubicBezTo>
                    <a:pt x="12374" y="13407"/>
                    <a:pt x="11121" y="14515"/>
                    <a:pt x="9593" y="14754"/>
                  </a:cubicBezTo>
                  <a:cubicBezTo>
                    <a:pt x="9792" y="13489"/>
                    <a:pt x="10589" y="12396"/>
                    <a:pt x="11734" y="11822"/>
                  </a:cubicBezTo>
                  <a:close/>
                  <a:moveTo>
                    <a:pt x="8986" y="1"/>
                  </a:moveTo>
                  <a:cubicBezTo>
                    <a:pt x="8984" y="1"/>
                    <a:pt x="8982" y="1"/>
                    <a:pt x="8980" y="1"/>
                  </a:cubicBezTo>
                  <a:cubicBezTo>
                    <a:pt x="8666" y="1"/>
                    <a:pt x="8412" y="255"/>
                    <a:pt x="8412" y="566"/>
                  </a:cubicBezTo>
                  <a:cubicBezTo>
                    <a:pt x="8415" y="2084"/>
                    <a:pt x="9092" y="3522"/>
                    <a:pt x="10257" y="4491"/>
                  </a:cubicBezTo>
                  <a:cubicBezTo>
                    <a:pt x="9019" y="4950"/>
                    <a:pt x="8044" y="5720"/>
                    <a:pt x="6794" y="6774"/>
                  </a:cubicBezTo>
                  <a:cubicBezTo>
                    <a:pt x="6749" y="4002"/>
                    <a:pt x="4481" y="1761"/>
                    <a:pt x="1697" y="1761"/>
                  </a:cubicBezTo>
                  <a:lnTo>
                    <a:pt x="565" y="1761"/>
                  </a:lnTo>
                  <a:cubicBezTo>
                    <a:pt x="251" y="1761"/>
                    <a:pt x="0" y="2015"/>
                    <a:pt x="0" y="2326"/>
                  </a:cubicBezTo>
                  <a:lnTo>
                    <a:pt x="0" y="3458"/>
                  </a:lnTo>
                  <a:cubicBezTo>
                    <a:pt x="0" y="5366"/>
                    <a:pt x="1066" y="7115"/>
                    <a:pt x="2763" y="7987"/>
                  </a:cubicBezTo>
                  <a:cubicBezTo>
                    <a:pt x="1066" y="8863"/>
                    <a:pt x="0" y="10611"/>
                    <a:pt x="0" y="12517"/>
                  </a:cubicBezTo>
                  <a:lnTo>
                    <a:pt x="0" y="13649"/>
                  </a:lnTo>
                  <a:cubicBezTo>
                    <a:pt x="0" y="13963"/>
                    <a:pt x="254" y="14213"/>
                    <a:pt x="565" y="14213"/>
                  </a:cubicBezTo>
                  <a:lnTo>
                    <a:pt x="1697" y="14213"/>
                  </a:lnTo>
                  <a:cubicBezTo>
                    <a:pt x="4478" y="14213"/>
                    <a:pt x="6746" y="11973"/>
                    <a:pt x="6794" y="9204"/>
                  </a:cubicBezTo>
                  <a:cubicBezTo>
                    <a:pt x="7808" y="10056"/>
                    <a:pt x="8606" y="10693"/>
                    <a:pt x="9523" y="11149"/>
                  </a:cubicBezTo>
                  <a:cubicBezTo>
                    <a:pt x="9756" y="11263"/>
                    <a:pt x="9998" y="11366"/>
                    <a:pt x="10242" y="11457"/>
                  </a:cubicBezTo>
                  <a:cubicBezTo>
                    <a:pt x="9086" y="12426"/>
                    <a:pt x="8415" y="13857"/>
                    <a:pt x="8412" y="15367"/>
                  </a:cubicBezTo>
                  <a:cubicBezTo>
                    <a:pt x="8412" y="15678"/>
                    <a:pt x="8666" y="15932"/>
                    <a:pt x="8980" y="15932"/>
                  </a:cubicBezTo>
                  <a:cubicBezTo>
                    <a:pt x="8982" y="15932"/>
                    <a:pt x="8984" y="15932"/>
                    <a:pt x="8986" y="15932"/>
                  </a:cubicBezTo>
                  <a:cubicBezTo>
                    <a:pt x="11387" y="15932"/>
                    <a:pt x="13461" y="14254"/>
                    <a:pt x="13962" y="11907"/>
                  </a:cubicBezTo>
                  <a:cubicBezTo>
                    <a:pt x="14971" y="11813"/>
                    <a:pt x="15943" y="11481"/>
                    <a:pt x="16794" y="10934"/>
                  </a:cubicBezTo>
                  <a:cubicBezTo>
                    <a:pt x="17812" y="10288"/>
                    <a:pt x="18672" y="9355"/>
                    <a:pt x="19285" y="8238"/>
                  </a:cubicBezTo>
                  <a:cubicBezTo>
                    <a:pt x="19379" y="8069"/>
                    <a:pt x="19379" y="7864"/>
                    <a:pt x="19285" y="7694"/>
                  </a:cubicBezTo>
                  <a:cubicBezTo>
                    <a:pt x="18672" y="6577"/>
                    <a:pt x="17809" y="5644"/>
                    <a:pt x="16794" y="4998"/>
                  </a:cubicBezTo>
                  <a:cubicBezTo>
                    <a:pt x="15943" y="4452"/>
                    <a:pt x="14971" y="4119"/>
                    <a:pt x="13962" y="4026"/>
                  </a:cubicBezTo>
                  <a:cubicBezTo>
                    <a:pt x="13461" y="1679"/>
                    <a:pt x="11387" y="1"/>
                    <a:pt x="8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35" name="Google Shape;9135;p75"/>
          <p:cNvGrpSpPr/>
          <p:nvPr/>
        </p:nvGrpSpPr>
        <p:grpSpPr>
          <a:xfrm>
            <a:off x="5077111" y="3126102"/>
            <a:ext cx="298978" cy="340168"/>
            <a:chOff x="922025" y="3804850"/>
            <a:chExt cx="424625" cy="483125"/>
          </a:xfrm>
        </p:grpSpPr>
        <p:sp>
          <p:nvSpPr>
            <p:cNvPr id="9136" name="Google Shape;9136;p75"/>
            <p:cNvSpPr/>
            <p:nvPr/>
          </p:nvSpPr>
          <p:spPr>
            <a:xfrm>
              <a:off x="922025" y="3804850"/>
              <a:ext cx="424625" cy="483125"/>
            </a:xfrm>
            <a:custGeom>
              <a:avLst/>
              <a:gdLst/>
              <a:ahLst/>
              <a:cxnLst/>
              <a:rect l="l" t="t" r="r" b="b"/>
              <a:pathLst>
                <a:path w="16985" h="19325" extrusionOk="0">
                  <a:moveTo>
                    <a:pt x="14153" y="1132"/>
                  </a:moveTo>
                  <a:cubicBezTo>
                    <a:pt x="15092" y="1132"/>
                    <a:pt x="15850" y="1893"/>
                    <a:pt x="15853" y="2832"/>
                  </a:cubicBezTo>
                  <a:lnTo>
                    <a:pt x="15853" y="3560"/>
                  </a:lnTo>
                  <a:cubicBezTo>
                    <a:pt x="15472" y="3162"/>
                    <a:pt x="15037" y="2769"/>
                    <a:pt x="14648" y="2558"/>
                  </a:cubicBezTo>
                  <a:cubicBezTo>
                    <a:pt x="14158" y="2296"/>
                    <a:pt x="13305" y="2239"/>
                    <a:pt x="12660" y="2239"/>
                  </a:cubicBezTo>
                  <a:cubicBezTo>
                    <a:pt x="12589" y="2239"/>
                    <a:pt x="12521" y="2239"/>
                    <a:pt x="12456" y="2241"/>
                  </a:cubicBezTo>
                  <a:lnTo>
                    <a:pt x="12456" y="1132"/>
                  </a:lnTo>
                  <a:close/>
                  <a:moveTo>
                    <a:pt x="12611" y="3372"/>
                  </a:moveTo>
                  <a:cubicBezTo>
                    <a:pt x="13207" y="3372"/>
                    <a:pt x="13858" y="3421"/>
                    <a:pt x="14110" y="3557"/>
                  </a:cubicBezTo>
                  <a:cubicBezTo>
                    <a:pt x="14430" y="3726"/>
                    <a:pt x="14844" y="4128"/>
                    <a:pt x="15209" y="4529"/>
                  </a:cubicBezTo>
                  <a:lnTo>
                    <a:pt x="12456" y="4529"/>
                  </a:lnTo>
                  <a:lnTo>
                    <a:pt x="12456" y="3373"/>
                  </a:lnTo>
                  <a:cubicBezTo>
                    <a:pt x="12507" y="3372"/>
                    <a:pt x="12559" y="3372"/>
                    <a:pt x="12611" y="3372"/>
                  </a:cubicBezTo>
                  <a:close/>
                  <a:moveTo>
                    <a:pt x="7927" y="6794"/>
                  </a:moveTo>
                  <a:lnTo>
                    <a:pt x="7927" y="9626"/>
                  </a:lnTo>
                  <a:cubicBezTo>
                    <a:pt x="7924" y="11812"/>
                    <a:pt x="6151" y="13585"/>
                    <a:pt x="3962" y="13588"/>
                  </a:cubicBezTo>
                  <a:lnTo>
                    <a:pt x="3397" y="13588"/>
                  </a:lnTo>
                  <a:lnTo>
                    <a:pt x="3397" y="12455"/>
                  </a:lnTo>
                  <a:lnTo>
                    <a:pt x="3962" y="12455"/>
                  </a:lnTo>
                  <a:cubicBezTo>
                    <a:pt x="5526" y="12452"/>
                    <a:pt x="6791" y="11187"/>
                    <a:pt x="6794" y="9626"/>
                  </a:cubicBezTo>
                  <a:cubicBezTo>
                    <a:pt x="6794" y="9312"/>
                    <a:pt x="6541" y="9058"/>
                    <a:pt x="6227" y="9058"/>
                  </a:cubicBezTo>
                  <a:cubicBezTo>
                    <a:pt x="5913" y="9058"/>
                    <a:pt x="5662" y="9312"/>
                    <a:pt x="5662" y="9626"/>
                  </a:cubicBezTo>
                  <a:cubicBezTo>
                    <a:pt x="5659" y="10562"/>
                    <a:pt x="4901" y="11323"/>
                    <a:pt x="3962" y="11323"/>
                  </a:cubicBezTo>
                  <a:lnTo>
                    <a:pt x="3397" y="11323"/>
                  </a:lnTo>
                  <a:lnTo>
                    <a:pt x="3397" y="10758"/>
                  </a:lnTo>
                  <a:cubicBezTo>
                    <a:pt x="3397" y="8569"/>
                    <a:pt x="5170" y="6797"/>
                    <a:pt x="7359" y="6794"/>
                  </a:cubicBezTo>
                  <a:close/>
                  <a:moveTo>
                    <a:pt x="11323" y="1132"/>
                  </a:moveTo>
                  <a:lnTo>
                    <a:pt x="11323" y="10758"/>
                  </a:lnTo>
                  <a:cubicBezTo>
                    <a:pt x="11320" y="12320"/>
                    <a:pt x="10055" y="13585"/>
                    <a:pt x="8491" y="13588"/>
                  </a:cubicBezTo>
                  <a:lnTo>
                    <a:pt x="7160" y="13588"/>
                  </a:lnTo>
                  <a:cubicBezTo>
                    <a:pt x="8361" y="12621"/>
                    <a:pt x="9059" y="11166"/>
                    <a:pt x="9059" y="9626"/>
                  </a:cubicBezTo>
                  <a:lnTo>
                    <a:pt x="9059" y="6229"/>
                  </a:lnTo>
                  <a:cubicBezTo>
                    <a:pt x="9059" y="5915"/>
                    <a:pt x="8805" y="5662"/>
                    <a:pt x="8491" y="5662"/>
                  </a:cubicBezTo>
                  <a:lnTo>
                    <a:pt x="7359" y="5662"/>
                  </a:lnTo>
                  <a:cubicBezTo>
                    <a:pt x="6779" y="5662"/>
                    <a:pt x="6206" y="5761"/>
                    <a:pt x="5662" y="5954"/>
                  </a:cubicBezTo>
                  <a:lnTo>
                    <a:pt x="5662" y="5097"/>
                  </a:lnTo>
                  <a:cubicBezTo>
                    <a:pt x="5662" y="2908"/>
                    <a:pt x="7434" y="1135"/>
                    <a:pt x="9624" y="1132"/>
                  </a:cubicBezTo>
                  <a:close/>
                  <a:moveTo>
                    <a:pt x="6794" y="14720"/>
                  </a:moveTo>
                  <a:lnTo>
                    <a:pt x="6794" y="16957"/>
                  </a:lnTo>
                  <a:cubicBezTo>
                    <a:pt x="6115" y="16698"/>
                    <a:pt x="5665" y="16049"/>
                    <a:pt x="5662" y="15324"/>
                  </a:cubicBezTo>
                  <a:lnTo>
                    <a:pt x="5662" y="14720"/>
                  </a:lnTo>
                  <a:close/>
                  <a:moveTo>
                    <a:pt x="4530" y="14720"/>
                  </a:moveTo>
                  <a:lnTo>
                    <a:pt x="4530" y="18096"/>
                  </a:lnTo>
                  <a:cubicBezTo>
                    <a:pt x="3850" y="17854"/>
                    <a:pt x="3397" y="17214"/>
                    <a:pt x="3397" y="16495"/>
                  </a:cubicBezTo>
                  <a:lnTo>
                    <a:pt x="3397" y="14720"/>
                  </a:lnTo>
                  <a:close/>
                  <a:moveTo>
                    <a:pt x="3326" y="1"/>
                  </a:moveTo>
                  <a:cubicBezTo>
                    <a:pt x="3182" y="1"/>
                    <a:pt x="3037" y="56"/>
                    <a:pt x="2926" y="166"/>
                  </a:cubicBezTo>
                  <a:cubicBezTo>
                    <a:pt x="2480" y="613"/>
                    <a:pt x="2265" y="1114"/>
                    <a:pt x="2265" y="1700"/>
                  </a:cubicBezTo>
                  <a:cubicBezTo>
                    <a:pt x="2265" y="2950"/>
                    <a:pt x="3277" y="3965"/>
                    <a:pt x="4530" y="3965"/>
                  </a:cubicBezTo>
                  <a:cubicBezTo>
                    <a:pt x="4572" y="3965"/>
                    <a:pt x="4614" y="3965"/>
                    <a:pt x="4657" y="3959"/>
                  </a:cubicBezTo>
                  <a:lnTo>
                    <a:pt x="4657" y="3959"/>
                  </a:lnTo>
                  <a:cubicBezTo>
                    <a:pt x="4572" y="4333"/>
                    <a:pt x="4527" y="4714"/>
                    <a:pt x="4530" y="5097"/>
                  </a:cubicBezTo>
                  <a:lnTo>
                    <a:pt x="4530" y="6522"/>
                  </a:lnTo>
                  <a:cubicBezTo>
                    <a:pt x="3114" y="7467"/>
                    <a:pt x="2265" y="9055"/>
                    <a:pt x="2265" y="10758"/>
                  </a:cubicBezTo>
                  <a:lnTo>
                    <a:pt x="2265" y="13588"/>
                  </a:lnTo>
                  <a:lnTo>
                    <a:pt x="565" y="13588"/>
                  </a:lnTo>
                  <a:cubicBezTo>
                    <a:pt x="251" y="13588"/>
                    <a:pt x="1" y="13841"/>
                    <a:pt x="1" y="14155"/>
                  </a:cubicBezTo>
                  <a:cubicBezTo>
                    <a:pt x="1" y="14466"/>
                    <a:pt x="251" y="14720"/>
                    <a:pt x="565" y="14720"/>
                  </a:cubicBezTo>
                  <a:lnTo>
                    <a:pt x="2265" y="14720"/>
                  </a:lnTo>
                  <a:lnTo>
                    <a:pt x="2265" y="16495"/>
                  </a:lnTo>
                  <a:cubicBezTo>
                    <a:pt x="2265" y="18056"/>
                    <a:pt x="3530" y="19322"/>
                    <a:pt x="5094" y="19325"/>
                  </a:cubicBezTo>
                  <a:cubicBezTo>
                    <a:pt x="5408" y="19325"/>
                    <a:pt x="5662" y="19071"/>
                    <a:pt x="5662" y="18760"/>
                  </a:cubicBezTo>
                  <a:lnTo>
                    <a:pt x="5662" y="17613"/>
                  </a:lnTo>
                  <a:cubicBezTo>
                    <a:pt x="6148" y="17990"/>
                    <a:pt x="6743" y="18192"/>
                    <a:pt x="7359" y="18192"/>
                  </a:cubicBezTo>
                  <a:cubicBezTo>
                    <a:pt x="7673" y="18192"/>
                    <a:pt x="7927" y="17939"/>
                    <a:pt x="7927" y="17628"/>
                  </a:cubicBezTo>
                  <a:lnTo>
                    <a:pt x="7927" y="14720"/>
                  </a:lnTo>
                  <a:lnTo>
                    <a:pt x="9059" y="14720"/>
                  </a:lnTo>
                  <a:lnTo>
                    <a:pt x="9059" y="18760"/>
                  </a:lnTo>
                  <a:cubicBezTo>
                    <a:pt x="9059" y="19071"/>
                    <a:pt x="9309" y="19325"/>
                    <a:pt x="9624" y="19325"/>
                  </a:cubicBezTo>
                  <a:cubicBezTo>
                    <a:pt x="9938" y="19325"/>
                    <a:pt x="10191" y="19071"/>
                    <a:pt x="10191" y="18760"/>
                  </a:cubicBezTo>
                  <a:lnTo>
                    <a:pt x="10191" y="14720"/>
                  </a:lnTo>
                  <a:lnTo>
                    <a:pt x="16417" y="14720"/>
                  </a:lnTo>
                  <a:cubicBezTo>
                    <a:pt x="16731" y="14720"/>
                    <a:pt x="16982" y="14466"/>
                    <a:pt x="16982" y="14155"/>
                  </a:cubicBezTo>
                  <a:cubicBezTo>
                    <a:pt x="16982" y="13841"/>
                    <a:pt x="16731" y="13588"/>
                    <a:pt x="16417" y="13588"/>
                  </a:cubicBezTo>
                  <a:lnTo>
                    <a:pt x="11263" y="13588"/>
                  </a:lnTo>
                  <a:cubicBezTo>
                    <a:pt x="12024" y="12845"/>
                    <a:pt x="12456" y="11821"/>
                    <a:pt x="12456" y="10758"/>
                  </a:cubicBezTo>
                  <a:lnTo>
                    <a:pt x="12456" y="5662"/>
                  </a:lnTo>
                  <a:lnTo>
                    <a:pt x="16417" y="5662"/>
                  </a:lnTo>
                  <a:cubicBezTo>
                    <a:pt x="16435" y="5662"/>
                    <a:pt x="16454" y="5662"/>
                    <a:pt x="16472" y="5659"/>
                  </a:cubicBezTo>
                  <a:lnTo>
                    <a:pt x="16484" y="5659"/>
                  </a:lnTo>
                  <a:cubicBezTo>
                    <a:pt x="16496" y="5659"/>
                    <a:pt x="16511" y="5656"/>
                    <a:pt x="16523" y="5653"/>
                  </a:cubicBezTo>
                  <a:cubicBezTo>
                    <a:pt x="16529" y="5653"/>
                    <a:pt x="16535" y="5653"/>
                    <a:pt x="16538" y="5650"/>
                  </a:cubicBezTo>
                  <a:cubicBezTo>
                    <a:pt x="16550" y="5647"/>
                    <a:pt x="16562" y="5643"/>
                    <a:pt x="16577" y="5640"/>
                  </a:cubicBezTo>
                  <a:lnTo>
                    <a:pt x="16592" y="5637"/>
                  </a:lnTo>
                  <a:cubicBezTo>
                    <a:pt x="16607" y="5631"/>
                    <a:pt x="16623" y="5625"/>
                    <a:pt x="16638" y="5619"/>
                  </a:cubicBezTo>
                  <a:lnTo>
                    <a:pt x="16644" y="5616"/>
                  </a:lnTo>
                  <a:cubicBezTo>
                    <a:pt x="16659" y="5610"/>
                    <a:pt x="16671" y="5604"/>
                    <a:pt x="16683" y="5598"/>
                  </a:cubicBezTo>
                  <a:lnTo>
                    <a:pt x="16701" y="5586"/>
                  </a:lnTo>
                  <a:cubicBezTo>
                    <a:pt x="16710" y="5583"/>
                    <a:pt x="16719" y="5577"/>
                    <a:pt x="16728" y="5571"/>
                  </a:cubicBezTo>
                  <a:cubicBezTo>
                    <a:pt x="16734" y="5568"/>
                    <a:pt x="16740" y="5562"/>
                    <a:pt x="16746" y="5559"/>
                  </a:cubicBezTo>
                  <a:lnTo>
                    <a:pt x="16758" y="5550"/>
                  </a:lnTo>
                  <a:lnTo>
                    <a:pt x="16768" y="5541"/>
                  </a:lnTo>
                  <a:lnTo>
                    <a:pt x="16792" y="5523"/>
                  </a:lnTo>
                  <a:cubicBezTo>
                    <a:pt x="16798" y="5517"/>
                    <a:pt x="16807" y="5511"/>
                    <a:pt x="16813" y="5505"/>
                  </a:cubicBezTo>
                  <a:lnTo>
                    <a:pt x="16831" y="5486"/>
                  </a:lnTo>
                  <a:lnTo>
                    <a:pt x="16849" y="5462"/>
                  </a:lnTo>
                  <a:lnTo>
                    <a:pt x="16864" y="5444"/>
                  </a:lnTo>
                  <a:cubicBezTo>
                    <a:pt x="16870" y="5435"/>
                    <a:pt x="16879" y="5429"/>
                    <a:pt x="16885" y="5420"/>
                  </a:cubicBezTo>
                  <a:lnTo>
                    <a:pt x="16897" y="5399"/>
                  </a:lnTo>
                  <a:cubicBezTo>
                    <a:pt x="16903" y="5390"/>
                    <a:pt x="16906" y="5381"/>
                    <a:pt x="16912" y="5375"/>
                  </a:cubicBezTo>
                  <a:lnTo>
                    <a:pt x="16925" y="5351"/>
                  </a:lnTo>
                  <a:cubicBezTo>
                    <a:pt x="16928" y="5342"/>
                    <a:pt x="16934" y="5332"/>
                    <a:pt x="16937" y="5326"/>
                  </a:cubicBezTo>
                  <a:cubicBezTo>
                    <a:pt x="16940" y="5317"/>
                    <a:pt x="16943" y="5305"/>
                    <a:pt x="16949" y="5296"/>
                  </a:cubicBezTo>
                  <a:cubicBezTo>
                    <a:pt x="16952" y="5287"/>
                    <a:pt x="16955" y="5281"/>
                    <a:pt x="16958" y="5275"/>
                  </a:cubicBezTo>
                  <a:cubicBezTo>
                    <a:pt x="16958" y="5266"/>
                    <a:pt x="16964" y="5254"/>
                    <a:pt x="16964" y="5245"/>
                  </a:cubicBezTo>
                  <a:cubicBezTo>
                    <a:pt x="16967" y="5236"/>
                    <a:pt x="16970" y="5230"/>
                    <a:pt x="16970" y="5221"/>
                  </a:cubicBezTo>
                  <a:cubicBezTo>
                    <a:pt x="16973" y="5215"/>
                    <a:pt x="16976" y="5203"/>
                    <a:pt x="16976" y="5194"/>
                  </a:cubicBezTo>
                  <a:cubicBezTo>
                    <a:pt x="16979" y="5182"/>
                    <a:pt x="16979" y="5175"/>
                    <a:pt x="16982" y="5166"/>
                  </a:cubicBezTo>
                  <a:cubicBezTo>
                    <a:pt x="16982" y="5157"/>
                    <a:pt x="16982" y="5148"/>
                    <a:pt x="16982" y="5139"/>
                  </a:cubicBezTo>
                  <a:cubicBezTo>
                    <a:pt x="16982" y="5130"/>
                    <a:pt x="16982" y="5118"/>
                    <a:pt x="16985" y="5109"/>
                  </a:cubicBezTo>
                  <a:lnTo>
                    <a:pt x="16985" y="5097"/>
                  </a:lnTo>
                  <a:lnTo>
                    <a:pt x="16985" y="2832"/>
                  </a:lnTo>
                  <a:cubicBezTo>
                    <a:pt x="16982" y="1271"/>
                    <a:pt x="15717" y="3"/>
                    <a:pt x="14153" y="3"/>
                  </a:cubicBezTo>
                  <a:lnTo>
                    <a:pt x="9624" y="3"/>
                  </a:lnTo>
                  <a:cubicBezTo>
                    <a:pt x="7754" y="3"/>
                    <a:pt x="6033" y="1027"/>
                    <a:pt x="5143" y="2672"/>
                  </a:cubicBezTo>
                  <a:cubicBezTo>
                    <a:pt x="5106" y="2681"/>
                    <a:pt x="5067" y="2697"/>
                    <a:pt x="5034" y="2715"/>
                  </a:cubicBezTo>
                  <a:cubicBezTo>
                    <a:pt x="4869" y="2797"/>
                    <a:pt x="4697" y="2834"/>
                    <a:pt x="4530" y="2834"/>
                  </a:cubicBezTo>
                  <a:cubicBezTo>
                    <a:pt x="3934" y="2834"/>
                    <a:pt x="3395" y="2356"/>
                    <a:pt x="3397" y="1700"/>
                  </a:cubicBezTo>
                  <a:cubicBezTo>
                    <a:pt x="3397" y="1419"/>
                    <a:pt x="3494" y="1199"/>
                    <a:pt x="3727" y="966"/>
                  </a:cubicBezTo>
                  <a:cubicBezTo>
                    <a:pt x="3950" y="746"/>
                    <a:pt x="3950" y="387"/>
                    <a:pt x="3727" y="166"/>
                  </a:cubicBezTo>
                  <a:cubicBezTo>
                    <a:pt x="3616" y="56"/>
                    <a:pt x="3471" y="1"/>
                    <a:pt x="33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37" name="Google Shape;9137;p75"/>
            <p:cNvSpPr/>
            <p:nvPr/>
          </p:nvSpPr>
          <p:spPr>
            <a:xfrm>
              <a:off x="1135200" y="3869900"/>
              <a:ext cx="37850" cy="28400"/>
            </a:xfrm>
            <a:custGeom>
              <a:avLst/>
              <a:gdLst/>
              <a:ahLst/>
              <a:cxnLst/>
              <a:rect l="l" t="t" r="r" b="b"/>
              <a:pathLst>
                <a:path w="1514" h="1136" extrusionOk="0">
                  <a:moveTo>
                    <a:pt x="758" y="1"/>
                  </a:moveTo>
                  <a:cubicBezTo>
                    <a:pt x="254" y="1"/>
                    <a:pt x="0" y="611"/>
                    <a:pt x="357" y="970"/>
                  </a:cubicBezTo>
                  <a:cubicBezTo>
                    <a:pt x="467" y="1080"/>
                    <a:pt x="612" y="1135"/>
                    <a:pt x="757" y="1135"/>
                  </a:cubicBezTo>
                  <a:cubicBezTo>
                    <a:pt x="902" y="1135"/>
                    <a:pt x="1047" y="1080"/>
                    <a:pt x="1157" y="970"/>
                  </a:cubicBezTo>
                  <a:cubicBezTo>
                    <a:pt x="1513" y="611"/>
                    <a:pt x="1263" y="1"/>
                    <a:pt x="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38" name="Google Shape;9138;p75"/>
          <p:cNvSpPr/>
          <p:nvPr/>
        </p:nvSpPr>
        <p:spPr>
          <a:xfrm>
            <a:off x="5485351" y="3125004"/>
            <a:ext cx="348301" cy="341418"/>
          </a:xfrm>
          <a:custGeom>
            <a:avLst/>
            <a:gdLst/>
            <a:ahLst/>
            <a:cxnLst/>
            <a:rect l="l" t="t" r="r" b="b"/>
            <a:pathLst>
              <a:path w="19787" h="19396" extrusionOk="0">
                <a:moveTo>
                  <a:pt x="16583" y="1203"/>
                </a:moveTo>
                <a:cubicBezTo>
                  <a:pt x="17017" y="1203"/>
                  <a:pt x="17451" y="1370"/>
                  <a:pt x="17782" y="1702"/>
                </a:cubicBezTo>
                <a:cubicBezTo>
                  <a:pt x="18446" y="2363"/>
                  <a:pt x="18446" y="3438"/>
                  <a:pt x="17782" y="4102"/>
                </a:cubicBezTo>
                <a:lnTo>
                  <a:pt x="16565" y="5319"/>
                </a:lnTo>
                <a:lnTo>
                  <a:pt x="14165" y="2918"/>
                </a:lnTo>
                <a:lnTo>
                  <a:pt x="15382" y="1702"/>
                </a:lnTo>
                <a:cubicBezTo>
                  <a:pt x="15714" y="1370"/>
                  <a:pt x="16149" y="1203"/>
                  <a:pt x="16583" y="1203"/>
                </a:cubicBezTo>
                <a:close/>
                <a:moveTo>
                  <a:pt x="13362" y="3719"/>
                </a:moveTo>
                <a:lnTo>
                  <a:pt x="14162" y="4519"/>
                </a:lnTo>
                <a:lnTo>
                  <a:pt x="4587" y="14096"/>
                </a:lnTo>
                <a:cubicBezTo>
                  <a:pt x="4255" y="13861"/>
                  <a:pt x="3884" y="13692"/>
                  <a:pt x="3488" y="13595"/>
                </a:cubicBezTo>
                <a:lnTo>
                  <a:pt x="13310" y="3770"/>
                </a:lnTo>
                <a:lnTo>
                  <a:pt x="13362" y="3719"/>
                </a:lnTo>
                <a:close/>
                <a:moveTo>
                  <a:pt x="14965" y="5322"/>
                </a:moveTo>
                <a:lnTo>
                  <a:pt x="15765" y="6122"/>
                </a:lnTo>
                <a:lnTo>
                  <a:pt x="15714" y="6173"/>
                </a:lnTo>
                <a:lnTo>
                  <a:pt x="5888" y="15996"/>
                </a:lnTo>
                <a:cubicBezTo>
                  <a:pt x="5792" y="15600"/>
                  <a:pt x="5623" y="15229"/>
                  <a:pt x="5387" y="14897"/>
                </a:cubicBezTo>
                <a:lnTo>
                  <a:pt x="14965" y="5322"/>
                </a:lnTo>
                <a:close/>
                <a:moveTo>
                  <a:pt x="2704" y="14631"/>
                </a:moveTo>
                <a:cubicBezTo>
                  <a:pt x="3925" y="14631"/>
                  <a:pt x="4911" y="15655"/>
                  <a:pt x="4850" y="16889"/>
                </a:cubicBezTo>
                <a:lnTo>
                  <a:pt x="3736" y="17249"/>
                </a:lnTo>
                <a:cubicBezTo>
                  <a:pt x="3449" y="16572"/>
                  <a:pt x="2911" y="16035"/>
                  <a:pt x="2235" y="15748"/>
                </a:cubicBezTo>
                <a:lnTo>
                  <a:pt x="2594" y="14634"/>
                </a:lnTo>
                <a:cubicBezTo>
                  <a:pt x="2631" y="14632"/>
                  <a:pt x="2667" y="14631"/>
                  <a:pt x="2704" y="14631"/>
                </a:cubicBezTo>
                <a:close/>
                <a:moveTo>
                  <a:pt x="1888" y="16835"/>
                </a:moveTo>
                <a:cubicBezTo>
                  <a:pt x="2217" y="17001"/>
                  <a:pt x="2483" y="17267"/>
                  <a:pt x="2649" y="17596"/>
                </a:cubicBezTo>
                <a:lnTo>
                  <a:pt x="1528" y="17955"/>
                </a:lnTo>
                <a:lnTo>
                  <a:pt x="1888" y="16835"/>
                </a:lnTo>
                <a:close/>
                <a:moveTo>
                  <a:pt x="16654" y="1"/>
                </a:moveTo>
                <a:cubicBezTo>
                  <a:pt x="15897" y="1"/>
                  <a:pt x="15141" y="302"/>
                  <a:pt x="14581" y="901"/>
                </a:cubicBezTo>
                <a:lnTo>
                  <a:pt x="11710" y="3770"/>
                </a:lnTo>
                <a:lnTo>
                  <a:pt x="1882" y="13601"/>
                </a:lnTo>
                <a:cubicBezTo>
                  <a:pt x="1861" y="13619"/>
                  <a:pt x="1842" y="13641"/>
                  <a:pt x="1827" y="13662"/>
                </a:cubicBezTo>
                <a:lnTo>
                  <a:pt x="1809" y="13677"/>
                </a:lnTo>
                <a:lnTo>
                  <a:pt x="1788" y="13695"/>
                </a:lnTo>
                <a:cubicBezTo>
                  <a:pt x="1782" y="13701"/>
                  <a:pt x="1773" y="13707"/>
                  <a:pt x="1767" y="13716"/>
                </a:cubicBezTo>
                <a:cubicBezTo>
                  <a:pt x="1761" y="13722"/>
                  <a:pt x="1755" y="13725"/>
                  <a:pt x="1752" y="13731"/>
                </a:cubicBezTo>
                <a:cubicBezTo>
                  <a:pt x="1746" y="13737"/>
                  <a:pt x="1737" y="13746"/>
                  <a:pt x="1728" y="13755"/>
                </a:cubicBezTo>
                <a:lnTo>
                  <a:pt x="1716" y="13773"/>
                </a:lnTo>
                <a:cubicBezTo>
                  <a:pt x="1710" y="13782"/>
                  <a:pt x="1704" y="13789"/>
                  <a:pt x="1698" y="13801"/>
                </a:cubicBezTo>
                <a:cubicBezTo>
                  <a:pt x="1688" y="13810"/>
                  <a:pt x="1688" y="13813"/>
                  <a:pt x="1685" y="13819"/>
                </a:cubicBezTo>
                <a:cubicBezTo>
                  <a:pt x="1679" y="13825"/>
                  <a:pt x="1673" y="13837"/>
                  <a:pt x="1667" y="13846"/>
                </a:cubicBezTo>
                <a:cubicBezTo>
                  <a:pt x="1661" y="13855"/>
                  <a:pt x="1658" y="13861"/>
                  <a:pt x="1655" y="13870"/>
                </a:cubicBezTo>
                <a:cubicBezTo>
                  <a:pt x="1652" y="13879"/>
                  <a:pt x="1646" y="13885"/>
                  <a:pt x="1643" y="13894"/>
                </a:cubicBezTo>
                <a:cubicBezTo>
                  <a:pt x="1640" y="13903"/>
                  <a:pt x="1634" y="13918"/>
                  <a:pt x="1631" y="13933"/>
                </a:cubicBezTo>
                <a:cubicBezTo>
                  <a:pt x="1631" y="13936"/>
                  <a:pt x="1625" y="13939"/>
                  <a:pt x="1625" y="13943"/>
                </a:cubicBezTo>
                <a:lnTo>
                  <a:pt x="1625" y="13949"/>
                </a:lnTo>
                <a:cubicBezTo>
                  <a:pt x="1625" y="13949"/>
                  <a:pt x="1625" y="13952"/>
                  <a:pt x="1625" y="13952"/>
                </a:cubicBezTo>
                <a:lnTo>
                  <a:pt x="118" y="18656"/>
                </a:lnTo>
                <a:cubicBezTo>
                  <a:pt x="1" y="19021"/>
                  <a:pt x="272" y="19393"/>
                  <a:pt x="656" y="19396"/>
                </a:cubicBezTo>
                <a:cubicBezTo>
                  <a:pt x="713" y="19396"/>
                  <a:pt x="771" y="19387"/>
                  <a:pt x="828" y="19368"/>
                </a:cubicBezTo>
                <a:lnTo>
                  <a:pt x="5538" y="17859"/>
                </a:lnTo>
                <a:lnTo>
                  <a:pt x="5547" y="17856"/>
                </a:lnTo>
                <a:cubicBezTo>
                  <a:pt x="5559" y="17853"/>
                  <a:pt x="5571" y="17847"/>
                  <a:pt x="5584" y="17844"/>
                </a:cubicBezTo>
                <a:lnTo>
                  <a:pt x="5599" y="17838"/>
                </a:lnTo>
                <a:cubicBezTo>
                  <a:pt x="5611" y="17832"/>
                  <a:pt x="5623" y="17826"/>
                  <a:pt x="5635" y="17819"/>
                </a:cubicBezTo>
                <a:cubicBezTo>
                  <a:pt x="5650" y="17810"/>
                  <a:pt x="5653" y="17810"/>
                  <a:pt x="5659" y="17804"/>
                </a:cubicBezTo>
                <a:cubicBezTo>
                  <a:pt x="5668" y="17798"/>
                  <a:pt x="5680" y="17792"/>
                  <a:pt x="5689" y="17786"/>
                </a:cubicBezTo>
                <a:cubicBezTo>
                  <a:pt x="5698" y="17780"/>
                  <a:pt x="5701" y="17777"/>
                  <a:pt x="5710" y="17771"/>
                </a:cubicBezTo>
                <a:lnTo>
                  <a:pt x="5728" y="17756"/>
                </a:lnTo>
                <a:lnTo>
                  <a:pt x="5750" y="17738"/>
                </a:lnTo>
                <a:cubicBezTo>
                  <a:pt x="5756" y="17732"/>
                  <a:pt x="5762" y="17726"/>
                  <a:pt x="5768" y="17720"/>
                </a:cubicBezTo>
                <a:cubicBezTo>
                  <a:pt x="5774" y="17714"/>
                  <a:pt x="5780" y="17708"/>
                  <a:pt x="5783" y="17702"/>
                </a:cubicBezTo>
                <a:lnTo>
                  <a:pt x="5798" y="17687"/>
                </a:lnTo>
                <a:cubicBezTo>
                  <a:pt x="5810" y="17678"/>
                  <a:pt x="5819" y="17669"/>
                  <a:pt x="5828" y="17659"/>
                </a:cubicBezTo>
                <a:lnTo>
                  <a:pt x="15714" y="7777"/>
                </a:lnTo>
                <a:lnTo>
                  <a:pt x="18582" y="4902"/>
                </a:lnTo>
                <a:cubicBezTo>
                  <a:pt x="19754" y="3809"/>
                  <a:pt x="19787" y="1961"/>
                  <a:pt x="18655" y="829"/>
                </a:cubicBezTo>
                <a:cubicBezTo>
                  <a:pt x="18102" y="276"/>
                  <a:pt x="17378" y="1"/>
                  <a:pt x="166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39" name="Google Shape;9139;p75"/>
          <p:cNvGrpSpPr/>
          <p:nvPr/>
        </p:nvGrpSpPr>
        <p:grpSpPr>
          <a:xfrm>
            <a:off x="5909841" y="3126102"/>
            <a:ext cx="312955" cy="340168"/>
            <a:chOff x="2100300" y="3804850"/>
            <a:chExt cx="444475" cy="483125"/>
          </a:xfrm>
        </p:grpSpPr>
        <p:sp>
          <p:nvSpPr>
            <p:cNvPr id="9140" name="Google Shape;9140;p75"/>
            <p:cNvSpPr/>
            <p:nvPr/>
          </p:nvSpPr>
          <p:spPr>
            <a:xfrm>
              <a:off x="2100300" y="3804850"/>
              <a:ext cx="444475" cy="483125"/>
            </a:xfrm>
            <a:custGeom>
              <a:avLst/>
              <a:gdLst/>
              <a:ahLst/>
              <a:cxnLst/>
              <a:rect l="l" t="t" r="r" b="b"/>
              <a:pathLst>
                <a:path w="17779" h="19325" extrusionOk="0">
                  <a:moveTo>
                    <a:pt x="2123" y="4001"/>
                  </a:moveTo>
                  <a:cubicBezTo>
                    <a:pt x="2627" y="4001"/>
                    <a:pt x="2881" y="4611"/>
                    <a:pt x="2524" y="4967"/>
                  </a:cubicBezTo>
                  <a:cubicBezTo>
                    <a:pt x="2408" y="5083"/>
                    <a:pt x="2265" y="5134"/>
                    <a:pt x="2126" y="5134"/>
                  </a:cubicBezTo>
                  <a:cubicBezTo>
                    <a:pt x="1835" y="5134"/>
                    <a:pt x="1558" y="4909"/>
                    <a:pt x="1558" y="4569"/>
                  </a:cubicBezTo>
                  <a:cubicBezTo>
                    <a:pt x="1558" y="4255"/>
                    <a:pt x="1809" y="4001"/>
                    <a:pt x="2123" y="4001"/>
                  </a:cubicBezTo>
                  <a:close/>
                  <a:moveTo>
                    <a:pt x="15710" y="4001"/>
                  </a:moveTo>
                  <a:cubicBezTo>
                    <a:pt x="16215" y="4001"/>
                    <a:pt x="16468" y="4611"/>
                    <a:pt x="16112" y="4967"/>
                  </a:cubicBezTo>
                  <a:cubicBezTo>
                    <a:pt x="15995" y="5083"/>
                    <a:pt x="15853" y="5134"/>
                    <a:pt x="15714" y="5134"/>
                  </a:cubicBezTo>
                  <a:cubicBezTo>
                    <a:pt x="15423" y="5134"/>
                    <a:pt x="15146" y="4909"/>
                    <a:pt x="15146" y="4569"/>
                  </a:cubicBezTo>
                  <a:cubicBezTo>
                    <a:pt x="15146" y="4255"/>
                    <a:pt x="15396" y="4001"/>
                    <a:pt x="15710" y="4001"/>
                  </a:cubicBezTo>
                  <a:close/>
                  <a:moveTo>
                    <a:pt x="8917" y="1132"/>
                  </a:moveTo>
                  <a:cubicBezTo>
                    <a:pt x="9551" y="1132"/>
                    <a:pt x="10251" y="1993"/>
                    <a:pt x="10789" y="3436"/>
                  </a:cubicBezTo>
                  <a:cubicBezTo>
                    <a:pt x="10894" y="3723"/>
                    <a:pt x="10994" y="4028"/>
                    <a:pt x="11084" y="4345"/>
                  </a:cubicBezTo>
                  <a:cubicBezTo>
                    <a:pt x="10345" y="4590"/>
                    <a:pt x="9623" y="4877"/>
                    <a:pt x="8917" y="5203"/>
                  </a:cubicBezTo>
                  <a:cubicBezTo>
                    <a:pt x="8210" y="4877"/>
                    <a:pt x="7488" y="4590"/>
                    <a:pt x="6749" y="4345"/>
                  </a:cubicBezTo>
                  <a:cubicBezTo>
                    <a:pt x="6842" y="4028"/>
                    <a:pt x="6939" y="3723"/>
                    <a:pt x="7044" y="3436"/>
                  </a:cubicBezTo>
                  <a:cubicBezTo>
                    <a:pt x="7582" y="1993"/>
                    <a:pt x="8282" y="1132"/>
                    <a:pt x="8917" y="1132"/>
                  </a:cubicBezTo>
                  <a:close/>
                  <a:moveTo>
                    <a:pt x="6483" y="5453"/>
                  </a:moveTo>
                  <a:cubicBezTo>
                    <a:pt x="6845" y="5577"/>
                    <a:pt x="7217" y="5713"/>
                    <a:pt x="7591" y="5867"/>
                  </a:cubicBezTo>
                  <a:cubicBezTo>
                    <a:pt x="7371" y="5985"/>
                    <a:pt x="7153" y="6105"/>
                    <a:pt x="6936" y="6229"/>
                  </a:cubicBezTo>
                  <a:cubicBezTo>
                    <a:pt x="6715" y="6356"/>
                    <a:pt x="6501" y="6486"/>
                    <a:pt x="6287" y="6619"/>
                  </a:cubicBezTo>
                  <a:cubicBezTo>
                    <a:pt x="6341" y="6217"/>
                    <a:pt x="6407" y="5831"/>
                    <a:pt x="6483" y="5453"/>
                  </a:cubicBezTo>
                  <a:close/>
                  <a:moveTo>
                    <a:pt x="11350" y="5453"/>
                  </a:moveTo>
                  <a:cubicBezTo>
                    <a:pt x="11426" y="5831"/>
                    <a:pt x="11492" y="6217"/>
                    <a:pt x="11546" y="6619"/>
                  </a:cubicBezTo>
                  <a:cubicBezTo>
                    <a:pt x="11335" y="6486"/>
                    <a:pt x="11118" y="6356"/>
                    <a:pt x="10897" y="6229"/>
                  </a:cubicBezTo>
                  <a:cubicBezTo>
                    <a:pt x="10677" y="6102"/>
                    <a:pt x="10459" y="5982"/>
                    <a:pt x="10242" y="5867"/>
                  </a:cubicBezTo>
                  <a:cubicBezTo>
                    <a:pt x="10619" y="5716"/>
                    <a:pt x="10988" y="5574"/>
                    <a:pt x="11350" y="5453"/>
                  </a:cubicBezTo>
                  <a:close/>
                  <a:moveTo>
                    <a:pt x="3799" y="4852"/>
                  </a:moveTo>
                  <a:cubicBezTo>
                    <a:pt x="4336" y="4904"/>
                    <a:pt x="4870" y="4997"/>
                    <a:pt x="5396" y="5133"/>
                  </a:cubicBezTo>
                  <a:cubicBezTo>
                    <a:pt x="5239" y="5894"/>
                    <a:pt x="5124" y="6661"/>
                    <a:pt x="5055" y="7434"/>
                  </a:cubicBezTo>
                  <a:cubicBezTo>
                    <a:pt x="4421" y="7881"/>
                    <a:pt x="3811" y="8361"/>
                    <a:pt x="3231" y="8877"/>
                  </a:cubicBezTo>
                  <a:cubicBezTo>
                    <a:pt x="3004" y="8645"/>
                    <a:pt x="2796" y="8412"/>
                    <a:pt x="2606" y="8180"/>
                  </a:cubicBezTo>
                  <a:cubicBezTo>
                    <a:pt x="1969" y="7404"/>
                    <a:pt x="1579" y="6691"/>
                    <a:pt x="1483" y="6139"/>
                  </a:cubicBezTo>
                  <a:lnTo>
                    <a:pt x="1483" y="6139"/>
                  </a:lnTo>
                  <a:cubicBezTo>
                    <a:pt x="1695" y="6225"/>
                    <a:pt x="1912" y="6266"/>
                    <a:pt x="2125" y="6266"/>
                  </a:cubicBezTo>
                  <a:cubicBezTo>
                    <a:pt x="2922" y="6266"/>
                    <a:pt x="3656" y="5698"/>
                    <a:pt x="3799" y="4852"/>
                  </a:cubicBezTo>
                  <a:close/>
                  <a:moveTo>
                    <a:pt x="14037" y="4852"/>
                  </a:moveTo>
                  <a:cubicBezTo>
                    <a:pt x="14180" y="5698"/>
                    <a:pt x="14914" y="6266"/>
                    <a:pt x="15711" y="6266"/>
                  </a:cubicBezTo>
                  <a:cubicBezTo>
                    <a:pt x="15924" y="6266"/>
                    <a:pt x="16141" y="6225"/>
                    <a:pt x="16353" y="6139"/>
                  </a:cubicBezTo>
                  <a:lnTo>
                    <a:pt x="16353" y="6139"/>
                  </a:lnTo>
                  <a:cubicBezTo>
                    <a:pt x="16254" y="6691"/>
                    <a:pt x="15867" y="7404"/>
                    <a:pt x="15227" y="8180"/>
                  </a:cubicBezTo>
                  <a:cubicBezTo>
                    <a:pt x="15037" y="8412"/>
                    <a:pt x="14829" y="8645"/>
                    <a:pt x="14602" y="8877"/>
                  </a:cubicBezTo>
                  <a:cubicBezTo>
                    <a:pt x="14022" y="8361"/>
                    <a:pt x="13412" y="7881"/>
                    <a:pt x="12778" y="7434"/>
                  </a:cubicBezTo>
                  <a:cubicBezTo>
                    <a:pt x="12709" y="6661"/>
                    <a:pt x="12594" y="5894"/>
                    <a:pt x="12440" y="5133"/>
                  </a:cubicBezTo>
                  <a:cubicBezTo>
                    <a:pt x="12963" y="4997"/>
                    <a:pt x="13497" y="4904"/>
                    <a:pt x="14037" y="4852"/>
                  </a:cubicBezTo>
                  <a:close/>
                  <a:moveTo>
                    <a:pt x="4964" y="8908"/>
                  </a:moveTo>
                  <a:lnTo>
                    <a:pt x="4964" y="8908"/>
                  </a:lnTo>
                  <a:cubicBezTo>
                    <a:pt x="4958" y="9158"/>
                    <a:pt x="4955" y="9409"/>
                    <a:pt x="4955" y="9662"/>
                  </a:cubicBezTo>
                  <a:cubicBezTo>
                    <a:pt x="4952" y="9916"/>
                    <a:pt x="4958" y="10167"/>
                    <a:pt x="4964" y="10417"/>
                  </a:cubicBezTo>
                  <a:cubicBezTo>
                    <a:pt x="4644" y="10170"/>
                    <a:pt x="4339" y="9916"/>
                    <a:pt x="4052" y="9662"/>
                  </a:cubicBezTo>
                  <a:cubicBezTo>
                    <a:pt x="4339" y="9409"/>
                    <a:pt x="4644" y="9155"/>
                    <a:pt x="4964" y="8908"/>
                  </a:cubicBezTo>
                  <a:close/>
                  <a:moveTo>
                    <a:pt x="12869" y="8908"/>
                  </a:moveTo>
                  <a:lnTo>
                    <a:pt x="12869" y="8908"/>
                  </a:lnTo>
                  <a:cubicBezTo>
                    <a:pt x="13189" y="9155"/>
                    <a:pt x="13491" y="9409"/>
                    <a:pt x="13781" y="9662"/>
                  </a:cubicBezTo>
                  <a:cubicBezTo>
                    <a:pt x="13494" y="9916"/>
                    <a:pt x="13189" y="10170"/>
                    <a:pt x="12869" y="10417"/>
                  </a:cubicBezTo>
                  <a:cubicBezTo>
                    <a:pt x="12875" y="10167"/>
                    <a:pt x="12878" y="9916"/>
                    <a:pt x="12881" y="9662"/>
                  </a:cubicBezTo>
                  <a:cubicBezTo>
                    <a:pt x="12881" y="9409"/>
                    <a:pt x="12875" y="9158"/>
                    <a:pt x="12869" y="8908"/>
                  </a:cubicBezTo>
                  <a:close/>
                  <a:moveTo>
                    <a:pt x="8917" y="6459"/>
                  </a:moveTo>
                  <a:cubicBezTo>
                    <a:pt x="9391" y="6688"/>
                    <a:pt x="9865" y="6942"/>
                    <a:pt x="10333" y="7211"/>
                  </a:cubicBezTo>
                  <a:cubicBezTo>
                    <a:pt x="10801" y="7482"/>
                    <a:pt x="11260" y="7766"/>
                    <a:pt x="11694" y="8059"/>
                  </a:cubicBezTo>
                  <a:cubicBezTo>
                    <a:pt x="11728" y="8581"/>
                    <a:pt x="11749" y="9119"/>
                    <a:pt x="11749" y="9662"/>
                  </a:cubicBezTo>
                  <a:cubicBezTo>
                    <a:pt x="11749" y="10206"/>
                    <a:pt x="11728" y="10743"/>
                    <a:pt x="11694" y="11266"/>
                  </a:cubicBezTo>
                  <a:cubicBezTo>
                    <a:pt x="11260" y="11559"/>
                    <a:pt x="10804" y="11839"/>
                    <a:pt x="10333" y="12114"/>
                  </a:cubicBezTo>
                  <a:cubicBezTo>
                    <a:pt x="9862" y="12386"/>
                    <a:pt x="9388" y="12637"/>
                    <a:pt x="8920" y="12869"/>
                  </a:cubicBezTo>
                  <a:cubicBezTo>
                    <a:pt x="8445" y="12640"/>
                    <a:pt x="7971" y="12386"/>
                    <a:pt x="7500" y="12114"/>
                  </a:cubicBezTo>
                  <a:cubicBezTo>
                    <a:pt x="7032" y="11842"/>
                    <a:pt x="6576" y="11559"/>
                    <a:pt x="6139" y="11266"/>
                  </a:cubicBezTo>
                  <a:cubicBezTo>
                    <a:pt x="6105" y="10743"/>
                    <a:pt x="6087" y="10206"/>
                    <a:pt x="6087" y="9662"/>
                  </a:cubicBezTo>
                  <a:cubicBezTo>
                    <a:pt x="6087" y="9119"/>
                    <a:pt x="6105" y="8581"/>
                    <a:pt x="6139" y="8059"/>
                  </a:cubicBezTo>
                  <a:cubicBezTo>
                    <a:pt x="6576" y="7766"/>
                    <a:pt x="7029" y="7485"/>
                    <a:pt x="7500" y="7211"/>
                  </a:cubicBezTo>
                  <a:cubicBezTo>
                    <a:pt x="7971" y="6942"/>
                    <a:pt x="8445" y="6688"/>
                    <a:pt x="8917" y="6459"/>
                  </a:cubicBezTo>
                  <a:close/>
                  <a:moveTo>
                    <a:pt x="11546" y="12706"/>
                  </a:moveTo>
                  <a:lnTo>
                    <a:pt x="11546" y="12706"/>
                  </a:lnTo>
                  <a:cubicBezTo>
                    <a:pt x="11492" y="13108"/>
                    <a:pt x="11426" y="13497"/>
                    <a:pt x="11350" y="13872"/>
                  </a:cubicBezTo>
                  <a:cubicBezTo>
                    <a:pt x="10988" y="13751"/>
                    <a:pt x="10619" y="13612"/>
                    <a:pt x="10242" y="13461"/>
                  </a:cubicBezTo>
                  <a:cubicBezTo>
                    <a:pt x="10462" y="13343"/>
                    <a:pt x="10680" y="13219"/>
                    <a:pt x="10897" y="13096"/>
                  </a:cubicBezTo>
                  <a:cubicBezTo>
                    <a:pt x="11115" y="12969"/>
                    <a:pt x="11332" y="12839"/>
                    <a:pt x="11546" y="12706"/>
                  </a:cubicBezTo>
                  <a:close/>
                  <a:moveTo>
                    <a:pt x="6287" y="12706"/>
                  </a:moveTo>
                  <a:cubicBezTo>
                    <a:pt x="6498" y="12836"/>
                    <a:pt x="6715" y="12966"/>
                    <a:pt x="6936" y="13092"/>
                  </a:cubicBezTo>
                  <a:cubicBezTo>
                    <a:pt x="7153" y="13219"/>
                    <a:pt x="7374" y="13343"/>
                    <a:pt x="7597" y="13461"/>
                  </a:cubicBezTo>
                  <a:lnTo>
                    <a:pt x="7594" y="13461"/>
                  </a:lnTo>
                  <a:cubicBezTo>
                    <a:pt x="7217" y="13615"/>
                    <a:pt x="6848" y="13754"/>
                    <a:pt x="6483" y="13875"/>
                  </a:cubicBezTo>
                  <a:cubicBezTo>
                    <a:pt x="6407" y="13497"/>
                    <a:pt x="6341" y="13108"/>
                    <a:pt x="6287" y="12706"/>
                  </a:cubicBezTo>
                  <a:close/>
                  <a:moveTo>
                    <a:pt x="14602" y="10447"/>
                  </a:moveTo>
                  <a:cubicBezTo>
                    <a:pt x="14829" y="10680"/>
                    <a:pt x="15037" y="10912"/>
                    <a:pt x="15227" y="11145"/>
                  </a:cubicBezTo>
                  <a:cubicBezTo>
                    <a:pt x="15867" y="11921"/>
                    <a:pt x="16254" y="12634"/>
                    <a:pt x="16353" y="13186"/>
                  </a:cubicBezTo>
                  <a:cubicBezTo>
                    <a:pt x="16141" y="13099"/>
                    <a:pt x="15923" y="13059"/>
                    <a:pt x="15710" y="13059"/>
                  </a:cubicBezTo>
                  <a:cubicBezTo>
                    <a:pt x="14912" y="13059"/>
                    <a:pt x="14180" y="13627"/>
                    <a:pt x="14034" y="14472"/>
                  </a:cubicBezTo>
                  <a:cubicBezTo>
                    <a:pt x="13497" y="14421"/>
                    <a:pt x="12963" y="14327"/>
                    <a:pt x="12440" y="14192"/>
                  </a:cubicBezTo>
                  <a:cubicBezTo>
                    <a:pt x="12594" y="13431"/>
                    <a:pt x="12709" y="12664"/>
                    <a:pt x="12778" y="11891"/>
                  </a:cubicBezTo>
                  <a:cubicBezTo>
                    <a:pt x="13412" y="11444"/>
                    <a:pt x="14022" y="10964"/>
                    <a:pt x="14602" y="10447"/>
                  </a:cubicBezTo>
                  <a:close/>
                  <a:moveTo>
                    <a:pt x="3231" y="10447"/>
                  </a:moveTo>
                  <a:cubicBezTo>
                    <a:pt x="3811" y="10964"/>
                    <a:pt x="4421" y="11444"/>
                    <a:pt x="5055" y="11891"/>
                  </a:cubicBezTo>
                  <a:cubicBezTo>
                    <a:pt x="5124" y="12664"/>
                    <a:pt x="5239" y="13434"/>
                    <a:pt x="5393" y="14195"/>
                  </a:cubicBezTo>
                  <a:cubicBezTo>
                    <a:pt x="5079" y="14273"/>
                    <a:pt x="4774" y="14336"/>
                    <a:pt x="4478" y="14388"/>
                  </a:cubicBezTo>
                  <a:cubicBezTo>
                    <a:pt x="4028" y="14462"/>
                    <a:pt x="3616" y="14499"/>
                    <a:pt x="3250" y="14499"/>
                  </a:cubicBezTo>
                  <a:cubicBezTo>
                    <a:pt x="2389" y="14499"/>
                    <a:pt x="1786" y="14296"/>
                    <a:pt x="1561" y="13908"/>
                  </a:cubicBezTo>
                  <a:cubicBezTo>
                    <a:pt x="1244" y="13358"/>
                    <a:pt x="1634" y="12326"/>
                    <a:pt x="2606" y="11145"/>
                  </a:cubicBezTo>
                  <a:cubicBezTo>
                    <a:pt x="2796" y="10912"/>
                    <a:pt x="3007" y="10680"/>
                    <a:pt x="3231" y="10447"/>
                  </a:cubicBezTo>
                  <a:close/>
                  <a:moveTo>
                    <a:pt x="15707" y="14191"/>
                  </a:moveTo>
                  <a:cubicBezTo>
                    <a:pt x="15999" y="14191"/>
                    <a:pt x="16278" y="14416"/>
                    <a:pt x="16278" y="14759"/>
                  </a:cubicBezTo>
                  <a:cubicBezTo>
                    <a:pt x="16278" y="15070"/>
                    <a:pt x="16024" y="15324"/>
                    <a:pt x="15710" y="15324"/>
                  </a:cubicBezTo>
                  <a:cubicBezTo>
                    <a:pt x="15206" y="15324"/>
                    <a:pt x="14952" y="14714"/>
                    <a:pt x="15309" y="14358"/>
                  </a:cubicBezTo>
                  <a:cubicBezTo>
                    <a:pt x="15425" y="14242"/>
                    <a:pt x="15568" y="14191"/>
                    <a:pt x="15707" y="14191"/>
                  </a:cubicBezTo>
                  <a:close/>
                  <a:moveTo>
                    <a:pt x="8917" y="14122"/>
                  </a:moveTo>
                  <a:cubicBezTo>
                    <a:pt x="9623" y="14448"/>
                    <a:pt x="10348" y="14735"/>
                    <a:pt x="11084" y="14980"/>
                  </a:cubicBezTo>
                  <a:cubicBezTo>
                    <a:pt x="10994" y="15297"/>
                    <a:pt x="10894" y="15602"/>
                    <a:pt x="10789" y="15892"/>
                  </a:cubicBezTo>
                  <a:cubicBezTo>
                    <a:pt x="10251" y="17332"/>
                    <a:pt x="9551" y="18192"/>
                    <a:pt x="8917" y="18192"/>
                  </a:cubicBezTo>
                  <a:cubicBezTo>
                    <a:pt x="8282" y="18192"/>
                    <a:pt x="7582" y="17332"/>
                    <a:pt x="7044" y="15892"/>
                  </a:cubicBezTo>
                  <a:cubicBezTo>
                    <a:pt x="6939" y="15602"/>
                    <a:pt x="6839" y="15300"/>
                    <a:pt x="6749" y="14980"/>
                  </a:cubicBezTo>
                  <a:cubicBezTo>
                    <a:pt x="7488" y="14735"/>
                    <a:pt x="8213" y="14448"/>
                    <a:pt x="8917" y="14122"/>
                  </a:cubicBezTo>
                  <a:close/>
                  <a:moveTo>
                    <a:pt x="8917" y="0"/>
                  </a:moveTo>
                  <a:cubicBezTo>
                    <a:pt x="7757" y="0"/>
                    <a:pt x="6715" y="1081"/>
                    <a:pt x="5985" y="3041"/>
                  </a:cubicBezTo>
                  <a:cubicBezTo>
                    <a:pt x="5867" y="3355"/>
                    <a:pt x="5758" y="3687"/>
                    <a:pt x="5662" y="4031"/>
                  </a:cubicBezTo>
                  <a:cubicBezTo>
                    <a:pt x="4919" y="3844"/>
                    <a:pt x="4215" y="3732"/>
                    <a:pt x="3587" y="3702"/>
                  </a:cubicBezTo>
                  <a:cubicBezTo>
                    <a:pt x="3271" y="3173"/>
                    <a:pt x="2709" y="2871"/>
                    <a:pt x="2126" y="2871"/>
                  </a:cubicBezTo>
                  <a:cubicBezTo>
                    <a:pt x="1901" y="2871"/>
                    <a:pt x="1673" y="2916"/>
                    <a:pt x="1455" y="3011"/>
                  </a:cubicBezTo>
                  <a:cubicBezTo>
                    <a:pt x="670" y="3346"/>
                    <a:pt x="260" y="4212"/>
                    <a:pt x="492" y="5034"/>
                  </a:cubicBezTo>
                  <a:cubicBezTo>
                    <a:pt x="54" y="6024"/>
                    <a:pt x="489" y="7389"/>
                    <a:pt x="1733" y="8898"/>
                  </a:cubicBezTo>
                  <a:cubicBezTo>
                    <a:pt x="1942" y="9152"/>
                    <a:pt x="2171" y="9409"/>
                    <a:pt x="2416" y="9662"/>
                  </a:cubicBezTo>
                  <a:cubicBezTo>
                    <a:pt x="2171" y="9916"/>
                    <a:pt x="1942" y="10170"/>
                    <a:pt x="1733" y="10426"/>
                  </a:cubicBezTo>
                  <a:cubicBezTo>
                    <a:pt x="411" y="12033"/>
                    <a:pt x="0" y="13470"/>
                    <a:pt x="583" y="14475"/>
                  </a:cubicBezTo>
                  <a:cubicBezTo>
                    <a:pt x="1021" y="15233"/>
                    <a:pt x="1954" y="15629"/>
                    <a:pt x="3270" y="15629"/>
                  </a:cubicBezTo>
                  <a:cubicBezTo>
                    <a:pt x="3738" y="15626"/>
                    <a:pt x="4203" y="15584"/>
                    <a:pt x="4662" y="15505"/>
                  </a:cubicBezTo>
                  <a:cubicBezTo>
                    <a:pt x="4985" y="15451"/>
                    <a:pt x="5320" y="15378"/>
                    <a:pt x="5662" y="15294"/>
                  </a:cubicBezTo>
                  <a:cubicBezTo>
                    <a:pt x="5761" y="15641"/>
                    <a:pt x="5867" y="15970"/>
                    <a:pt x="5985" y="16284"/>
                  </a:cubicBezTo>
                  <a:cubicBezTo>
                    <a:pt x="6715" y="18244"/>
                    <a:pt x="7757" y="19325"/>
                    <a:pt x="8917" y="19325"/>
                  </a:cubicBezTo>
                  <a:cubicBezTo>
                    <a:pt x="10076" y="19325"/>
                    <a:pt x="11118" y="18244"/>
                    <a:pt x="11848" y="16284"/>
                  </a:cubicBezTo>
                  <a:cubicBezTo>
                    <a:pt x="11966" y="15970"/>
                    <a:pt x="12075" y="15638"/>
                    <a:pt x="12171" y="15294"/>
                  </a:cubicBezTo>
                  <a:cubicBezTo>
                    <a:pt x="12917" y="15481"/>
                    <a:pt x="13618" y="15593"/>
                    <a:pt x="14246" y="15623"/>
                  </a:cubicBezTo>
                  <a:cubicBezTo>
                    <a:pt x="14562" y="16152"/>
                    <a:pt x="15123" y="16453"/>
                    <a:pt x="15705" y="16453"/>
                  </a:cubicBezTo>
                  <a:cubicBezTo>
                    <a:pt x="15930" y="16453"/>
                    <a:pt x="16159" y="16408"/>
                    <a:pt x="16378" y="16314"/>
                  </a:cubicBezTo>
                  <a:cubicBezTo>
                    <a:pt x="17163" y="15979"/>
                    <a:pt x="17573" y="15112"/>
                    <a:pt x="17341" y="14291"/>
                  </a:cubicBezTo>
                  <a:cubicBezTo>
                    <a:pt x="17779" y="13301"/>
                    <a:pt x="17344" y="11936"/>
                    <a:pt x="16100" y="10426"/>
                  </a:cubicBezTo>
                  <a:cubicBezTo>
                    <a:pt x="15891" y="10170"/>
                    <a:pt x="15662" y="9916"/>
                    <a:pt x="15417" y="9662"/>
                  </a:cubicBezTo>
                  <a:cubicBezTo>
                    <a:pt x="15662" y="9409"/>
                    <a:pt x="15891" y="9152"/>
                    <a:pt x="16100" y="8898"/>
                  </a:cubicBezTo>
                  <a:cubicBezTo>
                    <a:pt x="17347" y="7389"/>
                    <a:pt x="17779" y="6024"/>
                    <a:pt x="17341" y="5034"/>
                  </a:cubicBezTo>
                  <a:cubicBezTo>
                    <a:pt x="17573" y="4212"/>
                    <a:pt x="17163" y="3346"/>
                    <a:pt x="16378" y="3011"/>
                  </a:cubicBezTo>
                  <a:cubicBezTo>
                    <a:pt x="16159" y="2916"/>
                    <a:pt x="15930" y="2871"/>
                    <a:pt x="15705" y="2871"/>
                  </a:cubicBezTo>
                  <a:cubicBezTo>
                    <a:pt x="15123" y="2871"/>
                    <a:pt x="14562" y="3173"/>
                    <a:pt x="14246" y="3702"/>
                  </a:cubicBezTo>
                  <a:cubicBezTo>
                    <a:pt x="13615" y="3732"/>
                    <a:pt x="12914" y="3844"/>
                    <a:pt x="12171" y="4031"/>
                  </a:cubicBezTo>
                  <a:cubicBezTo>
                    <a:pt x="12075" y="3684"/>
                    <a:pt x="11966" y="3355"/>
                    <a:pt x="11848" y="3041"/>
                  </a:cubicBezTo>
                  <a:cubicBezTo>
                    <a:pt x="11118" y="1081"/>
                    <a:pt x="10076" y="0"/>
                    <a:pt x="89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41" name="Google Shape;9141;p75"/>
            <p:cNvSpPr/>
            <p:nvPr/>
          </p:nvSpPr>
          <p:spPr>
            <a:xfrm>
              <a:off x="2280775" y="4003900"/>
              <a:ext cx="88275" cy="85025"/>
            </a:xfrm>
            <a:custGeom>
              <a:avLst/>
              <a:gdLst/>
              <a:ahLst/>
              <a:cxnLst/>
              <a:rect l="l" t="t" r="r" b="b"/>
              <a:pathLst>
                <a:path w="3531" h="3401" extrusionOk="0">
                  <a:moveTo>
                    <a:pt x="1698" y="1136"/>
                  </a:moveTo>
                  <a:cubicBezTo>
                    <a:pt x="2202" y="1136"/>
                    <a:pt x="2455" y="1743"/>
                    <a:pt x="2099" y="2102"/>
                  </a:cubicBezTo>
                  <a:cubicBezTo>
                    <a:pt x="1983" y="2217"/>
                    <a:pt x="1841" y="2268"/>
                    <a:pt x="1703" y="2268"/>
                  </a:cubicBezTo>
                  <a:cubicBezTo>
                    <a:pt x="1411" y="2268"/>
                    <a:pt x="1133" y="2042"/>
                    <a:pt x="1133" y="1700"/>
                  </a:cubicBezTo>
                  <a:cubicBezTo>
                    <a:pt x="1133" y="1386"/>
                    <a:pt x="1383" y="1136"/>
                    <a:pt x="1698" y="1136"/>
                  </a:cubicBezTo>
                  <a:close/>
                  <a:moveTo>
                    <a:pt x="1698" y="1"/>
                  </a:moveTo>
                  <a:cubicBezTo>
                    <a:pt x="1479" y="1"/>
                    <a:pt x="1258" y="43"/>
                    <a:pt x="1048" y="130"/>
                  </a:cubicBezTo>
                  <a:cubicBezTo>
                    <a:pt x="414" y="393"/>
                    <a:pt x="1" y="1012"/>
                    <a:pt x="1" y="1700"/>
                  </a:cubicBezTo>
                  <a:cubicBezTo>
                    <a:pt x="1" y="2639"/>
                    <a:pt x="758" y="3397"/>
                    <a:pt x="1698" y="3400"/>
                  </a:cubicBezTo>
                  <a:cubicBezTo>
                    <a:pt x="2386" y="3400"/>
                    <a:pt x="3005" y="2984"/>
                    <a:pt x="3268" y="2350"/>
                  </a:cubicBezTo>
                  <a:cubicBezTo>
                    <a:pt x="3530" y="1715"/>
                    <a:pt x="3385" y="985"/>
                    <a:pt x="2899" y="499"/>
                  </a:cubicBezTo>
                  <a:cubicBezTo>
                    <a:pt x="2574" y="173"/>
                    <a:pt x="2140" y="1"/>
                    <a:pt x="16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42" name="Google Shape;9142;p75"/>
          <p:cNvGrpSpPr/>
          <p:nvPr/>
        </p:nvGrpSpPr>
        <p:grpSpPr>
          <a:xfrm>
            <a:off x="6333463" y="3126102"/>
            <a:ext cx="294261" cy="340168"/>
            <a:chOff x="2708700" y="3804850"/>
            <a:chExt cx="417925" cy="483125"/>
          </a:xfrm>
        </p:grpSpPr>
        <p:sp>
          <p:nvSpPr>
            <p:cNvPr id="9143" name="Google Shape;9143;p75"/>
            <p:cNvSpPr/>
            <p:nvPr/>
          </p:nvSpPr>
          <p:spPr>
            <a:xfrm>
              <a:off x="2708700" y="3804850"/>
              <a:ext cx="417925" cy="483125"/>
            </a:xfrm>
            <a:custGeom>
              <a:avLst/>
              <a:gdLst/>
              <a:ahLst/>
              <a:cxnLst/>
              <a:rect l="l" t="t" r="r" b="b"/>
              <a:pathLst>
                <a:path w="16717" h="19325" extrusionOk="0">
                  <a:moveTo>
                    <a:pt x="10354" y="1132"/>
                  </a:moveTo>
                  <a:lnTo>
                    <a:pt x="10354" y="8618"/>
                  </a:lnTo>
                  <a:cubicBezTo>
                    <a:pt x="10354" y="8714"/>
                    <a:pt x="10379" y="8811"/>
                    <a:pt x="10430" y="8898"/>
                  </a:cubicBezTo>
                  <a:lnTo>
                    <a:pt x="12447" y="12425"/>
                  </a:lnTo>
                  <a:lnTo>
                    <a:pt x="4273" y="12425"/>
                  </a:lnTo>
                  <a:lnTo>
                    <a:pt x="6290" y="8898"/>
                  </a:lnTo>
                  <a:cubicBezTo>
                    <a:pt x="6339" y="8811"/>
                    <a:pt x="6366" y="8714"/>
                    <a:pt x="6366" y="8618"/>
                  </a:cubicBezTo>
                  <a:lnTo>
                    <a:pt x="6366" y="1132"/>
                  </a:lnTo>
                  <a:close/>
                  <a:moveTo>
                    <a:pt x="13090" y="13557"/>
                  </a:moveTo>
                  <a:lnTo>
                    <a:pt x="15469" y="17718"/>
                  </a:lnTo>
                  <a:cubicBezTo>
                    <a:pt x="15527" y="17818"/>
                    <a:pt x="15530" y="17939"/>
                    <a:pt x="15472" y="18038"/>
                  </a:cubicBezTo>
                  <a:cubicBezTo>
                    <a:pt x="15418" y="18135"/>
                    <a:pt x="15318" y="18192"/>
                    <a:pt x="15210" y="18192"/>
                  </a:cubicBezTo>
                  <a:lnTo>
                    <a:pt x="1511" y="18192"/>
                  </a:lnTo>
                  <a:cubicBezTo>
                    <a:pt x="1399" y="18192"/>
                    <a:pt x="1299" y="18135"/>
                    <a:pt x="1245" y="18038"/>
                  </a:cubicBezTo>
                  <a:cubicBezTo>
                    <a:pt x="1187" y="17939"/>
                    <a:pt x="1187" y="17818"/>
                    <a:pt x="1245" y="17718"/>
                  </a:cubicBezTo>
                  <a:lnTo>
                    <a:pt x="3624" y="13557"/>
                  </a:lnTo>
                  <a:close/>
                  <a:moveTo>
                    <a:pt x="4717" y="0"/>
                  </a:moveTo>
                  <a:cubicBezTo>
                    <a:pt x="4403" y="0"/>
                    <a:pt x="4153" y="254"/>
                    <a:pt x="4153" y="568"/>
                  </a:cubicBezTo>
                  <a:cubicBezTo>
                    <a:pt x="4153" y="879"/>
                    <a:pt x="4403" y="1132"/>
                    <a:pt x="4717" y="1132"/>
                  </a:cubicBezTo>
                  <a:lnTo>
                    <a:pt x="5234" y="1132"/>
                  </a:lnTo>
                  <a:lnTo>
                    <a:pt x="5234" y="8467"/>
                  </a:lnTo>
                  <a:lnTo>
                    <a:pt x="264" y="17157"/>
                  </a:lnTo>
                  <a:cubicBezTo>
                    <a:pt x="1" y="17604"/>
                    <a:pt x="4" y="18159"/>
                    <a:pt x="267" y="18606"/>
                  </a:cubicBezTo>
                  <a:cubicBezTo>
                    <a:pt x="519" y="19050"/>
                    <a:pt x="992" y="19325"/>
                    <a:pt x="1502" y="19325"/>
                  </a:cubicBezTo>
                  <a:cubicBezTo>
                    <a:pt x="1505" y="19325"/>
                    <a:pt x="1508" y="19325"/>
                    <a:pt x="1511" y="19325"/>
                  </a:cubicBezTo>
                  <a:lnTo>
                    <a:pt x="15207" y="19325"/>
                  </a:lnTo>
                  <a:cubicBezTo>
                    <a:pt x="15210" y="19325"/>
                    <a:pt x="15212" y="19325"/>
                    <a:pt x="15215" y="19325"/>
                  </a:cubicBezTo>
                  <a:cubicBezTo>
                    <a:pt x="15725" y="19325"/>
                    <a:pt x="16198" y="19050"/>
                    <a:pt x="16451" y="18606"/>
                  </a:cubicBezTo>
                  <a:cubicBezTo>
                    <a:pt x="16713" y="18159"/>
                    <a:pt x="16716" y="17607"/>
                    <a:pt x="16454" y="17157"/>
                  </a:cubicBezTo>
                  <a:lnTo>
                    <a:pt x="11487" y="8467"/>
                  </a:lnTo>
                  <a:lnTo>
                    <a:pt x="11487" y="1132"/>
                  </a:lnTo>
                  <a:lnTo>
                    <a:pt x="12003" y="1132"/>
                  </a:lnTo>
                  <a:cubicBezTo>
                    <a:pt x="12314" y="1132"/>
                    <a:pt x="12568" y="879"/>
                    <a:pt x="12568" y="568"/>
                  </a:cubicBezTo>
                  <a:cubicBezTo>
                    <a:pt x="12568" y="254"/>
                    <a:pt x="12314" y="0"/>
                    <a:pt x="120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44" name="Google Shape;9144;p75"/>
            <p:cNvSpPr/>
            <p:nvPr/>
          </p:nvSpPr>
          <p:spPr>
            <a:xfrm>
              <a:off x="2875975" y="4055200"/>
              <a:ext cx="33100" cy="28350"/>
            </a:xfrm>
            <a:custGeom>
              <a:avLst/>
              <a:gdLst/>
              <a:ahLst/>
              <a:cxnLst/>
              <a:rect l="l" t="t" r="r" b="b"/>
              <a:pathLst>
                <a:path w="1324" h="1134" extrusionOk="0">
                  <a:moveTo>
                    <a:pt x="570" y="1"/>
                  </a:moveTo>
                  <a:cubicBezTo>
                    <a:pt x="280" y="1"/>
                    <a:pt x="1" y="225"/>
                    <a:pt x="1" y="566"/>
                  </a:cubicBezTo>
                  <a:cubicBezTo>
                    <a:pt x="1" y="880"/>
                    <a:pt x="255" y="1134"/>
                    <a:pt x="569" y="1134"/>
                  </a:cubicBezTo>
                  <a:cubicBezTo>
                    <a:pt x="1073" y="1134"/>
                    <a:pt x="1323" y="524"/>
                    <a:pt x="967" y="168"/>
                  </a:cubicBezTo>
                  <a:cubicBezTo>
                    <a:pt x="852" y="52"/>
                    <a:pt x="710" y="1"/>
                    <a:pt x="5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45" name="Google Shape;9145;p75"/>
            <p:cNvSpPr/>
            <p:nvPr/>
          </p:nvSpPr>
          <p:spPr>
            <a:xfrm>
              <a:off x="2931025" y="4055200"/>
              <a:ext cx="33075" cy="28350"/>
            </a:xfrm>
            <a:custGeom>
              <a:avLst/>
              <a:gdLst/>
              <a:ahLst/>
              <a:cxnLst/>
              <a:rect l="l" t="t" r="r" b="b"/>
              <a:pathLst>
                <a:path w="1323" h="1134" extrusionOk="0">
                  <a:moveTo>
                    <a:pt x="569" y="1"/>
                  </a:moveTo>
                  <a:cubicBezTo>
                    <a:pt x="279" y="1"/>
                    <a:pt x="0" y="225"/>
                    <a:pt x="0" y="566"/>
                  </a:cubicBezTo>
                  <a:cubicBezTo>
                    <a:pt x="0" y="880"/>
                    <a:pt x="254" y="1134"/>
                    <a:pt x="565" y="1134"/>
                  </a:cubicBezTo>
                  <a:cubicBezTo>
                    <a:pt x="1069" y="1134"/>
                    <a:pt x="1323" y="524"/>
                    <a:pt x="966" y="168"/>
                  </a:cubicBezTo>
                  <a:cubicBezTo>
                    <a:pt x="851" y="52"/>
                    <a:pt x="709" y="1"/>
                    <a:pt x="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46" name="Google Shape;9146;p75"/>
            <p:cNvSpPr/>
            <p:nvPr/>
          </p:nvSpPr>
          <p:spPr>
            <a:xfrm>
              <a:off x="2903525" y="4008200"/>
              <a:ext cx="28350" cy="28325"/>
            </a:xfrm>
            <a:custGeom>
              <a:avLst/>
              <a:gdLst/>
              <a:ahLst/>
              <a:cxnLst/>
              <a:rect l="l" t="t" r="r" b="b"/>
              <a:pathLst>
                <a:path w="1134" h="1133" extrusionOk="0">
                  <a:moveTo>
                    <a:pt x="566" y="1"/>
                  </a:moveTo>
                  <a:cubicBezTo>
                    <a:pt x="252" y="1"/>
                    <a:pt x="1" y="254"/>
                    <a:pt x="1" y="568"/>
                  </a:cubicBezTo>
                  <a:cubicBezTo>
                    <a:pt x="1" y="879"/>
                    <a:pt x="252" y="1133"/>
                    <a:pt x="566" y="1133"/>
                  </a:cubicBezTo>
                  <a:cubicBezTo>
                    <a:pt x="880" y="1133"/>
                    <a:pt x="1133" y="879"/>
                    <a:pt x="1133" y="568"/>
                  </a:cubicBezTo>
                  <a:cubicBezTo>
                    <a:pt x="1133" y="254"/>
                    <a:pt x="880"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47" name="Google Shape;9147;p75"/>
          <p:cNvSpPr/>
          <p:nvPr/>
        </p:nvSpPr>
        <p:spPr>
          <a:xfrm>
            <a:off x="6728094" y="3166169"/>
            <a:ext cx="340168" cy="259074"/>
          </a:xfrm>
          <a:custGeom>
            <a:avLst/>
            <a:gdLst/>
            <a:ahLst/>
            <a:cxnLst/>
            <a:rect l="l" t="t" r="r" b="b"/>
            <a:pathLst>
              <a:path w="19325" h="14718" extrusionOk="0">
                <a:moveTo>
                  <a:pt x="14192" y="1133"/>
                </a:moveTo>
                <a:cubicBezTo>
                  <a:pt x="14974" y="1133"/>
                  <a:pt x="15520" y="1906"/>
                  <a:pt x="15261" y="2643"/>
                </a:cubicBezTo>
                <a:cubicBezTo>
                  <a:pt x="15131" y="3008"/>
                  <a:pt x="15403" y="3395"/>
                  <a:pt x="15792" y="3398"/>
                </a:cubicBezTo>
                <a:lnTo>
                  <a:pt x="17628" y="3398"/>
                </a:lnTo>
                <a:cubicBezTo>
                  <a:pt x="17939" y="3398"/>
                  <a:pt x="18193" y="3648"/>
                  <a:pt x="18193" y="3962"/>
                </a:cubicBezTo>
                <a:lnTo>
                  <a:pt x="18193" y="10756"/>
                </a:lnTo>
                <a:cubicBezTo>
                  <a:pt x="18193" y="11070"/>
                  <a:pt x="17939" y="11324"/>
                  <a:pt x="17628" y="11324"/>
                </a:cubicBezTo>
                <a:lnTo>
                  <a:pt x="10230" y="11324"/>
                </a:lnTo>
                <a:lnTo>
                  <a:pt x="10230" y="9624"/>
                </a:lnTo>
                <a:cubicBezTo>
                  <a:pt x="11480" y="9624"/>
                  <a:pt x="12492" y="8609"/>
                  <a:pt x="12492" y="7359"/>
                </a:cubicBezTo>
                <a:cubicBezTo>
                  <a:pt x="12492" y="6109"/>
                  <a:pt x="11480" y="5095"/>
                  <a:pt x="10230" y="5095"/>
                </a:cubicBezTo>
                <a:lnTo>
                  <a:pt x="10230" y="3398"/>
                </a:lnTo>
                <a:lnTo>
                  <a:pt x="12592" y="3398"/>
                </a:lnTo>
                <a:cubicBezTo>
                  <a:pt x="12981" y="3395"/>
                  <a:pt x="13253" y="3008"/>
                  <a:pt x="13123" y="2643"/>
                </a:cubicBezTo>
                <a:cubicBezTo>
                  <a:pt x="12863" y="1906"/>
                  <a:pt x="13410" y="1133"/>
                  <a:pt x="14192" y="1133"/>
                </a:cubicBezTo>
                <a:close/>
                <a:moveTo>
                  <a:pt x="9098" y="3398"/>
                </a:moveTo>
                <a:lnTo>
                  <a:pt x="9098" y="5759"/>
                </a:lnTo>
                <a:cubicBezTo>
                  <a:pt x="9098" y="6082"/>
                  <a:pt x="9363" y="6323"/>
                  <a:pt x="9663" y="6323"/>
                </a:cubicBezTo>
                <a:cubicBezTo>
                  <a:pt x="9726" y="6323"/>
                  <a:pt x="9790" y="6313"/>
                  <a:pt x="9853" y="6290"/>
                </a:cubicBezTo>
                <a:cubicBezTo>
                  <a:pt x="9979" y="6247"/>
                  <a:pt x="10105" y="6226"/>
                  <a:pt x="10229" y="6226"/>
                </a:cubicBezTo>
                <a:cubicBezTo>
                  <a:pt x="10828" y="6226"/>
                  <a:pt x="11357" y="6708"/>
                  <a:pt x="11360" y="7353"/>
                </a:cubicBezTo>
                <a:cubicBezTo>
                  <a:pt x="11362" y="8003"/>
                  <a:pt x="10832" y="8493"/>
                  <a:pt x="10229" y="8493"/>
                </a:cubicBezTo>
                <a:cubicBezTo>
                  <a:pt x="10108" y="8493"/>
                  <a:pt x="9985" y="8473"/>
                  <a:pt x="9862" y="8431"/>
                </a:cubicBezTo>
                <a:cubicBezTo>
                  <a:pt x="9829" y="8419"/>
                  <a:pt x="9796" y="8410"/>
                  <a:pt x="9759" y="8404"/>
                </a:cubicBezTo>
                <a:cubicBezTo>
                  <a:pt x="9726" y="8398"/>
                  <a:pt x="9692" y="8395"/>
                  <a:pt x="9659" y="8395"/>
                </a:cubicBezTo>
                <a:cubicBezTo>
                  <a:pt x="9350" y="8395"/>
                  <a:pt x="9090" y="8653"/>
                  <a:pt x="9098" y="8975"/>
                </a:cubicBezTo>
                <a:lnTo>
                  <a:pt x="9098" y="11324"/>
                </a:lnTo>
                <a:lnTo>
                  <a:pt x="6737" y="11324"/>
                </a:lnTo>
                <a:cubicBezTo>
                  <a:pt x="6344" y="11324"/>
                  <a:pt x="6073" y="11710"/>
                  <a:pt x="6202" y="12079"/>
                </a:cubicBezTo>
                <a:cubicBezTo>
                  <a:pt x="6462" y="12813"/>
                  <a:pt x="5916" y="13585"/>
                  <a:pt x="5134" y="13585"/>
                </a:cubicBezTo>
                <a:cubicBezTo>
                  <a:pt x="4352" y="13585"/>
                  <a:pt x="3805" y="12813"/>
                  <a:pt x="4065" y="12079"/>
                </a:cubicBezTo>
                <a:cubicBezTo>
                  <a:pt x="4195" y="11710"/>
                  <a:pt x="3923" y="11324"/>
                  <a:pt x="3533" y="11324"/>
                </a:cubicBezTo>
                <a:lnTo>
                  <a:pt x="1700" y="11324"/>
                </a:lnTo>
                <a:cubicBezTo>
                  <a:pt x="1386" y="11324"/>
                  <a:pt x="1133" y="11070"/>
                  <a:pt x="1133" y="10756"/>
                </a:cubicBezTo>
                <a:lnTo>
                  <a:pt x="1133" y="3962"/>
                </a:lnTo>
                <a:cubicBezTo>
                  <a:pt x="1133" y="3648"/>
                  <a:pt x="1386" y="3398"/>
                  <a:pt x="1700" y="3398"/>
                </a:cubicBezTo>
                <a:lnTo>
                  <a:pt x="2941" y="3398"/>
                </a:lnTo>
                <a:cubicBezTo>
                  <a:pt x="2570" y="4829"/>
                  <a:pt x="3654" y="6227"/>
                  <a:pt x="5134" y="6227"/>
                </a:cubicBezTo>
                <a:cubicBezTo>
                  <a:pt x="6613" y="6227"/>
                  <a:pt x="7697" y="4829"/>
                  <a:pt x="7326" y="3398"/>
                </a:cubicBezTo>
                <a:close/>
                <a:moveTo>
                  <a:pt x="14192" y="1"/>
                </a:moveTo>
                <a:cubicBezTo>
                  <a:pt x="12942" y="1"/>
                  <a:pt x="11927" y="1012"/>
                  <a:pt x="11927" y="2266"/>
                </a:cubicBezTo>
                <a:lnTo>
                  <a:pt x="6399" y="2266"/>
                </a:lnTo>
                <a:cubicBezTo>
                  <a:pt x="5910" y="2266"/>
                  <a:pt x="5650" y="2842"/>
                  <a:pt x="5979" y="3208"/>
                </a:cubicBezTo>
                <a:cubicBezTo>
                  <a:pt x="6631" y="3938"/>
                  <a:pt x="6112" y="5095"/>
                  <a:pt x="5134" y="5095"/>
                </a:cubicBezTo>
                <a:cubicBezTo>
                  <a:pt x="4155" y="5095"/>
                  <a:pt x="3636" y="3938"/>
                  <a:pt x="4291" y="3208"/>
                </a:cubicBezTo>
                <a:cubicBezTo>
                  <a:pt x="4617" y="2842"/>
                  <a:pt x="4358" y="2266"/>
                  <a:pt x="3868" y="2266"/>
                </a:cubicBezTo>
                <a:lnTo>
                  <a:pt x="1700" y="2266"/>
                </a:lnTo>
                <a:cubicBezTo>
                  <a:pt x="761" y="2266"/>
                  <a:pt x="1" y="3023"/>
                  <a:pt x="1" y="3962"/>
                </a:cubicBezTo>
                <a:lnTo>
                  <a:pt x="1" y="10756"/>
                </a:lnTo>
                <a:cubicBezTo>
                  <a:pt x="1" y="11695"/>
                  <a:pt x="761" y="12453"/>
                  <a:pt x="1700" y="12456"/>
                </a:cubicBezTo>
                <a:lnTo>
                  <a:pt x="2869" y="12456"/>
                </a:lnTo>
                <a:cubicBezTo>
                  <a:pt x="2869" y="13706"/>
                  <a:pt x="3884" y="14718"/>
                  <a:pt x="5134" y="14718"/>
                </a:cubicBezTo>
                <a:cubicBezTo>
                  <a:pt x="6384" y="14718"/>
                  <a:pt x="7398" y="13706"/>
                  <a:pt x="7398" y="12456"/>
                </a:cubicBezTo>
                <a:lnTo>
                  <a:pt x="17628" y="12456"/>
                </a:lnTo>
                <a:cubicBezTo>
                  <a:pt x="18564" y="12453"/>
                  <a:pt x="19325" y="11695"/>
                  <a:pt x="19325" y="10756"/>
                </a:cubicBezTo>
                <a:lnTo>
                  <a:pt x="19325" y="3962"/>
                </a:lnTo>
                <a:cubicBezTo>
                  <a:pt x="19325" y="3023"/>
                  <a:pt x="18564" y="2266"/>
                  <a:pt x="17628" y="2266"/>
                </a:cubicBezTo>
                <a:lnTo>
                  <a:pt x="16457" y="2266"/>
                </a:lnTo>
                <a:cubicBezTo>
                  <a:pt x="16457" y="1012"/>
                  <a:pt x="15442" y="1"/>
                  <a:pt x="141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48" name="Google Shape;9148;p75"/>
          <p:cNvSpPr/>
          <p:nvPr/>
        </p:nvSpPr>
        <p:spPr>
          <a:xfrm>
            <a:off x="7154806" y="3125620"/>
            <a:ext cx="313870" cy="340186"/>
          </a:xfrm>
          <a:custGeom>
            <a:avLst/>
            <a:gdLst/>
            <a:ahLst/>
            <a:cxnLst/>
            <a:rect l="l" t="t" r="r" b="b"/>
            <a:pathLst>
              <a:path w="17831" h="19326" extrusionOk="0">
                <a:moveTo>
                  <a:pt x="7090" y="1417"/>
                </a:moveTo>
                <a:lnTo>
                  <a:pt x="7090" y="1417"/>
                </a:lnTo>
                <a:cubicBezTo>
                  <a:pt x="7570" y="1746"/>
                  <a:pt x="8228" y="2317"/>
                  <a:pt x="8533" y="3111"/>
                </a:cubicBezTo>
                <a:cubicBezTo>
                  <a:pt x="8835" y="3905"/>
                  <a:pt x="8727" y="4766"/>
                  <a:pt x="8591" y="5337"/>
                </a:cubicBezTo>
                <a:cubicBezTo>
                  <a:pt x="8111" y="5004"/>
                  <a:pt x="7452" y="4437"/>
                  <a:pt x="7148" y="3643"/>
                </a:cubicBezTo>
                <a:cubicBezTo>
                  <a:pt x="6843" y="2848"/>
                  <a:pt x="6954" y="1985"/>
                  <a:pt x="7090" y="1417"/>
                </a:cubicBezTo>
                <a:close/>
                <a:moveTo>
                  <a:pt x="12577" y="5533"/>
                </a:moveTo>
                <a:cubicBezTo>
                  <a:pt x="12772" y="5533"/>
                  <a:pt x="12967" y="5549"/>
                  <a:pt x="13162" y="5581"/>
                </a:cubicBezTo>
                <a:cubicBezTo>
                  <a:pt x="15215" y="5913"/>
                  <a:pt x="16623" y="7906"/>
                  <a:pt x="16299" y="10023"/>
                </a:cubicBezTo>
                <a:cubicBezTo>
                  <a:pt x="15711" y="13866"/>
                  <a:pt x="14596" y="16484"/>
                  <a:pt x="13078" y="17592"/>
                </a:cubicBezTo>
                <a:cubicBezTo>
                  <a:pt x="12526" y="17996"/>
                  <a:pt x="11929" y="18194"/>
                  <a:pt x="11264" y="18194"/>
                </a:cubicBezTo>
                <a:cubicBezTo>
                  <a:pt x="11073" y="18194"/>
                  <a:pt x="10877" y="18177"/>
                  <a:pt x="10674" y="18145"/>
                </a:cubicBezTo>
                <a:cubicBezTo>
                  <a:pt x="10119" y="18054"/>
                  <a:pt x="9681" y="17828"/>
                  <a:pt x="9334" y="17454"/>
                </a:cubicBezTo>
                <a:cubicBezTo>
                  <a:pt x="9222" y="17333"/>
                  <a:pt x="9070" y="17272"/>
                  <a:pt x="8918" y="17272"/>
                </a:cubicBezTo>
                <a:cubicBezTo>
                  <a:pt x="8767" y="17272"/>
                  <a:pt x="8615" y="17333"/>
                  <a:pt x="8503" y="17454"/>
                </a:cubicBezTo>
                <a:cubicBezTo>
                  <a:pt x="8156" y="17831"/>
                  <a:pt x="7715" y="18057"/>
                  <a:pt x="7160" y="18145"/>
                </a:cubicBezTo>
                <a:cubicBezTo>
                  <a:pt x="6958" y="18177"/>
                  <a:pt x="6762" y="18194"/>
                  <a:pt x="6571" y="18194"/>
                </a:cubicBezTo>
                <a:cubicBezTo>
                  <a:pt x="5907" y="18194"/>
                  <a:pt x="5310" y="17996"/>
                  <a:pt x="4756" y="17592"/>
                </a:cubicBezTo>
                <a:cubicBezTo>
                  <a:pt x="3237" y="16484"/>
                  <a:pt x="2126" y="13869"/>
                  <a:pt x="1537" y="10023"/>
                </a:cubicBezTo>
                <a:cubicBezTo>
                  <a:pt x="1214" y="7906"/>
                  <a:pt x="2621" y="5913"/>
                  <a:pt x="4675" y="5581"/>
                </a:cubicBezTo>
                <a:cubicBezTo>
                  <a:pt x="4869" y="5549"/>
                  <a:pt x="5065" y="5533"/>
                  <a:pt x="5260" y="5533"/>
                </a:cubicBezTo>
                <a:cubicBezTo>
                  <a:pt x="6062" y="5533"/>
                  <a:pt x="6848" y="5799"/>
                  <a:pt x="7492" y="6300"/>
                </a:cubicBezTo>
                <a:cubicBezTo>
                  <a:pt x="7913" y="6620"/>
                  <a:pt x="8416" y="6780"/>
                  <a:pt x="8918" y="6780"/>
                </a:cubicBezTo>
                <a:cubicBezTo>
                  <a:pt x="9421" y="6780"/>
                  <a:pt x="9924" y="6620"/>
                  <a:pt x="10345" y="6300"/>
                </a:cubicBezTo>
                <a:cubicBezTo>
                  <a:pt x="10989" y="5799"/>
                  <a:pt x="11775" y="5533"/>
                  <a:pt x="12577" y="5533"/>
                </a:cubicBezTo>
                <a:close/>
                <a:moveTo>
                  <a:pt x="6762" y="0"/>
                </a:moveTo>
                <a:cubicBezTo>
                  <a:pt x="6543" y="0"/>
                  <a:pt x="6335" y="128"/>
                  <a:pt x="6242" y="345"/>
                </a:cubicBezTo>
                <a:cubicBezTo>
                  <a:pt x="6208" y="424"/>
                  <a:pt x="5420" y="2302"/>
                  <a:pt x="6091" y="4047"/>
                </a:cubicBezTo>
                <a:cubicBezTo>
                  <a:pt x="6154" y="4207"/>
                  <a:pt x="6227" y="4364"/>
                  <a:pt x="6308" y="4518"/>
                </a:cubicBezTo>
                <a:cubicBezTo>
                  <a:pt x="5965" y="4440"/>
                  <a:pt x="5614" y="4401"/>
                  <a:pt x="5262" y="4401"/>
                </a:cubicBezTo>
                <a:cubicBezTo>
                  <a:pt x="5004" y="4401"/>
                  <a:pt x="4746" y="4422"/>
                  <a:pt x="4490" y="4464"/>
                </a:cubicBezTo>
                <a:cubicBezTo>
                  <a:pt x="1827" y="4893"/>
                  <a:pt x="0" y="7462"/>
                  <a:pt x="417" y="10192"/>
                </a:cubicBezTo>
                <a:cubicBezTo>
                  <a:pt x="713" y="12139"/>
                  <a:pt x="1148" y="13812"/>
                  <a:pt x="1706" y="15162"/>
                </a:cubicBezTo>
                <a:cubicBezTo>
                  <a:pt x="2341" y="16693"/>
                  <a:pt x="3141" y="17819"/>
                  <a:pt x="4086" y="18507"/>
                </a:cubicBezTo>
                <a:cubicBezTo>
                  <a:pt x="4833" y="19051"/>
                  <a:pt x="5666" y="19325"/>
                  <a:pt x="6571" y="19325"/>
                </a:cubicBezTo>
                <a:cubicBezTo>
                  <a:pt x="6821" y="19325"/>
                  <a:pt x="7077" y="19304"/>
                  <a:pt x="7338" y="19262"/>
                </a:cubicBezTo>
                <a:cubicBezTo>
                  <a:pt x="7942" y="19163"/>
                  <a:pt x="8470" y="18942"/>
                  <a:pt x="8914" y="18601"/>
                </a:cubicBezTo>
                <a:cubicBezTo>
                  <a:pt x="9361" y="18942"/>
                  <a:pt x="9889" y="19163"/>
                  <a:pt x="10493" y="19262"/>
                </a:cubicBezTo>
                <a:cubicBezTo>
                  <a:pt x="10747" y="19301"/>
                  <a:pt x="11000" y="19323"/>
                  <a:pt x="11260" y="19326"/>
                </a:cubicBezTo>
                <a:cubicBezTo>
                  <a:pt x="12163" y="19326"/>
                  <a:pt x="12996" y="19051"/>
                  <a:pt x="13742" y="18504"/>
                </a:cubicBezTo>
                <a:cubicBezTo>
                  <a:pt x="14687" y="17816"/>
                  <a:pt x="15490" y="16693"/>
                  <a:pt x="16124" y="15162"/>
                </a:cubicBezTo>
                <a:cubicBezTo>
                  <a:pt x="16686" y="13812"/>
                  <a:pt x="17121" y="12139"/>
                  <a:pt x="17417" y="10195"/>
                </a:cubicBezTo>
                <a:cubicBezTo>
                  <a:pt x="17830" y="7465"/>
                  <a:pt x="16007" y="4893"/>
                  <a:pt x="13343" y="4464"/>
                </a:cubicBezTo>
                <a:cubicBezTo>
                  <a:pt x="13086" y="4421"/>
                  <a:pt x="12827" y="4400"/>
                  <a:pt x="12570" y="4400"/>
                </a:cubicBezTo>
                <a:cubicBezTo>
                  <a:pt x="11637" y="4400"/>
                  <a:pt x="10720" y="4675"/>
                  <a:pt x="9934" y="5201"/>
                </a:cubicBezTo>
                <a:cubicBezTo>
                  <a:pt x="10233" y="4524"/>
                  <a:pt x="10710" y="3917"/>
                  <a:pt x="11360" y="3380"/>
                </a:cubicBezTo>
                <a:cubicBezTo>
                  <a:pt x="11807" y="3005"/>
                  <a:pt x="12305" y="2698"/>
                  <a:pt x="12842" y="2465"/>
                </a:cubicBezTo>
                <a:cubicBezTo>
                  <a:pt x="13132" y="2350"/>
                  <a:pt x="13277" y="2024"/>
                  <a:pt x="13165" y="1731"/>
                </a:cubicBezTo>
                <a:cubicBezTo>
                  <a:pt x="13080" y="1507"/>
                  <a:pt x="12866" y="1369"/>
                  <a:pt x="12640" y="1369"/>
                </a:cubicBezTo>
                <a:cubicBezTo>
                  <a:pt x="12572" y="1369"/>
                  <a:pt x="12502" y="1382"/>
                  <a:pt x="12435" y="1408"/>
                </a:cubicBezTo>
                <a:cubicBezTo>
                  <a:pt x="12398" y="1420"/>
                  <a:pt x="11565" y="1746"/>
                  <a:pt x="10668" y="2480"/>
                </a:cubicBezTo>
                <a:cubicBezTo>
                  <a:pt x="10345" y="2743"/>
                  <a:pt x="10046" y="3039"/>
                  <a:pt x="9777" y="3356"/>
                </a:cubicBezTo>
                <a:cubicBezTo>
                  <a:pt x="9732" y="3135"/>
                  <a:pt x="9669" y="2915"/>
                  <a:pt x="9590" y="2704"/>
                </a:cubicBezTo>
                <a:cubicBezTo>
                  <a:pt x="8920" y="958"/>
                  <a:pt x="7078" y="89"/>
                  <a:pt x="7000" y="52"/>
                </a:cubicBezTo>
                <a:cubicBezTo>
                  <a:pt x="6922" y="17"/>
                  <a:pt x="6842" y="0"/>
                  <a:pt x="67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49" name="Google Shape;9149;p75"/>
          <p:cNvGrpSpPr/>
          <p:nvPr/>
        </p:nvGrpSpPr>
        <p:grpSpPr>
          <a:xfrm>
            <a:off x="7570338" y="3127378"/>
            <a:ext cx="331033" cy="337616"/>
            <a:chOff x="4467450" y="3808475"/>
            <a:chExt cx="470150" cy="479500"/>
          </a:xfrm>
        </p:grpSpPr>
        <p:sp>
          <p:nvSpPr>
            <p:cNvPr id="9150" name="Google Shape;9150;p75"/>
            <p:cNvSpPr/>
            <p:nvPr/>
          </p:nvSpPr>
          <p:spPr>
            <a:xfrm>
              <a:off x="4729325" y="3808475"/>
              <a:ext cx="56625" cy="138200"/>
            </a:xfrm>
            <a:custGeom>
              <a:avLst/>
              <a:gdLst/>
              <a:ahLst/>
              <a:cxnLst/>
              <a:rect l="l" t="t" r="r" b="b"/>
              <a:pathLst>
                <a:path w="2265"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7" y="5341"/>
                  </a:cubicBezTo>
                  <a:cubicBezTo>
                    <a:pt x="1782" y="5103"/>
                    <a:pt x="1755" y="4735"/>
                    <a:pt x="1510" y="4529"/>
                  </a:cubicBezTo>
                  <a:cubicBezTo>
                    <a:pt x="1432" y="4457"/>
                    <a:pt x="1133" y="4128"/>
                    <a:pt x="1133" y="3820"/>
                  </a:cubicBezTo>
                  <a:cubicBezTo>
                    <a:pt x="1133" y="3521"/>
                    <a:pt x="1413"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1" name="Google Shape;9151;p75"/>
            <p:cNvSpPr/>
            <p:nvPr/>
          </p:nvSpPr>
          <p:spPr>
            <a:xfrm>
              <a:off x="4644400"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2" name="Google Shape;9152;p75"/>
            <p:cNvSpPr/>
            <p:nvPr/>
          </p:nvSpPr>
          <p:spPr>
            <a:xfrm>
              <a:off x="4559475"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1" y="2965"/>
                    <a:pt x="1" y="3820"/>
                  </a:cubicBezTo>
                  <a:cubicBezTo>
                    <a:pt x="1" y="4671"/>
                    <a:pt x="677" y="5302"/>
                    <a:pt x="755" y="5372"/>
                  </a:cubicBezTo>
                  <a:cubicBezTo>
                    <a:pt x="866" y="5476"/>
                    <a:pt x="1007" y="5528"/>
                    <a:pt x="1148" y="5528"/>
                  </a:cubicBezTo>
                  <a:cubicBezTo>
                    <a:pt x="1303"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3" name="Google Shape;9153;p75"/>
            <p:cNvSpPr/>
            <p:nvPr/>
          </p:nvSpPr>
          <p:spPr>
            <a:xfrm>
              <a:off x="4467450" y="3975675"/>
              <a:ext cx="470150" cy="312300"/>
            </a:xfrm>
            <a:custGeom>
              <a:avLst/>
              <a:gdLst/>
              <a:ahLst/>
              <a:cxnLst/>
              <a:rect l="l" t="t" r="r" b="b"/>
              <a:pathLst>
                <a:path w="18806" h="12492" extrusionOk="0">
                  <a:moveTo>
                    <a:pt x="16340" y="2263"/>
                  </a:moveTo>
                  <a:cubicBezTo>
                    <a:pt x="16709" y="2263"/>
                    <a:pt x="17020" y="2371"/>
                    <a:pt x="17233" y="2582"/>
                  </a:cubicBezTo>
                  <a:cubicBezTo>
                    <a:pt x="17622" y="2974"/>
                    <a:pt x="17571" y="3581"/>
                    <a:pt x="17505" y="3907"/>
                  </a:cubicBezTo>
                  <a:cubicBezTo>
                    <a:pt x="17375" y="4553"/>
                    <a:pt x="16994" y="5221"/>
                    <a:pt x="16430" y="5785"/>
                  </a:cubicBezTo>
                  <a:cubicBezTo>
                    <a:pt x="15793" y="6426"/>
                    <a:pt x="15014" y="6824"/>
                    <a:pt x="14337" y="6897"/>
                  </a:cubicBezTo>
                  <a:cubicBezTo>
                    <a:pt x="15056" y="5562"/>
                    <a:pt x="15539" y="4007"/>
                    <a:pt x="15744" y="2346"/>
                  </a:cubicBezTo>
                  <a:cubicBezTo>
                    <a:pt x="15954" y="2291"/>
                    <a:pt x="16154" y="2263"/>
                    <a:pt x="16340" y="2263"/>
                  </a:cubicBezTo>
                  <a:close/>
                  <a:moveTo>
                    <a:pt x="14709" y="1132"/>
                  </a:moveTo>
                  <a:cubicBezTo>
                    <a:pt x="14618" y="3340"/>
                    <a:pt x="13999" y="5390"/>
                    <a:pt x="12978" y="6987"/>
                  </a:cubicBezTo>
                  <a:cubicBezTo>
                    <a:pt x="12948" y="7023"/>
                    <a:pt x="12921" y="7066"/>
                    <a:pt x="12900" y="7108"/>
                  </a:cubicBezTo>
                  <a:cubicBezTo>
                    <a:pt x="12390" y="7881"/>
                    <a:pt x="11786" y="8542"/>
                    <a:pt x="11103" y="9059"/>
                  </a:cubicBezTo>
                  <a:lnTo>
                    <a:pt x="4750" y="9059"/>
                  </a:lnTo>
                  <a:cubicBezTo>
                    <a:pt x="2634" y="7461"/>
                    <a:pt x="1281" y="4478"/>
                    <a:pt x="1145" y="1132"/>
                  </a:cubicBezTo>
                  <a:close/>
                  <a:moveTo>
                    <a:pt x="13247" y="10191"/>
                  </a:moveTo>
                  <a:lnTo>
                    <a:pt x="12827" y="11048"/>
                  </a:lnTo>
                  <a:cubicBezTo>
                    <a:pt x="12731" y="11239"/>
                    <a:pt x="12538" y="11359"/>
                    <a:pt x="12326" y="11359"/>
                  </a:cubicBezTo>
                  <a:lnTo>
                    <a:pt x="3531" y="11359"/>
                  </a:lnTo>
                  <a:cubicBezTo>
                    <a:pt x="3316" y="11359"/>
                    <a:pt x="3120" y="11239"/>
                    <a:pt x="3026" y="11048"/>
                  </a:cubicBezTo>
                  <a:lnTo>
                    <a:pt x="2607" y="10191"/>
                  </a:lnTo>
                  <a:close/>
                  <a:moveTo>
                    <a:pt x="569" y="0"/>
                  </a:moveTo>
                  <a:cubicBezTo>
                    <a:pt x="255" y="0"/>
                    <a:pt x="1" y="254"/>
                    <a:pt x="1" y="565"/>
                  </a:cubicBezTo>
                  <a:cubicBezTo>
                    <a:pt x="1" y="3931"/>
                    <a:pt x="1145" y="7045"/>
                    <a:pt x="3060" y="9059"/>
                  </a:cubicBezTo>
                  <a:lnTo>
                    <a:pt x="569" y="9059"/>
                  </a:lnTo>
                  <a:cubicBezTo>
                    <a:pt x="255" y="9059"/>
                    <a:pt x="1" y="9312"/>
                    <a:pt x="1" y="9623"/>
                  </a:cubicBezTo>
                  <a:cubicBezTo>
                    <a:pt x="1" y="9937"/>
                    <a:pt x="255" y="10191"/>
                    <a:pt x="569" y="10191"/>
                  </a:cubicBezTo>
                  <a:lnTo>
                    <a:pt x="1348" y="10191"/>
                  </a:lnTo>
                  <a:lnTo>
                    <a:pt x="2012" y="11550"/>
                  </a:lnTo>
                  <a:lnTo>
                    <a:pt x="2012" y="11556"/>
                  </a:lnTo>
                  <a:cubicBezTo>
                    <a:pt x="2298" y="12127"/>
                    <a:pt x="2883" y="12492"/>
                    <a:pt x="3523" y="12492"/>
                  </a:cubicBezTo>
                  <a:cubicBezTo>
                    <a:pt x="3525" y="12492"/>
                    <a:pt x="3528" y="12492"/>
                    <a:pt x="3531" y="12492"/>
                  </a:cubicBezTo>
                  <a:lnTo>
                    <a:pt x="12326" y="12492"/>
                  </a:lnTo>
                  <a:cubicBezTo>
                    <a:pt x="12329" y="12492"/>
                    <a:pt x="12332" y="12492"/>
                    <a:pt x="12334" y="12492"/>
                  </a:cubicBezTo>
                  <a:cubicBezTo>
                    <a:pt x="12974" y="12492"/>
                    <a:pt x="13559" y="12127"/>
                    <a:pt x="13845" y="11553"/>
                  </a:cubicBezTo>
                  <a:lnTo>
                    <a:pt x="13845" y="11550"/>
                  </a:lnTo>
                  <a:lnTo>
                    <a:pt x="14509" y="10191"/>
                  </a:lnTo>
                  <a:lnTo>
                    <a:pt x="15288" y="10191"/>
                  </a:lnTo>
                  <a:cubicBezTo>
                    <a:pt x="15602" y="10191"/>
                    <a:pt x="15856" y="9937"/>
                    <a:pt x="15856" y="9623"/>
                  </a:cubicBezTo>
                  <a:cubicBezTo>
                    <a:pt x="15856" y="9309"/>
                    <a:pt x="15602" y="9059"/>
                    <a:pt x="15288" y="9059"/>
                  </a:cubicBezTo>
                  <a:lnTo>
                    <a:pt x="12797" y="9059"/>
                  </a:lnTo>
                  <a:cubicBezTo>
                    <a:pt x="13111" y="8726"/>
                    <a:pt x="13401" y="8373"/>
                    <a:pt x="13664" y="8002"/>
                  </a:cubicBezTo>
                  <a:cubicBezTo>
                    <a:pt x="13812" y="8026"/>
                    <a:pt x="13963" y="8038"/>
                    <a:pt x="14114" y="8038"/>
                  </a:cubicBezTo>
                  <a:cubicBezTo>
                    <a:pt x="15143" y="8038"/>
                    <a:pt x="16303" y="7516"/>
                    <a:pt x="17233" y="6589"/>
                  </a:cubicBezTo>
                  <a:cubicBezTo>
                    <a:pt x="17951" y="5867"/>
                    <a:pt x="18444" y="4994"/>
                    <a:pt x="18619" y="4131"/>
                  </a:cubicBezTo>
                  <a:cubicBezTo>
                    <a:pt x="18806" y="3183"/>
                    <a:pt x="18601" y="2349"/>
                    <a:pt x="18033" y="1785"/>
                  </a:cubicBezTo>
                  <a:cubicBezTo>
                    <a:pt x="17604" y="1353"/>
                    <a:pt x="17013" y="1132"/>
                    <a:pt x="16345" y="1132"/>
                  </a:cubicBezTo>
                  <a:cubicBezTo>
                    <a:pt x="16181" y="1132"/>
                    <a:pt x="16013" y="1145"/>
                    <a:pt x="15841" y="1172"/>
                  </a:cubicBezTo>
                  <a:cubicBezTo>
                    <a:pt x="15850" y="972"/>
                    <a:pt x="15853" y="770"/>
                    <a:pt x="15853" y="565"/>
                  </a:cubicBezTo>
                  <a:cubicBezTo>
                    <a:pt x="15853" y="254"/>
                    <a:pt x="15599" y="0"/>
                    <a:pt x="15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54" name="Google Shape;9154;p75"/>
          <p:cNvGrpSpPr/>
          <p:nvPr/>
        </p:nvGrpSpPr>
        <p:grpSpPr>
          <a:xfrm>
            <a:off x="7990685" y="3126102"/>
            <a:ext cx="340186" cy="340168"/>
            <a:chOff x="5053900" y="3804850"/>
            <a:chExt cx="483150" cy="483125"/>
          </a:xfrm>
        </p:grpSpPr>
        <p:sp>
          <p:nvSpPr>
            <p:cNvPr id="9155" name="Google Shape;9155;p75"/>
            <p:cNvSpPr/>
            <p:nvPr/>
          </p:nvSpPr>
          <p:spPr>
            <a:xfrm>
              <a:off x="5053900" y="3804850"/>
              <a:ext cx="483150" cy="483125"/>
            </a:xfrm>
            <a:custGeom>
              <a:avLst/>
              <a:gdLst/>
              <a:ahLst/>
              <a:cxnLst/>
              <a:rect l="l" t="t" r="r" b="b"/>
              <a:pathLst>
                <a:path w="19326" h="19325" extrusionOk="0">
                  <a:moveTo>
                    <a:pt x="9663" y="1132"/>
                  </a:moveTo>
                  <a:cubicBezTo>
                    <a:pt x="14367" y="1132"/>
                    <a:pt x="18193" y="4958"/>
                    <a:pt x="18193" y="9662"/>
                  </a:cubicBezTo>
                  <a:cubicBezTo>
                    <a:pt x="18193" y="14367"/>
                    <a:pt x="14367" y="18192"/>
                    <a:pt x="9663" y="18192"/>
                  </a:cubicBezTo>
                  <a:cubicBezTo>
                    <a:pt x="4959" y="18192"/>
                    <a:pt x="1133" y="14367"/>
                    <a:pt x="1133" y="9662"/>
                  </a:cubicBezTo>
                  <a:cubicBezTo>
                    <a:pt x="1133" y="4958"/>
                    <a:pt x="4959" y="1132"/>
                    <a:pt x="9663" y="1132"/>
                  </a:cubicBezTo>
                  <a:close/>
                  <a:moveTo>
                    <a:pt x="9663" y="0"/>
                  </a:moveTo>
                  <a:cubicBezTo>
                    <a:pt x="7094" y="0"/>
                    <a:pt x="4669" y="1009"/>
                    <a:pt x="2839" y="2838"/>
                  </a:cubicBezTo>
                  <a:cubicBezTo>
                    <a:pt x="1009" y="4668"/>
                    <a:pt x="1" y="7093"/>
                    <a:pt x="1" y="9662"/>
                  </a:cubicBezTo>
                  <a:cubicBezTo>
                    <a:pt x="1" y="12232"/>
                    <a:pt x="1009" y="14657"/>
                    <a:pt x="2839" y="16486"/>
                  </a:cubicBezTo>
                  <a:cubicBezTo>
                    <a:pt x="4669" y="18316"/>
                    <a:pt x="7094" y="19325"/>
                    <a:pt x="9663" y="19325"/>
                  </a:cubicBezTo>
                  <a:cubicBezTo>
                    <a:pt x="12233" y="19325"/>
                    <a:pt x="14657" y="18316"/>
                    <a:pt x="16487" y="16486"/>
                  </a:cubicBezTo>
                  <a:cubicBezTo>
                    <a:pt x="18317" y="14657"/>
                    <a:pt x="19325" y="12232"/>
                    <a:pt x="19325" y="9662"/>
                  </a:cubicBezTo>
                  <a:cubicBezTo>
                    <a:pt x="19325" y="7093"/>
                    <a:pt x="18317" y="4668"/>
                    <a:pt x="16487" y="2838"/>
                  </a:cubicBezTo>
                  <a:cubicBezTo>
                    <a:pt x="14657" y="1009"/>
                    <a:pt x="12233" y="0"/>
                    <a:pt x="9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6" name="Google Shape;9156;p75"/>
            <p:cNvSpPr/>
            <p:nvPr/>
          </p:nvSpPr>
          <p:spPr>
            <a:xfrm>
              <a:off x="516812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7" name="Google Shape;9157;p75"/>
            <p:cNvSpPr/>
            <p:nvPr/>
          </p:nvSpPr>
          <p:spPr>
            <a:xfrm>
              <a:off x="5334575" y="3947350"/>
              <a:ext cx="88325" cy="84950"/>
            </a:xfrm>
            <a:custGeom>
              <a:avLst/>
              <a:gdLst/>
              <a:ahLst/>
              <a:cxnLst/>
              <a:rect l="l" t="t" r="r" b="b"/>
              <a:pathLst>
                <a:path w="3533" h="3398" extrusionOk="0">
                  <a:moveTo>
                    <a:pt x="1829" y="1130"/>
                  </a:moveTo>
                  <a:cubicBezTo>
                    <a:pt x="2121" y="1130"/>
                    <a:pt x="2401" y="1356"/>
                    <a:pt x="2401" y="1698"/>
                  </a:cubicBezTo>
                  <a:cubicBezTo>
                    <a:pt x="2401" y="2012"/>
                    <a:pt x="2147" y="2265"/>
                    <a:pt x="1833" y="2265"/>
                  </a:cubicBezTo>
                  <a:cubicBezTo>
                    <a:pt x="1329" y="2265"/>
                    <a:pt x="1075" y="1656"/>
                    <a:pt x="1431" y="1296"/>
                  </a:cubicBezTo>
                  <a:cubicBezTo>
                    <a:pt x="1547" y="1181"/>
                    <a:pt x="1690" y="1130"/>
                    <a:pt x="1829" y="1130"/>
                  </a:cubicBezTo>
                  <a:close/>
                  <a:moveTo>
                    <a:pt x="1833" y="1"/>
                  </a:moveTo>
                  <a:cubicBezTo>
                    <a:pt x="1145" y="1"/>
                    <a:pt x="526" y="415"/>
                    <a:pt x="263" y="1049"/>
                  </a:cubicBezTo>
                  <a:cubicBezTo>
                    <a:pt x="0" y="1683"/>
                    <a:pt x="145" y="2413"/>
                    <a:pt x="631" y="2900"/>
                  </a:cubicBezTo>
                  <a:cubicBezTo>
                    <a:pt x="956" y="3225"/>
                    <a:pt x="1391" y="3397"/>
                    <a:pt x="1833" y="3397"/>
                  </a:cubicBezTo>
                  <a:cubicBezTo>
                    <a:pt x="2052" y="3397"/>
                    <a:pt x="2272" y="3355"/>
                    <a:pt x="2482" y="3268"/>
                  </a:cubicBezTo>
                  <a:cubicBezTo>
                    <a:pt x="3116" y="3005"/>
                    <a:pt x="3533" y="2386"/>
                    <a:pt x="3533" y="1698"/>
                  </a:cubicBezTo>
                  <a:cubicBezTo>
                    <a:pt x="3530" y="759"/>
                    <a:pt x="2772" y="1"/>
                    <a:pt x="18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58" name="Google Shape;9158;p75"/>
            <p:cNvSpPr/>
            <p:nvPr/>
          </p:nvSpPr>
          <p:spPr>
            <a:xfrm>
              <a:off x="5170150" y="4060600"/>
              <a:ext cx="250650" cy="113225"/>
            </a:xfrm>
            <a:custGeom>
              <a:avLst/>
              <a:gdLst/>
              <a:ahLst/>
              <a:cxnLst/>
              <a:rect l="l" t="t" r="r" b="b"/>
              <a:pathLst>
                <a:path w="10026" h="4529" extrusionOk="0">
                  <a:moveTo>
                    <a:pt x="5006" y="0"/>
                  </a:moveTo>
                  <a:cubicBezTo>
                    <a:pt x="2684" y="0"/>
                    <a:pt x="659" y="1572"/>
                    <a:pt x="79" y="3820"/>
                  </a:cubicBezTo>
                  <a:cubicBezTo>
                    <a:pt x="1" y="4125"/>
                    <a:pt x="182" y="4433"/>
                    <a:pt x="487" y="4511"/>
                  </a:cubicBezTo>
                  <a:cubicBezTo>
                    <a:pt x="533" y="4523"/>
                    <a:pt x="580" y="4528"/>
                    <a:pt x="625" y="4528"/>
                  </a:cubicBezTo>
                  <a:cubicBezTo>
                    <a:pt x="878" y="4528"/>
                    <a:pt x="1109" y="4359"/>
                    <a:pt x="1175" y="4103"/>
                  </a:cubicBezTo>
                  <a:cubicBezTo>
                    <a:pt x="1625" y="2352"/>
                    <a:pt x="3205" y="1126"/>
                    <a:pt x="5013" y="1126"/>
                  </a:cubicBezTo>
                  <a:cubicBezTo>
                    <a:pt x="6822" y="1126"/>
                    <a:pt x="8401" y="2352"/>
                    <a:pt x="8851" y="4103"/>
                  </a:cubicBezTo>
                  <a:cubicBezTo>
                    <a:pt x="8917" y="4359"/>
                    <a:pt x="9148" y="4528"/>
                    <a:pt x="9401" y="4528"/>
                  </a:cubicBezTo>
                  <a:cubicBezTo>
                    <a:pt x="9447" y="4528"/>
                    <a:pt x="9493" y="4523"/>
                    <a:pt x="9539" y="4511"/>
                  </a:cubicBezTo>
                  <a:cubicBezTo>
                    <a:pt x="9844" y="4433"/>
                    <a:pt x="10025" y="4125"/>
                    <a:pt x="9947" y="3820"/>
                  </a:cubicBezTo>
                  <a:cubicBezTo>
                    <a:pt x="9368" y="1572"/>
                    <a:pt x="7342" y="0"/>
                    <a:pt x="5020" y="0"/>
                  </a:cubicBezTo>
                  <a:cubicBezTo>
                    <a:pt x="5018" y="0"/>
                    <a:pt x="5015" y="0"/>
                    <a:pt x="5013" y="0"/>
                  </a:cubicBezTo>
                  <a:cubicBezTo>
                    <a:pt x="5011" y="0"/>
                    <a:pt x="5009" y="0"/>
                    <a:pt x="50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59" name="Google Shape;9159;p75"/>
          <p:cNvGrpSpPr/>
          <p:nvPr/>
        </p:nvGrpSpPr>
        <p:grpSpPr>
          <a:xfrm>
            <a:off x="7306081" y="3956021"/>
            <a:ext cx="340168" cy="340168"/>
            <a:chOff x="5648375" y="3804850"/>
            <a:chExt cx="483125" cy="483125"/>
          </a:xfrm>
        </p:grpSpPr>
        <p:sp>
          <p:nvSpPr>
            <p:cNvPr id="9160" name="Google Shape;9160;p75"/>
            <p:cNvSpPr/>
            <p:nvPr/>
          </p:nvSpPr>
          <p:spPr>
            <a:xfrm>
              <a:off x="5648375" y="3804850"/>
              <a:ext cx="483125" cy="483125"/>
            </a:xfrm>
            <a:custGeom>
              <a:avLst/>
              <a:gdLst/>
              <a:ahLst/>
              <a:cxnLst/>
              <a:rect l="l" t="t" r="r" b="b"/>
              <a:pathLst>
                <a:path w="19325" h="19325" extrusionOk="0">
                  <a:moveTo>
                    <a:pt x="9662" y="1132"/>
                  </a:moveTo>
                  <a:cubicBezTo>
                    <a:pt x="14367" y="1132"/>
                    <a:pt x="18192" y="4958"/>
                    <a:pt x="18192" y="9662"/>
                  </a:cubicBezTo>
                  <a:cubicBezTo>
                    <a:pt x="18192" y="14367"/>
                    <a:pt x="14367" y="18192"/>
                    <a:pt x="9662" y="18192"/>
                  </a:cubicBezTo>
                  <a:cubicBezTo>
                    <a:pt x="4958" y="18192"/>
                    <a:pt x="1132" y="14367"/>
                    <a:pt x="1132" y="9662"/>
                  </a:cubicBezTo>
                  <a:cubicBezTo>
                    <a:pt x="1132" y="4958"/>
                    <a:pt x="4958" y="1132"/>
                    <a:pt x="9662" y="1132"/>
                  </a:cubicBezTo>
                  <a:close/>
                  <a:moveTo>
                    <a:pt x="9662" y="0"/>
                  </a:moveTo>
                  <a:cubicBezTo>
                    <a:pt x="7093" y="0"/>
                    <a:pt x="4668" y="1009"/>
                    <a:pt x="2838" y="2838"/>
                  </a:cubicBezTo>
                  <a:cubicBezTo>
                    <a:pt x="1009" y="4668"/>
                    <a:pt x="0" y="7093"/>
                    <a:pt x="0" y="9662"/>
                  </a:cubicBezTo>
                  <a:cubicBezTo>
                    <a:pt x="0" y="12232"/>
                    <a:pt x="1009" y="14657"/>
                    <a:pt x="2838" y="16486"/>
                  </a:cubicBezTo>
                  <a:cubicBezTo>
                    <a:pt x="4668" y="18316"/>
                    <a:pt x="7093" y="19325"/>
                    <a:pt x="9662" y="19325"/>
                  </a:cubicBezTo>
                  <a:cubicBezTo>
                    <a:pt x="12232" y="19325"/>
                    <a:pt x="14656" y="18316"/>
                    <a:pt x="16486" y="16486"/>
                  </a:cubicBezTo>
                  <a:cubicBezTo>
                    <a:pt x="18316" y="14657"/>
                    <a:pt x="19325" y="12232"/>
                    <a:pt x="19325" y="9662"/>
                  </a:cubicBezTo>
                  <a:cubicBezTo>
                    <a:pt x="19325" y="7093"/>
                    <a:pt x="18316" y="4668"/>
                    <a:pt x="16486" y="2838"/>
                  </a:cubicBezTo>
                  <a:cubicBezTo>
                    <a:pt x="14656" y="1009"/>
                    <a:pt x="12232" y="0"/>
                    <a:pt x="9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1" name="Google Shape;9161;p75"/>
            <p:cNvSpPr/>
            <p:nvPr/>
          </p:nvSpPr>
          <p:spPr>
            <a:xfrm>
              <a:off x="576257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2" name="Google Shape;9162;p75"/>
            <p:cNvSpPr/>
            <p:nvPr/>
          </p:nvSpPr>
          <p:spPr>
            <a:xfrm>
              <a:off x="5932425" y="3947300"/>
              <a:ext cx="88250" cy="85000"/>
            </a:xfrm>
            <a:custGeom>
              <a:avLst/>
              <a:gdLst/>
              <a:ahLst/>
              <a:cxnLst/>
              <a:rect l="l" t="t" r="r" b="b"/>
              <a:pathLst>
                <a:path w="3530"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3" name="Google Shape;9163;p75"/>
            <p:cNvSpPr/>
            <p:nvPr/>
          </p:nvSpPr>
          <p:spPr>
            <a:xfrm>
              <a:off x="5762575" y="4060600"/>
              <a:ext cx="254800" cy="141550"/>
            </a:xfrm>
            <a:custGeom>
              <a:avLst/>
              <a:gdLst/>
              <a:ahLst/>
              <a:cxnLst/>
              <a:rect l="l" t="t" r="r" b="b"/>
              <a:pathLst>
                <a:path w="10192" h="5662" extrusionOk="0">
                  <a:moveTo>
                    <a:pt x="9017" y="1132"/>
                  </a:moveTo>
                  <a:cubicBezTo>
                    <a:pt x="8736" y="3083"/>
                    <a:pt x="7066" y="4529"/>
                    <a:pt x="5094" y="4529"/>
                  </a:cubicBezTo>
                  <a:cubicBezTo>
                    <a:pt x="3123" y="4529"/>
                    <a:pt x="1453" y="3083"/>
                    <a:pt x="1172" y="1132"/>
                  </a:cubicBezTo>
                  <a:close/>
                  <a:moveTo>
                    <a:pt x="565" y="0"/>
                  </a:moveTo>
                  <a:cubicBezTo>
                    <a:pt x="251" y="0"/>
                    <a:pt x="1" y="251"/>
                    <a:pt x="1" y="565"/>
                  </a:cubicBezTo>
                  <a:cubicBezTo>
                    <a:pt x="1" y="3373"/>
                    <a:pt x="2286" y="5662"/>
                    <a:pt x="5094" y="5662"/>
                  </a:cubicBezTo>
                  <a:cubicBezTo>
                    <a:pt x="7905" y="5662"/>
                    <a:pt x="10191" y="3373"/>
                    <a:pt x="10191" y="565"/>
                  </a:cubicBezTo>
                  <a:cubicBezTo>
                    <a:pt x="10191" y="251"/>
                    <a:pt x="9938" y="0"/>
                    <a:pt x="96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64" name="Google Shape;9164;p75"/>
          <p:cNvGrpSpPr/>
          <p:nvPr/>
        </p:nvGrpSpPr>
        <p:grpSpPr>
          <a:xfrm>
            <a:off x="5596036" y="3968278"/>
            <a:ext cx="280923" cy="315449"/>
            <a:chOff x="6276025" y="3812400"/>
            <a:chExt cx="416800" cy="468025"/>
          </a:xfrm>
        </p:grpSpPr>
        <p:sp>
          <p:nvSpPr>
            <p:cNvPr id="9165" name="Google Shape;9165;p75"/>
            <p:cNvSpPr/>
            <p:nvPr/>
          </p:nvSpPr>
          <p:spPr>
            <a:xfrm>
              <a:off x="6276025" y="3812400"/>
              <a:ext cx="416800" cy="468025"/>
            </a:xfrm>
            <a:custGeom>
              <a:avLst/>
              <a:gdLst/>
              <a:ahLst/>
              <a:cxnLst/>
              <a:rect l="l" t="t" r="r" b="b"/>
              <a:pathLst>
                <a:path w="16672" h="18721" extrusionOk="0">
                  <a:moveTo>
                    <a:pt x="8334" y="1132"/>
                  </a:moveTo>
                  <a:cubicBezTo>
                    <a:pt x="12311" y="1132"/>
                    <a:pt x="15536" y="4354"/>
                    <a:pt x="15536" y="8334"/>
                  </a:cubicBezTo>
                  <a:lnTo>
                    <a:pt x="15536" y="8346"/>
                  </a:lnTo>
                  <a:lnTo>
                    <a:pt x="15536" y="11652"/>
                  </a:lnTo>
                  <a:cubicBezTo>
                    <a:pt x="15536" y="12332"/>
                    <a:pt x="15240" y="12981"/>
                    <a:pt x="14724" y="13425"/>
                  </a:cubicBezTo>
                  <a:lnTo>
                    <a:pt x="12849" y="15034"/>
                  </a:lnTo>
                  <a:cubicBezTo>
                    <a:pt x="12725" y="15143"/>
                    <a:pt x="12652" y="15300"/>
                    <a:pt x="12652" y="15466"/>
                  </a:cubicBezTo>
                  <a:lnTo>
                    <a:pt x="12652" y="17588"/>
                  </a:lnTo>
                  <a:lnTo>
                    <a:pt x="11197" y="17588"/>
                  </a:lnTo>
                  <a:lnTo>
                    <a:pt x="11197" y="16254"/>
                  </a:lnTo>
                  <a:cubicBezTo>
                    <a:pt x="11197" y="15943"/>
                    <a:pt x="10943" y="15689"/>
                    <a:pt x="10629" y="15689"/>
                  </a:cubicBezTo>
                  <a:cubicBezTo>
                    <a:pt x="10318" y="15689"/>
                    <a:pt x="10065" y="15943"/>
                    <a:pt x="10065" y="16254"/>
                  </a:cubicBezTo>
                  <a:lnTo>
                    <a:pt x="10065" y="17588"/>
                  </a:lnTo>
                  <a:lnTo>
                    <a:pt x="8902" y="17588"/>
                  </a:lnTo>
                  <a:lnTo>
                    <a:pt x="8902" y="16254"/>
                  </a:lnTo>
                  <a:cubicBezTo>
                    <a:pt x="8902" y="15943"/>
                    <a:pt x="8648" y="15689"/>
                    <a:pt x="8334" y="15689"/>
                  </a:cubicBezTo>
                  <a:cubicBezTo>
                    <a:pt x="8020" y="15689"/>
                    <a:pt x="7770" y="15943"/>
                    <a:pt x="7770" y="16254"/>
                  </a:cubicBezTo>
                  <a:lnTo>
                    <a:pt x="7770" y="17588"/>
                  </a:lnTo>
                  <a:lnTo>
                    <a:pt x="6604" y="17588"/>
                  </a:lnTo>
                  <a:lnTo>
                    <a:pt x="6604" y="16254"/>
                  </a:lnTo>
                  <a:cubicBezTo>
                    <a:pt x="6604" y="15943"/>
                    <a:pt x="6351" y="15689"/>
                    <a:pt x="6040" y="15689"/>
                  </a:cubicBezTo>
                  <a:cubicBezTo>
                    <a:pt x="5726" y="15689"/>
                    <a:pt x="5472" y="15943"/>
                    <a:pt x="5472" y="16254"/>
                  </a:cubicBezTo>
                  <a:lnTo>
                    <a:pt x="5472" y="17588"/>
                  </a:lnTo>
                  <a:lnTo>
                    <a:pt x="4017" y="17588"/>
                  </a:lnTo>
                  <a:lnTo>
                    <a:pt x="4017" y="15466"/>
                  </a:lnTo>
                  <a:cubicBezTo>
                    <a:pt x="4017" y="15300"/>
                    <a:pt x="3944" y="15143"/>
                    <a:pt x="3820" y="15037"/>
                  </a:cubicBezTo>
                  <a:lnTo>
                    <a:pt x="1945" y="13425"/>
                  </a:lnTo>
                  <a:cubicBezTo>
                    <a:pt x="1429" y="12981"/>
                    <a:pt x="1133" y="12335"/>
                    <a:pt x="1133" y="11652"/>
                  </a:cubicBezTo>
                  <a:lnTo>
                    <a:pt x="1133" y="8406"/>
                  </a:lnTo>
                  <a:cubicBezTo>
                    <a:pt x="1133" y="4396"/>
                    <a:pt x="4361" y="1132"/>
                    <a:pt x="8331" y="1132"/>
                  </a:cubicBezTo>
                  <a:close/>
                  <a:moveTo>
                    <a:pt x="8331" y="0"/>
                  </a:moveTo>
                  <a:cubicBezTo>
                    <a:pt x="3736" y="3"/>
                    <a:pt x="1" y="3774"/>
                    <a:pt x="1" y="8409"/>
                  </a:cubicBezTo>
                  <a:lnTo>
                    <a:pt x="1" y="11655"/>
                  </a:lnTo>
                  <a:cubicBezTo>
                    <a:pt x="1" y="12664"/>
                    <a:pt x="442" y="13627"/>
                    <a:pt x="1209" y="14285"/>
                  </a:cubicBezTo>
                  <a:lnTo>
                    <a:pt x="2884" y="15725"/>
                  </a:lnTo>
                  <a:lnTo>
                    <a:pt x="2884" y="18156"/>
                  </a:lnTo>
                  <a:cubicBezTo>
                    <a:pt x="2884" y="18467"/>
                    <a:pt x="3138" y="18721"/>
                    <a:pt x="3449" y="18721"/>
                  </a:cubicBezTo>
                  <a:lnTo>
                    <a:pt x="13220" y="18721"/>
                  </a:lnTo>
                  <a:cubicBezTo>
                    <a:pt x="13531" y="18721"/>
                    <a:pt x="13785" y="18467"/>
                    <a:pt x="13785" y="18156"/>
                  </a:cubicBezTo>
                  <a:lnTo>
                    <a:pt x="13785" y="15725"/>
                  </a:lnTo>
                  <a:lnTo>
                    <a:pt x="15463" y="14282"/>
                  </a:lnTo>
                  <a:cubicBezTo>
                    <a:pt x="16227" y="13624"/>
                    <a:pt x="16671" y="12664"/>
                    <a:pt x="16671" y="11652"/>
                  </a:cubicBezTo>
                  <a:lnTo>
                    <a:pt x="16671" y="8334"/>
                  </a:lnTo>
                  <a:lnTo>
                    <a:pt x="16671" y="8322"/>
                  </a:lnTo>
                  <a:cubicBezTo>
                    <a:pt x="16662" y="3723"/>
                    <a:pt x="12933" y="0"/>
                    <a:pt x="83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6" name="Google Shape;9166;p75"/>
            <p:cNvSpPr/>
            <p:nvPr/>
          </p:nvSpPr>
          <p:spPr>
            <a:xfrm>
              <a:off x="6436375" y="4078825"/>
              <a:ext cx="96025" cy="80400"/>
            </a:xfrm>
            <a:custGeom>
              <a:avLst/>
              <a:gdLst/>
              <a:ahLst/>
              <a:cxnLst/>
              <a:rect l="l" t="t" r="r" b="b"/>
              <a:pathLst>
                <a:path w="3841" h="3216" extrusionOk="0">
                  <a:moveTo>
                    <a:pt x="1922" y="1"/>
                  </a:moveTo>
                  <a:cubicBezTo>
                    <a:pt x="1736" y="1"/>
                    <a:pt x="1551" y="91"/>
                    <a:pt x="1440" y="270"/>
                  </a:cubicBezTo>
                  <a:lnTo>
                    <a:pt x="166" y="2354"/>
                  </a:lnTo>
                  <a:cubicBezTo>
                    <a:pt x="0" y="2623"/>
                    <a:pt x="85" y="2970"/>
                    <a:pt x="350" y="3133"/>
                  </a:cubicBezTo>
                  <a:cubicBezTo>
                    <a:pt x="443" y="3189"/>
                    <a:pt x="545" y="3216"/>
                    <a:pt x="646" y="3216"/>
                  </a:cubicBezTo>
                  <a:cubicBezTo>
                    <a:pt x="837" y="3216"/>
                    <a:pt x="1023" y="3120"/>
                    <a:pt x="1129" y="2946"/>
                  </a:cubicBezTo>
                  <a:lnTo>
                    <a:pt x="1923" y="1653"/>
                  </a:lnTo>
                  <a:lnTo>
                    <a:pt x="2712" y="2946"/>
                  </a:lnTo>
                  <a:cubicBezTo>
                    <a:pt x="2818" y="3120"/>
                    <a:pt x="3005" y="3216"/>
                    <a:pt x="3196" y="3216"/>
                  </a:cubicBezTo>
                  <a:cubicBezTo>
                    <a:pt x="3297" y="3216"/>
                    <a:pt x="3399" y="3189"/>
                    <a:pt x="3491" y="3133"/>
                  </a:cubicBezTo>
                  <a:cubicBezTo>
                    <a:pt x="3759" y="2970"/>
                    <a:pt x="3841" y="2623"/>
                    <a:pt x="3678" y="2354"/>
                  </a:cubicBezTo>
                  <a:lnTo>
                    <a:pt x="2407" y="270"/>
                  </a:lnTo>
                  <a:cubicBezTo>
                    <a:pt x="2295" y="91"/>
                    <a:pt x="2108" y="1"/>
                    <a:pt x="19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7" name="Google Shape;9167;p75"/>
            <p:cNvSpPr/>
            <p:nvPr/>
          </p:nvSpPr>
          <p:spPr>
            <a:xfrm>
              <a:off x="6327450" y="3974775"/>
              <a:ext cx="125550" cy="118300"/>
            </a:xfrm>
            <a:custGeom>
              <a:avLst/>
              <a:gdLst/>
              <a:ahLst/>
              <a:cxnLst/>
              <a:rect l="l" t="t" r="r" b="b"/>
              <a:pathLst>
                <a:path w="5022" h="4732" extrusionOk="0">
                  <a:moveTo>
                    <a:pt x="2505" y="1115"/>
                  </a:moveTo>
                  <a:cubicBezTo>
                    <a:pt x="2806" y="1115"/>
                    <a:pt x="3107" y="1230"/>
                    <a:pt x="3337" y="1461"/>
                  </a:cubicBezTo>
                  <a:cubicBezTo>
                    <a:pt x="3795" y="1920"/>
                    <a:pt x="3795" y="2663"/>
                    <a:pt x="3337" y="3125"/>
                  </a:cubicBezTo>
                  <a:cubicBezTo>
                    <a:pt x="3049" y="3413"/>
                    <a:pt x="2565" y="3600"/>
                    <a:pt x="2133" y="3600"/>
                  </a:cubicBezTo>
                  <a:cubicBezTo>
                    <a:pt x="1861" y="3600"/>
                    <a:pt x="1610" y="3526"/>
                    <a:pt x="1440" y="3358"/>
                  </a:cubicBezTo>
                  <a:cubicBezTo>
                    <a:pt x="1253" y="3167"/>
                    <a:pt x="1166" y="2844"/>
                    <a:pt x="1208" y="2473"/>
                  </a:cubicBezTo>
                  <a:cubicBezTo>
                    <a:pt x="1253" y="2089"/>
                    <a:pt x="1431" y="1703"/>
                    <a:pt x="1673" y="1461"/>
                  </a:cubicBezTo>
                  <a:cubicBezTo>
                    <a:pt x="1902" y="1230"/>
                    <a:pt x="2203" y="1115"/>
                    <a:pt x="2505" y="1115"/>
                  </a:cubicBezTo>
                  <a:close/>
                  <a:moveTo>
                    <a:pt x="2486" y="0"/>
                  </a:moveTo>
                  <a:cubicBezTo>
                    <a:pt x="1903" y="0"/>
                    <a:pt x="1321" y="219"/>
                    <a:pt x="873" y="658"/>
                  </a:cubicBezTo>
                  <a:cubicBezTo>
                    <a:pt x="444" y="1084"/>
                    <a:pt x="157" y="1697"/>
                    <a:pt x="85" y="2340"/>
                  </a:cubicBezTo>
                  <a:cubicBezTo>
                    <a:pt x="0" y="3059"/>
                    <a:pt x="202" y="3717"/>
                    <a:pt x="640" y="4155"/>
                  </a:cubicBezTo>
                  <a:cubicBezTo>
                    <a:pt x="1042" y="4556"/>
                    <a:pt x="1582" y="4731"/>
                    <a:pt x="2138" y="4731"/>
                  </a:cubicBezTo>
                  <a:cubicBezTo>
                    <a:pt x="2141" y="4731"/>
                    <a:pt x="2145" y="4731"/>
                    <a:pt x="2149" y="4731"/>
                  </a:cubicBezTo>
                  <a:cubicBezTo>
                    <a:pt x="2882" y="4731"/>
                    <a:pt x="3638" y="4424"/>
                    <a:pt x="4137" y="3922"/>
                  </a:cubicBezTo>
                  <a:cubicBezTo>
                    <a:pt x="5021" y="3016"/>
                    <a:pt x="5012" y="1570"/>
                    <a:pt x="4119" y="676"/>
                  </a:cubicBezTo>
                  <a:cubicBezTo>
                    <a:pt x="3668" y="226"/>
                    <a:pt x="3077" y="0"/>
                    <a:pt x="24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68" name="Google Shape;9168;p75"/>
            <p:cNvSpPr/>
            <p:nvPr/>
          </p:nvSpPr>
          <p:spPr>
            <a:xfrm>
              <a:off x="6515325" y="3974300"/>
              <a:ext cx="126000" cy="118775"/>
            </a:xfrm>
            <a:custGeom>
              <a:avLst/>
              <a:gdLst/>
              <a:ahLst/>
              <a:cxnLst/>
              <a:rect l="l" t="t" r="r" b="b"/>
              <a:pathLst>
                <a:path w="5040" h="4751" extrusionOk="0">
                  <a:moveTo>
                    <a:pt x="2535" y="1133"/>
                  </a:moveTo>
                  <a:cubicBezTo>
                    <a:pt x="2836" y="1133"/>
                    <a:pt x="3138" y="1248"/>
                    <a:pt x="3367" y="1477"/>
                  </a:cubicBezTo>
                  <a:cubicBezTo>
                    <a:pt x="3609" y="1722"/>
                    <a:pt x="3787" y="2108"/>
                    <a:pt x="3832" y="2492"/>
                  </a:cubicBezTo>
                  <a:cubicBezTo>
                    <a:pt x="3874" y="2860"/>
                    <a:pt x="3790" y="3183"/>
                    <a:pt x="3600" y="3374"/>
                  </a:cubicBezTo>
                  <a:cubicBezTo>
                    <a:pt x="3429" y="3544"/>
                    <a:pt x="3178" y="3618"/>
                    <a:pt x="2906" y="3618"/>
                  </a:cubicBezTo>
                  <a:cubicBezTo>
                    <a:pt x="2474" y="3618"/>
                    <a:pt x="1991" y="3430"/>
                    <a:pt x="1703" y="3141"/>
                  </a:cubicBezTo>
                  <a:cubicBezTo>
                    <a:pt x="1244" y="2682"/>
                    <a:pt x="1244" y="1936"/>
                    <a:pt x="1703" y="1477"/>
                  </a:cubicBezTo>
                  <a:cubicBezTo>
                    <a:pt x="1933" y="1248"/>
                    <a:pt x="2234" y="1133"/>
                    <a:pt x="2535" y="1133"/>
                  </a:cubicBezTo>
                  <a:close/>
                  <a:moveTo>
                    <a:pt x="2535" y="0"/>
                  </a:moveTo>
                  <a:cubicBezTo>
                    <a:pt x="1944" y="0"/>
                    <a:pt x="1353" y="226"/>
                    <a:pt x="903" y="677"/>
                  </a:cubicBezTo>
                  <a:cubicBezTo>
                    <a:pt x="0" y="1580"/>
                    <a:pt x="0" y="3041"/>
                    <a:pt x="903" y="3941"/>
                  </a:cubicBezTo>
                  <a:cubicBezTo>
                    <a:pt x="1329" y="4370"/>
                    <a:pt x="1945" y="4660"/>
                    <a:pt x="2588" y="4732"/>
                  </a:cubicBezTo>
                  <a:cubicBezTo>
                    <a:pt x="2691" y="4744"/>
                    <a:pt x="2793" y="4750"/>
                    <a:pt x="2899" y="4750"/>
                  </a:cubicBezTo>
                  <a:cubicBezTo>
                    <a:pt x="3491" y="4750"/>
                    <a:pt x="4028" y="4548"/>
                    <a:pt x="4400" y="4174"/>
                  </a:cubicBezTo>
                  <a:cubicBezTo>
                    <a:pt x="4838" y="3739"/>
                    <a:pt x="5040" y="3078"/>
                    <a:pt x="4958" y="2362"/>
                  </a:cubicBezTo>
                  <a:cubicBezTo>
                    <a:pt x="4883" y="1719"/>
                    <a:pt x="4596" y="1103"/>
                    <a:pt x="4167" y="677"/>
                  </a:cubicBezTo>
                  <a:cubicBezTo>
                    <a:pt x="3717" y="226"/>
                    <a:pt x="3126" y="0"/>
                    <a:pt x="25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69" name="Google Shape;9169;p75"/>
          <p:cNvGrpSpPr/>
          <p:nvPr/>
        </p:nvGrpSpPr>
        <p:grpSpPr>
          <a:xfrm>
            <a:off x="5055293" y="3545089"/>
            <a:ext cx="342615" cy="340186"/>
            <a:chOff x="890400" y="4399350"/>
            <a:chExt cx="486600" cy="483150"/>
          </a:xfrm>
        </p:grpSpPr>
        <p:sp>
          <p:nvSpPr>
            <p:cNvPr id="9170" name="Google Shape;9170;p75"/>
            <p:cNvSpPr/>
            <p:nvPr/>
          </p:nvSpPr>
          <p:spPr>
            <a:xfrm>
              <a:off x="1125300" y="4503075"/>
              <a:ext cx="153800" cy="141650"/>
            </a:xfrm>
            <a:custGeom>
              <a:avLst/>
              <a:gdLst/>
              <a:ahLst/>
              <a:cxnLst/>
              <a:rect l="l" t="t" r="r" b="b"/>
              <a:pathLst>
                <a:path w="6152" h="5666" extrusionOk="0">
                  <a:moveTo>
                    <a:pt x="3044" y="1140"/>
                  </a:moveTo>
                  <a:cubicBezTo>
                    <a:pt x="3263" y="1140"/>
                    <a:pt x="3484" y="1182"/>
                    <a:pt x="3694" y="1269"/>
                  </a:cubicBezTo>
                  <a:cubicBezTo>
                    <a:pt x="4328" y="1532"/>
                    <a:pt x="4741" y="2151"/>
                    <a:pt x="4741" y="2836"/>
                  </a:cubicBezTo>
                  <a:cubicBezTo>
                    <a:pt x="4741" y="3525"/>
                    <a:pt x="4328" y="4144"/>
                    <a:pt x="3694" y="4406"/>
                  </a:cubicBezTo>
                  <a:cubicBezTo>
                    <a:pt x="3484" y="4493"/>
                    <a:pt x="3263" y="4536"/>
                    <a:pt x="3044" y="4536"/>
                  </a:cubicBezTo>
                  <a:cubicBezTo>
                    <a:pt x="2602" y="4536"/>
                    <a:pt x="2168" y="4363"/>
                    <a:pt x="1843" y="4038"/>
                  </a:cubicBezTo>
                  <a:cubicBezTo>
                    <a:pt x="1178" y="3377"/>
                    <a:pt x="1178" y="2299"/>
                    <a:pt x="1843" y="1638"/>
                  </a:cubicBezTo>
                  <a:cubicBezTo>
                    <a:pt x="2168" y="1312"/>
                    <a:pt x="2602" y="1140"/>
                    <a:pt x="3044" y="1140"/>
                  </a:cubicBezTo>
                  <a:close/>
                  <a:moveTo>
                    <a:pt x="3043" y="0"/>
                  </a:moveTo>
                  <a:cubicBezTo>
                    <a:pt x="2680" y="0"/>
                    <a:pt x="2313" y="70"/>
                    <a:pt x="1961" y="215"/>
                  </a:cubicBezTo>
                  <a:cubicBezTo>
                    <a:pt x="710" y="732"/>
                    <a:pt x="1" y="2060"/>
                    <a:pt x="264" y="3386"/>
                  </a:cubicBezTo>
                  <a:cubicBezTo>
                    <a:pt x="529" y="4709"/>
                    <a:pt x="1688" y="5666"/>
                    <a:pt x="3038" y="5666"/>
                  </a:cubicBezTo>
                  <a:cubicBezTo>
                    <a:pt x="3040" y="5666"/>
                    <a:pt x="3042" y="5666"/>
                    <a:pt x="3045" y="5666"/>
                  </a:cubicBezTo>
                  <a:cubicBezTo>
                    <a:pt x="3048" y="5666"/>
                    <a:pt x="3052" y="5666"/>
                    <a:pt x="3056" y="5666"/>
                  </a:cubicBezTo>
                  <a:cubicBezTo>
                    <a:pt x="3801" y="5666"/>
                    <a:pt x="4518" y="5367"/>
                    <a:pt x="5046" y="4838"/>
                  </a:cubicBezTo>
                  <a:cubicBezTo>
                    <a:pt x="6004" y="3884"/>
                    <a:pt x="6152" y="2386"/>
                    <a:pt x="5400" y="1260"/>
                  </a:cubicBezTo>
                  <a:cubicBezTo>
                    <a:pt x="4862" y="453"/>
                    <a:pt x="3967" y="0"/>
                    <a:pt x="30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71" name="Google Shape;9171;p75"/>
            <p:cNvSpPr/>
            <p:nvPr/>
          </p:nvSpPr>
          <p:spPr>
            <a:xfrm>
              <a:off x="890400" y="4399350"/>
              <a:ext cx="486600" cy="483150"/>
            </a:xfrm>
            <a:custGeom>
              <a:avLst/>
              <a:gdLst/>
              <a:ahLst/>
              <a:cxnLst/>
              <a:rect l="l" t="t" r="r" b="b"/>
              <a:pathLst>
                <a:path w="19464" h="19326" extrusionOk="0">
                  <a:moveTo>
                    <a:pt x="17908" y="1131"/>
                  </a:moveTo>
                  <a:cubicBezTo>
                    <a:pt x="18031" y="1131"/>
                    <a:pt x="18157" y="1132"/>
                    <a:pt x="18283" y="1134"/>
                  </a:cubicBezTo>
                  <a:cubicBezTo>
                    <a:pt x="18301" y="2369"/>
                    <a:pt x="18232" y="3465"/>
                    <a:pt x="18057" y="4449"/>
                  </a:cubicBezTo>
                  <a:cubicBezTo>
                    <a:pt x="16453" y="4223"/>
                    <a:pt x="15191" y="2960"/>
                    <a:pt x="14968" y="1357"/>
                  </a:cubicBezTo>
                  <a:cubicBezTo>
                    <a:pt x="15851" y="1203"/>
                    <a:pt x="16825" y="1131"/>
                    <a:pt x="17908" y="1131"/>
                  </a:cubicBezTo>
                  <a:close/>
                  <a:moveTo>
                    <a:pt x="6462" y="6683"/>
                  </a:moveTo>
                  <a:lnTo>
                    <a:pt x="6462" y="6686"/>
                  </a:lnTo>
                  <a:cubicBezTo>
                    <a:pt x="6003" y="7471"/>
                    <a:pt x="5574" y="8281"/>
                    <a:pt x="5173" y="9066"/>
                  </a:cubicBezTo>
                  <a:lnTo>
                    <a:pt x="2712" y="8839"/>
                  </a:lnTo>
                  <a:cubicBezTo>
                    <a:pt x="3545" y="7571"/>
                    <a:pt x="4952" y="6756"/>
                    <a:pt x="6462" y="6683"/>
                  </a:cubicBezTo>
                  <a:close/>
                  <a:moveTo>
                    <a:pt x="13863" y="1608"/>
                  </a:moveTo>
                  <a:cubicBezTo>
                    <a:pt x="14195" y="3637"/>
                    <a:pt x="15783" y="5225"/>
                    <a:pt x="17809" y="5557"/>
                  </a:cubicBezTo>
                  <a:cubicBezTo>
                    <a:pt x="17347" y="7209"/>
                    <a:pt x="16532" y="8534"/>
                    <a:pt x="15303" y="9718"/>
                  </a:cubicBezTo>
                  <a:cubicBezTo>
                    <a:pt x="13932" y="11043"/>
                    <a:pt x="11825" y="12218"/>
                    <a:pt x="9868" y="13221"/>
                  </a:cubicBezTo>
                  <a:lnTo>
                    <a:pt x="6196" y="9552"/>
                  </a:lnTo>
                  <a:cubicBezTo>
                    <a:pt x="7199" y="7592"/>
                    <a:pt x="8376" y="5485"/>
                    <a:pt x="9699" y="4114"/>
                  </a:cubicBezTo>
                  <a:cubicBezTo>
                    <a:pt x="10886" y="2885"/>
                    <a:pt x="12208" y="2073"/>
                    <a:pt x="13863" y="1608"/>
                  </a:cubicBezTo>
                  <a:close/>
                  <a:moveTo>
                    <a:pt x="5659" y="10612"/>
                  </a:moveTo>
                  <a:lnTo>
                    <a:pt x="8805" y="13758"/>
                  </a:lnTo>
                  <a:lnTo>
                    <a:pt x="8503" y="13909"/>
                  </a:lnTo>
                  <a:cubicBezTo>
                    <a:pt x="8237" y="14039"/>
                    <a:pt x="7984" y="14169"/>
                    <a:pt x="7736" y="14292"/>
                  </a:cubicBezTo>
                  <a:lnTo>
                    <a:pt x="5124" y="11681"/>
                  </a:lnTo>
                  <a:cubicBezTo>
                    <a:pt x="5248" y="11433"/>
                    <a:pt x="5378" y="11179"/>
                    <a:pt x="5508" y="10914"/>
                  </a:cubicBezTo>
                  <a:lnTo>
                    <a:pt x="5659" y="10612"/>
                  </a:lnTo>
                  <a:close/>
                  <a:moveTo>
                    <a:pt x="12658" y="13000"/>
                  </a:moveTo>
                  <a:lnTo>
                    <a:pt x="12658" y="13000"/>
                  </a:lnTo>
                  <a:cubicBezTo>
                    <a:pt x="12567" y="14483"/>
                    <a:pt x="11782" y="15835"/>
                    <a:pt x="10538" y="16651"/>
                  </a:cubicBezTo>
                  <a:lnTo>
                    <a:pt x="10348" y="14247"/>
                  </a:lnTo>
                  <a:cubicBezTo>
                    <a:pt x="11109" y="13858"/>
                    <a:pt x="11894" y="13441"/>
                    <a:pt x="12658" y="13000"/>
                  </a:cubicBezTo>
                  <a:close/>
                  <a:moveTo>
                    <a:pt x="4596" y="12756"/>
                  </a:moveTo>
                  <a:lnTo>
                    <a:pt x="5233" y="13393"/>
                  </a:lnTo>
                  <a:lnTo>
                    <a:pt x="4034" y="14594"/>
                  </a:lnTo>
                  <a:cubicBezTo>
                    <a:pt x="3814" y="14815"/>
                    <a:pt x="3811" y="15174"/>
                    <a:pt x="4034" y="15395"/>
                  </a:cubicBezTo>
                  <a:cubicBezTo>
                    <a:pt x="4145" y="15505"/>
                    <a:pt x="4290" y="15560"/>
                    <a:pt x="4434" y="15560"/>
                  </a:cubicBezTo>
                  <a:cubicBezTo>
                    <a:pt x="4579" y="15560"/>
                    <a:pt x="4724" y="15505"/>
                    <a:pt x="4835" y="15395"/>
                  </a:cubicBezTo>
                  <a:lnTo>
                    <a:pt x="6036" y="14193"/>
                  </a:lnTo>
                  <a:lnTo>
                    <a:pt x="6673" y="14833"/>
                  </a:lnTo>
                  <a:cubicBezTo>
                    <a:pt x="6528" y="15192"/>
                    <a:pt x="6311" y="15521"/>
                    <a:pt x="6036" y="15796"/>
                  </a:cubicBezTo>
                  <a:cubicBezTo>
                    <a:pt x="5387" y="16445"/>
                    <a:pt x="3110" y="17327"/>
                    <a:pt x="1555" y="17864"/>
                  </a:cubicBezTo>
                  <a:cubicBezTo>
                    <a:pt x="2096" y="16312"/>
                    <a:pt x="2984" y="14042"/>
                    <a:pt x="3633" y="13393"/>
                  </a:cubicBezTo>
                  <a:cubicBezTo>
                    <a:pt x="3908" y="13115"/>
                    <a:pt x="4234" y="12900"/>
                    <a:pt x="4596" y="12756"/>
                  </a:cubicBezTo>
                  <a:close/>
                  <a:moveTo>
                    <a:pt x="17939" y="0"/>
                  </a:moveTo>
                  <a:cubicBezTo>
                    <a:pt x="16582" y="0"/>
                    <a:pt x="15371" y="113"/>
                    <a:pt x="14282" y="349"/>
                  </a:cubicBezTo>
                  <a:cubicBezTo>
                    <a:pt x="14258" y="352"/>
                    <a:pt x="14234" y="358"/>
                    <a:pt x="14213" y="364"/>
                  </a:cubicBezTo>
                  <a:cubicBezTo>
                    <a:pt x="12057" y="841"/>
                    <a:pt x="10360" y="1801"/>
                    <a:pt x="8887" y="3329"/>
                  </a:cubicBezTo>
                  <a:cubicBezTo>
                    <a:pt x="8277" y="3960"/>
                    <a:pt x="7703" y="4724"/>
                    <a:pt x="7166" y="5548"/>
                  </a:cubicBezTo>
                  <a:lnTo>
                    <a:pt x="6676" y="5548"/>
                  </a:lnTo>
                  <a:cubicBezTo>
                    <a:pt x="5583" y="5548"/>
                    <a:pt x="4511" y="5856"/>
                    <a:pt x="3584" y="6436"/>
                  </a:cubicBezTo>
                  <a:cubicBezTo>
                    <a:pt x="2658" y="7016"/>
                    <a:pt x="1909" y="7837"/>
                    <a:pt x="1420" y="8815"/>
                  </a:cubicBezTo>
                  <a:lnTo>
                    <a:pt x="1284" y="9084"/>
                  </a:lnTo>
                  <a:cubicBezTo>
                    <a:pt x="1096" y="9458"/>
                    <a:pt x="1368" y="9902"/>
                    <a:pt x="1791" y="9905"/>
                  </a:cubicBezTo>
                  <a:lnTo>
                    <a:pt x="1948" y="9905"/>
                  </a:lnTo>
                  <a:lnTo>
                    <a:pt x="4623" y="10153"/>
                  </a:lnTo>
                  <a:cubicBezTo>
                    <a:pt x="4581" y="10237"/>
                    <a:pt x="4539" y="10322"/>
                    <a:pt x="4496" y="10409"/>
                  </a:cubicBezTo>
                  <a:cubicBezTo>
                    <a:pt x="4297" y="10802"/>
                    <a:pt x="4113" y="11176"/>
                    <a:pt x="3929" y="11533"/>
                  </a:cubicBezTo>
                  <a:cubicBezTo>
                    <a:pt x="3880" y="11626"/>
                    <a:pt x="3859" y="11732"/>
                    <a:pt x="3868" y="11838"/>
                  </a:cubicBezTo>
                  <a:cubicBezTo>
                    <a:pt x="3485" y="12031"/>
                    <a:pt x="3135" y="12287"/>
                    <a:pt x="2833" y="12592"/>
                  </a:cubicBezTo>
                  <a:cubicBezTo>
                    <a:pt x="1664" y="13761"/>
                    <a:pt x="275" y="18097"/>
                    <a:pt x="121" y="18586"/>
                  </a:cubicBezTo>
                  <a:cubicBezTo>
                    <a:pt x="1" y="18966"/>
                    <a:pt x="294" y="19325"/>
                    <a:pt x="657" y="19325"/>
                  </a:cubicBezTo>
                  <a:cubicBezTo>
                    <a:pt x="713" y="19325"/>
                    <a:pt x="770" y="19317"/>
                    <a:pt x="828" y="19299"/>
                  </a:cubicBezTo>
                  <a:cubicBezTo>
                    <a:pt x="1320" y="19145"/>
                    <a:pt x="5665" y="17765"/>
                    <a:pt x="6836" y="16593"/>
                  </a:cubicBezTo>
                  <a:cubicBezTo>
                    <a:pt x="7144" y="16288"/>
                    <a:pt x="7398" y="15935"/>
                    <a:pt x="7594" y="15549"/>
                  </a:cubicBezTo>
                  <a:lnTo>
                    <a:pt x="7628" y="15549"/>
                  </a:lnTo>
                  <a:cubicBezTo>
                    <a:pt x="7715" y="15549"/>
                    <a:pt x="7806" y="15527"/>
                    <a:pt x="7884" y="15485"/>
                  </a:cubicBezTo>
                  <a:cubicBezTo>
                    <a:pt x="8240" y="15304"/>
                    <a:pt x="8615" y="15117"/>
                    <a:pt x="9010" y="14920"/>
                  </a:cubicBezTo>
                  <a:lnTo>
                    <a:pt x="9255" y="14797"/>
                  </a:lnTo>
                  <a:lnTo>
                    <a:pt x="9463" y="17418"/>
                  </a:lnTo>
                  <a:lnTo>
                    <a:pt x="9463" y="17578"/>
                  </a:lnTo>
                  <a:cubicBezTo>
                    <a:pt x="9463" y="17906"/>
                    <a:pt x="9732" y="18144"/>
                    <a:pt x="10028" y="18144"/>
                  </a:cubicBezTo>
                  <a:cubicBezTo>
                    <a:pt x="10113" y="18144"/>
                    <a:pt x="10201" y="18124"/>
                    <a:pt x="10285" y="18082"/>
                  </a:cubicBezTo>
                  <a:lnTo>
                    <a:pt x="10553" y="17946"/>
                  </a:lnTo>
                  <a:cubicBezTo>
                    <a:pt x="12543" y="16950"/>
                    <a:pt x="13802" y="14914"/>
                    <a:pt x="13799" y="12689"/>
                  </a:cubicBezTo>
                  <a:lnTo>
                    <a:pt x="13799" y="12303"/>
                  </a:lnTo>
                  <a:cubicBezTo>
                    <a:pt x="14654" y="11750"/>
                    <a:pt x="15442" y="11161"/>
                    <a:pt x="16091" y="10536"/>
                  </a:cubicBezTo>
                  <a:cubicBezTo>
                    <a:pt x="17619" y="9060"/>
                    <a:pt x="18582" y="7366"/>
                    <a:pt x="19059" y="5207"/>
                  </a:cubicBezTo>
                  <a:cubicBezTo>
                    <a:pt x="19065" y="5186"/>
                    <a:pt x="19068" y="5165"/>
                    <a:pt x="19071" y="5140"/>
                  </a:cubicBezTo>
                  <a:cubicBezTo>
                    <a:pt x="19361" y="3809"/>
                    <a:pt x="19464" y="2302"/>
                    <a:pt x="19403" y="563"/>
                  </a:cubicBezTo>
                  <a:cubicBezTo>
                    <a:pt x="19394" y="264"/>
                    <a:pt x="19156" y="25"/>
                    <a:pt x="18857" y="16"/>
                  </a:cubicBezTo>
                  <a:cubicBezTo>
                    <a:pt x="18544" y="6"/>
                    <a:pt x="18238" y="0"/>
                    <a:pt x="17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72" name="Google Shape;9172;p75"/>
            <p:cNvSpPr/>
            <p:nvPr/>
          </p:nvSpPr>
          <p:spPr>
            <a:xfrm>
              <a:off x="1106975" y="4639875"/>
              <a:ext cx="28325" cy="28325"/>
            </a:xfrm>
            <a:custGeom>
              <a:avLst/>
              <a:gdLst/>
              <a:ahLst/>
              <a:cxnLst/>
              <a:rect l="l" t="t" r="r" b="b"/>
              <a:pathLst>
                <a:path w="1133" h="1133" extrusionOk="0">
                  <a:moveTo>
                    <a:pt x="565" y="0"/>
                  </a:moveTo>
                  <a:cubicBezTo>
                    <a:pt x="254" y="0"/>
                    <a:pt x="0" y="254"/>
                    <a:pt x="0" y="568"/>
                  </a:cubicBezTo>
                  <a:cubicBezTo>
                    <a:pt x="0" y="879"/>
                    <a:pt x="254" y="1133"/>
                    <a:pt x="565" y="1133"/>
                  </a:cubicBezTo>
                  <a:cubicBezTo>
                    <a:pt x="879" y="1133"/>
                    <a:pt x="1132" y="879"/>
                    <a:pt x="1132" y="568"/>
                  </a:cubicBezTo>
                  <a:cubicBezTo>
                    <a:pt x="1132" y="254"/>
                    <a:pt x="879" y="0"/>
                    <a:pt x="5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73" name="Google Shape;9173;p75"/>
          <p:cNvGrpSpPr/>
          <p:nvPr/>
        </p:nvGrpSpPr>
        <p:grpSpPr>
          <a:xfrm>
            <a:off x="5489588" y="3560368"/>
            <a:ext cx="340168" cy="309628"/>
            <a:chOff x="1487200" y="4421025"/>
            <a:chExt cx="483125" cy="439750"/>
          </a:xfrm>
        </p:grpSpPr>
        <p:sp>
          <p:nvSpPr>
            <p:cNvPr id="9174" name="Google Shape;9174;p75"/>
            <p:cNvSpPr/>
            <p:nvPr/>
          </p:nvSpPr>
          <p:spPr>
            <a:xfrm>
              <a:off x="1487200" y="4421025"/>
              <a:ext cx="483125" cy="439750"/>
            </a:xfrm>
            <a:custGeom>
              <a:avLst/>
              <a:gdLst/>
              <a:ahLst/>
              <a:cxnLst/>
              <a:rect l="l" t="t" r="r" b="b"/>
              <a:pathLst>
                <a:path w="19325" h="17590" extrusionOk="0">
                  <a:moveTo>
                    <a:pt x="12818" y="1130"/>
                  </a:moveTo>
                  <a:cubicBezTo>
                    <a:pt x="14361" y="1130"/>
                    <a:pt x="15671" y="2389"/>
                    <a:pt x="15867" y="4059"/>
                  </a:cubicBezTo>
                  <a:cubicBezTo>
                    <a:pt x="15867" y="4077"/>
                    <a:pt x="15870" y="4095"/>
                    <a:pt x="15873" y="4110"/>
                  </a:cubicBezTo>
                  <a:lnTo>
                    <a:pt x="16242" y="5871"/>
                  </a:lnTo>
                  <a:lnTo>
                    <a:pt x="9406" y="5871"/>
                  </a:lnTo>
                  <a:lnTo>
                    <a:pt x="11707" y="4110"/>
                  </a:lnTo>
                  <a:cubicBezTo>
                    <a:pt x="11957" y="3920"/>
                    <a:pt x="12008" y="3561"/>
                    <a:pt x="11815" y="3310"/>
                  </a:cubicBezTo>
                  <a:cubicBezTo>
                    <a:pt x="11703" y="3166"/>
                    <a:pt x="11534" y="3091"/>
                    <a:pt x="11364" y="3091"/>
                  </a:cubicBezTo>
                  <a:cubicBezTo>
                    <a:pt x="11242" y="3091"/>
                    <a:pt x="11119" y="3130"/>
                    <a:pt x="11015" y="3211"/>
                  </a:cubicBezTo>
                  <a:lnTo>
                    <a:pt x="7618" y="5816"/>
                  </a:lnTo>
                  <a:cubicBezTo>
                    <a:pt x="7597" y="5835"/>
                    <a:pt x="7576" y="5853"/>
                    <a:pt x="7558" y="5871"/>
                  </a:cubicBezTo>
                  <a:lnTo>
                    <a:pt x="3083" y="5871"/>
                  </a:lnTo>
                  <a:lnTo>
                    <a:pt x="3451" y="4110"/>
                  </a:lnTo>
                  <a:cubicBezTo>
                    <a:pt x="3454" y="4095"/>
                    <a:pt x="3457" y="4077"/>
                    <a:pt x="3460" y="4059"/>
                  </a:cubicBezTo>
                  <a:cubicBezTo>
                    <a:pt x="3654" y="2389"/>
                    <a:pt x="4964" y="1130"/>
                    <a:pt x="6507" y="1130"/>
                  </a:cubicBezTo>
                  <a:close/>
                  <a:moveTo>
                    <a:pt x="16939" y="7021"/>
                  </a:moveTo>
                  <a:cubicBezTo>
                    <a:pt x="17631" y="7021"/>
                    <a:pt x="18192" y="7580"/>
                    <a:pt x="18192" y="8274"/>
                  </a:cubicBezTo>
                  <a:lnTo>
                    <a:pt x="18192" y="11913"/>
                  </a:lnTo>
                  <a:cubicBezTo>
                    <a:pt x="18192" y="12604"/>
                    <a:pt x="17631" y="13163"/>
                    <a:pt x="16939" y="13166"/>
                  </a:cubicBezTo>
                  <a:lnTo>
                    <a:pt x="2385" y="13166"/>
                  </a:lnTo>
                  <a:cubicBezTo>
                    <a:pt x="1694" y="13163"/>
                    <a:pt x="1132" y="12604"/>
                    <a:pt x="1132" y="11913"/>
                  </a:cubicBezTo>
                  <a:lnTo>
                    <a:pt x="1132" y="8274"/>
                  </a:lnTo>
                  <a:cubicBezTo>
                    <a:pt x="1132" y="7580"/>
                    <a:pt x="1694" y="7021"/>
                    <a:pt x="2385" y="7021"/>
                  </a:cubicBezTo>
                  <a:close/>
                  <a:moveTo>
                    <a:pt x="5813" y="14304"/>
                  </a:moveTo>
                  <a:lnTo>
                    <a:pt x="5813" y="15889"/>
                  </a:lnTo>
                  <a:cubicBezTo>
                    <a:pt x="5813" y="16203"/>
                    <a:pt x="5559" y="16457"/>
                    <a:pt x="5248" y="16457"/>
                  </a:cubicBezTo>
                  <a:lnTo>
                    <a:pt x="3874" y="16457"/>
                  </a:lnTo>
                  <a:cubicBezTo>
                    <a:pt x="3560" y="16457"/>
                    <a:pt x="3306" y="16203"/>
                    <a:pt x="3306" y="15889"/>
                  </a:cubicBezTo>
                  <a:lnTo>
                    <a:pt x="3306" y="14304"/>
                  </a:lnTo>
                  <a:close/>
                  <a:moveTo>
                    <a:pt x="16018" y="14304"/>
                  </a:moveTo>
                  <a:lnTo>
                    <a:pt x="16018" y="15889"/>
                  </a:lnTo>
                  <a:cubicBezTo>
                    <a:pt x="16018" y="16203"/>
                    <a:pt x="15765" y="16457"/>
                    <a:pt x="15454" y="16457"/>
                  </a:cubicBezTo>
                  <a:lnTo>
                    <a:pt x="14080" y="16457"/>
                  </a:lnTo>
                  <a:cubicBezTo>
                    <a:pt x="13766" y="16457"/>
                    <a:pt x="13512" y="16203"/>
                    <a:pt x="13512" y="15889"/>
                  </a:cubicBezTo>
                  <a:lnTo>
                    <a:pt x="13512" y="14304"/>
                  </a:lnTo>
                  <a:close/>
                  <a:moveTo>
                    <a:pt x="6507" y="1"/>
                  </a:moveTo>
                  <a:cubicBezTo>
                    <a:pt x="4396" y="1"/>
                    <a:pt x="2609" y="1677"/>
                    <a:pt x="2337" y="3902"/>
                  </a:cubicBezTo>
                  <a:lnTo>
                    <a:pt x="1911" y="5934"/>
                  </a:lnTo>
                  <a:cubicBezTo>
                    <a:pt x="800" y="6161"/>
                    <a:pt x="0" y="7139"/>
                    <a:pt x="0" y="8274"/>
                  </a:cubicBezTo>
                  <a:lnTo>
                    <a:pt x="0" y="11910"/>
                  </a:lnTo>
                  <a:cubicBezTo>
                    <a:pt x="3" y="13145"/>
                    <a:pt x="945" y="14177"/>
                    <a:pt x="2174" y="14286"/>
                  </a:cubicBezTo>
                  <a:lnTo>
                    <a:pt x="2174" y="15889"/>
                  </a:lnTo>
                  <a:cubicBezTo>
                    <a:pt x="2174" y="16828"/>
                    <a:pt x="2935" y="17586"/>
                    <a:pt x="3874" y="17589"/>
                  </a:cubicBezTo>
                  <a:lnTo>
                    <a:pt x="5248" y="17589"/>
                  </a:lnTo>
                  <a:cubicBezTo>
                    <a:pt x="6184" y="17586"/>
                    <a:pt x="6945" y="16828"/>
                    <a:pt x="6945" y="15889"/>
                  </a:cubicBezTo>
                  <a:lnTo>
                    <a:pt x="6945" y="14298"/>
                  </a:lnTo>
                  <a:lnTo>
                    <a:pt x="12380" y="14298"/>
                  </a:lnTo>
                  <a:lnTo>
                    <a:pt x="12380" y="15889"/>
                  </a:lnTo>
                  <a:cubicBezTo>
                    <a:pt x="12380" y="16828"/>
                    <a:pt x="13141" y="17586"/>
                    <a:pt x="14080" y="17589"/>
                  </a:cubicBezTo>
                  <a:lnTo>
                    <a:pt x="15454" y="17589"/>
                  </a:lnTo>
                  <a:cubicBezTo>
                    <a:pt x="16390" y="17586"/>
                    <a:pt x="17151" y="16828"/>
                    <a:pt x="17151" y="15889"/>
                  </a:cubicBezTo>
                  <a:lnTo>
                    <a:pt x="17151" y="14286"/>
                  </a:lnTo>
                  <a:cubicBezTo>
                    <a:pt x="18380" y="14177"/>
                    <a:pt x="19322" y="13145"/>
                    <a:pt x="19325" y="11913"/>
                  </a:cubicBezTo>
                  <a:lnTo>
                    <a:pt x="19325" y="8274"/>
                  </a:lnTo>
                  <a:cubicBezTo>
                    <a:pt x="19325" y="7139"/>
                    <a:pt x="18524" y="6161"/>
                    <a:pt x="17413" y="5934"/>
                  </a:cubicBezTo>
                  <a:lnTo>
                    <a:pt x="16988" y="3902"/>
                  </a:lnTo>
                  <a:cubicBezTo>
                    <a:pt x="16716" y="1677"/>
                    <a:pt x="14928" y="1"/>
                    <a:pt x="128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75" name="Google Shape;9175;p75"/>
            <p:cNvSpPr/>
            <p:nvPr/>
          </p:nvSpPr>
          <p:spPr>
            <a:xfrm>
              <a:off x="1544950" y="4622200"/>
              <a:ext cx="103950" cy="100025"/>
            </a:xfrm>
            <a:custGeom>
              <a:avLst/>
              <a:gdLst/>
              <a:ahLst/>
              <a:cxnLst/>
              <a:rect l="l" t="t" r="r" b="b"/>
              <a:pathLst>
                <a:path w="4158" h="4001" extrusionOk="0">
                  <a:moveTo>
                    <a:pt x="2152" y="1131"/>
                  </a:moveTo>
                  <a:cubicBezTo>
                    <a:pt x="2599" y="1131"/>
                    <a:pt x="3025" y="1477"/>
                    <a:pt x="3025" y="2000"/>
                  </a:cubicBezTo>
                  <a:cubicBezTo>
                    <a:pt x="3025" y="2480"/>
                    <a:pt x="2639" y="2869"/>
                    <a:pt x="2159" y="2869"/>
                  </a:cubicBezTo>
                  <a:cubicBezTo>
                    <a:pt x="1386" y="2869"/>
                    <a:pt x="996" y="1933"/>
                    <a:pt x="1543" y="1387"/>
                  </a:cubicBezTo>
                  <a:cubicBezTo>
                    <a:pt x="1721" y="1210"/>
                    <a:pt x="1939" y="1131"/>
                    <a:pt x="2152" y="1131"/>
                  </a:cubicBezTo>
                  <a:close/>
                  <a:moveTo>
                    <a:pt x="2159" y="1"/>
                  </a:moveTo>
                  <a:cubicBezTo>
                    <a:pt x="1350" y="1"/>
                    <a:pt x="619" y="487"/>
                    <a:pt x="311" y="1233"/>
                  </a:cubicBezTo>
                  <a:cubicBezTo>
                    <a:pt x="0" y="1982"/>
                    <a:pt x="172" y="2842"/>
                    <a:pt x="743" y="3413"/>
                  </a:cubicBezTo>
                  <a:cubicBezTo>
                    <a:pt x="1127" y="3796"/>
                    <a:pt x="1639" y="4001"/>
                    <a:pt x="2159" y="4001"/>
                  </a:cubicBezTo>
                  <a:cubicBezTo>
                    <a:pt x="2416" y="4001"/>
                    <a:pt x="2676" y="3951"/>
                    <a:pt x="2923" y="3848"/>
                  </a:cubicBezTo>
                  <a:cubicBezTo>
                    <a:pt x="3672" y="3540"/>
                    <a:pt x="4158" y="2809"/>
                    <a:pt x="4158" y="2000"/>
                  </a:cubicBezTo>
                  <a:cubicBezTo>
                    <a:pt x="4158" y="895"/>
                    <a:pt x="3261" y="1"/>
                    <a:pt x="2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76" name="Google Shape;9176;p75"/>
            <p:cNvSpPr/>
            <p:nvPr/>
          </p:nvSpPr>
          <p:spPr>
            <a:xfrm>
              <a:off x="1804675" y="4622200"/>
              <a:ext cx="103975" cy="100025"/>
            </a:xfrm>
            <a:custGeom>
              <a:avLst/>
              <a:gdLst/>
              <a:ahLst/>
              <a:cxnLst/>
              <a:rect l="l" t="t" r="r" b="b"/>
              <a:pathLst>
                <a:path w="4159" h="4001" extrusionOk="0">
                  <a:moveTo>
                    <a:pt x="2152" y="1131"/>
                  </a:moveTo>
                  <a:cubicBezTo>
                    <a:pt x="2598" y="1131"/>
                    <a:pt x="3026" y="1477"/>
                    <a:pt x="3026" y="2000"/>
                  </a:cubicBezTo>
                  <a:cubicBezTo>
                    <a:pt x="3026" y="2480"/>
                    <a:pt x="2637" y="2869"/>
                    <a:pt x="2157" y="2869"/>
                  </a:cubicBezTo>
                  <a:cubicBezTo>
                    <a:pt x="1384" y="2869"/>
                    <a:pt x="997" y="1933"/>
                    <a:pt x="1544" y="1387"/>
                  </a:cubicBezTo>
                  <a:cubicBezTo>
                    <a:pt x="1721" y="1210"/>
                    <a:pt x="1938" y="1131"/>
                    <a:pt x="2152" y="1131"/>
                  </a:cubicBezTo>
                  <a:close/>
                  <a:moveTo>
                    <a:pt x="2157" y="1"/>
                  </a:moveTo>
                  <a:cubicBezTo>
                    <a:pt x="1348" y="1"/>
                    <a:pt x="620" y="487"/>
                    <a:pt x="309" y="1233"/>
                  </a:cubicBezTo>
                  <a:cubicBezTo>
                    <a:pt x="1" y="1982"/>
                    <a:pt x="170" y="2842"/>
                    <a:pt x="744" y="3413"/>
                  </a:cubicBezTo>
                  <a:cubicBezTo>
                    <a:pt x="1125" y="3796"/>
                    <a:pt x="1637" y="4001"/>
                    <a:pt x="2158" y="4001"/>
                  </a:cubicBezTo>
                  <a:cubicBezTo>
                    <a:pt x="2416" y="4001"/>
                    <a:pt x="2676" y="3951"/>
                    <a:pt x="2924" y="3848"/>
                  </a:cubicBezTo>
                  <a:cubicBezTo>
                    <a:pt x="3670" y="3540"/>
                    <a:pt x="4159" y="2809"/>
                    <a:pt x="4159" y="2000"/>
                  </a:cubicBezTo>
                  <a:cubicBezTo>
                    <a:pt x="4156" y="895"/>
                    <a:pt x="3262" y="1"/>
                    <a:pt x="21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77" name="Google Shape;9177;p75"/>
            <p:cNvSpPr/>
            <p:nvPr/>
          </p:nvSpPr>
          <p:spPr>
            <a:xfrm>
              <a:off x="1667450" y="4661825"/>
              <a:ext cx="119825" cy="28350"/>
            </a:xfrm>
            <a:custGeom>
              <a:avLst/>
              <a:gdLst/>
              <a:ahLst/>
              <a:cxnLst/>
              <a:rect l="l" t="t" r="r" b="b"/>
              <a:pathLst>
                <a:path w="4793" h="1134" extrusionOk="0">
                  <a:moveTo>
                    <a:pt x="565" y="1"/>
                  </a:moveTo>
                  <a:cubicBezTo>
                    <a:pt x="251" y="1"/>
                    <a:pt x="1" y="252"/>
                    <a:pt x="1" y="566"/>
                  </a:cubicBezTo>
                  <a:cubicBezTo>
                    <a:pt x="1" y="880"/>
                    <a:pt x="251" y="1133"/>
                    <a:pt x="565" y="1133"/>
                  </a:cubicBezTo>
                  <a:lnTo>
                    <a:pt x="4228" y="1133"/>
                  </a:lnTo>
                  <a:cubicBezTo>
                    <a:pt x="4539" y="1133"/>
                    <a:pt x="4792" y="880"/>
                    <a:pt x="4792" y="566"/>
                  </a:cubicBezTo>
                  <a:cubicBezTo>
                    <a:pt x="4792" y="252"/>
                    <a:pt x="4539" y="1"/>
                    <a:pt x="42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78" name="Google Shape;9178;p75"/>
          <p:cNvGrpSpPr/>
          <p:nvPr/>
        </p:nvGrpSpPr>
        <p:grpSpPr>
          <a:xfrm>
            <a:off x="5893867" y="3545107"/>
            <a:ext cx="344903" cy="340151"/>
            <a:chOff x="2079300" y="4399325"/>
            <a:chExt cx="489850" cy="483100"/>
          </a:xfrm>
        </p:grpSpPr>
        <p:sp>
          <p:nvSpPr>
            <p:cNvPr id="9179" name="Google Shape;9179;p75"/>
            <p:cNvSpPr/>
            <p:nvPr/>
          </p:nvSpPr>
          <p:spPr>
            <a:xfrm>
              <a:off x="2079300" y="4399325"/>
              <a:ext cx="489850" cy="483100"/>
            </a:xfrm>
            <a:custGeom>
              <a:avLst/>
              <a:gdLst/>
              <a:ahLst/>
              <a:cxnLst/>
              <a:rect l="l" t="t" r="r" b="b"/>
              <a:pathLst>
                <a:path w="19594" h="19324" extrusionOk="0">
                  <a:moveTo>
                    <a:pt x="17109" y="1134"/>
                  </a:moveTo>
                  <a:cubicBezTo>
                    <a:pt x="17415" y="1134"/>
                    <a:pt x="17714" y="1254"/>
                    <a:pt x="17939" y="1479"/>
                  </a:cubicBezTo>
                  <a:cubicBezTo>
                    <a:pt x="18268" y="1805"/>
                    <a:pt x="18371" y="2297"/>
                    <a:pt x="18205" y="2732"/>
                  </a:cubicBezTo>
                  <a:cubicBezTo>
                    <a:pt x="18003" y="3260"/>
                    <a:pt x="17770" y="3774"/>
                    <a:pt x="17507" y="4275"/>
                  </a:cubicBezTo>
                  <a:cubicBezTo>
                    <a:pt x="16288" y="4088"/>
                    <a:pt x="15330" y="3130"/>
                    <a:pt x="15143" y="1911"/>
                  </a:cubicBezTo>
                  <a:cubicBezTo>
                    <a:pt x="15644" y="1648"/>
                    <a:pt x="16158" y="1415"/>
                    <a:pt x="16686" y="1210"/>
                  </a:cubicBezTo>
                  <a:lnTo>
                    <a:pt x="16686" y="1213"/>
                  </a:lnTo>
                  <a:cubicBezTo>
                    <a:pt x="16824" y="1160"/>
                    <a:pt x="16967" y="1134"/>
                    <a:pt x="17109" y="1134"/>
                  </a:cubicBezTo>
                  <a:close/>
                  <a:moveTo>
                    <a:pt x="2905" y="2901"/>
                  </a:moveTo>
                  <a:lnTo>
                    <a:pt x="10016" y="4541"/>
                  </a:lnTo>
                  <a:cubicBezTo>
                    <a:pt x="9744" y="4855"/>
                    <a:pt x="9485" y="5178"/>
                    <a:pt x="9234" y="5513"/>
                  </a:cubicBezTo>
                  <a:lnTo>
                    <a:pt x="9234" y="5516"/>
                  </a:lnTo>
                  <a:lnTo>
                    <a:pt x="7812" y="7463"/>
                  </a:lnTo>
                  <a:lnTo>
                    <a:pt x="2027" y="3780"/>
                  </a:lnTo>
                  <a:lnTo>
                    <a:pt x="2905" y="2901"/>
                  </a:lnTo>
                  <a:close/>
                  <a:moveTo>
                    <a:pt x="2465" y="11352"/>
                  </a:moveTo>
                  <a:lnTo>
                    <a:pt x="4738" y="11676"/>
                  </a:lnTo>
                  <a:lnTo>
                    <a:pt x="3488" y="13388"/>
                  </a:lnTo>
                  <a:lnTo>
                    <a:pt x="1574" y="12240"/>
                  </a:lnTo>
                  <a:lnTo>
                    <a:pt x="2465" y="11352"/>
                  </a:lnTo>
                  <a:close/>
                  <a:moveTo>
                    <a:pt x="14111" y="2502"/>
                  </a:moveTo>
                  <a:cubicBezTo>
                    <a:pt x="14479" y="3870"/>
                    <a:pt x="15545" y="4939"/>
                    <a:pt x="16913" y="5308"/>
                  </a:cubicBezTo>
                  <a:cubicBezTo>
                    <a:pt x="16318" y="6250"/>
                    <a:pt x="15617" y="7122"/>
                    <a:pt x="14823" y="7907"/>
                  </a:cubicBezTo>
                  <a:cubicBezTo>
                    <a:pt x="14811" y="7916"/>
                    <a:pt x="14802" y="7928"/>
                    <a:pt x="14793" y="7937"/>
                  </a:cubicBezTo>
                  <a:cubicBezTo>
                    <a:pt x="14304" y="8418"/>
                    <a:pt x="13784" y="8861"/>
                    <a:pt x="13235" y="9269"/>
                  </a:cubicBezTo>
                  <a:lnTo>
                    <a:pt x="5140" y="15184"/>
                  </a:lnTo>
                  <a:cubicBezTo>
                    <a:pt x="5128" y="15196"/>
                    <a:pt x="5113" y="15208"/>
                    <a:pt x="5101" y="15217"/>
                  </a:cubicBezTo>
                  <a:cubicBezTo>
                    <a:pt x="5082" y="15235"/>
                    <a:pt x="5061" y="15248"/>
                    <a:pt x="5040" y="15260"/>
                  </a:cubicBezTo>
                  <a:cubicBezTo>
                    <a:pt x="5031" y="15263"/>
                    <a:pt x="5022" y="15269"/>
                    <a:pt x="5016" y="15272"/>
                  </a:cubicBezTo>
                  <a:cubicBezTo>
                    <a:pt x="4925" y="15314"/>
                    <a:pt x="4801" y="15339"/>
                    <a:pt x="4674" y="15339"/>
                  </a:cubicBezTo>
                  <a:cubicBezTo>
                    <a:pt x="4506" y="15339"/>
                    <a:pt x="4333" y="15295"/>
                    <a:pt x="4228" y="15190"/>
                  </a:cubicBezTo>
                  <a:cubicBezTo>
                    <a:pt x="3998" y="14961"/>
                    <a:pt x="4004" y="14544"/>
                    <a:pt x="4237" y="14278"/>
                  </a:cubicBezTo>
                  <a:cubicBezTo>
                    <a:pt x="4249" y="14266"/>
                    <a:pt x="4261" y="14251"/>
                    <a:pt x="4270" y="14239"/>
                  </a:cubicBezTo>
                  <a:lnTo>
                    <a:pt x="10149" y="6186"/>
                  </a:lnTo>
                  <a:cubicBezTo>
                    <a:pt x="11230" y="4722"/>
                    <a:pt x="12574" y="3475"/>
                    <a:pt x="14111" y="2502"/>
                  </a:cubicBezTo>
                  <a:close/>
                  <a:moveTo>
                    <a:pt x="14877" y="9402"/>
                  </a:moveTo>
                  <a:lnTo>
                    <a:pt x="16517" y="16513"/>
                  </a:lnTo>
                  <a:lnTo>
                    <a:pt x="15635" y="17391"/>
                  </a:lnTo>
                  <a:lnTo>
                    <a:pt x="11955" y="11606"/>
                  </a:lnTo>
                  <a:lnTo>
                    <a:pt x="13905" y="10181"/>
                  </a:lnTo>
                  <a:cubicBezTo>
                    <a:pt x="14240" y="9933"/>
                    <a:pt x="14563" y="9674"/>
                    <a:pt x="14877" y="9402"/>
                  </a:cubicBezTo>
                  <a:close/>
                  <a:moveTo>
                    <a:pt x="7743" y="14686"/>
                  </a:moveTo>
                  <a:lnTo>
                    <a:pt x="8069" y="16957"/>
                  </a:lnTo>
                  <a:lnTo>
                    <a:pt x="7181" y="17844"/>
                  </a:lnTo>
                  <a:lnTo>
                    <a:pt x="6034" y="15936"/>
                  </a:lnTo>
                  <a:lnTo>
                    <a:pt x="7743" y="14686"/>
                  </a:lnTo>
                  <a:close/>
                  <a:moveTo>
                    <a:pt x="17108" y="0"/>
                  </a:moveTo>
                  <a:cubicBezTo>
                    <a:pt x="16830" y="0"/>
                    <a:pt x="16550" y="50"/>
                    <a:pt x="16282" y="153"/>
                  </a:cubicBezTo>
                  <a:cubicBezTo>
                    <a:pt x="14280" y="923"/>
                    <a:pt x="12456" y="2092"/>
                    <a:pt x="10919" y="3586"/>
                  </a:cubicBezTo>
                  <a:lnTo>
                    <a:pt x="7758" y="2856"/>
                  </a:lnTo>
                  <a:lnTo>
                    <a:pt x="7978" y="2635"/>
                  </a:lnTo>
                  <a:cubicBezTo>
                    <a:pt x="8198" y="2415"/>
                    <a:pt x="8198" y="2056"/>
                    <a:pt x="7978" y="1835"/>
                  </a:cubicBezTo>
                  <a:cubicBezTo>
                    <a:pt x="7868" y="1724"/>
                    <a:pt x="7724" y="1669"/>
                    <a:pt x="7579" y="1669"/>
                  </a:cubicBezTo>
                  <a:cubicBezTo>
                    <a:pt x="7434" y="1669"/>
                    <a:pt x="7288" y="1725"/>
                    <a:pt x="7178" y="1835"/>
                  </a:cubicBezTo>
                  <a:lnTo>
                    <a:pt x="6456" y="2557"/>
                  </a:lnTo>
                  <a:lnTo>
                    <a:pt x="3850" y="1956"/>
                  </a:lnTo>
                  <a:lnTo>
                    <a:pt x="4074" y="1736"/>
                  </a:lnTo>
                  <a:cubicBezTo>
                    <a:pt x="4300" y="1515"/>
                    <a:pt x="4303" y="1150"/>
                    <a:pt x="4080" y="926"/>
                  </a:cubicBezTo>
                  <a:cubicBezTo>
                    <a:pt x="3969" y="816"/>
                    <a:pt x="3824" y="761"/>
                    <a:pt x="3679" y="761"/>
                  </a:cubicBezTo>
                  <a:cubicBezTo>
                    <a:pt x="3531" y="761"/>
                    <a:pt x="3384" y="818"/>
                    <a:pt x="3274" y="932"/>
                  </a:cubicBezTo>
                  <a:lnTo>
                    <a:pt x="1945" y="2261"/>
                  </a:lnTo>
                  <a:lnTo>
                    <a:pt x="725" y="3478"/>
                  </a:lnTo>
                  <a:cubicBezTo>
                    <a:pt x="469" y="3734"/>
                    <a:pt x="517" y="4163"/>
                    <a:pt x="822" y="4356"/>
                  </a:cubicBezTo>
                  <a:lnTo>
                    <a:pt x="7145" y="8378"/>
                  </a:lnTo>
                  <a:lnTo>
                    <a:pt x="5496" y="10640"/>
                  </a:lnTo>
                  <a:lnTo>
                    <a:pt x="2344" y="10190"/>
                  </a:lnTo>
                  <a:cubicBezTo>
                    <a:pt x="2317" y="10186"/>
                    <a:pt x="2290" y="10185"/>
                    <a:pt x="2264" y="10185"/>
                  </a:cubicBezTo>
                  <a:cubicBezTo>
                    <a:pt x="2113" y="10185"/>
                    <a:pt x="1969" y="10242"/>
                    <a:pt x="1864" y="10350"/>
                  </a:cubicBezTo>
                  <a:lnTo>
                    <a:pt x="260" y="11950"/>
                  </a:lnTo>
                  <a:cubicBezTo>
                    <a:pt x="1" y="12213"/>
                    <a:pt x="55" y="12648"/>
                    <a:pt x="369" y="12838"/>
                  </a:cubicBezTo>
                  <a:lnTo>
                    <a:pt x="2966" y="14393"/>
                  </a:lnTo>
                  <a:cubicBezTo>
                    <a:pt x="2851" y="14964"/>
                    <a:pt x="3008" y="15574"/>
                    <a:pt x="3428" y="15990"/>
                  </a:cubicBezTo>
                  <a:cubicBezTo>
                    <a:pt x="3757" y="16322"/>
                    <a:pt x="4219" y="16467"/>
                    <a:pt x="4669" y="16467"/>
                  </a:cubicBezTo>
                  <a:cubicBezTo>
                    <a:pt x="4786" y="16467"/>
                    <a:pt x="4901" y="16458"/>
                    <a:pt x="5016" y="16440"/>
                  </a:cubicBezTo>
                  <a:lnTo>
                    <a:pt x="6580" y="19049"/>
                  </a:lnTo>
                  <a:cubicBezTo>
                    <a:pt x="6671" y="19197"/>
                    <a:pt x="6825" y="19297"/>
                    <a:pt x="6997" y="19318"/>
                  </a:cubicBezTo>
                  <a:cubicBezTo>
                    <a:pt x="7021" y="19321"/>
                    <a:pt x="7042" y="19324"/>
                    <a:pt x="7066" y="19324"/>
                  </a:cubicBezTo>
                  <a:cubicBezTo>
                    <a:pt x="7217" y="19324"/>
                    <a:pt x="7359" y="19263"/>
                    <a:pt x="7465" y="19158"/>
                  </a:cubicBezTo>
                  <a:lnTo>
                    <a:pt x="9068" y="17554"/>
                  </a:lnTo>
                  <a:cubicBezTo>
                    <a:pt x="9192" y="17431"/>
                    <a:pt x="9252" y="17252"/>
                    <a:pt x="9228" y="17074"/>
                  </a:cubicBezTo>
                  <a:lnTo>
                    <a:pt x="8778" y="13931"/>
                  </a:lnTo>
                  <a:lnTo>
                    <a:pt x="11040" y="12276"/>
                  </a:lnTo>
                  <a:lnTo>
                    <a:pt x="15062" y="18596"/>
                  </a:lnTo>
                  <a:cubicBezTo>
                    <a:pt x="15152" y="18741"/>
                    <a:pt x="15306" y="18835"/>
                    <a:pt x="15475" y="18853"/>
                  </a:cubicBezTo>
                  <a:cubicBezTo>
                    <a:pt x="15496" y="18856"/>
                    <a:pt x="15518" y="18859"/>
                    <a:pt x="15539" y="18859"/>
                  </a:cubicBezTo>
                  <a:cubicBezTo>
                    <a:pt x="15687" y="18859"/>
                    <a:pt x="15832" y="18798"/>
                    <a:pt x="15937" y="18693"/>
                  </a:cubicBezTo>
                  <a:lnTo>
                    <a:pt x="16740" y="17890"/>
                  </a:lnTo>
                  <a:lnTo>
                    <a:pt x="18483" y="16144"/>
                  </a:lnTo>
                  <a:cubicBezTo>
                    <a:pt x="18712" y="15924"/>
                    <a:pt x="18715" y="15562"/>
                    <a:pt x="18492" y="15338"/>
                  </a:cubicBezTo>
                  <a:cubicBezTo>
                    <a:pt x="18381" y="15228"/>
                    <a:pt x="18236" y="15172"/>
                    <a:pt x="18090" y="15172"/>
                  </a:cubicBezTo>
                  <a:cubicBezTo>
                    <a:pt x="17942" y="15172"/>
                    <a:pt x="17794" y="15230"/>
                    <a:pt x="17683" y="15344"/>
                  </a:cubicBezTo>
                  <a:lnTo>
                    <a:pt x="17462" y="15568"/>
                  </a:lnTo>
                  <a:lnTo>
                    <a:pt x="16861" y="12965"/>
                  </a:lnTo>
                  <a:lnTo>
                    <a:pt x="17583" y="12243"/>
                  </a:lnTo>
                  <a:cubicBezTo>
                    <a:pt x="17803" y="12020"/>
                    <a:pt x="17803" y="11660"/>
                    <a:pt x="17583" y="11440"/>
                  </a:cubicBezTo>
                  <a:cubicBezTo>
                    <a:pt x="17473" y="11330"/>
                    <a:pt x="17328" y="11275"/>
                    <a:pt x="17183" y="11275"/>
                  </a:cubicBezTo>
                  <a:cubicBezTo>
                    <a:pt x="17038" y="11275"/>
                    <a:pt x="16893" y="11330"/>
                    <a:pt x="16783" y="11440"/>
                  </a:cubicBezTo>
                  <a:lnTo>
                    <a:pt x="16559" y="11663"/>
                  </a:lnTo>
                  <a:lnTo>
                    <a:pt x="15835" y="8499"/>
                  </a:lnTo>
                  <a:cubicBezTo>
                    <a:pt x="17329" y="6962"/>
                    <a:pt x="18498" y="5138"/>
                    <a:pt x="19265" y="3137"/>
                  </a:cubicBezTo>
                  <a:cubicBezTo>
                    <a:pt x="19594" y="2285"/>
                    <a:pt x="19389" y="1322"/>
                    <a:pt x="18742" y="676"/>
                  </a:cubicBezTo>
                  <a:cubicBezTo>
                    <a:pt x="18302" y="236"/>
                    <a:pt x="17711" y="0"/>
                    <a:pt x="171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80" name="Google Shape;9180;p75"/>
            <p:cNvSpPr/>
            <p:nvPr/>
          </p:nvSpPr>
          <p:spPr>
            <a:xfrm>
              <a:off x="2348725" y="4522375"/>
              <a:ext cx="94375" cy="88150"/>
            </a:xfrm>
            <a:custGeom>
              <a:avLst/>
              <a:gdLst/>
              <a:ahLst/>
              <a:cxnLst/>
              <a:rect l="l" t="t" r="r" b="b"/>
              <a:pathLst>
                <a:path w="3775" h="3526" extrusionOk="0">
                  <a:moveTo>
                    <a:pt x="3155" y="0"/>
                  </a:moveTo>
                  <a:cubicBezTo>
                    <a:pt x="3013" y="0"/>
                    <a:pt x="2870" y="53"/>
                    <a:pt x="2760" y="159"/>
                  </a:cubicBezTo>
                  <a:lnTo>
                    <a:pt x="359" y="2560"/>
                  </a:lnTo>
                  <a:cubicBezTo>
                    <a:pt x="0" y="2916"/>
                    <a:pt x="254" y="3526"/>
                    <a:pt x="758" y="3526"/>
                  </a:cubicBezTo>
                  <a:cubicBezTo>
                    <a:pt x="909" y="3526"/>
                    <a:pt x="1054" y="3468"/>
                    <a:pt x="1160" y="3360"/>
                  </a:cubicBezTo>
                  <a:lnTo>
                    <a:pt x="3560" y="959"/>
                  </a:lnTo>
                  <a:cubicBezTo>
                    <a:pt x="3774" y="736"/>
                    <a:pt x="3771" y="383"/>
                    <a:pt x="3554" y="165"/>
                  </a:cubicBezTo>
                  <a:cubicBezTo>
                    <a:pt x="3444" y="55"/>
                    <a:pt x="3300" y="0"/>
                    <a:pt x="31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81" name="Google Shape;9181;p75"/>
          <p:cNvSpPr/>
          <p:nvPr/>
        </p:nvSpPr>
        <p:spPr>
          <a:xfrm>
            <a:off x="6330757" y="3544569"/>
            <a:ext cx="299049" cy="340133"/>
          </a:xfrm>
          <a:custGeom>
            <a:avLst/>
            <a:gdLst/>
            <a:ahLst/>
            <a:cxnLst/>
            <a:rect l="l" t="t" r="r" b="b"/>
            <a:pathLst>
              <a:path w="16989" h="19323" extrusionOk="0">
                <a:moveTo>
                  <a:pt x="8495" y="2378"/>
                </a:moveTo>
                <a:cubicBezTo>
                  <a:pt x="9434" y="2378"/>
                  <a:pt x="10195" y="3136"/>
                  <a:pt x="10195" y="4075"/>
                </a:cubicBezTo>
                <a:lnTo>
                  <a:pt x="10195" y="4642"/>
                </a:lnTo>
                <a:lnTo>
                  <a:pt x="6798" y="4642"/>
                </a:lnTo>
                <a:lnTo>
                  <a:pt x="6798" y="4075"/>
                </a:lnTo>
                <a:cubicBezTo>
                  <a:pt x="6798" y="3136"/>
                  <a:pt x="7556" y="2378"/>
                  <a:pt x="8495" y="2378"/>
                </a:cubicBezTo>
                <a:close/>
                <a:moveTo>
                  <a:pt x="4242" y="1130"/>
                </a:moveTo>
                <a:cubicBezTo>
                  <a:pt x="4665" y="1130"/>
                  <a:pt x="5096" y="1267"/>
                  <a:pt x="5469" y="1565"/>
                </a:cubicBezTo>
                <a:lnTo>
                  <a:pt x="6330" y="2251"/>
                </a:lnTo>
                <a:cubicBezTo>
                  <a:pt x="5901" y="2761"/>
                  <a:pt x="5662" y="3407"/>
                  <a:pt x="5665" y="4075"/>
                </a:cubicBezTo>
                <a:lnTo>
                  <a:pt x="5665" y="4642"/>
                </a:lnTo>
                <a:lnTo>
                  <a:pt x="3872" y="4642"/>
                </a:lnTo>
                <a:cubicBezTo>
                  <a:pt x="3870" y="4642"/>
                  <a:pt x="3869" y="4642"/>
                  <a:pt x="3867" y="4642"/>
                </a:cubicBezTo>
                <a:cubicBezTo>
                  <a:pt x="2879" y="4642"/>
                  <a:pt x="2127" y="3756"/>
                  <a:pt x="2290" y="2782"/>
                </a:cubicBezTo>
                <a:cubicBezTo>
                  <a:pt x="2459" y="1765"/>
                  <a:pt x="3331" y="1130"/>
                  <a:pt x="4242" y="1130"/>
                </a:cubicBezTo>
                <a:close/>
                <a:moveTo>
                  <a:pt x="12746" y="1131"/>
                </a:moveTo>
                <a:cubicBezTo>
                  <a:pt x="13657" y="1131"/>
                  <a:pt x="14530" y="1767"/>
                  <a:pt x="14700" y="2782"/>
                </a:cubicBezTo>
                <a:cubicBezTo>
                  <a:pt x="14862" y="3756"/>
                  <a:pt x="14110" y="4642"/>
                  <a:pt x="13122" y="4642"/>
                </a:cubicBezTo>
                <a:cubicBezTo>
                  <a:pt x="13121" y="4642"/>
                  <a:pt x="13119" y="4642"/>
                  <a:pt x="13117" y="4642"/>
                </a:cubicBezTo>
                <a:lnTo>
                  <a:pt x="11327" y="4642"/>
                </a:lnTo>
                <a:lnTo>
                  <a:pt x="11327" y="4075"/>
                </a:lnTo>
                <a:cubicBezTo>
                  <a:pt x="11327" y="3407"/>
                  <a:pt x="11088" y="2761"/>
                  <a:pt x="10660" y="2251"/>
                </a:cubicBezTo>
                <a:lnTo>
                  <a:pt x="11523" y="1565"/>
                </a:lnTo>
                <a:cubicBezTo>
                  <a:pt x="11895" y="1267"/>
                  <a:pt x="12325" y="1131"/>
                  <a:pt x="12746" y="1131"/>
                </a:cubicBezTo>
                <a:close/>
                <a:moveTo>
                  <a:pt x="6798" y="5775"/>
                </a:moveTo>
                <a:lnTo>
                  <a:pt x="6798" y="8039"/>
                </a:lnTo>
                <a:lnTo>
                  <a:pt x="1136" y="8039"/>
                </a:lnTo>
                <a:lnTo>
                  <a:pt x="1136" y="6339"/>
                </a:lnTo>
                <a:cubicBezTo>
                  <a:pt x="1136" y="6025"/>
                  <a:pt x="1387" y="5775"/>
                  <a:pt x="1701" y="5775"/>
                </a:cubicBezTo>
                <a:close/>
                <a:moveTo>
                  <a:pt x="15288" y="5775"/>
                </a:moveTo>
                <a:cubicBezTo>
                  <a:pt x="15602" y="5775"/>
                  <a:pt x="15856" y="6025"/>
                  <a:pt x="15856" y="6339"/>
                </a:cubicBezTo>
                <a:lnTo>
                  <a:pt x="15856" y="8039"/>
                </a:lnTo>
                <a:lnTo>
                  <a:pt x="10195" y="8039"/>
                </a:lnTo>
                <a:lnTo>
                  <a:pt x="10195" y="5775"/>
                </a:lnTo>
                <a:close/>
                <a:moveTo>
                  <a:pt x="6798" y="9171"/>
                </a:moveTo>
                <a:lnTo>
                  <a:pt x="6798" y="11361"/>
                </a:lnTo>
                <a:lnTo>
                  <a:pt x="2269" y="11361"/>
                </a:lnTo>
                <a:lnTo>
                  <a:pt x="2269" y="9171"/>
                </a:lnTo>
                <a:close/>
                <a:moveTo>
                  <a:pt x="14724" y="9171"/>
                </a:moveTo>
                <a:lnTo>
                  <a:pt x="14724" y="11361"/>
                </a:lnTo>
                <a:lnTo>
                  <a:pt x="10195" y="11361"/>
                </a:lnTo>
                <a:lnTo>
                  <a:pt x="10195" y="9171"/>
                </a:lnTo>
                <a:close/>
                <a:moveTo>
                  <a:pt x="6798" y="12493"/>
                </a:moveTo>
                <a:lnTo>
                  <a:pt x="6798" y="13625"/>
                </a:lnTo>
                <a:lnTo>
                  <a:pt x="2269" y="13625"/>
                </a:lnTo>
                <a:lnTo>
                  <a:pt x="2269" y="12493"/>
                </a:lnTo>
                <a:close/>
                <a:moveTo>
                  <a:pt x="14724" y="12493"/>
                </a:moveTo>
                <a:lnTo>
                  <a:pt x="14724" y="13625"/>
                </a:lnTo>
                <a:lnTo>
                  <a:pt x="10195" y="13625"/>
                </a:lnTo>
                <a:lnTo>
                  <a:pt x="10195" y="12493"/>
                </a:lnTo>
                <a:close/>
                <a:moveTo>
                  <a:pt x="6798" y="14757"/>
                </a:moveTo>
                <a:lnTo>
                  <a:pt x="6798" y="18191"/>
                </a:lnTo>
                <a:lnTo>
                  <a:pt x="2833" y="18191"/>
                </a:lnTo>
                <a:cubicBezTo>
                  <a:pt x="2519" y="18191"/>
                  <a:pt x="2269" y="17937"/>
                  <a:pt x="2269" y="17626"/>
                </a:cubicBezTo>
                <a:lnTo>
                  <a:pt x="2269" y="14757"/>
                </a:lnTo>
                <a:close/>
                <a:moveTo>
                  <a:pt x="9062" y="5775"/>
                </a:moveTo>
                <a:lnTo>
                  <a:pt x="9062" y="18191"/>
                </a:lnTo>
                <a:lnTo>
                  <a:pt x="7930" y="18191"/>
                </a:lnTo>
                <a:lnTo>
                  <a:pt x="7930" y="5775"/>
                </a:lnTo>
                <a:close/>
                <a:moveTo>
                  <a:pt x="14724" y="14757"/>
                </a:moveTo>
                <a:lnTo>
                  <a:pt x="14724" y="17626"/>
                </a:lnTo>
                <a:cubicBezTo>
                  <a:pt x="14724" y="17937"/>
                  <a:pt x="14470" y="18191"/>
                  <a:pt x="14156" y="18191"/>
                </a:cubicBezTo>
                <a:lnTo>
                  <a:pt x="10195" y="18191"/>
                </a:lnTo>
                <a:lnTo>
                  <a:pt x="10195" y="14757"/>
                </a:lnTo>
                <a:close/>
                <a:moveTo>
                  <a:pt x="4235" y="0"/>
                </a:moveTo>
                <a:cubicBezTo>
                  <a:pt x="3860" y="0"/>
                  <a:pt x="3484" y="68"/>
                  <a:pt x="3123" y="207"/>
                </a:cubicBezTo>
                <a:cubicBezTo>
                  <a:pt x="2096" y="599"/>
                  <a:pt x="1351" y="1508"/>
                  <a:pt x="1172" y="2595"/>
                </a:cubicBezTo>
                <a:cubicBezTo>
                  <a:pt x="1052" y="3314"/>
                  <a:pt x="1224" y="4050"/>
                  <a:pt x="1653" y="4642"/>
                </a:cubicBezTo>
                <a:cubicBezTo>
                  <a:pt x="732" y="4666"/>
                  <a:pt x="1" y="5421"/>
                  <a:pt x="1" y="6339"/>
                </a:cubicBezTo>
                <a:lnTo>
                  <a:pt x="4" y="8604"/>
                </a:lnTo>
                <a:cubicBezTo>
                  <a:pt x="4" y="8918"/>
                  <a:pt x="255" y="9171"/>
                  <a:pt x="569" y="9171"/>
                </a:cubicBezTo>
                <a:lnTo>
                  <a:pt x="1136" y="9171"/>
                </a:lnTo>
                <a:lnTo>
                  <a:pt x="1136" y="17626"/>
                </a:lnTo>
                <a:cubicBezTo>
                  <a:pt x="1136" y="18562"/>
                  <a:pt x="1894" y="19323"/>
                  <a:pt x="2833" y="19323"/>
                </a:cubicBezTo>
                <a:lnTo>
                  <a:pt x="14156" y="19323"/>
                </a:lnTo>
                <a:cubicBezTo>
                  <a:pt x="15095" y="19323"/>
                  <a:pt x="15853" y="18562"/>
                  <a:pt x="15856" y="17626"/>
                </a:cubicBezTo>
                <a:lnTo>
                  <a:pt x="15856" y="9171"/>
                </a:lnTo>
                <a:lnTo>
                  <a:pt x="16421" y="9171"/>
                </a:lnTo>
                <a:cubicBezTo>
                  <a:pt x="16735" y="9171"/>
                  <a:pt x="16988" y="8918"/>
                  <a:pt x="16988" y="8604"/>
                </a:cubicBezTo>
                <a:lnTo>
                  <a:pt x="16988" y="6339"/>
                </a:lnTo>
                <a:cubicBezTo>
                  <a:pt x="16988" y="5418"/>
                  <a:pt x="16255" y="4666"/>
                  <a:pt x="15337" y="4642"/>
                </a:cubicBezTo>
                <a:cubicBezTo>
                  <a:pt x="15762" y="4050"/>
                  <a:pt x="15938" y="3314"/>
                  <a:pt x="15817" y="2595"/>
                </a:cubicBezTo>
                <a:cubicBezTo>
                  <a:pt x="15636" y="1508"/>
                  <a:pt x="14893" y="599"/>
                  <a:pt x="13866" y="207"/>
                </a:cubicBezTo>
                <a:cubicBezTo>
                  <a:pt x="13506" y="68"/>
                  <a:pt x="13129" y="0"/>
                  <a:pt x="12755" y="0"/>
                </a:cubicBezTo>
                <a:cubicBezTo>
                  <a:pt x="12061" y="0"/>
                  <a:pt x="11376" y="233"/>
                  <a:pt x="10817" y="681"/>
                </a:cubicBezTo>
                <a:lnTo>
                  <a:pt x="9742" y="1535"/>
                </a:lnTo>
                <a:cubicBezTo>
                  <a:pt x="9348" y="1340"/>
                  <a:pt x="8920" y="1243"/>
                  <a:pt x="8494" y="1243"/>
                </a:cubicBezTo>
                <a:cubicBezTo>
                  <a:pt x="8067" y="1243"/>
                  <a:pt x="7640" y="1340"/>
                  <a:pt x="7248" y="1535"/>
                </a:cubicBezTo>
                <a:lnTo>
                  <a:pt x="6173" y="681"/>
                </a:lnTo>
                <a:cubicBezTo>
                  <a:pt x="5614" y="233"/>
                  <a:pt x="4928" y="0"/>
                  <a:pt x="4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82" name="Google Shape;9182;p75"/>
          <p:cNvGrpSpPr/>
          <p:nvPr/>
        </p:nvGrpSpPr>
        <p:grpSpPr>
          <a:xfrm>
            <a:off x="6760439" y="3545107"/>
            <a:ext cx="276236" cy="340151"/>
            <a:chOff x="3316000" y="4399325"/>
            <a:chExt cx="392325" cy="483100"/>
          </a:xfrm>
        </p:grpSpPr>
        <p:sp>
          <p:nvSpPr>
            <p:cNvPr id="9183" name="Google Shape;9183;p75"/>
            <p:cNvSpPr/>
            <p:nvPr/>
          </p:nvSpPr>
          <p:spPr>
            <a:xfrm>
              <a:off x="3316000" y="4399325"/>
              <a:ext cx="392325" cy="483100"/>
            </a:xfrm>
            <a:custGeom>
              <a:avLst/>
              <a:gdLst/>
              <a:ahLst/>
              <a:cxnLst/>
              <a:rect l="l" t="t" r="r" b="b"/>
              <a:pathLst>
                <a:path w="15693" h="19324" extrusionOk="0">
                  <a:moveTo>
                    <a:pt x="7824" y="1132"/>
                  </a:moveTo>
                  <a:cubicBezTo>
                    <a:pt x="8714" y="1132"/>
                    <a:pt x="9554" y="1551"/>
                    <a:pt x="10088" y="2264"/>
                  </a:cubicBezTo>
                  <a:cubicBezTo>
                    <a:pt x="9551" y="2977"/>
                    <a:pt x="8711" y="3393"/>
                    <a:pt x="7824" y="3396"/>
                  </a:cubicBezTo>
                  <a:lnTo>
                    <a:pt x="5049" y="3396"/>
                  </a:lnTo>
                  <a:cubicBezTo>
                    <a:pt x="5321" y="2080"/>
                    <a:pt x="6477" y="1135"/>
                    <a:pt x="7824" y="1132"/>
                  </a:cubicBezTo>
                  <a:close/>
                  <a:moveTo>
                    <a:pt x="10595" y="3393"/>
                  </a:moveTo>
                  <a:cubicBezTo>
                    <a:pt x="10635" y="3580"/>
                    <a:pt x="10653" y="3771"/>
                    <a:pt x="10653" y="3964"/>
                  </a:cubicBezTo>
                  <a:lnTo>
                    <a:pt x="10653" y="6304"/>
                  </a:lnTo>
                  <a:cubicBezTo>
                    <a:pt x="10653" y="7865"/>
                    <a:pt x="9385" y="9133"/>
                    <a:pt x="7824" y="9133"/>
                  </a:cubicBezTo>
                  <a:cubicBezTo>
                    <a:pt x="6260" y="9133"/>
                    <a:pt x="4991" y="7865"/>
                    <a:pt x="4991" y="6304"/>
                  </a:cubicBezTo>
                  <a:lnTo>
                    <a:pt x="4991" y="4529"/>
                  </a:lnTo>
                  <a:lnTo>
                    <a:pt x="7824" y="4529"/>
                  </a:lnTo>
                  <a:cubicBezTo>
                    <a:pt x="8859" y="4525"/>
                    <a:pt x="9856" y="4121"/>
                    <a:pt x="10595" y="3393"/>
                  </a:cubicBezTo>
                  <a:close/>
                  <a:moveTo>
                    <a:pt x="6465" y="10027"/>
                  </a:moveTo>
                  <a:cubicBezTo>
                    <a:pt x="6903" y="10187"/>
                    <a:pt x="7362" y="10267"/>
                    <a:pt x="7823" y="10267"/>
                  </a:cubicBezTo>
                  <a:cubicBezTo>
                    <a:pt x="8283" y="10267"/>
                    <a:pt x="8743" y="10187"/>
                    <a:pt x="9182" y="10027"/>
                  </a:cubicBezTo>
                  <a:lnTo>
                    <a:pt x="9182" y="10027"/>
                  </a:lnTo>
                  <a:lnTo>
                    <a:pt x="7824" y="12071"/>
                  </a:lnTo>
                  <a:lnTo>
                    <a:pt x="6465" y="10027"/>
                  </a:lnTo>
                  <a:close/>
                  <a:moveTo>
                    <a:pt x="10152" y="10610"/>
                  </a:moveTo>
                  <a:lnTo>
                    <a:pt x="11051" y="11476"/>
                  </a:lnTo>
                  <a:lnTo>
                    <a:pt x="9433" y="13904"/>
                  </a:lnTo>
                  <a:lnTo>
                    <a:pt x="8551" y="13022"/>
                  </a:lnTo>
                  <a:lnTo>
                    <a:pt x="10152" y="10610"/>
                  </a:lnTo>
                  <a:close/>
                  <a:moveTo>
                    <a:pt x="5493" y="10610"/>
                  </a:moveTo>
                  <a:lnTo>
                    <a:pt x="7096" y="13022"/>
                  </a:lnTo>
                  <a:lnTo>
                    <a:pt x="6211" y="13907"/>
                  </a:lnTo>
                  <a:lnTo>
                    <a:pt x="4593" y="11476"/>
                  </a:lnTo>
                  <a:lnTo>
                    <a:pt x="5493" y="10610"/>
                  </a:lnTo>
                  <a:close/>
                  <a:moveTo>
                    <a:pt x="3630" y="12074"/>
                  </a:moveTo>
                  <a:lnTo>
                    <a:pt x="5653" y="15109"/>
                  </a:lnTo>
                  <a:cubicBezTo>
                    <a:pt x="5746" y="15251"/>
                    <a:pt x="5900" y="15341"/>
                    <a:pt x="6069" y="15356"/>
                  </a:cubicBezTo>
                  <a:cubicBezTo>
                    <a:pt x="6087" y="15359"/>
                    <a:pt x="6106" y="15359"/>
                    <a:pt x="6124" y="15359"/>
                  </a:cubicBezTo>
                  <a:cubicBezTo>
                    <a:pt x="6275" y="15359"/>
                    <a:pt x="6417" y="15302"/>
                    <a:pt x="6525" y="15193"/>
                  </a:cubicBezTo>
                  <a:lnTo>
                    <a:pt x="7256" y="14463"/>
                  </a:lnTo>
                  <a:lnTo>
                    <a:pt x="7256" y="18192"/>
                  </a:lnTo>
                  <a:lnTo>
                    <a:pt x="2247" y="18192"/>
                  </a:lnTo>
                  <a:lnTo>
                    <a:pt x="1332" y="13502"/>
                  </a:lnTo>
                  <a:cubicBezTo>
                    <a:pt x="1329" y="13493"/>
                    <a:pt x="1326" y="13484"/>
                    <a:pt x="1326" y="13475"/>
                  </a:cubicBezTo>
                  <a:cubicBezTo>
                    <a:pt x="1235" y="13110"/>
                    <a:pt x="1438" y="12735"/>
                    <a:pt x="1791" y="12612"/>
                  </a:cubicBezTo>
                  <a:lnTo>
                    <a:pt x="3630" y="12074"/>
                  </a:lnTo>
                  <a:close/>
                  <a:moveTo>
                    <a:pt x="12015" y="12074"/>
                  </a:moveTo>
                  <a:lnTo>
                    <a:pt x="13899" y="12612"/>
                  </a:lnTo>
                  <a:cubicBezTo>
                    <a:pt x="14252" y="12735"/>
                    <a:pt x="14454" y="13110"/>
                    <a:pt x="14367" y="13475"/>
                  </a:cubicBezTo>
                  <a:cubicBezTo>
                    <a:pt x="14364" y="13481"/>
                    <a:pt x="14361" y="13490"/>
                    <a:pt x="14361" y="13496"/>
                  </a:cubicBezTo>
                  <a:lnTo>
                    <a:pt x="13395" y="18192"/>
                  </a:lnTo>
                  <a:lnTo>
                    <a:pt x="8388" y="18192"/>
                  </a:lnTo>
                  <a:lnTo>
                    <a:pt x="8388" y="14463"/>
                  </a:lnTo>
                  <a:lnTo>
                    <a:pt x="9119" y="15196"/>
                  </a:lnTo>
                  <a:cubicBezTo>
                    <a:pt x="9228" y="15302"/>
                    <a:pt x="9370" y="15362"/>
                    <a:pt x="9521" y="15362"/>
                  </a:cubicBezTo>
                  <a:cubicBezTo>
                    <a:pt x="9539" y="15362"/>
                    <a:pt x="9557" y="15359"/>
                    <a:pt x="9578" y="15359"/>
                  </a:cubicBezTo>
                  <a:cubicBezTo>
                    <a:pt x="9744" y="15341"/>
                    <a:pt x="9898" y="15251"/>
                    <a:pt x="9992" y="15109"/>
                  </a:cubicBezTo>
                  <a:lnTo>
                    <a:pt x="12015" y="12074"/>
                  </a:lnTo>
                  <a:close/>
                  <a:moveTo>
                    <a:pt x="7823" y="1"/>
                  </a:moveTo>
                  <a:cubicBezTo>
                    <a:pt x="7476" y="1"/>
                    <a:pt x="7126" y="46"/>
                    <a:pt x="6779" y="141"/>
                  </a:cubicBezTo>
                  <a:cubicBezTo>
                    <a:pt x="5055" y="612"/>
                    <a:pt x="3859" y="2176"/>
                    <a:pt x="3859" y="3964"/>
                  </a:cubicBezTo>
                  <a:lnTo>
                    <a:pt x="3859" y="6304"/>
                  </a:lnTo>
                  <a:cubicBezTo>
                    <a:pt x="3859" y="7355"/>
                    <a:pt x="4279" y="8363"/>
                    <a:pt x="5022" y="9106"/>
                  </a:cubicBezTo>
                  <a:lnTo>
                    <a:pt x="5022" y="9489"/>
                  </a:lnTo>
                  <a:lnTo>
                    <a:pt x="3539" y="10921"/>
                  </a:lnTo>
                  <a:lnTo>
                    <a:pt x="1462" y="11528"/>
                  </a:lnTo>
                  <a:lnTo>
                    <a:pt x="1444" y="11534"/>
                  </a:lnTo>
                  <a:cubicBezTo>
                    <a:pt x="529" y="11842"/>
                    <a:pt x="0" y="12796"/>
                    <a:pt x="221" y="13735"/>
                  </a:cubicBezTo>
                  <a:lnTo>
                    <a:pt x="1223" y="18868"/>
                  </a:lnTo>
                  <a:cubicBezTo>
                    <a:pt x="1274" y="19131"/>
                    <a:pt x="1507" y="19324"/>
                    <a:pt x="1779" y="19324"/>
                  </a:cubicBezTo>
                  <a:cubicBezTo>
                    <a:pt x="1794" y="19324"/>
                    <a:pt x="1809" y="19324"/>
                    <a:pt x="1824" y="19321"/>
                  </a:cubicBezTo>
                  <a:cubicBezTo>
                    <a:pt x="1839" y="19321"/>
                    <a:pt x="1854" y="19324"/>
                    <a:pt x="1869" y="19324"/>
                  </a:cubicBezTo>
                  <a:lnTo>
                    <a:pt x="13856" y="19324"/>
                  </a:lnTo>
                  <a:cubicBezTo>
                    <a:pt x="14125" y="19324"/>
                    <a:pt x="14358" y="19134"/>
                    <a:pt x="14412" y="18871"/>
                  </a:cubicBezTo>
                  <a:lnTo>
                    <a:pt x="15469" y="13735"/>
                  </a:lnTo>
                  <a:cubicBezTo>
                    <a:pt x="15692" y="12796"/>
                    <a:pt x="15164" y="11842"/>
                    <a:pt x="14249" y="11534"/>
                  </a:cubicBezTo>
                  <a:lnTo>
                    <a:pt x="14225" y="11525"/>
                  </a:lnTo>
                  <a:lnTo>
                    <a:pt x="12108" y="10921"/>
                  </a:lnTo>
                  <a:lnTo>
                    <a:pt x="10623" y="9489"/>
                  </a:lnTo>
                  <a:lnTo>
                    <a:pt x="10623" y="9103"/>
                  </a:lnTo>
                  <a:cubicBezTo>
                    <a:pt x="11368" y="8363"/>
                    <a:pt x="11785" y="7355"/>
                    <a:pt x="11785" y="6304"/>
                  </a:cubicBezTo>
                  <a:lnTo>
                    <a:pt x="11785" y="3964"/>
                  </a:lnTo>
                  <a:cubicBezTo>
                    <a:pt x="11785" y="3281"/>
                    <a:pt x="11610" y="2611"/>
                    <a:pt x="11275" y="2019"/>
                  </a:cubicBezTo>
                  <a:cubicBezTo>
                    <a:pt x="11263" y="1995"/>
                    <a:pt x="11251" y="1971"/>
                    <a:pt x="11233" y="1950"/>
                  </a:cubicBezTo>
                  <a:cubicBezTo>
                    <a:pt x="10507" y="720"/>
                    <a:pt x="9197" y="1"/>
                    <a:pt x="78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84" name="Google Shape;9184;p75"/>
            <p:cNvSpPr/>
            <p:nvPr/>
          </p:nvSpPr>
          <p:spPr>
            <a:xfrm>
              <a:off x="3582300" y="4797475"/>
              <a:ext cx="56650" cy="28350"/>
            </a:xfrm>
            <a:custGeom>
              <a:avLst/>
              <a:gdLst/>
              <a:ahLst/>
              <a:cxnLst/>
              <a:rect l="l" t="t" r="r" b="b"/>
              <a:pathLst>
                <a:path w="2266" h="1134" extrusionOk="0">
                  <a:moveTo>
                    <a:pt x="569" y="1"/>
                  </a:moveTo>
                  <a:cubicBezTo>
                    <a:pt x="254" y="1"/>
                    <a:pt x="1" y="255"/>
                    <a:pt x="1" y="569"/>
                  </a:cubicBezTo>
                  <a:cubicBezTo>
                    <a:pt x="1" y="880"/>
                    <a:pt x="254" y="1133"/>
                    <a:pt x="569"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85" name="Google Shape;9185;p75"/>
          <p:cNvGrpSpPr/>
          <p:nvPr/>
        </p:nvGrpSpPr>
        <p:grpSpPr>
          <a:xfrm>
            <a:off x="7185179" y="3545089"/>
            <a:ext cx="254022" cy="340186"/>
            <a:chOff x="3926225" y="4399275"/>
            <a:chExt cx="360775" cy="483150"/>
          </a:xfrm>
        </p:grpSpPr>
        <p:sp>
          <p:nvSpPr>
            <p:cNvPr id="9186" name="Google Shape;9186;p75"/>
            <p:cNvSpPr/>
            <p:nvPr/>
          </p:nvSpPr>
          <p:spPr>
            <a:xfrm>
              <a:off x="4163400" y="4797475"/>
              <a:ext cx="56650" cy="28350"/>
            </a:xfrm>
            <a:custGeom>
              <a:avLst/>
              <a:gdLst/>
              <a:ahLst/>
              <a:cxnLst/>
              <a:rect l="l" t="t" r="r" b="b"/>
              <a:pathLst>
                <a:path w="2266" h="1134" extrusionOk="0">
                  <a:moveTo>
                    <a:pt x="568" y="1"/>
                  </a:moveTo>
                  <a:cubicBezTo>
                    <a:pt x="254" y="1"/>
                    <a:pt x="1" y="255"/>
                    <a:pt x="1" y="569"/>
                  </a:cubicBezTo>
                  <a:cubicBezTo>
                    <a:pt x="1" y="880"/>
                    <a:pt x="254" y="1133"/>
                    <a:pt x="568"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87" name="Google Shape;9187;p75"/>
            <p:cNvSpPr/>
            <p:nvPr/>
          </p:nvSpPr>
          <p:spPr>
            <a:xfrm>
              <a:off x="3926225" y="4399275"/>
              <a:ext cx="360775" cy="483150"/>
            </a:xfrm>
            <a:custGeom>
              <a:avLst/>
              <a:gdLst/>
              <a:ahLst/>
              <a:cxnLst/>
              <a:rect l="l" t="t" r="r" b="b"/>
              <a:pathLst>
                <a:path w="14431" h="19326" extrusionOk="0">
                  <a:moveTo>
                    <a:pt x="10055" y="1134"/>
                  </a:moveTo>
                  <a:cubicBezTo>
                    <a:pt x="10547" y="1134"/>
                    <a:pt x="10985" y="1457"/>
                    <a:pt x="11133" y="1928"/>
                  </a:cubicBezTo>
                  <a:cubicBezTo>
                    <a:pt x="11281" y="2399"/>
                    <a:pt x="11106" y="2912"/>
                    <a:pt x="10698" y="3196"/>
                  </a:cubicBezTo>
                  <a:cubicBezTo>
                    <a:pt x="10692" y="3181"/>
                    <a:pt x="10683" y="3169"/>
                    <a:pt x="10677" y="3154"/>
                  </a:cubicBezTo>
                  <a:cubicBezTo>
                    <a:pt x="10665" y="3129"/>
                    <a:pt x="10650" y="3105"/>
                    <a:pt x="10635" y="3081"/>
                  </a:cubicBezTo>
                  <a:cubicBezTo>
                    <a:pt x="10270" y="2468"/>
                    <a:pt x="9750" y="1964"/>
                    <a:pt x="9125" y="1620"/>
                  </a:cubicBezTo>
                  <a:cubicBezTo>
                    <a:pt x="9337" y="1318"/>
                    <a:pt x="9684" y="1134"/>
                    <a:pt x="10055" y="1134"/>
                  </a:cubicBezTo>
                  <a:close/>
                  <a:moveTo>
                    <a:pt x="7223" y="2266"/>
                  </a:moveTo>
                  <a:cubicBezTo>
                    <a:pt x="8114" y="2266"/>
                    <a:pt x="8953" y="2686"/>
                    <a:pt x="9488" y="3398"/>
                  </a:cubicBezTo>
                  <a:cubicBezTo>
                    <a:pt x="8953" y="4111"/>
                    <a:pt x="8114" y="4527"/>
                    <a:pt x="7223" y="4531"/>
                  </a:cubicBezTo>
                  <a:lnTo>
                    <a:pt x="4448" y="4531"/>
                  </a:lnTo>
                  <a:cubicBezTo>
                    <a:pt x="4720" y="3214"/>
                    <a:pt x="5879" y="2269"/>
                    <a:pt x="7223" y="2266"/>
                  </a:cubicBezTo>
                  <a:close/>
                  <a:moveTo>
                    <a:pt x="9998" y="4527"/>
                  </a:moveTo>
                  <a:cubicBezTo>
                    <a:pt x="10034" y="4715"/>
                    <a:pt x="10055" y="4905"/>
                    <a:pt x="10055" y="5098"/>
                  </a:cubicBezTo>
                  <a:lnTo>
                    <a:pt x="10055" y="7363"/>
                  </a:lnTo>
                  <a:cubicBezTo>
                    <a:pt x="10055" y="8924"/>
                    <a:pt x="8787" y="10192"/>
                    <a:pt x="7223" y="10192"/>
                  </a:cubicBezTo>
                  <a:cubicBezTo>
                    <a:pt x="5659" y="10192"/>
                    <a:pt x="4394" y="8924"/>
                    <a:pt x="4394" y="7363"/>
                  </a:cubicBezTo>
                  <a:lnTo>
                    <a:pt x="4394" y="5663"/>
                  </a:lnTo>
                  <a:lnTo>
                    <a:pt x="7223" y="5663"/>
                  </a:lnTo>
                  <a:cubicBezTo>
                    <a:pt x="8262" y="5660"/>
                    <a:pt x="9255" y="5255"/>
                    <a:pt x="9998" y="4527"/>
                  </a:cubicBezTo>
                  <a:close/>
                  <a:moveTo>
                    <a:pt x="5526" y="10941"/>
                  </a:moveTo>
                  <a:cubicBezTo>
                    <a:pt x="6063" y="11196"/>
                    <a:pt x="6643" y="11324"/>
                    <a:pt x="7224" y="11324"/>
                  </a:cubicBezTo>
                  <a:cubicBezTo>
                    <a:pt x="7777" y="11324"/>
                    <a:pt x="8331" y="11208"/>
                    <a:pt x="8847" y="10977"/>
                  </a:cubicBezTo>
                  <a:lnTo>
                    <a:pt x="8847" y="11967"/>
                  </a:lnTo>
                  <a:cubicBezTo>
                    <a:pt x="8847" y="12227"/>
                    <a:pt x="9026" y="12454"/>
                    <a:pt x="9279" y="12517"/>
                  </a:cubicBezTo>
                  <a:lnTo>
                    <a:pt x="9466" y="12562"/>
                  </a:lnTo>
                  <a:cubicBezTo>
                    <a:pt x="8899" y="13298"/>
                    <a:pt x="8061" y="13665"/>
                    <a:pt x="7223" y="13665"/>
                  </a:cubicBezTo>
                  <a:cubicBezTo>
                    <a:pt x="6379" y="13665"/>
                    <a:pt x="5536" y="13293"/>
                    <a:pt x="4970" y="12547"/>
                  </a:cubicBezTo>
                  <a:lnTo>
                    <a:pt x="5097" y="12514"/>
                  </a:lnTo>
                  <a:cubicBezTo>
                    <a:pt x="5348" y="12454"/>
                    <a:pt x="5526" y="12227"/>
                    <a:pt x="5526" y="11964"/>
                  </a:cubicBezTo>
                  <a:lnTo>
                    <a:pt x="5526" y="10941"/>
                  </a:lnTo>
                  <a:close/>
                  <a:moveTo>
                    <a:pt x="3805" y="12837"/>
                  </a:moveTo>
                  <a:cubicBezTo>
                    <a:pt x="4515" y="14051"/>
                    <a:pt x="5813" y="14794"/>
                    <a:pt x="7217" y="14797"/>
                  </a:cubicBezTo>
                  <a:cubicBezTo>
                    <a:pt x="7220" y="14797"/>
                    <a:pt x="7223" y="14797"/>
                    <a:pt x="7225" y="14797"/>
                  </a:cubicBezTo>
                  <a:cubicBezTo>
                    <a:pt x="8626" y="14797"/>
                    <a:pt x="9924" y="14054"/>
                    <a:pt x="10635" y="12849"/>
                  </a:cubicBezTo>
                  <a:lnTo>
                    <a:pt x="11767" y="13124"/>
                  </a:lnTo>
                  <a:cubicBezTo>
                    <a:pt x="12649" y="13344"/>
                    <a:pt x="13201" y="14217"/>
                    <a:pt x="13020" y="15105"/>
                  </a:cubicBezTo>
                  <a:lnTo>
                    <a:pt x="12404" y="18194"/>
                  </a:lnTo>
                  <a:lnTo>
                    <a:pt x="2027" y="18194"/>
                  </a:lnTo>
                  <a:lnTo>
                    <a:pt x="1408" y="15105"/>
                  </a:lnTo>
                  <a:cubicBezTo>
                    <a:pt x="1229" y="14214"/>
                    <a:pt x="1782" y="13341"/>
                    <a:pt x="2661" y="13124"/>
                  </a:cubicBezTo>
                  <a:lnTo>
                    <a:pt x="3805" y="12837"/>
                  </a:lnTo>
                  <a:close/>
                  <a:moveTo>
                    <a:pt x="10061" y="0"/>
                  </a:moveTo>
                  <a:cubicBezTo>
                    <a:pt x="9256" y="0"/>
                    <a:pt x="8461" y="426"/>
                    <a:pt x="8047" y="1221"/>
                  </a:cubicBezTo>
                  <a:cubicBezTo>
                    <a:pt x="7767" y="1162"/>
                    <a:pt x="7489" y="1134"/>
                    <a:pt x="7216" y="1134"/>
                  </a:cubicBezTo>
                  <a:cubicBezTo>
                    <a:pt x="5084" y="1134"/>
                    <a:pt x="3261" y="2863"/>
                    <a:pt x="3261" y="5098"/>
                  </a:cubicBezTo>
                  <a:lnTo>
                    <a:pt x="3261" y="7363"/>
                  </a:lnTo>
                  <a:cubicBezTo>
                    <a:pt x="3258" y="8398"/>
                    <a:pt x="3666" y="9392"/>
                    <a:pt x="4394" y="10132"/>
                  </a:cubicBezTo>
                  <a:lnTo>
                    <a:pt x="4394" y="11524"/>
                  </a:lnTo>
                  <a:lnTo>
                    <a:pt x="2386" y="12025"/>
                  </a:lnTo>
                  <a:cubicBezTo>
                    <a:pt x="921" y="12390"/>
                    <a:pt x="0" y="13846"/>
                    <a:pt x="299" y="15328"/>
                  </a:cubicBezTo>
                  <a:lnTo>
                    <a:pt x="1006" y="18870"/>
                  </a:lnTo>
                  <a:cubicBezTo>
                    <a:pt x="1060" y="19136"/>
                    <a:pt x="1293" y="19326"/>
                    <a:pt x="1562" y="19326"/>
                  </a:cubicBezTo>
                  <a:lnTo>
                    <a:pt x="12866" y="19326"/>
                  </a:lnTo>
                  <a:cubicBezTo>
                    <a:pt x="13138" y="19326"/>
                    <a:pt x="13371" y="19136"/>
                    <a:pt x="13422" y="18870"/>
                  </a:cubicBezTo>
                  <a:lnTo>
                    <a:pt x="14131" y="15328"/>
                  </a:lnTo>
                  <a:cubicBezTo>
                    <a:pt x="14430" y="13842"/>
                    <a:pt x="13506" y="12387"/>
                    <a:pt x="12039" y="12025"/>
                  </a:cubicBezTo>
                  <a:lnTo>
                    <a:pt x="10569" y="11665"/>
                  </a:lnTo>
                  <a:lnTo>
                    <a:pt x="10565" y="11665"/>
                  </a:lnTo>
                  <a:cubicBezTo>
                    <a:pt x="10505" y="11638"/>
                    <a:pt x="10445" y="11626"/>
                    <a:pt x="10378" y="11620"/>
                  </a:cubicBezTo>
                  <a:lnTo>
                    <a:pt x="9980" y="11524"/>
                  </a:lnTo>
                  <a:lnTo>
                    <a:pt x="9980" y="10207"/>
                  </a:lnTo>
                  <a:cubicBezTo>
                    <a:pt x="10750" y="9461"/>
                    <a:pt x="11188" y="8435"/>
                    <a:pt x="11188" y="7363"/>
                  </a:cubicBezTo>
                  <a:lnTo>
                    <a:pt x="11188" y="5098"/>
                  </a:lnTo>
                  <a:cubicBezTo>
                    <a:pt x="11188" y="4820"/>
                    <a:pt x="11157" y="4546"/>
                    <a:pt x="11100" y="4274"/>
                  </a:cubicBezTo>
                  <a:cubicBezTo>
                    <a:pt x="12459" y="3567"/>
                    <a:pt x="12739" y="1747"/>
                    <a:pt x="11659" y="663"/>
                  </a:cubicBezTo>
                  <a:cubicBezTo>
                    <a:pt x="11209" y="214"/>
                    <a:pt x="10632" y="0"/>
                    <a:pt x="100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188" name="Google Shape;9188;p75"/>
          <p:cNvSpPr/>
          <p:nvPr/>
        </p:nvSpPr>
        <p:spPr>
          <a:xfrm>
            <a:off x="7645633" y="3544578"/>
            <a:ext cx="179387" cy="340116"/>
          </a:xfrm>
          <a:custGeom>
            <a:avLst/>
            <a:gdLst/>
            <a:ahLst/>
            <a:cxnLst/>
            <a:rect l="l" t="t" r="r" b="b"/>
            <a:pathLst>
              <a:path w="10191" h="19322" extrusionOk="0">
                <a:moveTo>
                  <a:pt x="5102" y="1126"/>
                </a:moveTo>
                <a:cubicBezTo>
                  <a:pt x="5353" y="1126"/>
                  <a:pt x="5610" y="1220"/>
                  <a:pt x="5819" y="1429"/>
                </a:cubicBezTo>
                <a:cubicBezTo>
                  <a:pt x="6115" y="1724"/>
                  <a:pt x="6202" y="2165"/>
                  <a:pt x="6042" y="2549"/>
                </a:cubicBezTo>
                <a:cubicBezTo>
                  <a:pt x="5882" y="2932"/>
                  <a:pt x="5508" y="3180"/>
                  <a:pt x="5094" y="3180"/>
                </a:cubicBezTo>
                <a:cubicBezTo>
                  <a:pt x="4526" y="3180"/>
                  <a:pt x="4070" y="2721"/>
                  <a:pt x="4067" y="2156"/>
                </a:cubicBezTo>
                <a:cubicBezTo>
                  <a:pt x="4067" y="1537"/>
                  <a:pt x="4574" y="1126"/>
                  <a:pt x="5102" y="1126"/>
                </a:cubicBezTo>
                <a:close/>
                <a:moveTo>
                  <a:pt x="7513" y="5432"/>
                </a:moveTo>
                <a:cubicBezTo>
                  <a:pt x="8364" y="5432"/>
                  <a:pt x="9059" y="6214"/>
                  <a:pt x="9059" y="7175"/>
                </a:cubicBezTo>
                <a:lnTo>
                  <a:pt x="9059" y="10433"/>
                </a:lnTo>
                <a:cubicBezTo>
                  <a:pt x="9059" y="10747"/>
                  <a:pt x="8805" y="11000"/>
                  <a:pt x="8491" y="11000"/>
                </a:cubicBezTo>
                <a:cubicBezTo>
                  <a:pt x="8177" y="11000"/>
                  <a:pt x="7926" y="10747"/>
                  <a:pt x="7926" y="10433"/>
                </a:cubicBezTo>
                <a:lnTo>
                  <a:pt x="7926" y="7395"/>
                </a:lnTo>
                <a:cubicBezTo>
                  <a:pt x="7926" y="7081"/>
                  <a:pt x="7673" y="6830"/>
                  <a:pt x="7359" y="6830"/>
                </a:cubicBezTo>
                <a:cubicBezTo>
                  <a:pt x="7045" y="6830"/>
                  <a:pt x="6794" y="7081"/>
                  <a:pt x="6794" y="7395"/>
                </a:cubicBezTo>
                <a:lnTo>
                  <a:pt x="6794" y="17625"/>
                </a:lnTo>
                <a:cubicBezTo>
                  <a:pt x="6794" y="17936"/>
                  <a:pt x="6540" y="18190"/>
                  <a:pt x="6226" y="18190"/>
                </a:cubicBezTo>
                <a:cubicBezTo>
                  <a:pt x="5912" y="18190"/>
                  <a:pt x="5662" y="17936"/>
                  <a:pt x="5662" y="17625"/>
                </a:cubicBezTo>
                <a:lnTo>
                  <a:pt x="5662" y="11867"/>
                </a:lnTo>
                <a:cubicBezTo>
                  <a:pt x="5662" y="11556"/>
                  <a:pt x="5408" y="11302"/>
                  <a:pt x="5094" y="11302"/>
                </a:cubicBezTo>
                <a:cubicBezTo>
                  <a:pt x="4780" y="11302"/>
                  <a:pt x="4529" y="11556"/>
                  <a:pt x="4529" y="11867"/>
                </a:cubicBezTo>
                <a:lnTo>
                  <a:pt x="4529" y="17625"/>
                </a:lnTo>
                <a:cubicBezTo>
                  <a:pt x="4529" y="17936"/>
                  <a:pt x="4276" y="18190"/>
                  <a:pt x="3962" y="18190"/>
                </a:cubicBezTo>
                <a:cubicBezTo>
                  <a:pt x="3648" y="18190"/>
                  <a:pt x="3397" y="17936"/>
                  <a:pt x="3397" y="17625"/>
                </a:cubicBezTo>
                <a:lnTo>
                  <a:pt x="3397" y="7395"/>
                </a:lnTo>
                <a:cubicBezTo>
                  <a:pt x="3397" y="7081"/>
                  <a:pt x="3143" y="6830"/>
                  <a:pt x="2829" y="6830"/>
                </a:cubicBezTo>
                <a:cubicBezTo>
                  <a:pt x="2515" y="6830"/>
                  <a:pt x="2265" y="7081"/>
                  <a:pt x="2265" y="7395"/>
                </a:cubicBezTo>
                <a:lnTo>
                  <a:pt x="2265" y="10433"/>
                </a:lnTo>
                <a:cubicBezTo>
                  <a:pt x="2265" y="10747"/>
                  <a:pt x="2011" y="11000"/>
                  <a:pt x="1697" y="11000"/>
                </a:cubicBezTo>
                <a:cubicBezTo>
                  <a:pt x="1383" y="11000"/>
                  <a:pt x="1133" y="10747"/>
                  <a:pt x="1133" y="10433"/>
                </a:cubicBezTo>
                <a:lnTo>
                  <a:pt x="1133" y="7175"/>
                </a:lnTo>
                <a:cubicBezTo>
                  <a:pt x="1133" y="6214"/>
                  <a:pt x="1824" y="5432"/>
                  <a:pt x="2675" y="5432"/>
                </a:cubicBezTo>
                <a:close/>
                <a:moveTo>
                  <a:pt x="5094" y="0"/>
                </a:moveTo>
                <a:cubicBezTo>
                  <a:pt x="3950" y="0"/>
                  <a:pt x="3002" y="894"/>
                  <a:pt x="2938" y="2038"/>
                </a:cubicBezTo>
                <a:cubicBezTo>
                  <a:pt x="2878" y="3180"/>
                  <a:pt x="3720" y="4173"/>
                  <a:pt x="4859" y="4300"/>
                </a:cubicBezTo>
                <a:lnTo>
                  <a:pt x="2675" y="4300"/>
                </a:lnTo>
                <a:cubicBezTo>
                  <a:pt x="1199" y="4300"/>
                  <a:pt x="0" y="5589"/>
                  <a:pt x="0" y="7175"/>
                </a:cubicBezTo>
                <a:lnTo>
                  <a:pt x="0" y="10433"/>
                </a:lnTo>
                <a:cubicBezTo>
                  <a:pt x="0" y="11403"/>
                  <a:pt x="797" y="12134"/>
                  <a:pt x="1698" y="12134"/>
                </a:cubicBezTo>
                <a:cubicBezTo>
                  <a:pt x="1885" y="12134"/>
                  <a:pt x="2076" y="12103"/>
                  <a:pt x="2265" y="12036"/>
                </a:cubicBezTo>
                <a:lnTo>
                  <a:pt x="2265" y="17625"/>
                </a:lnTo>
                <a:cubicBezTo>
                  <a:pt x="2265" y="18561"/>
                  <a:pt x="3023" y="19322"/>
                  <a:pt x="3962" y="19322"/>
                </a:cubicBezTo>
                <a:cubicBezTo>
                  <a:pt x="4378" y="19322"/>
                  <a:pt x="4783" y="19168"/>
                  <a:pt x="5094" y="18887"/>
                </a:cubicBezTo>
                <a:cubicBezTo>
                  <a:pt x="5412" y="19172"/>
                  <a:pt x="5817" y="19321"/>
                  <a:pt x="6228" y="19321"/>
                </a:cubicBezTo>
                <a:cubicBezTo>
                  <a:pt x="6462" y="19321"/>
                  <a:pt x="6697" y="19272"/>
                  <a:pt x="6918" y="19174"/>
                </a:cubicBezTo>
                <a:cubicBezTo>
                  <a:pt x="7531" y="18899"/>
                  <a:pt x="7923" y="18292"/>
                  <a:pt x="7926" y="17625"/>
                </a:cubicBezTo>
                <a:lnTo>
                  <a:pt x="7926" y="12036"/>
                </a:lnTo>
                <a:cubicBezTo>
                  <a:pt x="8115" y="12103"/>
                  <a:pt x="8305" y="12134"/>
                  <a:pt x="8492" y="12134"/>
                </a:cubicBezTo>
                <a:cubicBezTo>
                  <a:pt x="9392" y="12134"/>
                  <a:pt x="10188" y="11403"/>
                  <a:pt x="10191" y="10433"/>
                </a:cubicBezTo>
                <a:lnTo>
                  <a:pt x="10191" y="7175"/>
                </a:lnTo>
                <a:cubicBezTo>
                  <a:pt x="10191" y="5589"/>
                  <a:pt x="8989" y="4300"/>
                  <a:pt x="7513" y="4300"/>
                </a:cubicBezTo>
                <a:lnTo>
                  <a:pt x="5330" y="4300"/>
                </a:lnTo>
                <a:cubicBezTo>
                  <a:pt x="6468" y="4173"/>
                  <a:pt x="7310" y="3180"/>
                  <a:pt x="7250" y="2038"/>
                </a:cubicBezTo>
                <a:cubicBezTo>
                  <a:pt x="7187" y="894"/>
                  <a:pt x="6238" y="0"/>
                  <a:pt x="50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189" name="Google Shape;9189;p75"/>
          <p:cNvGrpSpPr/>
          <p:nvPr/>
        </p:nvGrpSpPr>
        <p:grpSpPr>
          <a:xfrm>
            <a:off x="7990738" y="3545151"/>
            <a:ext cx="340080" cy="340063"/>
            <a:chOff x="5053975" y="4399375"/>
            <a:chExt cx="483000" cy="482975"/>
          </a:xfrm>
        </p:grpSpPr>
        <p:sp>
          <p:nvSpPr>
            <p:cNvPr id="9190" name="Google Shape;9190;p75"/>
            <p:cNvSpPr/>
            <p:nvPr/>
          </p:nvSpPr>
          <p:spPr>
            <a:xfrm>
              <a:off x="5053975" y="4399375"/>
              <a:ext cx="483000" cy="482975"/>
            </a:xfrm>
            <a:custGeom>
              <a:avLst/>
              <a:gdLst/>
              <a:ahLst/>
              <a:cxnLst/>
              <a:rect l="l" t="t" r="r" b="b"/>
              <a:pathLst>
                <a:path w="19320" h="19319" extrusionOk="0">
                  <a:moveTo>
                    <a:pt x="9660" y="1130"/>
                  </a:moveTo>
                  <a:cubicBezTo>
                    <a:pt x="11822" y="1130"/>
                    <a:pt x="13981" y="1972"/>
                    <a:pt x="15666" y="3654"/>
                  </a:cubicBezTo>
                  <a:cubicBezTo>
                    <a:pt x="19033" y="7021"/>
                    <a:pt x="19033" y="12299"/>
                    <a:pt x="15666" y="15665"/>
                  </a:cubicBezTo>
                  <a:cubicBezTo>
                    <a:pt x="13983" y="17349"/>
                    <a:pt x="11821" y="18190"/>
                    <a:pt x="9660" y="18190"/>
                  </a:cubicBezTo>
                  <a:cubicBezTo>
                    <a:pt x="7499" y="18190"/>
                    <a:pt x="5338" y="17349"/>
                    <a:pt x="3655" y="15665"/>
                  </a:cubicBezTo>
                  <a:cubicBezTo>
                    <a:pt x="288" y="12299"/>
                    <a:pt x="288" y="7024"/>
                    <a:pt x="3655" y="3654"/>
                  </a:cubicBezTo>
                  <a:cubicBezTo>
                    <a:pt x="5339" y="1972"/>
                    <a:pt x="7498" y="1130"/>
                    <a:pt x="9660" y="1130"/>
                  </a:cubicBezTo>
                  <a:close/>
                  <a:moveTo>
                    <a:pt x="9660" y="0"/>
                  </a:moveTo>
                  <a:cubicBezTo>
                    <a:pt x="7112" y="0"/>
                    <a:pt x="4693" y="1015"/>
                    <a:pt x="2854" y="2854"/>
                  </a:cubicBezTo>
                  <a:cubicBezTo>
                    <a:pt x="1016" y="4693"/>
                    <a:pt x="1" y="7111"/>
                    <a:pt x="1" y="9660"/>
                  </a:cubicBezTo>
                  <a:cubicBezTo>
                    <a:pt x="1" y="12208"/>
                    <a:pt x="1016" y="14627"/>
                    <a:pt x="2854" y="16465"/>
                  </a:cubicBezTo>
                  <a:cubicBezTo>
                    <a:pt x="4693" y="18304"/>
                    <a:pt x="7112" y="19319"/>
                    <a:pt x="9660" y="19319"/>
                  </a:cubicBezTo>
                  <a:cubicBezTo>
                    <a:pt x="12209" y="19319"/>
                    <a:pt x="14627" y="18304"/>
                    <a:pt x="16466" y="16465"/>
                  </a:cubicBezTo>
                  <a:cubicBezTo>
                    <a:pt x="18305" y="14627"/>
                    <a:pt x="19319" y="12208"/>
                    <a:pt x="19319" y="9660"/>
                  </a:cubicBezTo>
                  <a:cubicBezTo>
                    <a:pt x="19319" y="7111"/>
                    <a:pt x="18305" y="4693"/>
                    <a:pt x="16466" y="2854"/>
                  </a:cubicBezTo>
                  <a:cubicBezTo>
                    <a:pt x="14627" y="1015"/>
                    <a:pt x="12209" y="0"/>
                    <a:pt x="96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91" name="Google Shape;9191;p75"/>
            <p:cNvSpPr/>
            <p:nvPr/>
          </p:nvSpPr>
          <p:spPr>
            <a:xfrm>
              <a:off x="5100725" y="4528375"/>
              <a:ext cx="309350" cy="296450"/>
            </a:xfrm>
            <a:custGeom>
              <a:avLst/>
              <a:gdLst/>
              <a:ahLst/>
              <a:cxnLst/>
              <a:rect l="l" t="t" r="r" b="b"/>
              <a:pathLst>
                <a:path w="12374" h="11858" extrusionOk="0">
                  <a:moveTo>
                    <a:pt x="2352" y="1462"/>
                  </a:moveTo>
                  <a:lnTo>
                    <a:pt x="10828" y="9938"/>
                  </a:lnTo>
                  <a:cubicBezTo>
                    <a:pt x="9875" y="10469"/>
                    <a:pt x="8830" y="10728"/>
                    <a:pt x="7793" y="10728"/>
                  </a:cubicBezTo>
                  <a:cubicBezTo>
                    <a:pt x="6180" y="10728"/>
                    <a:pt x="4586" y="10102"/>
                    <a:pt x="3388" y="8902"/>
                  </a:cubicBezTo>
                  <a:cubicBezTo>
                    <a:pt x="1416" y="6933"/>
                    <a:pt x="993" y="3896"/>
                    <a:pt x="2352" y="1462"/>
                  </a:cubicBezTo>
                  <a:close/>
                  <a:moveTo>
                    <a:pt x="2253" y="0"/>
                  </a:moveTo>
                  <a:cubicBezTo>
                    <a:pt x="2078" y="0"/>
                    <a:pt x="1904" y="81"/>
                    <a:pt x="1794" y="236"/>
                  </a:cubicBezTo>
                  <a:cubicBezTo>
                    <a:pt x="257" y="2395"/>
                    <a:pt x="0" y="5215"/>
                    <a:pt x="1120" y="7616"/>
                  </a:cubicBezTo>
                  <a:cubicBezTo>
                    <a:pt x="2243" y="10016"/>
                    <a:pt x="4568" y="11628"/>
                    <a:pt x="7210" y="11837"/>
                  </a:cubicBezTo>
                  <a:lnTo>
                    <a:pt x="7210" y="11834"/>
                  </a:lnTo>
                  <a:cubicBezTo>
                    <a:pt x="7404" y="11849"/>
                    <a:pt x="7597" y="11858"/>
                    <a:pt x="7787" y="11858"/>
                  </a:cubicBezTo>
                  <a:cubicBezTo>
                    <a:pt x="9318" y="11858"/>
                    <a:pt x="10807" y="11384"/>
                    <a:pt x="12057" y="10502"/>
                  </a:cubicBezTo>
                  <a:cubicBezTo>
                    <a:pt x="12340" y="10297"/>
                    <a:pt x="12374" y="9886"/>
                    <a:pt x="12126" y="9639"/>
                  </a:cubicBezTo>
                  <a:lnTo>
                    <a:pt x="2654" y="167"/>
                  </a:lnTo>
                  <a:cubicBezTo>
                    <a:pt x="2542" y="55"/>
                    <a:pt x="2397" y="0"/>
                    <a:pt x="22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92" name="Google Shape;9192;p75"/>
            <p:cNvSpPr/>
            <p:nvPr/>
          </p:nvSpPr>
          <p:spPr>
            <a:xfrm>
              <a:off x="5180875" y="4456850"/>
              <a:ext cx="316625" cy="296575"/>
            </a:xfrm>
            <a:custGeom>
              <a:avLst/>
              <a:gdLst/>
              <a:ahLst/>
              <a:cxnLst/>
              <a:rect l="l" t="t" r="r" b="b"/>
              <a:pathLst>
                <a:path w="12665" h="11863" extrusionOk="0">
                  <a:moveTo>
                    <a:pt x="4584" y="1128"/>
                  </a:moveTo>
                  <a:cubicBezTo>
                    <a:pt x="6196" y="1128"/>
                    <a:pt x="7791" y="1755"/>
                    <a:pt x="8987" y="2958"/>
                  </a:cubicBezTo>
                  <a:cubicBezTo>
                    <a:pt x="10964" y="4924"/>
                    <a:pt x="11387" y="7967"/>
                    <a:pt x="10022" y="10398"/>
                  </a:cubicBezTo>
                  <a:lnTo>
                    <a:pt x="1547" y="1923"/>
                  </a:lnTo>
                  <a:cubicBezTo>
                    <a:pt x="2499" y="1388"/>
                    <a:pt x="3545" y="1128"/>
                    <a:pt x="4584" y="1128"/>
                  </a:cubicBezTo>
                  <a:close/>
                  <a:moveTo>
                    <a:pt x="4578" y="1"/>
                  </a:moveTo>
                  <a:cubicBezTo>
                    <a:pt x="3095" y="1"/>
                    <a:pt x="1604" y="448"/>
                    <a:pt x="321" y="1361"/>
                  </a:cubicBezTo>
                  <a:cubicBezTo>
                    <a:pt x="34" y="1563"/>
                    <a:pt x="1" y="1977"/>
                    <a:pt x="248" y="2224"/>
                  </a:cubicBezTo>
                  <a:lnTo>
                    <a:pt x="9723" y="11697"/>
                  </a:lnTo>
                  <a:cubicBezTo>
                    <a:pt x="9829" y="11802"/>
                    <a:pt x="9971" y="11863"/>
                    <a:pt x="10122" y="11863"/>
                  </a:cubicBezTo>
                  <a:lnTo>
                    <a:pt x="10170" y="11863"/>
                  </a:lnTo>
                  <a:cubicBezTo>
                    <a:pt x="10336" y="11847"/>
                    <a:pt x="10487" y="11763"/>
                    <a:pt x="10584" y="11624"/>
                  </a:cubicBezTo>
                  <a:cubicBezTo>
                    <a:pt x="12664" y="8698"/>
                    <a:pt x="12326" y="4697"/>
                    <a:pt x="9787" y="2158"/>
                  </a:cubicBezTo>
                  <a:cubicBezTo>
                    <a:pt x="8361" y="733"/>
                    <a:pt x="6476" y="1"/>
                    <a:pt x="4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93" name="Google Shape;9193;p75"/>
          <p:cNvGrpSpPr/>
          <p:nvPr/>
        </p:nvGrpSpPr>
        <p:grpSpPr>
          <a:xfrm>
            <a:off x="7750609" y="3956042"/>
            <a:ext cx="340168" cy="340168"/>
            <a:chOff x="5648375" y="4399300"/>
            <a:chExt cx="483125" cy="483125"/>
          </a:xfrm>
        </p:grpSpPr>
        <p:sp>
          <p:nvSpPr>
            <p:cNvPr id="9194" name="Google Shape;9194;p75"/>
            <p:cNvSpPr/>
            <p:nvPr/>
          </p:nvSpPr>
          <p:spPr>
            <a:xfrm>
              <a:off x="5648375" y="4399300"/>
              <a:ext cx="483125" cy="483125"/>
            </a:xfrm>
            <a:custGeom>
              <a:avLst/>
              <a:gdLst/>
              <a:ahLst/>
              <a:cxnLst/>
              <a:rect l="l" t="t" r="r" b="b"/>
              <a:pathLst>
                <a:path w="19325" h="19325" extrusionOk="0">
                  <a:moveTo>
                    <a:pt x="9662" y="1133"/>
                  </a:moveTo>
                  <a:cubicBezTo>
                    <a:pt x="11906" y="1133"/>
                    <a:pt x="14041" y="2029"/>
                    <a:pt x="15668" y="3657"/>
                  </a:cubicBezTo>
                  <a:cubicBezTo>
                    <a:pt x="17295" y="5287"/>
                    <a:pt x="18192" y="7419"/>
                    <a:pt x="18192" y="9663"/>
                  </a:cubicBezTo>
                  <a:cubicBezTo>
                    <a:pt x="18192" y="11906"/>
                    <a:pt x="17295" y="14041"/>
                    <a:pt x="15668" y="15668"/>
                  </a:cubicBezTo>
                  <a:cubicBezTo>
                    <a:pt x="14041" y="17296"/>
                    <a:pt x="11906" y="18193"/>
                    <a:pt x="9662" y="18193"/>
                  </a:cubicBezTo>
                  <a:cubicBezTo>
                    <a:pt x="7419" y="18193"/>
                    <a:pt x="5284" y="17296"/>
                    <a:pt x="3657" y="15668"/>
                  </a:cubicBezTo>
                  <a:cubicBezTo>
                    <a:pt x="290" y="12302"/>
                    <a:pt x="290" y="7024"/>
                    <a:pt x="3657" y="3657"/>
                  </a:cubicBezTo>
                  <a:cubicBezTo>
                    <a:pt x="5287" y="2029"/>
                    <a:pt x="7419" y="1133"/>
                    <a:pt x="9662" y="1133"/>
                  </a:cubicBezTo>
                  <a:close/>
                  <a:moveTo>
                    <a:pt x="9662" y="0"/>
                  </a:moveTo>
                  <a:cubicBezTo>
                    <a:pt x="7117" y="0"/>
                    <a:pt x="4698" y="1015"/>
                    <a:pt x="2856" y="2857"/>
                  </a:cubicBezTo>
                  <a:cubicBezTo>
                    <a:pt x="1015" y="4699"/>
                    <a:pt x="0" y="7117"/>
                    <a:pt x="0" y="9663"/>
                  </a:cubicBezTo>
                  <a:cubicBezTo>
                    <a:pt x="0" y="12208"/>
                    <a:pt x="1015" y="14627"/>
                    <a:pt x="2856" y="16468"/>
                  </a:cubicBezTo>
                  <a:cubicBezTo>
                    <a:pt x="4698" y="18310"/>
                    <a:pt x="7117" y="19325"/>
                    <a:pt x="9662" y="19325"/>
                  </a:cubicBezTo>
                  <a:cubicBezTo>
                    <a:pt x="12208" y="19325"/>
                    <a:pt x="14626" y="18310"/>
                    <a:pt x="16468" y="16468"/>
                  </a:cubicBezTo>
                  <a:cubicBezTo>
                    <a:pt x="18310" y="14627"/>
                    <a:pt x="19325" y="12208"/>
                    <a:pt x="19325" y="9663"/>
                  </a:cubicBezTo>
                  <a:cubicBezTo>
                    <a:pt x="19325" y="7117"/>
                    <a:pt x="18310" y="4699"/>
                    <a:pt x="16468" y="2857"/>
                  </a:cubicBezTo>
                  <a:cubicBezTo>
                    <a:pt x="14626" y="1015"/>
                    <a:pt x="12211" y="0"/>
                    <a:pt x="9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95" name="Google Shape;9195;p75"/>
            <p:cNvSpPr/>
            <p:nvPr/>
          </p:nvSpPr>
          <p:spPr>
            <a:xfrm>
              <a:off x="5734275" y="4598425"/>
              <a:ext cx="311400" cy="84950"/>
            </a:xfrm>
            <a:custGeom>
              <a:avLst/>
              <a:gdLst/>
              <a:ahLst/>
              <a:cxnLst/>
              <a:rect l="l" t="t" r="r" b="b"/>
              <a:pathLst>
                <a:path w="12456" h="3398" extrusionOk="0">
                  <a:moveTo>
                    <a:pt x="11323" y="1133"/>
                  </a:moveTo>
                  <a:lnTo>
                    <a:pt x="11323" y="2265"/>
                  </a:lnTo>
                  <a:lnTo>
                    <a:pt x="1133" y="2265"/>
                  </a:lnTo>
                  <a:lnTo>
                    <a:pt x="1133" y="1133"/>
                  </a:lnTo>
                  <a:close/>
                  <a:moveTo>
                    <a:pt x="565" y="1"/>
                  </a:moveTo>
                  <a:cubicBezTo>
                    <a:pt x="251" y="1"/>
                    <a:pt x="0" y="251"/>
                    <a:pt x="0" y="565"/>
                  </a:cubicBezTo>
                  <a:lnTo>
                    <a:pt x="0" y="2830"/>
                  </a:lnTo>
                  <a:cubicBezTo>
                    <a:pt x="0" y="3144"/>
                    <a:pt x="251" y="3398"/>
                    <a:pt x="565" y="3398"/>
                  </a:cubicBezTo>
                  <a:lnTo>
                    <a:pt x="11888" y="3398"/>
                  </a:lnTo>
                  <a:cubicBezTo>
                    <a:pt x="12202" y="3398"/>
                    <a:pt x="12455" y="3144"/>
                    <a:pt x="12455" y="2830"/>
                  </a:cubicBezTo>
                  <a:lnTo>
                    <a:pt x="12455" y="565"/>
                  </a:lnTo>
                  <a:cubicBezTo>
                    <a:pt x="12455" y="251"/>
                    <a:pt x="12202" y="1"/>
                    <a:pt x="118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196" name="Google Shape;9196;p75"/>
          <p:cNvGrpSpPr/>
          <p:nvPr/>
        </p:nvGrpSpPr>
        <p:grpSpPr>
          <a:xfrm>
            <a:off x="5981331" y="3974637"/>
            <a:ext cx="330007" cy="302744"/>
            <a:chOff x="6239575" y="4416275"/>
            <a:chExt cx="489625" cy="449175"/>
          </a:xfrm>
        </p:grpSpPr>
        <p:sp>
          <p:nvSpPr>
            <p:cNvPr id="9197" name="Google Shape;9197;p75"/>
            <p:cNvSpPr/>
            <p:nvPr/>
          </p:nvSpPr>
          <p:spPr>
            <a:xfrm>
              <a:off x="6239575" y="4416275"/>
              <a:ext cx="489625" cy="449175"/>
            </a:xfrm>
            <a:custGeom>
              <a:avLst/>
              <a:gdLst/>
              <a:ahLst/>
              <a:cxnLst/>
              <a:rect l="l" t="t" r="r" b="b"/>
              <a:pathLst>
                <a:path w="19585" h="17967" extrusionOk="0">
                  <a:moveTo>
                    <a:pt x="9792" y="1132"/>
                  </a:moveTo>
                  <a:cubicBezTo>
                    <a:pt x="10374" y="1132"/>
                    <a:pt x="10955" y="1424"/>
                    <a:pt x="11278" y="2009"/>
                  </a:cubicBezTo>
                  <a:lnTo>
                    <a:pt x="18111" y="14313"/>
                  </a:lnTo>
                  <a:cubicBezTo>
                    <a:pt x="18404" y="14838"/>
                    <a:pt x="18395" y="15481"/>
                    <a:pt x="18087" y="15998"/>
                  </a:cubicBezTo>
                  <a:cubicBezTo>
                    <a:pt x="17786" y="16518"/>
                    <a:pt x="17232" y="16834"/>
                    <a:pt x="16634" y="16834"/>
                  </a:cubicBezTo>
                  <a:cubicBezTo>
                    <a:pt x="16631" y="16834"/>
                    <a:pt x="16628" y="16834"/>
                    <a:pt x="16625" y="16834"/>
                  </a:cubicBezTo>
                  <a:lnTo>
                    <a:pt x="2962" y="16834"/>
                  </a:lnTo>
                  <a:cubicBezTo>
                    <a:pt x="1667" y="16834"/>
                    <a:pt x="849" y="15445"/>
                    <a:pt x="1474" y="14313"/>
                  </a:cubicBezTo>
                  <a:lnTo>
                    <a:pt x="8307" y="2009"/>
                  </a:lnTo>
                  <a:cubicBezTo>
                    <a:pt x="8630" y="1424"/>
                    <a:pt x="9211" y="1132"/>
                    <a:pt x="9792" y="1132"/>
                  </a:cubicBezTo>
                  <a:close/>
                  <a:moveTo>
                    <a:pt x="9792" y="1"/>
                  </a:moveTo>
                  <a:cubicBezTo>
                    <a:pt x="8763" y="1"/>
                    <a:pt x="7815" y="559"/>
                    <a:pt x="7317" y="1462"/>
                  </a:cubicBezTo>
                  <a:lnTo>
                    <a:pt x="483" y="13766"/>
                  </a:lnTo>
                  <a:cubicBezTo>
                    <a:pt x="0" y="14642"/>
                    <a:pt x="15" y="15711"/>
                    <a:pt x="523" y="16574"/>
                  </a:cubicBezTo>
                  <a:cubicBezTo>
                    <a:pt x="1033" y="17435"/>
                    <a:pt x="1960" y="17966"/>
                    <a:pt x="2962" y="17966"/>
                  </a:cubicBezTo>
                  <a:lnTo>
                    <a:pt x="16625" y="17966"/>
                  </a:lnTo>
                  <a:cubicBezTo>
                    <a:pt x="17625" y="17966"/>
                    <a:pt x="18555" y="17435"/>
                    <a:pt x="19062" y="16574"/>
                  </a:cubicBezTo>
                  <a:cubicBezTo>
                    <a:pt x="19572" y="15711"/>
                    <a:pt x="19585" y="14642"/>
                    <a:pt x="19101" y="13766"/>
                  </a:cubicBezTo>
                  <a:lnTo>
                    <a:pt x="12271" y="1462"/>
                  </a:lnTo>
                  <a:cubicBezTo>
                    <a:pt x="11770" y="559"/>
                    <a:pt x="10822" y="1"/>
                    <a:pt x="97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98" name="Google Shape;9198;p75"/>
            <p:cNvSpPr/>
            <p:nvPr/>
          </p:nvSpPr>
          <p:spPr>
            <a:xfrm>
              <a:off x="6438550" y="4723875"/>
              <a:ext cx="88350" cy="84950"/>
            </a:xfrm>
            <a:custGeom>
              <a:avLst/>
              <a:gdLst/>
              <a:ahLst/>
              <a:cxnLst/>
              <a:rect l="l" t="t" r="r" b="b"/>
              <a:pathLst>
                <a:path w="3534" h="3398" extrusionOk="0">
                  <a:moveTo>
                    <a:pt x="1830" y="1132"/>
                  </a:moveTo>
                  <a:cubicBezTo>
                    <a:pt x="2122" y="1132"/>
                    <a:pt x="2401" y="1358"/>
                    <a:pt x="2401" y="1701"/>
                  </a:cubicBezTo>
                  <a:cubicBezTo>
                    <a:pt x="2401" y="2012"/>
                    <a:pt x="2147" y="2266"/>
                    <a:pt x="1833" y="2266"/>
                  </a:cubicBezTo>
                  <a:cubicBezTo>
                    <a:pt x="1329" y="2266"/>
                    <a:pt x="1076" y="1656"/>
                    <a:pt x="1432" y="1299"/>
                  </a:cubicBezTo>
                  <a:cubicBezTo>
                    <a:pt x="1548" y="1184"/>
                    <a:pt x="1691" y="1132"/>
                    <a:pt x="1830" y="1132"/>
                  </a:cubicBezTo>
                  <a:close/>
                  <a:moveTo>
                    <a:pt x="1833" y="1"/>
                  </a:moveTo>
                  <a:cubicBezTo>
                    <a:pt x="1145" y="1"/>
                    <a:pt x="526" y="415"/>
                    <a:pt x="263" y="1049"/>
                  </a:cubicBezTo>
                  <a:cubicBezTo>
                    <a:pt x="1" y="1683"/>
                    <a:pt x="146" y="2414"/>
                    <a:pt x="632" y="2900"/>
                  </a:cubicBezTo>
                  <a:cubicBezTo>
                    <a:pt x="957" y="3225"/>
                    <a:pt x="1391" y="3397"/>
                    <a:pt x="1833" y="3397"/>
                  </a:cubicBezTo>
                  <a:cubicBezTo>
                    <a:pt x="2052" y="3397"/>
                    <a:pt x="2273" y="3355"/>
                    <a:pt x="2483" y="3268"/>
                  </a:cubicBezTo>
                  <a:cubicBezTo>
                    <a:pt x="3117" y="3005"/>
                    <a:pt x="3533" y="2386"/>
                    <a:pt x="3533" y="1701"/>
                  </a:cubicBezTo>
                  <a:cubicBezTo>
                    <a:pt x="3530" y="762"/>
                    <a:pt x="2772" y="1"/>
                    <a:pt x="18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199" name="Google Shape;9199;p75"/>
            <p:cNvSpPr/>
            <p:nvPr/>
          </p:nvSpPr>
          <p:spPr>
            <a:xfrm>
              <a:off x="6441950" y="4497425"/>
              <a:ext cx="84950" cy="198250"/>
            </a:xfrm>
            <a:custGeom>
              <a:avLst/>
              <a:gdLst/>
              <a:ahLst/>
              <a:cxnLst/>
              <a:rect l="l" t="t" r="r" b="b"/>
              <a:pathLst>
                <a:path w="3398" h="7930" extrusionOk="0">
                  <a:moveTo>
                    <a:pt x="1697" y="1133"/>
                  </a:moveTo>
                  <a:cubicBezTo>
                    <a:pt x="2011" y="1133"/>
                    <a:pt x="2265" y="1387"/>
                    <a:pt x="2265" y="1701"/>
                  </a:cubicBezTo>
                  <a:lnTo>
                    <a:pt x="2265" y="6230"/>
                  </a:lnTo>
                  <a:cubicBezTo>
                    <a:pt x="2265" y="6544"/>
                    <a:pt x="2011" y="6797"/>
                    <a:pt x="1697" y="6797"/>
                  </a:cubicBezTo>
                  <a:cubicBezTo>
                    <a:pt x="1383" y="6797"/>
                    <a:pt x="1133" y="6544"/>
                    <a:pt x="1133" y="6230"/>
                  </a:cubicBezTo>
                  <a:lnTo>
                    <a:pt x="1133" y="1701"/>
                  </a:lnTo>
                  <a:cubicBezTo>
                    <a:pt x="1133" y="1387"/>
                    <a:pt x="1383" y="1133"/>
                    <a:pt x="1697" y="1133"/>
                  </a:cubicBezTo>
                  <a:close/>
                  <a:moveTo>
                    <a:pt x="1697" y="1"/>
                  </a:moveTo>
                  <a:cubicBezTo>
                    <a:pt x="758" y="1"/>
                    <a:pt x="1" y="762"/>
                    <a:pt x="1" y="1701"/>
                  </a:cubicBezTo>
                  <a:lnTo>
                    <a:pt x="1" y="6233"/>
                  </a:lnTo>
                  <a:cubicBezTo>
                    <a:pt x="1" y="7169"/>
                    <a:pt x="758" y="7930"/>
                    <a:pt x="1697" y="7930"/>
                  </a:cubicBezTo>
                  <a:cubicBezTo>
                    <a:pt x="2636" y="7930"/>
                    <a:pt x="3397" y="7169"/>
                    <a:pt x="3397" y="6233"/>
                  </a:cubicBezTo>
                  <a:lnTo>
                    <a:pt x="3397" y="1701"/>
                  </a:lnTo>
                  <a:cubicBezTo>
                    <a:pt x="3397" y="762"/>
                    <a:pt x="2636" y="1"/>
                    <a:pt x="16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00" name="Google Shape;9200;p75"/>
          <p:cNvGrpSpPr/>
          <p:nvPr/>
        </p:nvGrpSpPr>
        <p:grpSpPr>
          <a:xfrm>
            <a:off x="3084610" y="3971815"/>
            <a:ext cx="308234" cy="308234"/>
            <a:chOff x="892750" y="4993750"/>
            <a:chExt cx="483125" cy="483125"/>
          </a:xfrm>
        </p:grpSpPr>
        <p:sp>
          <p:nvSpPr>
            <p:cNvPr id="9201" name="Google Shape;9201;p75"/>
            <p:cNvSpPr/>
            <p:nvPr/>
          </p:nvSpPr>
          <p:spPr>
            <a:xfrm>
              <a:off x="89275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5" y="17352"/>
                    <a:pt x="11823" y="18193"/>
                    <a:pt x="9662" y="18193"/>
                  </a:cubicBezTo>
                  <a:cubicBezTo>
                    <a:pt x="7501" y="18193"/>
                    <a:pt x="5340" y="17352"/>
                    <a:pt x="3657" y="15668"/>
                  </a:cubicBezTo>
                  <a:cubicBezTo>
                    <a:pt x="290" y="12302"/>
                    <a:pt x="290" y="7024"/>
                    <a:pt x="3657" y="3657"/>
                  </a:cubicBezTo>
                  <a:cubicBezTo>
                    <a:pt x="5341" y="1975"/>
                    <a:pt x="7500" y="1133"/>
                    <a:pt x="9662" y="1133"/>
                  </a:cubicBezTo>
                  <a:close/>
                  <a:moveTo>
                    <a:pt x="9662" y="1"/>
                  </a:moveTo>
                  <a:cubicBezTo>
                    <a:pt x="7117" y="1"/>
                    <a:pt x="4698" y="1015"/>
                    <a:pt x="2856" y="2857"/>
                  </a:cubicBezTo>
                  <a:cubicBezTo>
                    <a:pt x="1015" y="4699"/>
                    <a:pt x="0" y="7117"/>
                    <a:pt x="0" y="9663"/>
                  </a:cubicBezTo>
                  <a:cubicBezTo>
                    <a:pt x="0" y="12208"/>
                    <a:pt x="1015" y="14627"/>
                    <a:pt x="2856" y="16469"/>
                  </a:cubicBezTo>
                  <a:cubicBezTo>
                    <a:pt x="4698" y="18310"/>
                    <a:pt x="7117" y="19325"/>
                    <a:pt x="9662" y="19325"/>
                  </a:cubicBezTo>
                  <a:cubicBezTo>
                    <a:pt x="12208" y="19325"/>
                    <a:pt x="14626" y="18310"/>
                    <a:pt x="16468" y="16469"/>
                  </a:cubicBezTo>
                  <a:cubicBezTo>
                    <a:pt x="18310" y="14627"/>
                    <a:pt x="19324" y="12208"/>
                    <a:pt x="19324" y="9663"/>
                  </a:cubicBezTo>
                  <a:cubicBezTo>
                    <a:pt x="19324" y="7117"/>
                    <a:pt x="18310" y="4699"/>
                    <a:pt x="16468" y="2857"/>
                  </a:cubicBezTo>
                  <a:cubicBezTo>
                    <a:pt x="14626" y="1015"/>
                    <a:pt x="12208" y="1"/>
                    <a:pt x="9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02" name="Google Shape;9202;p75"/>
            <p:cNvSpPr/>
            <p:nvPr/>
          </p:nvSpPr>
          <p:spPr>
            <a:xfrm>
              <a:off x="1021000" y="5052250"/>
              <a:ext cx="230775" cy="253450"/>
            </a:xfrm>
            <a:custGeom>
              <a:avLst/>
              <a:gdLst/>
              <a:ahLst/>
              <a:cxnLst/>
              <a:rect l="l" t="t" r="r" b="b"/>
              <a:pathLst>
                <a:path w="9231" h="10138" extrusionOk="0">
                  <a:moveTo>
                    <a:pt x="4532" y="1133"/>
                  </a:moveTo>
                  <a:cubicBezTo>
                    <a:pt x="5450" y="1133"/>
                    <a:pt x="6326" y="1483"/>
                    <a:pt x="6936" y="2090"/>
                  </a:cubicBezTo>
                  <a:cubicBezTo>
                    <a:pt x="8261" y="3419"/>
                    <a:pt x="8261" y="5568"/>
                    <a:pt x="6936" y="6894"/>
                  </a:cubicBezTo>
                  <a:lnTo>
                    <a:pt x="6933" y="6894"/>
                  </a:lnTo>
                  <a:cubicBezTo>
                    <a:pt x="6688" y="7142"/>
                    <a:pt x="6404" y="7347"/>
                    <a:pt x="6096" y="7510"/>
                  </a:cubicBezTo>
                  <a:cubicBezTo>
                    <a:pt x="5595" y="7767"/>
                    <a:pt x="5275" y="8135"/>
                    <a:pt x="5154" y="8600"/>
                  </a:cubicBezTo>
                  <a:cubicBezTo>
                    <a:pt x="5079" y="8842"/>
                    <a:pt x="4856" y="9000"/>
                    <a:pt x="4614" y="9000"/>
                  </a:cubicBezTo>
                  <a:cubicBezTo>
                    <a:pt x="4566" y="9000"/>
                    <a:pt x="4517" y="8993"/>
                    <a:pt x="4469" y="8980"/>
                  </a:cubicBezTo>
                  <a:cubicBezTo>
                    <a:pt x="4176" y="8905"/>
                    <a:pt x="3995" y="8612"/>
                    <a:pt x="4058" y="8316"/>
                  </a:cubicBezTo>
                  <a:cubicBezTo>
                    <a:pt x="4254" y="7534"/>
                    <a:pt x="4765" y="6924"/>
                    <a:pt x="5574" y="6504"/>
                  </a:cubicBezTo>
                  <a:cubicBezTo>
                    <a:pt x="6936" y="5801"/>
                    <a:pt x="7220" y="3974"/>
                    <a:pt x="6136" y="2890"/>
                  </a:cubicBezTo>
                  <a:cubicBezTo>
                    <a:pt x="5690" y="2458"/>
                    <a:pt x="5113" y="2243"/>
                    <a:pt x="4535" y="2243"/>
                  </a:cubicBezTo>
                  <a:cubicBezTo>
                    <a:pt x="3958" y="2243"/>
                    <a:pt x="3380" y="2458"/>
                    <a:pt x="2935" y="2890"/>
                  </a:cubicBezTo>
                  <a:cubicBezTo>
                    <a:pt x="2506" y="3313"/>
                    <a:pt x="2268" y="3890"/>
                    <a:pt x="2268" y="4494"/>
                  </a:cubicBezTo>
                  <a:cubicBezTo>
                    <a:pt x="2268" y="4805"/>
                    <a:pt x="2014" y="5058"/>
                    <a:pt x="1703" y="5058"/>
                  </a:cubicBezTo>
                  <a:cubicBezTo>
                    <a:pt x="1389" y="5058"/>
                    <a:pt x="1135" y="4805"/>
                    <a:pt x="1135" y="4494"/>
                  </a:cubicBezTo>
                  <a:cubicBezTo>
                    <a:pt x="1132" y="3591"/>
                    <a:pt x="1492" y="2724"/>
                    <a:pt x="2132" y="2090"/>
                  </a:cubicBezTo>
                  <a:cubicBezTo>
                    <a:pt x="2739" y="1483"/>
                    <a:pt x="3614" y="1133"/>
                    <a:pt x="4532" y="1133"/>
                  </a:cubicBezTo>
                  <a:close/>
                  <a:moveTo>
                    <a:pt x="4532" y="1"/>
                  </a:moveTo>
                  <a:cubicBezTo>
                    <a:pt x="3315" y="1"/>
                    <a:pt x="2150" y="469"/>
                    <a:pt x="1332" y="1290"/>
                  </a:cubicBezTo>
                  <a:cubicBezTo>
                    <a:pt x="477" y="2135"/>
                    <a:pt x="0" y="3289"/>
                    <a:pt x="3" y="4494"/>
                  </a:cubicBezTo>
                  <a:cubicBezTo>
                    <a:pt x="3" y="5430"/>
                    <a:pt x="764" y="6190"/>
                    <a:pt x="1703" y="6190"/>
                  </a:cubicBezTo>
                  <a:cubicBezTo>
                    <a:pt x="2639" y="6190"/>
                    <a:pt x="3400" y="5430"/>
                    <a:pt x="3400" y="4494"/>
                  </a:cubicBezTo>
                  <a:cubicBezTo>
                    <a:pt x="3400" y="3830"/>
                    <a:pt x="3944" y="3358"/>
                    <a:pt x="4535" y="3358"/>
                  </a:cubicBezTo>
                  <a:cubicBezTo>
                    <a:pt x="4731" y="3358"/>
                    <a:pt x="4933" y="3410"/>
                    <a:pt x="5121" y="3524"/>
                  </a:cubicBezTo>
                  <a:cubicBezTo>
                    <a:pt x="5876" y="3986"/>
                    <a:pt x="5837" y="5094"/>
                    <a:pt x="5052" y="5499"/>
                  </a:cubicBezTo>
                  <a:cubicBezTo>
                    <a:pt x="3959" y="6064"/>
                    <a:pt x="3234" y="6945"/>
                    <a:pt x="2959" y="8041"/>
                  </a:cubicBezTo>
                  <a:cubicBezTo>
                    <a:pt x="2742" y="8941"/>
                    <a:pt x="3288" y="9850"/>
                    <a:pt x="4185" y="10083"/>
                  </a:cubicBezTo>
                  <a:cubicBezTo>
                    <a:pt x="4327" y="10119"/>
                    <a:pt x="4470" y="10137"/>
                    <a:pt x="4611" y="10137"/>
                  </a:cubicBezTo>
                  <a:cubicBezTo>
                    <a:pt x="5356" y="10137"/>
                    <a:pt x="6039" y="9642"/>
                    <a:pt x="6247" y="8893"/>
                  </a:cubicBezTo>
                  <a:cubicBezTo>
                    <a:pt x="6262" y="8832"/>
                    <a:pt x="6305" y="8675"/>
                    <a:pt x="6616" y="8515"/>
                  </a:cubicBezTo>
                  <a:cubicBezTo>
                    <a:pt x="7899" y="7851"/>
                    <a:pt x="8787" y="6613"/>
                    <a:pt x="9007" y="5188"/>
                  </a:cubicBezTo>
                  <a:cubicBezTo>
                    <a:pt x="9230" y="3760"/>
                    <a:pt x="8756" y="2313"/>
                    <a:pt x="7736" y="1290"/>
                  </a:cubicBezTo>
                  <a:cubicBezTo>
                    <a:pt x="6918" y="472"/>
                    <a:pt x="5749" y="1"/>
                    <a:pt x="4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03" name="Google Shape;9203;p75"/>
            <p:cNvSpPr/>
            <p:nvPr/>
          </p:nvSpPr>
          <p:spPr>
            <a:xfrm>
              <a:off x="1088475" y="5334425"/>
              <a:ext cx="88350" cy="84925"/>
            </a:xfrm>
            <a:custGeom>
              <a:avLst/>
              <a:gdLst/>
              <a:ahLst/>
              <a:cxnLst/>
              <a:rect l="l" t="t" r="r" b="b"/>
              <a:pathLst>
                <a:path w="3534" h="3397" extrusionOk="0">
                  <a:moveTo>
                    <a:pt x="1829" y="1129"/>
                  </a:moveTo>
                  <a:cubicBezTo>
                    <a:pt x="2121" y="1129"/>
                    <a:pt x="2401" y="1356"/>
                    <a:pt x="2401" y="1697"/>
                  </a:cubicBezTo>
                  <a:cubicBezTo>
                    <a:pt x="2401" y="2011"/>
                    <a:pt x="2147" y="2265"/>
                    <a:pt x="1833" y="2265"/>
                  </a:cubicBezTo>
                  <a:cubicBezTo>
                    <a:pt x="1329" y="2265"/>
                    <a:pt x="1075" y="1655"/>
                    <a:pt x="1432" y="1296"/>
                  </a:cubicBezTo>
                  <a:cubicBezTo>
                    <a:pt x="1548" y="1181"/>
                    <a:pt x="1690" y="1129"/>
                    <a:pt x="1829" y="1129"/>
                  </a:cubicBezTo>
                  <a:close/>
                  <a:moveTo>
                    <a:pt x="1833" y="0"/>
                  </a:moveTo>
                  <a:cubicBezTo>
                    <a:pt x="1145" y="0"/>
                    <a:pt x="526" y="414"/>
                    <a:pt x="263" y="1048"/>
                  </a:cubicBezTo>
                  <a:cubicBezTo>
                    <a:pt x="0" y="1682"/>
                    <a:pt x="145" y="2413"/>
                    <a:pt x="631" y="2899"/>
                  </a:cubicBezTo>
                  <a:cubicBezTo>
                    <a:pt x="957" y="3224"/>
                    <a:pt x="1391" y="3397"/>
                    <a:pt x="1833" y="3397"/>
                  </a:cubicBezTo>
                  <a:cubicBezTo>
                    <a:pt x="2052" y="3397"/>
                    <a:pt x="2272" y="3354"/>
                    <a:pt x="2482" y="3267"/>
                  </a:cubicBezTo>
                  <a:cubicBezTo>
                    <a:pt x="3116" y="3005"/>
                    <a:pt x="3533" y="2386"/>
                    <a:pt x="3533" y="1697"/>
                  </a:cubicBezTo>
                  <a:cubicBezTo>
                    <a:pt x="3530" y="758"/>
                    <a:pt x="2772" y="0"/>
                    <a:pt x="18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04" name="Google Shape;9204;p75"/>
          <p:cNvGrpSpPr/>
          <p:nvPr/>
        </p:nvGrpSpPr>
        <p:grpSpPr>
          <a:xfrm>
            <a:off x="3497219" y="3971815"/>
            <a:ext cx="308234" cy="308234"/>
            <a:chOff x="1487200" y="4993750"/>
            <a:chExt cx="483125" cy="483125"/>
          </a:xfrm>
        </p:grpSpPr>
        <p:sp>
          <p:nvSpPr>
            <p:cNvPr id="9205" name="Google Shape;9205;p75"/>
            <p:cNvSpPr/>
            <p:nvPr/>
          </p:nvSpPr>
          <p:spPr>
            <a:xfrm>
              <a:off x="148720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3" y="17352"/>
                    <a:pt x="11822" y="18193"/>
                    <a:pt x="9661" y="18193"/>
                  </a:cubicBezTo>
                  <a:cubicBezTo>
                    <a:pt x="7500" y="18193"/>
                    <a:pt x="5340" y="17352"/>
                    <a:pt x="3657" y="15668"/>
                  </a:cubicBezTo>
                  <a:cubicBezTo>
                    <a:pt x="290" y="12302"/>
                    <a:pt x="290" y="7024"/>
                    <a:pt x="3657" y="3657"/>
                  </a:cubicBezTo>
                  <a:cubicBezTo>
                    <a:pt x="5342" y="1975"/>
                    <a:pt x="7500" y="1133"/>
                    <a:pt x="9662" y="1133"/>
                  </a:cubicBezTo>
                  <a:close/>
                  <a:moveTo>
                    <a:pt x="9662" y="1"/>
                  </a:moveTo>
                  <a:cubicBezTo>
                    <a:pt x="7117" y="1"/>
                    <a:pt x="4698" y="1015"/>
                    <a:pt x="2857" y="2857"/>
                  </a:cubicBezTo>
                  <a:cubicBezTo>
                    <a:pt x="1015" y="4699"/>
                    <a:pt x="0" y="7117"/>
                    <a:pt x="0" y="9663"/>
                  </a:cubicBezTo>
                  <a:cubicBezTo>
                    <a:pt x="0" y="12208"/>
                    <a:pt x="1015" y="14627"/>
                    <a:pt x="2857" y="16469"/>
                  </a:cubicBezTo>
                  <a:cubicBezTo>
                    <a:pt x="4698" y="18310"/>
                    <a:pt x="7117" y="19325"/>
                    <a:pt x="9662"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06" name="Google Shape;9206;p75"/>
            <p:cNvSpPr/>
            <p:nvPr/>
          </p:nvSpPr>
          <p:spPr>
            <a:xfrm>
              <a:off x="1602600" y="5143950"/>
              <a:ext cx="250350" cy="182725"/>
            </a:xfrm>
            <a:custGeom>
              <a:avLst/>
              <a:gdLst/>
              <a:ahLst/>
              <a:cxnLst/>
              <a:rect l="l" t="t" r="r" b="b"/>
              <a:pathLst>
                <a:path w="10014" h="7309" extrusionOk="0">
                  <a:moveTo>
                    <a:pt x="8149" y="1134"/>
                  </a:moveTo>
                  <a:cubicBezTo>
                    <a:pt x="8294" y="1134"/>
                    <a:pt x="8439" y="1189"/>
                    <a:pt x="8549" y="1300"/>
                  </a:cubicBezTo>
                  <a:cubicBezTo>
                    <a:pt x="8769" y="1520"/>
                    <a:pt x="8769" y="1879"/>
                    <a:pt x="8549" y="2100"/>
                  </a:cubicBezTo>
                  <a:lnTo>
                    <a:pt x="4639" y="6007"/>
                  </a:lnTo>
                  <a:cubicBezTo>
                    <a:pt x="4527" y="6120"/>
                    <a:pt x="4377" y="6177"/>
                    <a:pt x="4227" y="6177"/>
                  </a:cubicBezTo>
                  <a:cubicBezTo>
                    <a:pt x="4081" y="6177"/>
                    <a:pt x="3937" y="6123"/>
                    <a:pt x="3830" y="6016"/>
                  </a:cubicBezTo>
                  <a:lnTo>
                    <a:pt x="1547" y="3748"/>
                  </a:lnTo>
                  <a:cubicBezTo>
                    <a:pt x="1296" y="3534"/>
                    <a:pt x="1281" y="3151"/>
                    <a:pt x="1514" y="2918"/>
                  </a:cubicBezTo>
                  <a:cubicBezTo>
                    <a:pt x="1626" y="2806"/>
                    <a:pt x="1771" y="2750"/>
                    <a:pt x="1916" y="2750"/>
                  </a:cubicBezTo>
                  <a:cubicBezTo>
                    <a:pt x="2074" y="2750"/>
                    <a:pt x="2232" y="2817"/>
                    <a:pt x="2344" y="2948"/>
                  </a:cubicBezTo>
                  <a:lnTo>
                    <a:pt x="3784" y="4388"/>
                  </a:lnTo>
                  <a:cubicBezTo>
                    <a:pt x="3793" y="4401"/>
                    <a:pt x="3805" y="4410"/>
                    <a:pt x="3817" y="4419"/>
                  </a:cubicBezTo>
                  <a:cubicBezTo>
                    <a:pt x="3817" y="4422"/>
                    <a:pt x="3820" y="4422"/>
                    <a:pt x="3823" y="4425"/>
                  </a:cubicBezTo>
                  <a:cubicBezTo>
                    <a:pt x="3934" y="4535"/>
                    <a:pt x="4078" y="4590"/>
                    <a:pt x="4222" y="4590"/>
                  </a:cubicBezTo>
                  <a:cubicBezTo>
                    <a:pt x="4367" y="4590"/>
                    <a:pt x="4512" y="4535"/>
                    <a:pt x="4624" y="4425"/>
                  </a:cubicBezTo>
                  <a:lnTo>
                    <a:pt x="7749" y="1300"/>
                  </a:lnTo>
                  <a:cubicBezTo>
                    <a:pt x="7859" y="1189"/>
                    <a:pt x="8004" y="1134"/>
                    <a:pt x="8149" y="1134"/>
                  </a:cubicBezTo>
                  <a:close/>
                  <a:moveTo>
                    <a:pt x="8146" y="1"/>
                  </a:moveTo>
                  <a:cubicBezTo>
                    <a:pt x="7712" y="1"/>
                    <a:pt x="7279" y="166"/>
                    <a:pt x="6949" y="496"/>
                  </a:cubicBezTo>
                  <a:lnTo>
                    <a:pt x="6946" y="496"/>
                  </a:lnTo>
                  <a:lnTo>
                    <a:pt x="4219" y="3223"/>
                  </a:lnTo>
                  <a:lnTo>
                    <a:pt x="3144" y="2148"/>
                  </a:lnTo>
                  <a:cubicBezTo>
                    <a:pt x="2808" y="1779"/>
                    <a:pt x="2348" y="1594"/>
                    <a:pt x="1887" y="1594"/>
                  </a:cubicBezTo>
                  <a:cubicBezTo>
                    <a:pt x="1453" y="1594"/>
                    <a:pt x="1019" y="1758"/>
                    <a:pt x="686" y="2091"/>
                  </a:cubicBezTo>
                  <a:cubicBezTo>
                    <a:pt x="1" y="2776"/>
                    <a:pt x="28" y="3896"/>
                    <a:pt x="747" y="4549"/>
                  </a:cubicBezTo>
                  <a:lnTo>
                    <a:pt x="3029" y="6819"/>
                  </a:lnTo>
                  <a:cubicBezTo>
                    <a:pt x="3344" y="7131"/>
                    <a:pt x="3768" y="7308"/>
                    <a:pt x="4214" y="7308"/>
                  </a:cubicBezTo>
                  <a:cubicBezTo>
                    <a:pt x="4218" y="7308"/>
                    <a:pt x="4221" y="7308"/>
                    <a:pt x="4225" y="7308"/>
                  </a:cubicBezTo>
                  <a:cubicBezTo>
                    <a:pt x="4678" y="7308"/>
                    <a:pt x="5116" y="7127"/>
                    <a:pt x="5439" y="6807"/>
                  </a:cubicBezTo>
                  <a:lnTo>
                    <a:pt x="9349" y="2900"/>
                  </a:lnTo>
                  <a:cubicBezTo>
                    <a:pt x="10013" y="2236"/>
                    <a:pt x="10013" y="1161"/>
                    <a:pt x="9349" y="499"/>
                  </a:cubicBezTo>
                  <a:cubicBezTo>
                    <a:pt x="9017" y="167"/>
                    <a:pt x="8581" y="1"/>
                    <a:pt x="81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07" name="Google Shape;9207;p75"/>
          <p:cNvGrpSpPr/>
          <p:nvPr/>
        </p:nvGrpSpPr>
        <p:grpSpPr>
          <a:xfrm>
            <a:off x="3909829" y="3971815"/>
            <a:ext cx="308234" cy="308234"/>
            <a:chOff x="2081650" y="4993750"/>
            <a:chExt cx="483125" cy="483125"/>
          </a:xfrm>
        </p:grpSpPr>
        <p:sp>
          <p:nvSpPr>
            <p:cNvPr id="9208" name="Google Shape;9208;p75"/>
            <p:cNvSpPr/>
            <p:nvPr/>
          </p:nvSpPr>
          <p:spPr>
            <a:xfrm>
              <a:off x="2081650" y="4993750"/>
              <a:ext cx="483125" cy="483125"/>
            </a:xfrm>
            <a:custGeom>
              <a:avLst/>
              <a:gdLst/>
              <a:ahLst/>
              <a:cxnLst/>
              <a:rect l="l" t="t" r="r" b="b"/>
              <a:pathLst>
                <a:path w="19325" h="19325" extrusionOk="0">
                  <a:moveTo>
                    <a:pt x="9663" y="1133"/>
                  </a:moveTo>
                  <a:cubicBezTo>
                    <a:pt x="11824" y="1133"/>
                    <a:pt x="13983" y="1975"/>
                    <a:pt x="15668" y="3657"/>
                  </a:cubicBezTo>
                  <a:cubicBezTo>
                    <a:pt x="19035" y="7027"/>
                    <a:pt x="19035" y="12302"/>
                    <a:pt x="15668" y="15668"/>
                  </a:cubicBezTo>
                  <a:cubicBezTo>
                    <a:pt x="13983" y="17350"/>
                    <a:pt x="11824" y="18193"/>
                    <a:pt x="9663" y="18193"/>
                  </a:cubicBezTo>
                  <a:cubicBezTo>
                    <a:pt x="7501" y="18193"/>
                    <a:pt x="5342" y="17350"/>
                    <a:pt x="3657" y="15668"/>
                  </a:cubicBezTo>
                  <a:cubicBezTo>
                    <a:pt x="290" y="12302"/>
                    <a:pt x="290" y="7024"/>
                    <a:pt x="3657" y="3657"/>
                  </a:cubicBezTo>
                  <a:cubicBezTo>
                    <a:pt x="5342" y="1975"/>
                    <a:pt x="7501" y="1133"/>
                    <a:pt x="9663" y="1133"/>
                  </a:cubicBezTo>
                  <a:close/>
                  <a:moveTo>
                    <a:pt x="9663" y="1"/>
                  </a:moveTo>
                  <a:cubicBezTo>
                    <a:pt x="7117" y="1"/>
                    <a:pt x="4699" y="1015"/>
                    <a:pt x="2857" y="2857"/>
                  </a:cubicBezTo>
                  <a:cubicBezTo>
                    <a:pt x="1015" y="4699"/>
                    <a:pt x="0" y="7117"/>
                    <a:pt x="0" y="9663"/>
                  </a:cubicBezTo>
                  <a:cubicBezTo>
                    <a:pt x="0" y="12208"/>
                    <a:pt x="1015" y="14627"/>
                    <a:pt x="2857" y="16469"/>
                  </a:cubicBezTo>
                  <a:cubicBezTo>
                    <a:pt x="4699" y="18310"/>
                    <a:pt x="7117" y="19325"/>
                    <a:pt x="9663"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09" name="Google Shape;9209;p75"/>
            <p:cNvSpPr/>
            <p:nvPr/>
          </p:nvSpPr>
          <p:spPr>
            <a:xfrm>
              <a:off x="2209375" y="5125625"/>
              <a:ext cx="227600" cy="219350"/>
            </a:xfrm>
            <a:custGeom>
              <a:avLst/>
              <a:gdLst/>
              <a:ahLst/>
              <a:cxnLst/>
              <a:rect l="l" t="t" r="r" b="b"/>
              <a:pathLst>
                <a:path w="9104" h="8774" extrusionOk="0">
                  <a:moveTo>
                    <a:pt x="7232" y="1143"/>
                  </a:moveTo>
                  <a:cubicBezTo>
                    <a:pt x="7377" y="1143"/>
                    <a:pt x="7522" y="1198"/>
                    <a:pt x="7633" y="1308"/>
                  </a:cubicBezTo>
                  <a:cubicBezTo>
                    <a:pt x="7851" y="1528"/>
                    <a:pt x="7854" y="1882"/>
                    <a:pt x="7639" y="2102"/>
                  </a:cubicBezTo>
                  <a:lnTo>
                    <a:pt x="5755" y="3986"/>
                  </a:lnTo>
                  <a:cubicBezTo>
                    <a:pt x="5532" y="4210"/>
                    <a:pt x="5532" y="4566"/>
                    <a:pt x="5755" y="4789"/>
                  </a:cubicBezTo>
                  <a:lnTo>
                    <a:pt x="7639" y="6673"/>
                  </a:lnTo>
                  <a:cubicBezTo>
                    <a:pt x="7854" y="6894"/>
                    <a:pt x="7851" y="7247"/>
                    <a:pt x="7633" y="7468"/>
                  </a:cubicBezTo>
                  <a:cubicBezTo>
                    <a:pt x="7522" y="7577"/>
                    <a:pt x="7377" y="7633"/>
                    <a:pt x="7232" y="7633"/>
                  </a:cubicBezTo>
                  <a:cubicBezTo>
                    <a:pt x="7090" y="7633"/>
                    <a:pt x="6948" y="7580"/>
                    <a:pt x="6839" y="7474"/>
                  </a:cubicBezTo>
                  <a:lnTo>
                    <a:pt x="6830" y="7468"/>
                  </a:lnTo>
                  <a:lnTo>
                    <a:pt x="4946" y="5650"/>
                  </a:lnTo>
                  <a:cubicBezTo>
                    <a:pt x="4836" y="5544"/>
                    <a:pt x="4695" y="5491"/>
                    <a:pt x="4554" y="5491"/>
                  </a:cubicBezTo>
                  <a:cubicBezTo>
                    <a:pt x="4412" y="5491"/>
                    <a:pt x="4271" y="5544"/>
                    <a:pt x="4161" y="5650"/>
                  </a:cubicBezTo>
                  <a:lnTo>
                    <a:pt x="2277" y="7468"/>
                  </a:lnTo>
                  <a:lnTo>
                    <a:pt x="2268" y="7474"/>
                  </a:lnTo>
                  <a:cubicBezTo>
                    <a:pt x="2159" y="7580"/>
                    <a:pt x="2017" y="7633"/>
                    <a:pt x="1875" y="7633"/>
                  </a:cubicBezTo>
                  <a:cubicBezTo>
                    <a:pt x="1730" y="7633"/>
                    <a:pt x="1585" y="7577"/>
                    <a:pt x="1474" y="7468"/>
                  </a:cubicBezTo>
                  <a:cubicBezTo>
                    <a:pt x="1256" y="7247"/>
                    <a:pt x="1253" y="6894"/>
                    <a:pt x="1468" y="6673"/>
                  </a:cubicBezTo>
                  <a:lnTo>
                    <a:pt x="3352" y="4789"/>
                  </a:lnTo>
                  <a:cubicBezTo>
                    <a:pt x="3575" y="4566"/>
                    <a:pt x="3575" y="4210"/>
                    <a:pt x="3352" y="3986"/>
                  </a:cubicBezTo>
                  <a:lnTo>
                    <a:pt x="1468" y="2102"/>
                  </a:lnTo>
                  <a:cubicBezTo>
                    <a:pt x="1253" y="1882"/>
                    <a:pt x="1256" y="1528"/>
                    <a:pt x="1474" y="1308"/>
                  </a:cubicBezTo>
                  <a:cubicBezTo>
                    <a:pt x="1585" y="1198"/>
                    <a:pt x="1730" y="1143"/>
                    <a:pt x="1875" y="1143"/>
                  </a:cubicBezTo>
                  <a:cubicBezTo>
                    <a:pt x="2017" y="1143"/>
                    <a:pt x="2159" y="1196"/>
                    <a:pt x="2268" y="1302"/>
                  </a:cubicBezTo>
                  <a:lnTo>
                    <a:pt x="2277" y="1308"/>
                  </a:lnTo>
                  <a:lnTo>
                    <a:pt x="4161" y="3126"/>
                  </a:lnTo>
                  <a:cubicBezTo>
                    <a:pt x="4271" y="3231"/>
                    <a:pt x="4412" y="3284"/>
                    <a:pt x="4554" y="3284"/>
                  </a:cubicBezTo>
                  <a:cubicBezTo>
                    <a:pt x="4695" y="3284"/>
                    <a:pt x="4836" y="3231"/>
                    <a:pt x="4946" y="3126"/>
                  </a:cubicBezTo>
                  <a:lnTo>
                    <a:pt x="6830" y="1308"/>
                  </a:lnTo>
                  <a:lnTo>
                    <a:pt x="6839" y="1302"/>
                  </a:lnTo>
                  <a:cubicBezTo>
                    <a:pt x="6948" y="1196"/>
                    <a:pt x="7090" y="1143"/>
                    <a:pt x="7232" y="1143"/>
                  </a:cubicBezTo>
                  <a:close/>
                  <a:moveTo>
                    <a:pt x="1865" y="0"/>
                  </a:moveTo>
                  <a:cubicBezTo>
                    <a:pt x="1430" y="0"/>
                    <a:pt x="995" y="166"/>
                    <a:pt x="664" y="499"/>
                  </a:cubicBezTo>
                  <a:cubicBezTo>
                    <a:pt x="0" y="1163"/>
                    <a:pt x="3" y="2241"/>
                    <a:pt x="667" y="2902"/>
                  </a:cubicBezTo>
                  <a:lnTo>
                    <a:pt x="2153" y="4388"/>
                  </a:lnTo>
                  <a:lnTo>
                    <a:pt x="667" y="5873"/>
                  </a:lnTo>
                  <a:cubicBezTo>
                    <a:pt x="0" y="6535"/>
                    <a:pt x="0" y="7610"/>
                    <a:pt x="661" y="8274"/>
                  </a:cubicBezTo>
                  <a:cubicBezTo>
                    <a:pt x="995" y="8607"/>
                    <a:pt x="1431" y="8774"/>
                    <a:pt x="1868" y="8774"/>
                  </a:cubicBezTo>
                  <a:cubicBezTo>
                    <a:pt x="2301" y="8774"/>
                    <a:pt x="2734" y="8609"/>
                    <a:pt x="3065" y="8280"/>
                  </a:cubicBezTo>
                  <a:lnTo>
                    <a:pt x="4554" y="6846"/>
                  </a:lnTo>
                  <a:lnTo>
                    <a:pt x="6042" y="8280"/>
                  </a:lnTo>
                  <a:cubicBezTo>
                    <a:pt x="6373" y="8609"/>
                    <a:pt x="6806" y="8774"/>
                    <a:pt x="7239" y="8774"/>
                  </a:cubicBezTo>
                  <a:cubicBezTo>
                    <a:pt x="7675" y="8774"/>
                    <a:pt x="8111" y="8607"/>
                    <a:pt x="8443" y="8274"/>
                  </a:cubicBezTo>
                  <a:cubicBezTo>
                    <a:pt x="9104" y="7610"/>
                    <a:pt x="9104" y="6535"/>
                    <a:pt x="8440" y="5873"/>
                  </a:cubicBezTo>
                  <a:lnTo>
                    <a:pt x="6957" y="4388"/>
                  </a:lnTo>
                  <a:lnTo>
                    <a:pt x="8440" y="2902"/>
                  </a:lnTo>
                  <a:cubicBezTo>
                    <a:pt x="8760" y="2585"/>
                    <a:pt x="8938" y="2153"/>
                    <a:pt x="8938" y="1703"/>
                  </a:cubicBezTo>
                  <a:cubicBezTo>
                    <a:pt x="8938" y="1018"/>
                    <a:pt x="8524" y="399"/>
                    <a:pt x="7893" y="133"/>
                  </a:cubicBezTo>
                  <a:cubicBezTo>
                    <a:pt x="7682" y="46"/>
                    <a:pt x="7460" y="3"/>
                    <a:pt x="7239" y="3"/>
                  </a:cubicBezTo>
                  <a:cubicBezTo>
                    <a:pt x="6799" y="3"/>
                    <a:pt x="6366" y="174"/>
                    <a:pt x="6042" y="496"/>
                  </a:cubicBezTo>
                  <a:lnTo>
                    <a:pt x="4554" y="1930"/>
                  </a:lnTo>
                  <a:lnTo>
                    <a:pt x="3065" y="496"/>
                  </a:lnTo>
                  <a:cubicBezTo>
                    <a:pt x="2733" y="165"/>
                    <a:pt x="2299" y="0"/>
                    <a:pt x="18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10" name="Google Shape;9210;p75"/>
          <p:cNvGrpSpPr/>
          <p:nvPr/>
        </p:nvGrpSpPr>
        <p:grpSpPr>
          <a:xfrm>
            <a:off x="1491328" y="3979188"/>
            <a:ext cx="293982" cy="293982"/>
            <a:chOff x="2676100" y="4993750"/>
            <a:chExt cx="483125" cy="483125"/>
          </a:xfrm>
        </p:grpSpPr>
        <p:sp>
          <p:nvSpPr>
            <p:cNvPr id="9211" name="Google Shape;9211;p75"/>
            <p:cNvSpPr/>
            <p:nvPr/>
          </p:nvSpPr>
          <p:spPr>
            <a:xfrm>
              <a:off x="267610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0" y="761"/>
                    <a:pt x="0" y="1700"/>
                  </a:cubicBezTo>
                  <a:lnTo>
                    <a:pt x="0" y="17628"/>
                  </a:lnTo>
                  <a:cubicBezTo>
                    <a:pt x="0"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12" name="Google Shape;9212;p75"/>
            <p:cNvSpPr/>
            <p:nvPr/>
          </p:nvSpPr>
          <p:spPr>
            <a:xfrm>
              <a:off x="2776125" y="5051350"/>
              <a:ext cx="141550" cy="367950"/>
            </a:xfrm>
            <a:custGeom>
              <a:avLst/>
              <a:gdLst/>
              <a:ahLst/>
              <a:cxnLst/>
              <a:rect l="l" t="t" r="r" b="b"/>
              <a:pathLst>
                <a:path w="5662" h="14718" extrusionOk="0">
                  <a:moveTo>
                    <a:pt x="4529" y="4530"/>
                  </a:moveTo>
                  <a:lnTo>
                    <a:pt x="4529" y="5094"/>
                  </a:lnTo>
                  <a:cubicBezTo>
                    <a:pt x="4529" y="5408"/>
                    <a:pt x="4276" y="5662"/>
                    <a:pt x="3965" y="5662"/>
                  </a:cubicBezTo>
                  <a:cubicBezTo>
                    <a:pt x="3651" y="5662"/>
                    <a:pt x="3397" y="5912"/>
                    <a:pt x="3397" y="6226"/>
                  </a:cubicBezTo>
                  <a:lnTo>
                    <a:pt x="3397" y="13020"/>
                  </a:lnTo>
                  <a:cubicBezTo>
                    <a:pt x="3397" y="13334"/>
                    <a:pt x="3143" y="13585"/>
                    <a:pt x="2832" y="13585"/>
                  </a:cubicBezTo>
                  <a:cubicBezTo>
                    <a:pt x="2518" y="13585"/>
                    <a:pt x="2265" y="13334"/>
                    <a:pt x="2265" y="13020"/>
                  </a:cubicBezTo>
                  <a:lnTo>
                    <a:pt x="2265" y="6226"/>
                  </a:lnTo>
                  <a:cubicBezTo>
                    <a:pt x="2265" y="5912"/>
                    <a:pt x="2011" y="5662"/>
                    <a:pt x="1700" y="5662"/>
                  </a:cubicBezTo>
                  <a:cubicBezTo>
                    <a:pt x="1386" y="5662"/>
                    <a:pt x="1132" y="5408"/>
                    <a:pt x="1132" y="5094"/>
                  </a:cubicBezTo>
                  <a:lnTo>
                    <a:pt x="1132" y="4530"/>
                  </a:lnTo>
                  <a:close/>
                  <a:moveTo>
                    <a:pt x="568" y="0"/>
                  </a:moveTo>
                  <a:cubicBezTo>
                    <a:pt x="254" y="0"/>
                    <a:pt x="0" y="251"/>
                    <a:pt x="0" y="565"/>
                  </a:cubicBezTo>
                  <a:lnTo>
                    <a:pt x="0" y="5094"/>
                  </a:lnTo>
                  <a:cubicBezTo>
                    <a:pt x="0" y="5813"/>
                    <a:pt x="453" y="6456"/>
                    <a:pt x="1132" y="6694"/>
                  </a:cubicBezTo>
                  <a:lnTo>
                    <a:pt x="1132" y="13020"/>
                  </a:lnTo>
                  <a:cubicBezTo>
                    <a:pt x="1132" y="13959"/>
                    <a:pt x="1893" y="14717"/>
                    <a:pt x="2832" y="14717"/>
                  </a:cubicBezTo>
                  <a:cubicBezTo>
                    <a:pt x="3768" y="14717"/>
                    <a:pt x="4529" y="13959"/>
                    <a:pt x="4529" y="13020"/>
                  </a:cubicBezTo>
                  <a:lnTo>
                    <a:pt x="4529" y="6694"/>
                  </a:lnTo>
                  <a:cubicBezTo>
                    <a:pt x="5209" y="6456"/>
                    <a:pt x="5662" y="5813"/>
                    <a:pt x="5662" y="5094"/>
                  </a:cubicBezTo>
                  <a:lnTo>
                    <a:pt x="5662" y="565"/>
                  </a:lnTo>
                  <a:cubicBezTo>
                    <a:pt x="5662" y="251"/>
                    <a:pt x="5408" y="0"/>
                    <a:pt x="5097" y="0"/>
                  </a:cubicBezTo>
                  <a:cubicBezTo>
                    <a:pt x="4783" y="0"/>
                    <a:pt x="4529" y="251"/>
                    <a:pt x="4529" y="565"/>
                  </a:cubicBezTo>
                  <a:lnTo>
                    <a:pt x="4529" y="3397"/>
                  </a:lnTo>
                  <a:lnTo>
                    <a:pt x="3397" y="3397"/>
                  </a:lnTo>
                  <a:lnTo>
                    <a:pt x="3397" y="565"/>
                  </a:lnTo>
                  <a:cubicBezTo>
                    <a:pt x="3397" y="251"/>
                    <a:pt x="3143" y="0"/>
                    <a:pt x="2832" y="0"/>
                  </a:cubicBezTo>
                  <a:cubicBezTo>
                    <a:pt x="2518" y="0"/>
                    <a:pt x="2265" y="251"/>
                    <a:pt x="2265" y="565"/>
                  </a:cubicBezTo>
                  <a:lnTo>
                    <a:pt x="2265" y="3397"/>
                  </a:lnTo>
                  <a:lnTo>
                    <a:pt x="1132" y="3397"/>
                  </a:lnTo>
                  <a:lnTo>
                    <a:pt x="1132" y="565"/>
                  </a:lnTo>
                  <a:cubicBezTo>
                    <a:pt x="1132" y="251"/>
                    <a:pt x="879"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13" name="Google Shape;9213;p75"/>
            <p:cNvSpPr/>
            <p:nvPr/>
          </p:nvSpPr>
          <p:spPr>
            <a:xfrm>
              <a:off x="2945950" y="5051350"/>
              <a:ext cx="113275" cy="367950"/>
            </a:xfrm>
            <a:custGeom>
              <a:avLst/>
              <a:gdLst/>
              <a:ahLst/>
              <a:cxnLst/>
              <a:rect l="l" t="t" r="r" b="b"/>
              <a:pathLst>
                <a:path w="4531" h="14718" extrusionOk="0">
                  <a:moveTo>
                    <a:pt x="3398" y="1187"/>
                  </a:moveTo>
                  <a:lnTo>
                    <a:pt x="3398" y="13020"/>
                  </a:lnTo>
                  <a:cubicBezTo>
                    <a:pt x="3398" y="13334"/>
                    <a:pt x="3144" y="13585"/>
                    <a:pt x="2833" y="13585"/>
                  </a:cubicBezTo>
                  <a:cubicBezTo>
                    <a:pt x="2519" y="13585"/>
                    <a:pt x="2266" y="13334"/>
                    <a:pt x="2266" y="13020"/>
                  </a:cubicBezTo>
                  <a:lnTo>
                    <a:pt x="2266" y="8491"/>
                  </a:lnTo>
                  <a:cubicBezTo>
                    <a:pt x="2266" y="8177"/>
                    <a:pt x="2012" y="7926"/>
                    <a:pt x="1701" y="7926"/>
                  </a:cubicBezTo>
                  <a:lnTo>
                    <a:pt x="1133" y="7926"/>
                  </a:lnTo>
                  <a:lnTo>
                    <a:pt x="1133" y="3962"/>
                  </a:lnTo>
                  <a:cubicBezTo>
                    <a:pt x="1136" y="2618"/>
                    <a:pt x="2081" y="1459"/>
                    <a:pt x="3398" y="1187"/>
                  </a:cubicBezTo>
                  <a:close/>
                  <a:moveTo>
                    <a:pt x="3965" y="0"/>
                  </a:moveTo>
                  <a:cubicBezTo>
                    <a:pt x="1776" y="0"/>
                    <a:pt x="4" y="1773"/>
                    <a:pt x="1" y="3962"/>
                  </a:cubicBezTo>
                  <a:lnTo>
                    <a:pt x="1" y="8491"/>
                  </a:lnTo>
                  <a:cubicBezTo>
                    <a:pt x="1" y="8805"/>
                    <a:pt x="255" y="9059"/>
                    <a:pt x="569" y="9059"/>
                  </a:cubicBezTo>
                  <a:lnTo>
                    <a:pt x="1133" y="9059"/>
                  </a:lnTo>
                  <a:lnTo>
                    <a:pt x="1133" y="13020"/>
                  </a:lnTo>
                  <a:cubicBezTo>
                    <a:pt x="1133" y="13959"/>
                    <a:pt x="1894" y="14717"/>
                    <a:pt x="2833" y="14717"/>
                  </a:cubicBezTo>
                  <a:cubicBezTo>
                    <a:pt x="3769" y="14717"/>
                    <a:pt x="4530" y="13959"/>
                    <a:pt x="4530" y="13020"/>
                  </a:cubicBezTo>
                  <a:lnTo>
                    <a:pt x="4530" y="565"/>
                  </a:lnTo>
                  <a:cubicBezTo>
                    <a:pt x="4530" y="251"/>
                    <a:pt x="4276" y="0"/>
                    <a:pt x="3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14" name="Google Shape;9214;p75"/>
          <p:cNvGrpSpPr/>
          <p:nvPr/>
        </p:nvGrpSpPr>
        <p:grpSpPr>
          <a:xfrm>
            <a:off x="4322435" y="3971815"/>
            <a:ext cx="308234" cy="308234"/>
            <a:chOff x="3270550" y="4993750"/>
            <a:chExt cx="483125" cy="483125"/>
          </a:xfrm>
        </p:grpSpPr>
        <p:sp>
          <p:nvSpPr>
            <p:cNvPr id="9215" name="Google Shape;9215;p75"/>
            <p:cNvSpPr/>
            <p:nvPr/>
          </p:nvSpPr>
          <p:spPr>
            <a:xfrm>
              <a:off x="327055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1" y="761"/>
                    <a:pt x="1" y="1700"/>
                  </a:cubicBezTo>
                  <a:lnTo>
                    <a:pt x="1" y="17628"/>
                  </a:lnTo>
                  <a:cubicBezTo>
                    <a:pt x="1"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16" name="Google Shape;9216;p75"/>
            <p:cNvSpPr/>
            <p:nvPr/>
          </p:nvSpPr>
          <p:spPr>
            <a:xfrm>
              <a:off x="3469675" y="5079600"/>
              <a:ext cx="88275" cy="85000"/>
            </a:xfrm>
            <a:custGeom>
              <a:avLst/>
              <a:gdLst/>
              <a:ahLst/>
              <a:cxnLst/>
              <a:rect l="l" t="t" r="r" b="b"/>
              <a:pathLst>
                <a:path w="3531" h="3400" extrusionOk="0">
                  <a:moveTo>
                    <a:pt x="1698" y="1135"/>
                  </a:moveTo>
                  <a:cubicBezTo>
                    <a:pt x="2202" y="1135"/>
                    <a:pt x="2456" y="1742"/>
                    <a:pt x="2099" y="2101"/>
                  </a:cubicBezTo>
                  <a:cubicBezTo>
                    <a:pt x="1983" y="2216"/>
                    <a:pt x="1842" y="2268"/>
                    <a:pt x="1703" y="2268"/>
                  </a:cubicBezTo>
                  <a:cubicBezTo>
                    <a:pt x="1411" y="2268"/>
                    <a:pt x="1133" y="2041"/>
                    <a:pt x="1133" y="1700"/>
                  </a:cubicBezTo>
                  <a:cubicBezTo>
                    <a:pt x="1133" y="1386"/>
                    <a:pt x="1384" y="1135"/>
                    <a:pt x="1698" y="1135"/>
                  </a:cubicBezTo>
                  <a:close/>
                  <a:moveTo>
                    <a:pt x="1698" y="0"/>
                  </a:moveTo>
                  <a:cubicBezTo>
                    <a:pt x="1479" y="0"/>
                    <a:pt x="1259" y="42"/>
                    <a:pt x="1049" y="129"/>
                  </a:cubicBezTo>
                  <a:cubicBezTo>
                    <a:pt x="415" y="392"/>
                    <a:pt x="1" y="1011"/>
                    <a:pt x="1" y="1700"/>
                  </a:cubicBezTo>
                  <a:cubicBezTo>
                    <a:pt x="1" y="2639"/>
                    <a:pt x="759" y="3397"/>
                    <a:pt x="1698" y="3400"/>
                  </a:cubicBezTo>
                  <a:cubicBezTo>
                    <a:pt x="2386" y="3400"/>
                    <a:pt x="3005" y="2983"/>
                    <a:pt x="3268" y="2349"/>
                  </a:cubicBezTo>
                  <a:cubicBezTo>
                    <a:pt x="3531" y="1715"/>
                    <a:pt x="3386" y="984"/>
                    <a:pt x="2900" y="498"/>
                  </a:cubicBezTo>
                  <a:cubicBezTo>
                    <a:pt x="2574" y="173"/>
                    <a:pt x="2140" y="0"/>
                    <a:pt x="16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17" name="Google Shape;9217;p75"/>
            <p:cNvSpPr/>
            <p:nvPr/>
          </p:nvSpPr>
          <p:spPr>
            <a:xfrm>
              <a:off x="3441375" y="5192875"/>
              <a:ext cx="141475" cy="198175"/>
            </a:xfrm>
            <a:custGeom>
              <a:avLst/>
              <a:gdLst/>
              <a:ahLst/>
              <a:cxnLst/>
              <a:rect l="l" t="t" r="r" b="b"/>
              <a:pathLst>
                <a:path w="5659" h="7927" extrusionOk="0">
                  <a:moveTo>
                    <a:pt x="3397" y="1133"/>
                  </a:moveTo>
                  <a:lnTo>
                    <a:pt x="3397" y="6795"/>
                  </a:lnTo>
                  <a:lnTo>
                    <a:pt x="2265" y="6795"/>
                  </a:lnTo>
                  <a:lnTo>
                    <a:pt x="2265" y="1133"/>
                  </a:lnTo>
                  <a:close/>
                  <a:moveTo>
                    <a:pt x="565" y="1"/>
                  </a:moveTo>
                  <a:cubicBezTo>
                    <a:pt x="251" y="1"/>
                    <a:pt x="1" y="251"/>
                    <a:pt x="1" y="565"/>
                  </a:cubicBezTo>
                  <a:cubicBezTo>
                    <a:pt x="1" y="879"/>
                    <a:pt x="251" y="1133"/>
                    <a:pt x="565" y="1133"/>
                  </a:cubicBezTo>
                  <a:lnTo>
                    <a:pt x="1133" y="1133"/>
                  </a:lnTo>
                  <a:lnTo>
                    <a:pt x="1133" y="6795"/>
                  </a:lnTo>
                  <a:lnTo>
                    <a:pt x="565" y="6795"/>
                  </a:lnTo>
                  <a:cubicBezTo>
                    <a:pt x="251" y="6795"/>
                    <a:pt x="1" y="7045"/>
                    <a:pt x="1" y="7359"/>
                  </a:cubicBezTo>
                  <a:cubicBezTo>
                    <a:pt x="1" y="7673"/>
                    <a:pt x="251" y="7927"/>
                    <a:pt x="565" y="7927"/>
                  </a:cubicBezTo>
                  <a:lnTo>
                    <a:pt x="5094" y="7927"/>
                  </a:lnTo>
                  <a:cubicBezTo>
                    <a:pt x="5408" y="7927"/>
                    <a:pt x="5659" y="7673"/>
                    <a:pt x="5659" y="7359"/>
                  </a:cubicBezTo>
                  <a:cubicBezTo>
                    <a:pt x="5659" y="7045"/>
                    <a:pt x="5408" y="6795"/>
                    <a:pt x="5094" y="6795"/>
                  </a:cubicBezTo>
                  <a:lnTo>
                    <a:pt x="4530" y="6795"/>
                  </a:lnTo>
                  <a:lnTo>
                    <a:pt x="4530" y="565"/>
                  </a:lnTo>
                  <a:cubicBezTo>
                    <a:pt x="4530" y="251"/>
                    <a:pt x="4276" y="1"/>
                    <a:pt x="3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9218" name="Google Shape;9218;p75"/>
          <p:cNvSpPr/>
          <p:nvPr/>
        </p:nvSpPr>
        <p:spPr>
          <a:xfrm>
            <a:off x="1889555" y="3978931"/>
            <a:ext cx="293997" cy="294073"/>
          </a:xfrm>
          <a:custGeom>
            <a:avLst/>
            <a:gdLst/>
            <a:ahLst/>
            <a:cxnLst/>
            <a:rect l="l" t="t" r="r" b="b"/>
            <a:pathLst>
              <a:path w="19326" h="19331" extrusionOk="0">
                <a:moveTo>
                  <a:pt x="9470" y="1131"/>
                </a:moveTo>
                <a:cubicBezTo>
                  <a:pt x="9519" y="1131"/>
                  <a:pt x="9569" y="1143"/>
                  <a:pt x="9615" y="1165"/>
                </a:cubicBezTo>
                <a:lnTo>
                  <a:pt x="17504" y="5208"/>
                </a:lnTo>
                <a:lnTo>
                  <a:pt x="14283" y="6820"/>
                </a:lnTo>
                <a:lnTo>
                  <a:pt x="6360" y="2756"/>
                </a:lnTo>
                <a:lnTo>
                  <a:pt x="9325" y="1168"/>
                </a:lnTo>
                <a:cubicBezTo>
                  <a:pt x="9369" y="1143"/>
                  <a:pt x="9419" y="1131"/>
                  <a:pt x="9470" y="1131"/>
                </a:cubicBezTo>
                <a:close/>
                <a:moveTo>
                  <a:pt x="5149" y="3405"/>
                </a:moveTo>
                <a:lnTo>
                  <a:pt x="13027" y="7448"/>
                </a:lnTo>
                <a:lnTo>
                  <a:pt x="9467" y="9230"/>
                </a:lnTo>
                <a:lnTo>
                  <a:pt x="1779" y="5208"/>
                </a:lnTo>
                <a:lnTo>
                  <a:pt x="5149" y="3405"/>
                </a:lnTo>
                <a:close/>
                <a:moveTo>
                  <a:pt x="1133" y="6150"/>
                </a:moveTo>
                <a:lnTo>
                  <a:pt x="8896" y="10208"/>
                </a:lnTo>
                <a:lnTo>
                  <a:pt x="8896" y="17935"/>
                </a:lnTo>
                <a:lnTo>
                  <a:pt x="1299" y="13916"/>
                </a:lnTo>
                <a:cubicBezTo>
                  <a:pt x="1196" y="13862"/>
                  <a:pt x="1133" y="13753"/>
                  <a:pt x="1133" y="13638"/>
                </a:cubicBezTo>
                <a:lnTo>
                  <a:pt x="1133" y="6150"/>
                </a:lnTo>
                <a:close/>
                <a:moveTo>
                  <a:pt x="18190" y="6132"/>
                </a:moveTo>
                <a:lnTo>
                  <a:pt x="18190" y="13629"/>
                </a:lnTo>
                <a:cubicBezTo>
                  <a:pt x="18193" y="13744"/>
                  <a:pt x="18126" y="13853"/>
                  <a:pt x="18021" y="13907"/>
                </a:cubicBezTo>
                <a:lnTo>
                  <a:pt x="10028" y="17953"/>
                </a:lnTo>
                <a:lnTo>
                  <a:pt x="10028" y="10217"/>
                </a:lnTo>
                <a:lnTo>
                  <a:pt x="13730" y="8363"/>
                </a:lnTo>
                <a:lnTo>
                  <a:pt x="13730" y="10281"/>
                </a:lnTo>
                <a:cubicBezTo>
                  <a:pt x="13730" y="10592"/>
                  <a:pt x="13984" y="10845"/>
                  <a:pt x="14298" y="10845"/>
                </a:cubicBezTo>
                <a:cubicBezTo>
                  <a:pt x="14609" y="10845"/>
                  <a:pt x="14862" y="10592"/>
                  <a:pt x="14862" y="10281"/>
                </a:cubicBezTo>
                <a:lnTo>
                  <a:pt x="14862" y="7796"/>
                </a:lnTo>
                <a:lnTo>
                  <a:pt x="18190" y="6132"/>
                </a:lnTo>
                <a:close/>
                <a:moveTo>
                  <a:pt x="9473" y="0"/>
                </a:moveTo>
                <a:cubicBezTo>
                  <a:pt x="9238" y="0"/>
                  <a:pt x="9003" y="58"/>
                  <a:pt x="8790"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19" y="19279"/>
                  <a:pt x="10125" y="19176"/>
                </a:cubicBezTo>
                <a:lnTo>
                  <a:pt x="18534" y="14916"/>
                </a:lnTo>
                <a:cubicBezTo>
                  <a:pt x="19020" y="14671"/>
                  <a:pt x="19325" y="14173"/>
                  <a:pt x="19325" y="13629"/>
                </a:cubicBezTo>
                <a:lnTo>
                  <a:pt x="19325" y="5752"/>
                </a:lnTo>
                <a:cubicBezTo>
                  <a:pt x="19325" y="5208"/>
                  <a:pt x="19023" y="4713"/>
                  <a:pt x="18537" y="4465"/>
                </a:cubicBezTo>
                <a:lnTo>
                  <a:pt x="10131" y="160"/>
                </a:lnTo>
                <a:cubicBezTo>
                  <a:pt x="9924" y="53"/>
                  <a:pt x="9698" y="0"/>
                  <a:pt x="94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9219" name="Google Shape;9219;p75"/>
          <p:cNvGrpSpPr/>
          <p:nvPr/>
        </p:nvGrpSpPr>
        <p:grpSpPr>
          <a:xfrm>
            <a:off x="2288093" y="3979142"/>
            <a:ext cx="293997" cy="294073"/>
            <a:chOff x="4459450" y="4993700"/>
            <a:chExt cx="483150" cy="483275"/>
          </a:xfrm>
        </p:grpSpPr>
        <p:sp>
          <p:nvSpPr>
            <p:cNvPr id="9220" name="Google Shape;9220;p75"/>
            <p:cNvSpPr/>
            <p:nvPr/>
          </p:nvSpPr>
          <p:spPr>
            <a:xfrm>
              <a:off x="445945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1" y="3366"/>
                  </a:moveTo>
                  <a:lnTo>
                    <a:pt x="13033" y="7445"/>
                  </a:lnTo>
                  <a:lnTo>
                    <a:pt x="9467" y="9230"/>
                  </a:lnTo>
                  <a:lnTo>
                    <a:pt x="1779" y="5208"/>
                  </a:lnTo>
                  <a:lnTo>
                    <a:pt x="5221"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8" y="17953"/>
                  </a:lnTo>
                  <a:lnTo>
                    <a:pt x="10028"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7"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2" y="53"/>
                    <a:pt x="9697" y="0"/>
                    <a:pt x="94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21" name="Google Shape;9221;p75"/>
            <p:cNvSpPr/>
            <p:nvPr/>
          </p:nvSpPr>
          <p:spPr>
            <a:xfrm>
              <a:off x="4530800" y="5235675"/>
              <a:ext cx="99650" cy="118650"/>
            </a:xfrm>
            <a:custGeom>
              <a:avLst/>
              <a:gdLst/>
              <a:ahLst/>
              <a:cxnLst/>
              <a:rect l="l" t="t" r="r" b="b"/>
              <a:pathLst>
                <a:path w="3986" h="4746" extrusionOk="0">
                  <a:moveTo>
                    <a:pt x="859" y="1"/>
                  </a:moveTo>
                  <a:cubicBezTo>
                    <a:pt x="757" y="1"/>
                    <a:pt x="654" y="28"/>
                    <a:pt x="562" y="85"/>
                  </a:cubicBezTo>
                  <a:cubicBezTo>
                    <a:pt x="296" y="251"/>
                    <a:pt x="215" y="596"/>
                    <a:pt x="378" y="861"/>
                  </a:cubicBezTo>
                  <a:lnTo>
                    <a:pt x="1136" y="2081"/>
                  </a:lnTo>
                  <a:lnTo>
                    <a:pt x="432" y="2374"/>
                  </a:lnTo>
                  <a:cubicBezTo>
                    <a:pt x="139" y="2492"/>
                    <a:pt x="0" y="2827"/>
                    <a:pt x="121" y="3117"/>
                  </a:cubicBezTo>
                  <a:cubicBezTo>
                    <a:pt x="211" y="3335"/>
                    <a:pt x="422" y="3466"/>
                    <a:pt x="644" y="3466"/>
                  </a:cubicBezTo>
                  <a:cubicBezTo>
                    <a:pt x="719" y="3466"/>
                    <a:pt x="796" y="3451"/>
                    <a:pt x="870" y="3419"/>
                  </a:cubicBezTo>
                  <a:lnTo>
                    <a:pt x="1742" y="3054"/>
                  </a:lnTo>
                  <a:lnTo>
                    <a:pt x="2627" y="4476"/>
                  </a:lnTo>
                  <a:cubicBezTo>
                    <a:pt x="2733" y="4650"/>
                    <a:pt x="2919" y="4746"/>
                    <a:pt x="3110" y="4746"/>
                  </a:cubicBezTo>
                  <a:cubicBezTo>
                    <a:pt x="3212" y="4746"/>
                    <a:pt x="3316" y="4718"/>
                    <a:pt x="3409" y="4660"/>
                  </a:cubicBezTo>
                  <a:cubicBezTo>
                    <a:pt x="3675" y="4494"/>
                    <a:pt x="3756" y="4144"/>
                    <a:pt x="3587" y="3878"/>
                  </a:cubicBezTo>
                  <a:lnTo>
                    <a:pt x="2802" y="2613"/>
                  </a:lnTo>
                  <a:lnTo>
                    <a:pt x="3560" y="2296"/>
                  </a:lnTo>
                  <a:cubicBezTo>
                    <a:pt x="3850" y="2175"/>
                    <a:pt x="3986" y="1843"/>
                    <a:pt x="3865" y="1556"/>
                  </a:cubicBezTo>
                  <a:cubicBezTo>
                    <a:pt x="3774" y="1338"/>
                    <a:pt x="3564" y="1207"/>
                    <a:pt x="3343" y="1207"/>
                  </a:cubicBezTo>
                  <a:cubicBezTo>
                    <a:pt x="3270" y="1207"/>
                    <a:pt x="3196" y="1221"/>
                    <a:pt x="3125" y="1251"/>
                  </a:cubicBezTo>
                  <a:lnTo>
                    <a:pt x="2195" y="1637"/>
                  </a:lnTo>
                  <a:lnTo>
                    <a:pt x="1338" y="264"/>
                  </a:lnTo>
                  <a:cubicBezTo>
                    <a:pt x="1230" y="93"/>
                    <a:pt x="1047" y="1"/>
                    <a:pt x="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9222" name="Google Shape;9222;p75"/>
          <p:cNvGrpSpPr/>
          <p:nvPr/>
        </p:nvGrpSpPr>
        <p:grpSpPr>
          <a:xfrm>
            <a:off x="2686471" y="3979142"/>
            <a:ext cx="293997" cy="294073"/>
            <a:chOff x="5053900" y="4993700"/>
            <a:chExt cx="483150" cy="483275"/>
          </a:xfrm>
        </p:grpSpPr>
        <p:sp>
          <p:nvSpPr>
            <p:cNvPr id="9223" name="Google Shape;9223;p75"/>
            <p:cNvSpPr/>
            <p:nvPr/>
          </p:nvSpPr>
          <p:spPr>
            <a:xfrm>
              <a:off x="505390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2" y="3366"/>
                  </a:moveTo>
                  <a:lnTo>
                    <a:pt x="13033" y="7445"/>
                  </a:lnTo>
                  <a:lnTo>
                    <a:pt x="9467" y="9230"/>
                  </a:lnTo>
                  <a:lnTo>
                    <a:pt x="1779" y="5208"/>
                  </a:lnTo>
                  <a:lnTo>
                    <a:pt x="5222"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9" y="17953"/>
                  </a:lnTo>
                  <a:lnTo>
                    <a:pt x="10029"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8" y="172"/>
                  </a:cubicBezTo>
                  <a:lnTo>
                    <a:pt x="765" y="4468"/>
                  </a:lnTo>
                  <a:cubicBezTo>
                    <a:pt x="294" y="4719"/>
                    <a:pt x="1" y="5208"/>
                    <a:pt x="1" y="5739"/>
                  </a:cubicBezTo>
                  <a:lnTo>
                    <a:pt x="1" y="13638"/>
                  </a:lnTo>
                  <a:cubicBezTo>
                    <a:pt x="1" y="14173"/>
                    <a:pt x="297" y="14665"/>
                    <a:pt x="771" y="14913"/>
                  </a:cubicBezTo>
                  <a:lnTo>
                    <a:pt x="8797"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3" y="53"/>
                    <a:pt x="9698" y="0"/>
                    <a:pt x="94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9224" name="Google Shape;9224;p75"/>
            <p:cNvSpPr/>
            <p:nvPr/>
          </p:nvSpPr>
          <p:spPr>
            <a:xfrm>
              <a:off x="5123725" y="5264025"/>
              <a:ext cx="105200" cy="61775"/>
            </a:xfrm>
            <a:custGeom>
              <a:avLst/>
              <a:gdLst/>
              <a:ahLst/>
              <a:cxnLst/>
              <a:rect l="l" t="t" r="r" b="b"/>
              <a:pathLst>
                <a:path w="4208" h="2471" extrusionOk="0">
                  <a:moveTo>
                    <a:pt x="3561" y="1"/>
                  </a:moveTo>
                  <a:cubicBezTo>
                    <a:pt x="3462" y="1"/>
                    <a:pt x="3362" y="26"/>
                    <a:pt x="3271" y="81"/>
                  </a:cubicBezTo>
                  <a:lnTo>
                    <a:pt x="1523" y="1122"/>
                  </a:lnTo>
                  <a:lnTo>
                    <a:pt x="1139" y="449"/>
                  </a:lnTo>
                  <a:cubicBezTo>
                    <a:pt x="1035" y="266"/>
                    <a:pt x="844" y="162"/>
                    <a:pt x="647" y="162"/>
                  </a:cubicBezTo>
                  <a:cubicBezTo>
                    <a:pt x="551" y="162"/>
                    <a:pt x="455" y="187"/>
                    <a:pt x="366" y="238"/>
                  </a:cubicBezTo>
                  <a:cubicBezTo>
                    <a:pt x="95" y="392"/>
                    <a:pt x="1" y="736"/>
                    <a:pt x="155" y="1008"/>
                  </a:cubicBezTo>
                  <a:lnTo>
                    <a:pt x="825" y="2185"/>
                  </a:lnTo>
                  <a:lnTo>
                    <a:pt x="831" y="2191"/>
                  </a:lnTo>
                  <a:cubicBezTo>
                    <a:pt x="831" y="2194"/>
                    <a:pt x="831" y="2194"/>
                    <a:pt x="831" y="2194"/>
                  </a:cubicBezTo>
                  <a:cubicBezTo>
                    <a:pt x="834" y="2200"/>
                    <a:pt x="837" y="2203"/>
                    <a:pt x="840" y="2206"/>
                  </a:cubicBezTo>
                  <a:lnTo>
                    <a:pt x="849" y="2224"/>
                  </a:lnTo>
                  <a:lnTo>
                    <a:pt x="861" y="2240"/>
                  </a:lnTo>
                  <a:lnTo>
                    <a:pt x="874" y="2255"/>
                  </a:lnTo>
                  <a:lnTo>
                    <a:pt x="883" y="2270"/>
                  </a:lnTo>
                  <a:lnTo>
                    <a:pt x="898" y="2282"/>
                  </a:lnTo>
                  <a:lnTo>
                    <a:pt x="910" y="2297"/>
                  </a:lnTo>
                  <a:lnTo>
                    <a:pt x="922" y="2312"/>
                  </a:lnTo>
                  <a:lnTo>
                    <a:pt x="937" y="2324"/>
                  </a:lnTo>
                  <a:lnTo>
                    <a:pt x="949" y="2336"/>
                  </a:lnTo>
                  <a:lnTo>
                    <a:pt x="964" y="2348"/>
                  </a:lnTo>
                  <a:cubicBezTo>
                    <a:pt x="970" y="2351"/>
                    <a:pt x="973" y="2354"/>
                    <a:pt x="979" y="2357"/>
                  </a:cubicBezTo>
                  <a:lnTo>
                    <a:pt x="994" y="2369"/>
                  </a:lnTo>
                  <a:lnTo>
                    <a:pt x="1009" y="2378"/>
                  </a:lnTo>
                  <a:lnTo>
                    <a:pt x="1028" y="2391"/>
                  </a:lnTo>
                  <a:lnTo>
                    <a:pt x="1040" y="2400"/>
                  </a:lnTo>
                  <a:lnTo>
                    <a:pt x="1058" y="2409"/>
                  </a:lnTo>
                  <a:lnTo>
                    <a:pt x="1073" y="2415"/>
                  </a:lnTo>
                  <a:cubicBezTo>
                    <a:pt x="1079" y="2418"/>
                    <a:pt x="1085" y="2421"/>
                    <a:pt x="1091" y="2424"/>
                  </a:cubicBezTo>
                  <a:lnTo>
                    <a:pt x="1106" y="2430"/>
                  </a:lnTo>
                  <a:lnTo>
                    <a:pt x="1124" y="2436"/>
                  </a:lnTo>
                  <a:lnTo>
                    <a:pt x="1139" y="2442"/>
                  </a:lnTo>
                  <a:lnTo>
                    <a:pt x="1160" y="2448"/>
                  </a:lnTo>
                  <a:lnTo>
                    <a:pt x="1176" y="2454"/>
                  </a:lnTo>
                  <a:lnTo>
                    <a:pt x="1197" y="2457"/>
                  </a:lnTo>
                  <a:lnTo>
                    <a:pt x="1212" y="2460"/>
                  </a:lnTo>
                  <a:lnTo>
                    <a:pt x="1233" y="2463"/>
                  </a:lnTo>
                  <a:lnTo>
                    <a:pt x="1245" y="2466"/>
                  </a:lnTo>
                  <a:cubicBezTo>
                    <a:pt x="1254" y="2466"/>
                    <a:pt x="1263" y="2466"/>
                    <a:pt x="1269" y="2469"/>
                  </a:cubicBezTo>
                  <a:cubicBezTo>
                    <a:pt x="1272" y="2470"/>
                    <a:pt x="1274" y="2470"/>
                    <a:pt x="1276" y="2470"/>
                  </a:cubicBezTo>
                  <a:cubicBezTo>
                    <a:pt x="1279" y="2470"/>
                    <a:pt x="1279" y="2469"/>
                    <a:pt x="1281" y="2469"/>
                  </a:cubicBezTo>
                  <a:lnTo>
                    <a:pt x="1369" y="2469"/>
                  </a:lnTo>
                  <a:lnTo>
                    <a:pt x="1393" y="2466"/>
                  </a:lnTo>
                  <a:lnTo>
                    <a:pt x="1408" y="2463"/>
                  </a:lnTo>
                  <a:cubicBezTo>
                    <a:pt x="1414" y="2463"/>
                    <a:pt x="1420" y="2463"/>
                    <a:pt x="1426" y="2460"/>
                  </a:cubicBezTo>
                  <a:lnTo>
                    <a:pt x="1444" y="2457"/>
                  </a:lnTo>
                  <a:lnTo>
                    <a:pt x="1462" y="2451"/>
                  </a:lnTo>
                  <a:lnTo>
                    <a:pt x="1480" y="2448"/>
                  </a:lnTo>
                  <a:lnTo>
                    <a:pt x="1499" y="2442"/>
                  </a:lnTo>
                  <a:lnTo>
                    <a:pt x="1517" y="2436"/>
                  </a:lnTo>
                  <a:cubicBezTo>
                    <a:pt x="1523" y="2433"/>
                    <a:pt x="1529" y="2430"/>
                    <a:pt x="1535" y="2427"/>
                  </a:cubicBezTo>
                  <a:lnTo>
                    <a:pt x="1553" y="2421"/>
                  </a:lnTo>
                  <a:lnTo>
                    <a:pt x="1568" y="2412"/>
                  </a:lnTo>
                  <a:lnTo>
                    <a:pt x="1586" y="2403"/>
                  </a:lnTo>
                  <a:cubicBezTo>
                    <a:pt x="1589" y="2403"/>
                    <a:pt x="1595" y="2400"/>
                    <a:pt x="1598" y="2397"/>
                  </a:cubicBezTo>
                  <a:cubicBezTo>
                    <a:pt x="1600" y="2395"/>
                    <a:pt x="1600" y="2395"/>
                    <a:pt x="1601" y="2395"/>
                  </a:cubicBezTo>
                  <a:cubicBezTo>
                    <a:pt x="1601" y="2395"/>
                    <a:pt x="1601" y="2395"/>
                    <a:pt x="1601" y="2394"/>
                  </a:cubicBezTo>
                  <a:lnTo>
                    <a:pt x="1607" y="2391"/>
                  </a:lnTo>
                  <a:lnTo>
                    <a:pt x="3851" y="1053"/>
                  </a:lnTo>
                  <a:cubicBezTo>
                    <a:pt x="4119" y="893"/>
                    <a:pt x="4207" y="546"/>
                    <a:pt x="4047" y="277"/>
                  </a:cubicBezTo>
                  <a:cubicBezTo>
                    <a:pt x="3941" y="99"/>
                    <a:pt x="3753" y="1"/>
                    <a:pt x="35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228"/>
        <p:cNvGrpSpPr/>
        <p:nvPr/>
      </p:nvGrpSpPr>
      <p:grpSpPr>
        <a:xfrm>
          <a:off x="0" y="0"/>
          <a:ext cx="0" cy="0"/>
          <a:chOff x="0" y="0"/>
          <a:chExt cx="0" cy="0"/>
        </a:xfrm>
      </p:grpSpPr>
      <p:sp>
        <p:nvSpPr>
          <p:cNvPr id="9229" name="Google Shape;9229;p76"/>
          <p:cNvSpPr/>
          <p:nvPr/>
        </p:nvSpPr>
        <p:spPr>
          <a:xfrm>
            <a:off x="844100" y="1534006"/>
            <a:ext cx="323667" cy="373560"/>
          </a:xfrm>
          <a:custGeom>
            <a:avLst/>
            <a:gdLst/>
            <a:ahLst/>
            <a:cxnLst/>
            <a:rect l="l" t="t" r="r" b="b"/>
            <a:pathLst>
              <a:path w="10996" h="12691" extrusionOk="0">
                <a:moveTo>
                  <a:pt x="6050" y="820"/>
                </a:moveTo>
                <a:lnTo>
                  <a:pt x="6050" y="1639"/>
                </a:lnTo>
                <a:lnTo>
                  <a:pt x="5199" y="1639"/>
                </a:lnTo>
                <a:lnTo>
                  <a:pt x="5199" y="820"/>
                </a:lnTo>
                <a:close/>
                <a:moveTo>
                  <a:pt x="9358" y="2458"/>
                </a:moveTo>
                <a:lnTo>
                  <a:pt x="9358" y="8255"/>
                </a:lnTo>
                <a:lnTo>
                  <a:pt x="1923" y="8255"/>
                </a:lnTo>
                <a:lnTo>
                  <a:pt x="1923" y="2458"/>
                </a:lnTo>
                <a:close/>
                <a:moveTo>
                  <a:pt x="9767" y="9074"/>
                </a:moveTo>
                <a:cubicBezTo>
                  <a:pt x="10019" y="9074"/>
                  <a:pt x="10177" y="9295"/>
                  <a:pt x="10208" y="9515"/>
                </a:cubicBezTo>
                <a:cubicBezTo>
                  <a:pt x="10177" y="9704"/>
                  <a:pt x="10051" y="9830"/>
                  <a:pt x="9893" y="9925"/>
                </a:cubicBezTo>
                <a:cubicBezTo>
                  <a:pt x="9862" y="9940"/>
                  <a:pt x="9893" y="9948"/>
                  <a:pt x="9594" y="9948"/>
                </a:cubicBezTo>
                <a:cubicBezTo>
                  <a:pt x="9295" y="9948"/>
                  <a:pt x="8665" y="9940"/>
                  <a:pt x="7310" y="9925"/>
                </a:cubicBezTo>
                <a:lnTo>
                  <a:pt x="1513" y="9925"/>
                </a:lnTo>
                <a:cubicBezTo>
                  <a:pt x="1324" y="9925"/>
                  <a:pt x="1166" y="9799"/>
                  <a:pt x="1103" y="9641"/>
                </a:cubicBezTo>
                <a:cubicBezTo>
                  <a:pt x="1040" y="9358"/>
                  <a:pt x="1229" y="9074"/>
                  <a:pt x="1513" y="9074"/>
                </a:cubicBezTo>
                <a:close/>
                <a:moveTo>
                  <a:pt x="4790" y="1"/>
                </a:moveTo>
                <a:cubicBezTo>
                  <a:pt x="4538" y="1"/>
                  <a:pt x="4348" y="190"/>
                  <a:pt x="4348" y="379"/>
                </a:cubicBezTo>
                <a:lnTo>
                  <a:pt x="4348" y="1639"/>
                </a:lnTo>
                <a:lnTo>
                  <a:pt x="1419" y="1639"/>
                </a:lnTo>
                <a:cubicBezTo>
                  <a:pt x="1198" y="1639"/>
                  <a:pt x="1040" y="1828"/>
                  <a:pt x="1040" y="2080"/>
                </a:cubicBezTo>
                <a:lnTo>
                  <a:pt x="1040" y="8349"/>
                </a:lnTo>
                <a:cubicBezTo>
                  <a:pt x="788" y="8413"/>
                  <a:pt x="568" y="8570"/>
                  <a:pt x="410" y="8791"/>
                </a:cubicBezTo>
                <a:cubicBezTo>
                  <a:pt x="1" y="9358"/>
                  <a:pt x="158" y="10145"/>
                  <a:pt x="725" y="10555"/>
                </a:cubicBezTo>
                <a:cubicBezTo>
                  <a:pt x="914" y="10649"/>
                  <a:pt x="1166" y="10744"/>
                  <a:pt x="1419" y="10744"/>
                </a:cubicBezTo>
                <a:lnTo>
                  <a:pt x="3277" y="10744"/>
                </a:lnTo>
                <a:lnTo>
                  <a:pt x="2679" y="12067"/>
                </a:lnTo>
                <a:cubicBezTo>
                  <a:pt x="2616" y="12288"/>
                  <a:pt x="2679" y="12508"/>
                  <a:pt x="2836" y="12634"/>
                </a:cubicBezTo>
                <a:cubicBezTo>
                  <a:pt x="2913" y="12673"/>
                  <a:pt x="2987" y="12691"/>
                  <a:pt x="3057" y="12691"/>
                </a:cubicBezTo>
                <a:cubicBezTo>
                  <a:pt x="3214" y="12691"/>
                  <a:pt x="3347" y="12598"/>
                  <a:pt x="3435" y="12445"/>
                </a:cubicBezTo>
                <a:lnTo>
                  <a:pt x="4159" y="10744"/>
                </a:lnTo>
                <a:lnTo>
                  <a:pt x="5136" y="10744"/>
                </a:lnTo>
                <a:lnTo>
                  <a:pt x="5136" y="12225"/>
                </a:lnTo>
                <a:cubicBezTo>
                  <a:pt x="5136" y="12445"/>
                  <a:pt x="5294" y="12634"/>
                  <a:pt x="5483" y="12666"/>
                </a:cubicBezTo>
                <a:cubicBezTo>
                  <a:pt x="5501" y="12668"/>
                  <a:pt x="5520" y="12669"/>
                  <a:pt x="5538" y="12669"/>
                </a:cubicBezTo>
                <a:cubicBezTo>
                  <a:pt x="5766" y="12669"/>
                  <a:pt x="5955" y="12492"/>
                  <a:pt x="5955" y="12288"/>
                </a:cubicBezTo>
                <a:lnTo>
                  <a:pt x="5955" y="10744"/>
                </a:lnTo>
                <a:lnTo>
                  <a:pt x="6932" y="10744"/>
                </a:lnTo>
                <a:lnTo>
                  <a:pt x="7657" y="12382"/>
                </a:lnTo>
                <a:cubicBezTo>
                  <a:pt x="7708" y="12538"/>
                  <a:pt x="7888" y="12651"/>
                  <a:pt x="8056" y="12651"/>
                </a:cubicBezTo>
                <a:cubicBezTo>
                  <a:pt x="8092" y="12651"/>
                  <a:pt x="8127" y="12645"/>
                  <a:pt x="8161" y="12634"/>
                </a:cubicBezTo>
                <a:cubicBezTo>
                  <a:pt x="8413" y="12540"/>
                  <a:pt x="8507" y="12256"/>
                  <a:pt x="8444" y="12067"/>
                </a:cubicBezTo>
                <a:lnTo>
                  <a:pt x="7846" y="10744"/>
                </a:lnTo>
                <a:lnTo>
                  <a:pt x="9704" y="10744"/>
                </a:lnTo>
                <a:cubicBezTo>
                  <a:pt x="10366" y="10744"/>
                  <a:pt x="10965" y="10177"/>
                  <a:pt x="10965" y="9484"/>
                </a:cubicBezTo>
                <a:cubicBezTo>
                  <a:pt x="10996" y="8980"/>
                  <a:pt x="10681" y="8507"/>
                  <a:pt x="10177" y="8349"/>
                </a:cubicBezTo>
                <a:lnTo>
                  <a:pt x="10177" y="2080"/>
                </a:lnTo>
                <a:cubicBezTo>
                  <a:pt x="10177" y="1828"/>
                  <a:pt x="9988" y="1639"/>
                  <a:pt x="9736" y="1639"/>
                </a:cubicBezTo>
                <a:lnTo>
                  <a:pt x="6869" y="1639"/>
                </a:lnTo>
                <a:lnTo>
                  <a:pt x="6869" y="379"/>
                </a:lnTo>
                <a:cubicBezTo>
                  <a:pt x="6869" y="158"/>
                  <a:pt x="6680" y="1"/>
                  <a:pt x="64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0" name="Google Shape;9230;p76"/>
          <p:cNvSpPr/>
          <p:nvPr/>
        </p:nvSpPr>
        <p:spPr>
          <a:xfrm>
            <a:off x="844104" y="1998611"/>
            <a:ext cx="383008" cy="338738"/>
          </a:xfrm>
          <a:custGeom>
            <a:avLst/>
            <a:gdLst/>
            <a:ahLst/>
            <a:cxnLst/>
            <a:rect l="l" t="t" r="r" b="b"/>
            <a:pathLst>
              <a:path w="13012" h="11508" extrusionOk="0">
                <a:moveTo>
                  <a:pt x="9306" y="836"/>
                </a:moveTo>
                <a:cubicBezTo>
                  <a:pt x="9412" y="836"/>
                  <a:pt x="9515" y="875"/>
                  <a:pt x="9578" y="954"/>
                </a:cubicBezTo>
                <a:lnTo>
                  <a:pt x="11909" y="3285"/>
                </a:lnTo>
                <a:cubicBezTo>
                  <a:pt x="12067" y="3443"/>
                  <a:pt x="12067" y="3695"/>
                  <a:pt x="11909" y="3884"/>
                </a:cubicBezTo>
                <a:lnTo>
                  <a:pt x="6900" y="8861"/>
                </a:lnTo>
                <a:lnTo>
                  <a:pt x="4001" y="5963"/>
                </a:lnTo>
                <a:lnTo>
                  <a:pt x="9011" y="954"/>
                </a:lnTo>
                <a:cubicBezTo>
                  <a:pt x="9089" y="875"/>
                  <a:pt x="9200" y="836"/>
                  <a:pt x="9306" y="836"/>
                </a:cubicBezTo>
                <a:close/>
                <a:moveTo>
                  <a:pt x="3466" y="6499"/>
                </a:moveTo>
                <a:lnTo>
                  <a:pt x="6364" y="9428"/>
                </a:lnTo>
                <a:lnTo>
                  <a:pt x="6049" y="9744"/>
                </a:lnTo>
                <a:cubicBezTo>
                  <a:pt x="5986" y="9807"/>
                  <a:pt x="5892" y="9870"/>
                  <a:pt x="5766" y="9870"/>
                </a:cubicBezTo>
                <a:cubicBezTo>
                  <a:pt x="5640" y="9870"/>
                  <a:pt x="5577" y="9807"/>
                  <a:pt x="5514" y="9744"/>
                </a:cubicBezTo>
                <a:cubicBezTo>
                  <a:pt x="5255" y="9506"/>
                  <a:pt x="4936" y="9372"/>
                  <a:pt x="4610" y="9372"/>
                </a:cubicBezTo>
                <a:cubicBezTo>
                  <a:pt x="4460" y="9372"/>
                  <a:pt x="4308" y="9400"/>
                  <a:pt x="4159" y="9460"/>
                </a:cubicBezTo>
                <a:cubicBezTo>
                  <a:pt x="3938" y="9555"/>
                  <a:pt x="3812" y="9712"/>
                  <a:pt x="3686" y="9807"/>
                </a:cubicBezTo>
                <a:lnTo>
                  <a:pt x="3088" y="9239"/>
                </a:lnTo>
                <a:lnTo>
                  <a:pt x="3182" y="9145"/>
                </a:lnTo>
                <a:cubicBezTo>
                  <a:pt x="3655" y="8672"/>
                  <a:pt x="3686" y="7853"/>
                  <a:pt x="3151" y="7381"/>
                </a:cubicBezTo>
                <a:cubicBezTo>
                  <a:pt x="2993" y="7223"/>
                  <a:pt x="3025" y="6940"/>
                  <a:pt x="3182" y="6782"/>
                </a:cubicBezTo>
                <a:lnTo>
                  <a:pt x="3466" y="6499"/>
                </a:lnTo>
                <a:close/>
                <a:moveTo>
                  <a:pt x="2426" y="9807"/>
                </a:moveTo>
                <a:lnTo>
                  <a:pt x="3025" y="10405"/>
                </a:lnTo>
                <a:lnTo>
                  <a:pt x="2773" y="10657"/>
                </a:lnTo>
                <a:lnTo>
                  <a:pt x="1544" y="10657"/>
                </a:lnTo>
                <a:lnTo>
                  <a:pt x="2426" y="9807"/>
                </a:lnTo>
                <a:close/>
                <a:moveTo>
                  <a:pt x="9310" y="1"/>
                </a:moveTo>
                <a:cubicBezTo>
                  <a:pt x="8995" y="1"/>
                  <a:pt x="8680" y="119"/>
                  <a:pt x="8443" y="355"/>
                </a:cubicBezTo>
                <a:lnTo>
                  <a:pt x="2584" y="6247"/>
                </a:lnTo>
                <a:cubicBezTo>
                  <a:pt x="2111" y="6719"/>
                  <a:pt x="2079" y="7538"/>
                  <a:pt x="2552" y="8011"/>
                </a:cubicBezTo>
                <a:cubicBezTo>
                  <a:pt x="2710" y="8137"/>
                  <a:pt x="2710" y="8357"/>
                  <a:pt x="2615" y="8483"/>
                </a:cubicBezTo>
                <a:cubicBezTo>
                  <a:pt x="2584" y="8546"/>
                  <a:pt x="2584" y="8546"/>
                  <a:pt x="2552" y="8609"/>
                </a:cubicBezTo>
                <a:lnTo>
                  <a:pt x="252" y="10815"/>
                </a:lnTo>
                <a:cubicBezTo>
                  <a:pt x="0" y="11067"/>
                  <a:pt x="189" y="11508"/>
                  <a:pt x="536" y="11508"/>
                </a:cubicBezTo>
                <a:lnTo>
                  <a:pt x="2930" y="11508"/>
                </a:lnTo>
                <a:cubicBezTo>
                  <a:pt x="3056" y="11508"/>
                  <a:pt x="3182" y="11476"/>
                  <a:pt x="3245" y="11382"/>
                </a:cubicBezTo>
                <a:lnTo>
                  <a:pt x="4285" y="10374"/>
                </a:lnTo>
                <a:cubicBezTo>
                  <a:pt x="4364" y="10295"/>
                  <a:pt x="4474" y="10255"/>
                  <a:pt x="4584" y="10255"/>
                </a:cubicBezTo>
                <a:cubicBezTo>
                  <a:pt x="4694" y="10255"/>
                  <a:pt x="4805" y="10295"/>
                  <a:pt x="4883" y="10374"/>
                </a:cubicBezTo>
                <a:cubicBezTo>
                  <a:pt x="5092" y="10614"/>
                  <a:pt x="5413" y="10740"/>
                  <a:pt x="5742" y="10740"/>
                </a:cubicBezTo>
                <a:cubicBezTo>
                  <a:pt x="6060" y="10740"/>
                  <a:pt x="6384" y="10622"/>
                  <a:pt x="6616" y="10374"/>
                </a:cubicBezTo>
                <a:lnTo>
                  <a:pt x="12476" y="4482"/>
                </a:lnTo>
                <a:cubicBezTo>
                  <a:pt x="12980" y="3978"/>
                  <a:pt x="13012" y="3191"/>
                  <a:pt x="12508" y="2686"/>
                </a:cubicBezTo>
                <a:lnTo>
                  <a:pt x="10176" y="355"/>
                </a:lnTo>
                <a:cubicBezTo>
                  <a:pt x="9940" y="119"/>
                  <a:pt x="9625" y="1"/>
                  <a:pt x="9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1" name="Google Shape;9231;p76"/>
          <p:cNvSpPr/>
          <p:nvPr/>
        </p:nvSpPr>
        <p:spPr>
          <a:xfrm>
            <a:off x="852434" y="2428395"/>
            <a:ext cx="366348" cy="373412"/>
          </a:xfrm>
          <a:custGeom>
            <a:avLst/>
            <a:gdLst/>
            <a:ahLst/>
            <a:cxnLst/>
            <a:rect l="l" t="t" r="r" b="b"/>
            <a:pathLst>
              <a:path w="12446" h="12686" extrusionOk="0">
                <a:moveTo>
                  <a:pt x="6176" y="808"/>
                </a:moveTo>
                <a:cubicBezTo>
                  <a:pt x="6428" y="808"/>
                  <a:pt x="6554" y="997"/>
                  <a:pt x="6554" y="1249"/>
                </a:cubicBezTo>
                <a:cubicBezTo>
                  <a:pt x="6554" y="1497"/>
                  <a:pt x="6359" y="1667"/>
                  <a:pt x="6153" y="1667"/>
                </a:cubicBezTo>
                <a:cubicBezTo>
                  <a:pt x="6097" y="1667"/>
                  <a:pt x="6041" y="1654"/>
                  <a:pt x="5987" y="1627"/>
                </a:cubicBezTo>
                <a:cubicBezTo>
                  <a:pt x="5829" y="1564"/>
                  <a:pt x="5735" y="1438"/>
                  <a:pt x="5735" y="1249"/>
                </a:cubicBezTo>
                <a:cubicBezTo>
                  <a:pt x="5766" y="997"/>
                  <a:pt x="5924" y="808"/>
                  <a:pt x="6176" y="808"/>
                </a:cubicBezTo>
                <a:close/>
                <a:moveTo>
                  <a:pt x="1986" y="2541"/>
                </a:moveTo>
                <a:lnTo>
                  <a:pt x="3088" y="5755"/>
                </a:lnTo>
                <a:lnTo>
                  <a:pt x="946" y="5755"/>
                </a:lnTo>
                <a:lnTo>
                  <a:pt x="1986" y="2541"/>
                </a:lnTo>
                <a:close/>
                <a:moveTo>
                  <a:pt x="10303" y="2541"/>
                </a:moveTo>
                <a:lnTo>
                  <a:pt x="11374" y="5755"/>
                </a:lnTo>
                <a:lnTo>
                  <a:pt x="9200" y="5755"/>
                </a:lnTo>
                <a:lnTo>
                  <a:pt x="10303" y="2541"/>
                </a:lnTo>
                <a:close/>
                <a:moveTo>
                  <a:pt x="3183" y="6605"/>
                </a:moveTo>
                <a:cubicBezTo>
                  <a:pt x="3025" y="7109"/>
                  <a:pt x="2584" y="7424"/>
                  <a:pt x="2049" y="7424"/>
                </a:cubicBezTo>
                <a:cubicBezTo>
                  <a:pt x="1481" y="7424"/>
                  <a:pt x="1040" y="7078"/>
                  <a:pt x="851" y="6605"/>
                </a:cubicBezTo>
                <a:close/>
                <a:moveTo>
                  <a:pt x="11437" y="6605"/>
                </a:moveTo>
                <a:cubicBezTo>
                  <a:pt x="11279" y="7109"/>
                  <a:pt x="10870" y="7424"/>
                  <a:pt x="10303" y="7424"/>
                </a:cubicBezTo>
                <a:cubicBezTo>
                  <a:pt x="9767" y="7424"/>
                  <a:pt x="9326" y="7078"/>
                  <a:pt x="9137" y="6605"/>
                </a:cubicBezTo>
                <a:close/>
                <a:moveTo>
                  <a:pt x="6617" y="2415"/>
                </a:moveTo>
                <a:lnTo>
                  <a:pt x="6617" y="8558"/>
                </a:lnTo>
                <a:lnTo>
                  <a:pt x="5766" y="8558"/>
                </a:lnTo>
                <a:lnTo>
                  <a:pt x="5766" y="2415"/>
                </a:lnTo>
                <a:cubicBezTo>
                  <a:pt x="5908" y="2462"/>
                  <a:pt x="6050" y="2486"/>
                  <a:pt x="6191" y="2486"/>
                </a:cubicBezTo>
                <a:cubicBezTo>
                  <a:pt x="6333" y="2486"/>
                  <a:pt x="6475" y="2462"/>
                  <a:pt x="6617" y="2415"/>
                </a:cubicBezTo>
                <a:close/>
                <a:moveTo>
                  <a:pt x="8255" y="9346"/>
                </a:moveTo>
                <a:lnTo>
                  <a:pt x="8255" y="10165"/>
                </a:lnTo>
                <a:lnTo>
                  <a:pt x="4128" y="10165"/>
                </a:lnTo>
                <a:lnTo>
                  <a:pt x="4128" y="9346"/>
                </a:lnTo>
                <a:close/>
                <a:moveTo>
                  <a:pt x="9074" y="11016"/>
                </a:moveTo>
                <a:lnTo>
                  <a:pt x="9074" y="11835"/>
                </a:lnTo>
                <a:lnTo>
                  <a:pt x="3309" y="11835"/>
                </a:lnTo>
                <a:lnTo>
                  <a:pt x="3309" y="11016"/>
                </a:lnTo>
                <a:close/>
                <a:moveTo>
                  <a:pt x="6265" y="1"/>
                </a:moveTo>
                <a:cubicBezTo>
                  <a:pt x="5747" y="1"/>
                  <a:pt x="5253" y="326"/>
                  <a:pt x="5073" y="840"/>
                </a:cubicBezTo>
                <a:lnTo>
                  <a:pt x="1292" y="840"/>
                </a:lnTo>
                <a:cubicBezTo>
                  <a:pt x="1103" y="840"/>
                  <a:pt x="914" y="997"/>
                  <a:pt x="851" y="1186"/>
                </a:cubicBezTo>
                <a:cubicBezTo>
                  <a:pt x="820" y="1438"/>
                  <a:pt x="1009" y="1659"/>
                  <a:pt x="1261" y="1659"/>
                </a:cubicBezTo>
                <a:lnTo>
                  <a:pt x="1481" y="1659"/>
                </a:lnTo>
                <a:cubicBezTo>
                  <a:pt x="30" y="6044"/>
                  <a:pt x="1" y="6133"/>
                  <a:pt x="1" y="6133"/>
                </a:cubicBezTo>
                <a:lnTo>
                  <a:pt x="1" y="6133"/>
                </a:lnTo>
                <a:cubicBezTo>
                  <a:pt x="1" y="6133"/>
                  <a:pt x="1" y="6133"/>
                  <a:pt x="1" y="6133"/>
                </a:cubicBezTo>
                <a:lnTo>
                  <a:pt x="1" y="6196"/>
                </a:lnTo>
                <a:cubicBezTo>
                  <a:pt x="1" y="6479"/>
                  <a:pt x="64" y="6763"/>
                  <a:pt x="158" y="6983"/>
                </a:cubicBezTo>
                <a:cubicBezTo>
                  <a:pt x="464" y="7784"/>
                  <a:pt x="1229" y="8250"/>
                  <a:pt x="2042" y="8250"/>
                </a:cubicBezTo>
                <a:cubicBezTo>
                  <a:pt x="2317" y="8250"/>
                  <a:pt x="2597" y="8197"/>
                  <a:pt x="2868" y="8086"/>
                </a:cubicBezTo>
                <a:cubicBezTo>
                  <a:pt x="3403" y="7865"/>
                  <a:pt x="3844" y="7393"/>
                  <a:pt x="4033" y="6794"/>
                </a:cubicBezTo>
                <a:cubicBezTo>
                  <a:pt x="4128" y="6542"/>
                  <a:pt x="4159" y="6290"/>
                  <a:pt x="4128" y="6164"/>
                </a:cubicBezTo>
                <a:lnTo>
                  <a:pt x="4128" y="6038"/>
                </a:lnTo>
                <a:cubicBezTo>
                  <a:pt x="4128" y="6007"/>
                  <a:pt x="2679" y="1659"/>
                  <a:pt x="2679" y="1627"/>
                </a:cubicBezTo>
                <a:lnTo>
                  <a:pt x="4978" y="1627"/>
                </a:lnTo>
                <a:lnTo>
                  <a:pt x="4978" y="8527"/>
                </a:lnTo>
                <a:lnTo>
                  <a:pt x="3781" y="8527"/>
                </a:lnTo>
                <a:cubicBezTo>
                  <a:pt x="3529" y="8527"/>
                  <a:pt x="3340" y="8716"/>
                  <a:pt x="3340" y="8968"/>
                </a:cubicBezTo>
                <a:lnTo>
                  <a:pt x="3340" y="10165"/>
                </a:lnTo>
                <a:lnTo>
                  <a:pt x="2931" y="10165"/>
                </a:lnTo>
                <a:cubicBezTo>
                  <a:pt x="2710" y="10165"/>
                  <a:pt x="2521" y="10386"/>
                  <a:pt x="2521" y="10606"/>
                </a:cubicBezTo>
                <a:lnTo>
                  <a:pt x="2521" y="12245"/>
                </a:lnTo>
                <a:cubicBezTo>
                  <a:pt x="2521" y="12497"/>
                  <a:pt x="2710" y="12686"/>
                  <a:pt x="2931" y="12686"/>
                </a:cubicBezTo>
                <a:lnTo>
                  <a:pt x="9547" y="12686"/>
                </a:lnTo>
                <a:cubicBezTo>
                  <a:pt x="9673" y="12686"/>
                  <a:pt x="9767" y="12654"/>
                  <a:pt x="9830" y="12560"/>
                </a:cubicBezTo>
                <a:cubicBezTo>
                  <a:pt x="9925" y="12497"/>
                  <a:pt x="9956" y="12371"/>
                  <a:pt x="9956" y="12308"/>
                </a:cubicBezTo>
                <a:lnTo>
                  <a:pt x="9956" y="10638"/>
                </a:lnTo>
                <a:cubicBezTo>
                  <a:pt x="9956" y="10417"/>
                  <a:pt x="9767" y="10228"/>
                  <a:pt x="9515" y="10228"/>
                </a:cubicBezTo>
                <a:lnTo>
                  <a:pt x="9137" y="10228"/>
                </a:lnTo>
                <a:lnTo>
                  <a:pt x="9137" y="8968"/>
                </a:lnTo>
                <a:cubicBezTo>
                  <a:pt x="9137" y="8716"/>
                  <a:pt x="8917" y="8527"/>
                  <a:pt x="8696" y="8527"/>
                </a:cubicBezTo>
                <a:lnTo>
                  <a:pt x="7467" y="8527"/>
                </a:lnTo>
                <a:lnTo>
                  <a:pt x="7467" y="1627"/>
                </a:lnTo>
                <a:lnTo>
                  <a:pt x="9799" y="1627"/>
                </a:lnTo>
                <a:cubicBezTo>
                  <a:pt x="9799" y="1659"/>
                  <a:pt x="8350" y="6038"/>
                  <a:pt x="8350" y="6070"/>
                </a:cubicBezTo>
                <a:lnTo>
                  <a:pt x="8350" y="6164"/>
                </a:lnTo>
                <a:lnTo>
                  <a:pt x="8350" y="6227"/>
                </a:lnTo>
                <a:cubicBezTo>
                  <a:pt x="8350" y="6952"/>
                  <a:pt x="8696" y="7550"/>
                  <a:pt x="9232" y="7928"/>
                </a:cubicBezTo>
                <a:cubicBezTo>
                  <a:pt x="9601" y="8178"/>
                  <a:pt x="10011" y="8295"/>
                  <a:pt x="10411" y="8295"/>
                </a:cubicBezTo>
                <a:cubicBezTo>
                  <a:pt x="11275" y="8295"/>
                  <a:pt x="12092" y="7751"/>
                  <a:pt x="12351" y="6826"/>
                </a:cubicBezTo>
                <a:cubicBezTo>
                  <a:pt x="12382" y="6637"/>
                  <a:pt x="12445" y="6448"/>
                  <a:pt x="12445" y="6227"/>
                </a:cubicBezTo>
                <a:cubicBezTo>
                  <a:pt x="12382" y="6164"/>
                  <a:pt x="12351" y="6133"/>
                  <a:pt x="12351" y="6070"/>
                </a:cubicBezTo>
                <a:lnTo>
                  <a:pt x="10901" y="1659"/>
                </a:lnTo>
                <a:lnTo>
                  <a:pt x="11153" y="1659"/>
                </a:lnTo>
                <a:cubicBezTo>
                  <a:pt x="11342" y="1659"/>
                  <a:pt x="11532" y="1501"/>
                  <a:pt x="11563" y="1312"/>
                </a:cubicBezTo>
                <a:cubicBezTo>
                  <a:pt x="11626" y="1092"/>
                  <a:pt x="11406" y="840"/>
                  <a:pt x="11185" y="840"/>
                </a:cubicBezTo>
                <a:lnTo>
                  <a:pt x="7404" y="840"/>
                </a:lnTo>
                <a:cubicBezTo>
                  <a:pt x="7278" y="462"/>
                  <a:pt x="6963" y="178"/>
                  <a:pt x="6617" y="52"/>
                </a:cubicBezTo>
                <a:cubicBezTo>
                  <a:pt x="6501" y="17"/>
                  <a:pt x="6382" y="1"/>
                  <a:pt x="62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32" name="Google Shape;9232;p76"/>
          <p:cNvGrpSpPr/>
          <p:nvPr/>
        </p:nvGrpSpPr>
        <p:grpSpPr>
          <a:xfrm>
            <a:off x="2987728" y="1561903"/>
            <a:ext cx="371882" cy="373766"/>
            <a:chOff x="-41270450" y="1973375"/>
            <a:chExt cx="315850" cy="317450"/>
          </a:xfrm>
        </p:grpSpPr>
        <p:sp>
          <p:nvSpPr>
            <p:cNvPr id="9233" name="Google Shape;9233;p76"/>
            <p:cNvSpPr/>
            <p:nvPr/>
          </p:nvSpPr>
          <p:spPr>
            <a:xfrm>
              <a:off x="-41270450" y="1973375"/>
              <a:ext cx="315850" cy="317450"/>
            </a:xfrm>
            <a:custGeom>
              <a:avLst/>
              <a:gdLst/>
              <a:ahLst/>
              <a:cxnLst/>
              <a:rect l="l" t="t" r="r" b="b"/>
              <a:pathLst>
                <a:path w="12634" h="12698" extrusionOk="0">
                  <a:moveTo>
                    <a:pt x="11814" y="820"/>
                  </a:moveTo>
                  <a:lnTo>
                    <a:pt x="11814" y="11847"/>
                  </a:lnTo>
                  <a:lnTo>
                    <a:pt x="788" y="11847"/>
                  </a:lnTo>
                  <a:lnTo>
                    <a:pt x="788" y="820"/>
                  </a:lnTo>
                  <a:close/>
                  <a:moveTo>
                    <a:pt x="378" y="1"/>
                  </a:moveTo>
                  <a:cubicBezTo>
                    <a:pt x="158" y="1"/>
                    <a:pt x="0" y="190"/>
                    <a:pt x="0" y="410"/>
                  </a:cubicBezTo>
                  <a:lnTo>
                    <a:pt x="0" y="12288"/>
                  </a:lnTo>
                  <a:cubicBezTo>
                    <a:pt x="0" y="12508"/>
                    <a:pt x="189" y="12697"/>
                    <a:pt x="378" y="12697"/>
                  </a:cubicBezTo>
                  <a:lnTo>
                    <a:pt x="12224" y="12697"/>
                  </a:lnTo>
                  <a:cubicBezTo>
                    <a:pt x="12476" y="12697"/>
                    <a:pt x="12634" y="12508"/>
                    <a:pt x="12634" y="12288"/>
                  </a:cubicBezTo>
                  <a:lnTo>
                    <a:pt x="12634" y="410"/>
                  </a:lnTo>
                  <a:cubicBezTo>
                    <a:pt x="12634" y="158"/>
                    <a:pt x="12476"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4" name="Google Shape;9234;p76"/>
            <p:cNvSpPr/>
            <p:nvPr/>
          </p:nvSpPr>
          <p:spPr>
            <a:xfrm>
              <a:off x="-41230300" y="2015125"/>
              <a:ext cx="235525" cy="192200"/>
            </a:xfrm>
            <a:custGeom>
              <a:avLst/>
              <a:gdLst/>
              <a:ahLst/>
              <a:cxnLst/>
              <a:rect l="l" t="t" r="r" b="b"/>
              <a:pathLst>
                <a:path w="9421" h="7688" extrusionOk="0">
                  <a:moveTo>
                    <a:pt x="8539" y="788"/>
                  </a:moveTo>
                  <a:lnTo>
                    <a:pt x="8539" y="6869"/>
                  </a:lnTo>
                  <a:lnTo>
                    <a:pt x="820" y="6869"/>
                  </a:lnTo>
                  <a:lnTo>
                    <a:pt x="820" y="788"/>
                  </a:lnTo>
                  <a:close/>
                  <a:moveTo>
                    <a:pt x="442" y="1"/>
                  </a:moveTo>
                  <a:cubicBezTo>
                    <a:pt x="190" y="1"/>
                    <a:pt x="1" y="221"/>
                    <a:pt x="1" y="410"/>
                  </a:cubicBezTo>
                  <a:lnTo>
                    <a:pt x="1" y="7310"/>
                  </a:lnTo>
                  <a:cubicBezTo>
                    <a:pt x="1" y="7404"/>
                    <a:pt x="32" y="7499"/>
                    <a:pt x="127" y="7562"/>
                  </a:cubicBezTo>
                  <a:cubicBezTo>
                    <a:pt x="190" y="7656"/>
                    <a:pt x="316" y="7688"/>
                    <a:pt x="442" y="7688"/>
                  </a:cubicBezTo>
                  <a:lnTo>
                    <a:pt x="8980" y="7688"/>
                  </a:lnTo>
                  <a:cubicBezTo>
                    <a:pt x="9232" y="7688"/>
                    <a:pt x="9421" y="7499"/>
                    <a:pt x="9421" y="7310"/>
                  </a:cubicBezTo>
                  <a:lnTo>
                    <a:pt x="9421" y="410"/>
                  </a:lnTo>
                  <a:cubicBezTo>
                    <a:pt x="9421" y="158"/>
                    <a:pt x="9232" y="1"/>
                    <a:pt x="89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76"/>
            <p:cNvSpPr/>
            <p:nvPr/>
          </p:nvSpPr>
          <p:spPr>
            <a:xfrm>
              <a:off x="-41139725" y="2061750"/>
              <a:ext cx="83525" cy="103675"/>
            </a:xfrm>
            <a:custGeom>
              <a:avLst/>
              <a:gdLst/>
              <a:ahLst/>
              <a:cxnLst/>
              <a:rect l="l" t="t" r="r" b="b"/>
              <a:pathLst>
                <a:path w="3341" h="4147" extrusionOk="0">
                  <a:moveTo>
                    <a:pt x="789" y="1223"/>
                  </a:moveTo>
                  <a:lnTo>
                    <a:pt x="2112" y="2074"/>
                  </a:lnTo>
                  <a:lnTo>
                    <a:pt x="789" y="2987"/>
                  </a:lnTo>
                  <a:lnTo>
                    <a:pt x="789" y="1223"/>
                  </a:lnTo>
                  <a:close/>
                  <a:moveTo>
                    <a:pt x="389" y="0"/>
                  </a:moveTo>
                  <a:cubicBezTo>
                    <a:pt x="182" y="0"/>
                    <a:pt x="1" y="185"/>
                    <a:pt x="1" y="435"/>
                  </a:cubicBezTo>
                  <a:lnTo>
                    <a:pt x="1" y="3743"/>
                  </a:lnTo>
                  <a:cubicBezTo>
                    <a:pt x="1" y="3981"/>
                    <a:pt x="198" y="4147"/>
                    <a:pt x="416" y="4147"/>
                  </a:cubicBezTo>
                  <a:cubicBezTo>
                    <a:pt x="487" y="4147"/>
                    <a:pt x="561" y="4129"/>
                    <a:pt x="631" y="4090"/>
                  </a:cubicBezTo>
                  <a:lnTo>
                    <a:pt x="3120" y="2452"/>
                  </a:lnTo>
                  <a:cubicBezTo>
                    <a:pt x="3340" y="2294"/>
                    <a:pt x="3340" y="1916"/>
                    <a:pt x="3120" y="1727"/>
                  </a:cubicBezTo>
                  <a:lnTo>
                    <a:pt x="631" y="89"/>
                  </a:lnTo>
                  <a:cubicBezTo>
                    <a:pt x="552" y="28"/>
                    <a:pt x="469" y="0"/>
                    <a:pt x="3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6" name="Google Shape;9236;p76"/>
            <p:cNvSpPr/>
            <p:nvPr/>
          </p:nvSpPr>
          <p:spPr>
            <a:xfrm>
              <a:off x="-41230300" y="2227000"/>
              <a:ext cx="235525" cy="21300"/>
            </a:xfrm>
            <a:custGeom>
              <a:avLst/>
              <a:gdLst/>
              <a:ahLst/>
              <a:cxnLst/>
              <a:rect l="l" t="t" r="r" b="b"/>
              <a:pathLst>
                <a:path w="9421" h="852" extrusionOk="0">
                  <a:moveTo>
                    <a:pt x="442" y="0"/>
                  </a:moveTo>
                  <a:cubicBezTo>
                    <a:pt x="190" y="0"/>
                    <a:pt x="1" y="189"/>
                    <a:pt x="1" y="441"/>
                  </a:cubicBezTo>
                  <a:cubicBezTo>
                    <a:pt x="1" y="662"/>
                    <a:pt x="190" y="851"/>
                    <a:pt x="442" y="851"/>
                  </a:cubicBezTo>
                  <a:lnTo>
                    <a:pt x="8980" y="851"/>
                  </a:lnTo>
                  <a:cubicBezTo>
                    <a:pt x="9232" y="851"/>
                    <a:pt x="9421" y="662"/>
                    <a:pt x="9421" y="441"/>
                  </a:cubicBezTo>
                  <a:cubicBezTo>
                    <a:pt x="9421" y="189"/>
                    <a:pt x="9232" y="0"/>
                    <a:pt x="89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7" name="Google Shape;9237;p76"/>
          <p:cNvGrpSpPr/>
          <p:nvPr/>
        </p:nvGrpSpPr>
        <p:grpSpPr>
          <a:xfrm>
            <a:off x="3005407" y="2008859"/>
            <a:ext cx="395871" cy="372088"/>
            <a:chOff x="-41291625" y="2339025"/>
            <a:chExt cx="336225" cy="316025"/>
          </a:xfrm>
        </p:grpSpPr>
        <p:sp>
          <p:nvSpPr>
            <p:cNvPr id="9238" name="Google Shape;9238;p76"/>
            <p:cNvSpPr/>
            <p:nvPr/>
          </p:nvSpPr>
          <p:spPr>
            <a:xfrm>
              <a:off x="-41291625" y="2339025"/>
              <a:ext cx="336225" cy="316025"/>
            </a:xfrm>
            <a:custGeom>
              <a:avLst/>
              <a:gdLst/>
              <a:ahLst/>
              <a:cxnLst/>
              <a:rect l="l" t="t" r="r" b="b"/>
              <a:pathLst>
                <a:path w="13449" h="12641" extrusionOk="0">
                  <a:moveTo>
                    <a:pt x="6644" y="1064"/>
                  </a:moveTo>
                  <a:lnTo>
                    <a:pt x="7810" y="2261"/>
                  </a:lnTo>
                  <a:lnTo>
                    <a:pt x="6644" y="3427"/>
                  </a:lnTo>
                  <a:lnTo>
                    <a:pt x="5447" y="2261"/>
                  </a:lnTo>
                  <a:lnTo>
                    <a:pt x="6644" y="1064"/>
                  </a:lnTo>
                  <a:close/>
                  <a:moveTo>
                    <a:pt x="11307" y="5727"/>
                  </a:moveTo>
                  <a:lnTo>
                    <a:pt x="12504" y="6893"/>
                  </a:lnTo>
                  <a:lnTo>
                    <a:pt x="11307" y="8090"/>
                  </a:lnTo>
                  <a:lnTo>
                    <a:pt x="10141" y="6893"/>
                  </a:lnTo>
                  <a:lnTo>
                    <a:pt x="11307" y="5727"/>
                  </a:lnTo>
                  <a:close/>
                  <a:moveTo>
                    <a:pt x="4848" y="2829"/>
                  </a:moveTo>
                  <a:lnTo>
                    <a:pt x="6045" y="4026"/>
                  </a:lnTo>
                  <a:cubicBezTo>
                    <a:pt x="3872" y="6200"/>
                    <a:pt x="3935" y="6105"/>
                    <a:pt x="3809" y="6294"/>
                  </a:cubicBezTo>
                  <a:cubicBezTo>
                    <a:pt x="2769" y="7712"/>
                    <a:pt x="3494" y="9728"/>
                    <a:pt x="5226" y="10169"/>
                  </a:cubicBezTo>
                  <a:cubicBezTo>
                    <a:pt x="5463" y="10232"/>
                    <a:pt x="5675" y="10248"/>
                    <a:pt x="5825" y="10248"/>
                  </a:cubicBezTo>
                  <a:cubicBezTo>
                    <a:pt x="5975" y="10248"/>
                    <a:pt x="6061" y="10232"/>
                    <a:pt x="6045" y="10232"/>
                  </a:cubicBezTo>
                  <a:cubicBezTo>
                    <a:pt x="6045" y="10232"/>
                    <a:pt x="6108" y="10232"/>
                    <a:pt x="6234" y="10201"/>
                  </a:cubicBezTo>
                  <a:cubicBezTo>
                    <a:pt x="6739" y="10138"/>
                    <a:pt x="7180" y="9886"/>
                    <a:pt x="7526" y="9539"/>
                  </a:cubicBezTo>
                  <a:lnTo>
                    <a:pt x="9542" y="7523"/>
                  </a:lnTo>
                  <a:lnTo>
                    <a:pt x="10740" y="8720"/>
                  </a:lnTo>
                  <a:cubicBezTo>
                    <a:pt x="8566" y="10831"/>
                    <a:pt x="8629" y="10768"/>
                    <a:pt x="8440" y="10925"/>
                  </a:cubicBezTo>
                  <a:cubicBezTo>
                    <a:pt x="7699" y="11547"/>
                    <a:pt x="6741" y="11878"/>
                    <a:pt x="5785" y="11878"/>
                  </a:cubicBezTo>
                  <a:cubicBezTo>
                    <a:pt x="5480" y="11878"/>
                    <a:pt x="5176" y="11844"/>
                    <a:pt x="4880" y="11776"/>
                  </a:cubicBezTo>
                  <a:cubicBezTo>
                    <a:pt x="2769" y="11303"/>
                    <a:pt x="1257" y="9192"/>
                    <a:pt x="1729" y="6924"/>
                  </a:cubicBezTo>
                  <a:cubicBezTo>
                    <a:pt x="1887" y="6231"/>
                    <a:pt x="2202" y="5506"/>
                    <a:pt x="2769" y="4939"/>
                  </a:cubicBezTo>
                  <a:lnTo>
                    <a:pt x="4848" y="2829"/>
                  </a:lnTo>
                  <a:close/>
                  <a:moveTo>
                    <a:pt x="6565" y="1"/>
                  </a:moveTo>
                  <a:cubicBezTo>
                    <a:pt x="6455" y="1"/>
                    <a:pt x="6345" y="40"/>
                    <a:pt x="6266" y="119"/>
                  </a:cubicBezTo>
                  <a:lnTo>
                    <a:pt x="2202" y="4183"/>
                  </a:lnTo>
                  <a:cubicBezTo>
                    <a:pt x="1635" y="4782"/>
                    <a:pt x="1194" y="5538"/>
                    <a:pt x="942" y="6263"/>
                  </a:cubicBezTo>
                  <a:cubicBezTo>
                    <a:pt x="0" y="9451"/>
                    <a:pt x="2425" y="12640"/>
                    <a:pt x="5705" y="12640"/>
                  </a:cubicBezTo>
                  <a:cubicBezTo>
                    <a:pt x="5828" y="12640"/>
                    <a:pt x="5952" y="12636"/>
                    <a:pt x="6077" y="12627"/>
                  </a:cubicBezTo>
                  <a:cubicBezTo>
                    <a:pt x="6077" y="12627"/>
                    <a:pt x="6203" y="12627"/>
                    <a:pt x="6266" y="12564"/>
                  </a:cubicBezTo>
                  <a:cubicBezTo>
                    <a:pt x="7243" y="12469"/>
                    <a:pt x="8188" y="12059"/>
                    <a:pt x="8975" y="11366"/>
                  </a:cubicBezTo>
                  <a:cubicBezTo>
                    <a:pt x="9133" y="11240"/>
                    <a:pt x="8786" y="11555"/>
                    <a:pt x="13229" y="7113"/>
                  </a:cubicBezTo>
                  <a:cubicBezTo>
                    <a:pt x="13323" y="7019"/>
                    <a:pt x="13355" y="6893"/>
                    <a:pt x="13355" y="6830"/>
                  </a:cubicBezTo>
                  <a:cubicBezTo>
                    <a:pt x="13355" y="6735"/>
                    <a:pt x="13449" y="6704"/>
                    <a:pt x="13355" y="6641"/>
                  </a:cubicBezTo>
                  <a:lnTo>
                    <a:pt x="11590" y="4845"/>
                  </a:lnTo>
                  <a:cubicBezTo>
                    <a:pt x="11512" y="4766"/>
                    <a:pt x="11401" y="4727"/>
                    <a:pt x="11291" y="4727"/>
                  </a:cubicBezTo>
                  <a:cubicBezTo>
                    <a:pt x="11181" y="4727"/>
                    <a:pt x="11070" y="4766"/>
                    <a:pt x="10992" y="4845"/>
                  </a:cubicBezTo>
                  <a:lnTo>
                    <a:pt x="6928" y="8909"/>
                  </a:lnTo>
                  <a:cubicBezTo>
                    <a:pt x="6588" y="9236"/>
                    <a:pt x="6159" y="9392"/>
                    <a:pt x="5737" y="9392"/>
                  </a:cubicBezTo>
                  <a:cubicBezTo>
                    <a:pt x="5102" y="9392"/>
                    <a:pt x="4483" y="9036"/>
                    <a:pt x="4218" y="8373"/>
                  </a:cubicBezTo>
                  <a:cubicBezTo>
                    <a:pt x="3998" y="7743"/>
                    <a:pt x="4092" y="7019"/>
                    <a:pt x="4565" y="6546"/>
                  </a:cubicBezTo>
                  <a:lnTo>
                    <a:pt x="8629" y="2482"/>
                  </a:lnTo>
                  <a:cubicBezTo>
                    <a:pt x="8786" y="2324"/>
                    <a:pt x="8786" y="2072"/>
                    <a:pt x="8629" y="1883"/>
                  </a:cubicBezTo>
                  <a:lnTo>
                    <a:pt x="6865" y="119"/>
                  </a:lnTo>
                  <a:cubicBezTo>
                    <a:pt x="6786" y="40"/>
                    <a:pt x="6676" y="1"/>
                    <a:pt x="6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9" name="Google Shape;9239;p76"/>
            <p:cNvSpPr/>
            <p:nvPr/>
          </p:nvSpPr>
          <p:spPr>
            <a:xfrm>
              <a:off x="-41234225" y="26208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40" name="Google Shape;9240;p76"/>
          <p:cNvSpPr/>
          <p:nvPr/>
        </p:nvSpPr>
        <p:spPr>
          <a:xfrm>
            <a:off x="2982027" y="2195874"/>
            <a:ext cx="0" cy="29"/>
          </a:xfrm>
          <a:custGeom>
            <a:avLst/>
            <a:gdLst/>
            <a:ahLst/>
            <a:cxnLst/>
            <a:rect l="l" t="t" r="r" b="b"/>
            <a:pathLst>
              <a:path h="1" extrusionOk="0">
                <a:moveTo>
                  <a:pt x="0"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1" name="Google Shape;9241;p76"/>
          <p:cNvSpPr/>
          <p:nvPr/>
        </p:nvSpPr>
        <p:spPr>
          <a:xfrm>
            <a:off x="3016426" y="2441147"/>
            <a:ext cx="376503" cy="373442"/>
          </a:xfrm>
          <a:custGeom>
            <a:avLst/>
            <a:gdLst/>
            <a:ahLst/>
            <a:cxnLst/>
            <a:rect l="l" t="t" r="r" b="b"/>
            <a:pathLst>
              <a:path w="12791" h="12687" extrusionOk="0">
                <a:moveTo>
                  <a:pt x="2986" y="7684"/>
                </a:moveTo>
                <a:cubicBezTo>
                  <a:pt x="4110" y="7684"/>
                  <a:pt x="5072" y="8568"/>
                  <a:pt x="5072" y="9751"/>
                </a:cubicBezTo>
                <a:cubicBezTo>
                  <a:pt x="5072" y="10727"/>
                  <a:pt x="4474" y="11484"/>
                  <a:pt x="3623" y="11736"/>
                </a:cubicBezTo>
                <a:cubicBezTo>
                  <a:pt x="3405" y="11810"/>
                  <a:pt x="3185" y="11846"/>
                  <a:pt x="2971" y="11846"/>
                </a:cubicBezTo>
                <a:cubicBezTo>
                  <a:pt x="2101" y="11846"/>
                  <a:pt x="1311" y="11265"/>
                  <a:pt x="1008" y="10381"/>
                </a:cubicBezTo>
                <a:cubicBezTo>
                  <a:pt x="662" y="9278"/>
                  <a:pt x="1292" y="8113"/>
                  <a:pt x="2394" y="7766"/>
                </a:cubicBezTo>
                <a:cubicBezTo>
                  <a:pt x="2594" y="7710"/>
                  <a:pt x="2792" y="7684"/>
                  <a:pt x="2986" y="7684"/>
                </a:cubicBezTo>
                <a:close/>
                <a:moveTo>
                  <a:pt x="9886" y="7696"/>
                </a:moveTo>
                <a:cubicBezTo>
                  <a:pt x="10161" y="7696"/>
                  <a:pt x="10441" y="7749"/>
                  <a:pt x="10712" y="7861"/>
                </a:cubicBezTo>
                <a:cubicBezTo>
                  <a:pt x="11468" y="8176"/>
                  <a:pt x="11972" y="8869"/>
                  <a:pt x="11972" y="9751"/>
                </a:cubicBezTo>
                <a:cubicBezTo>
                  <a:pt x="11972" y="10696"/>
                  <a:pt x="11373" y="11484"/>
                  <a:pt x="10523" y="11736"/>
                </a:cubicBezTo>
                <a:cubicBezTo>
                  <a:pt x="10305" y="11810"/>
                  <a:pt x="10085" y="11846"/>
                  <a:pt x="9870" y="11846"/>
                </a:cubicBezTo>
                <a:cubicBezTo>
                  <a:pt x="9001" y="11846"/>
                  <a:pt x="8211" y="11265"/>
                  <a:pt x="7908" y="10381"/>
                </a:cubicBezTo>
                <a:cubicBezTo>
                  <a:pt x="7750" y="9940"/>
                  <a:pt x="7782" y="9436"/>
                  <a:pt x="8002" y="8963"/>
                </a:cubicBezTo>
                <a:cubicBezTo>
                  <a:pt x="8309" y="8162"/>
                  <a:pt x="9073" y="7696"/>
                  <a:pt x="9886" y="7696"/>
                </a:cubicBezTo>
                <a:close/>
                <a:moveTo>
                  <a:pt x="2151" y="1"/>
                </a:moveTo>
                <a:cubicBezTo>
                  <a:pt x="1058" y="1"/>
                  <a:pt x="63" y="900"/>
                  <a:pt x="63" y="2064"/>
                </a:cubicBezTo>
                <a:lnTo>
                  <a:pt x="63" y="9593"/>
                </a:lnTo>
                <a:cubicBezTo>
                  <a:pt x="0" y="10633"/>
                  <a:pt x="504" y="11578"/>
                  <a:pt x="1323" y="12177"/>
                </a:cubicBezTo>
                <a:cubicBezTo>
                  <a:pt x="1822" y="12521"/>
                  <a:pt x="2387" y="12686"/>
                  <a:pt x="2947" y="12686"/>
                </a:cubicBezTo>
                <a:cubicBezTo>
                  <a:pt x="3874" y="12686"/>
                  <a:pt x="4786" y="12233"/>
                  <a:pt x="5356" y="11389"/>
                </a:cubicBezTo>
                <a:cubicBezTo>
                  <a:pt x="5671" y="10916"/>
                  <a:pt x="5860" y="10381"/>
                  <a:pt x="5860" y="9782"/>
                </a:cubicBezTo>
                <a:cubicBezTo>
                  <a:pt x="5860" y="9625"/>
                  <a:pt x="6018" y="9467"/>
                  <a:pt x="6207" y="9373"/>
                </a:cubicBezTo>
                <a:cubicBezTo>
                  <a:pt x="6270" y="9357"/>
                  <a:pt x="6340" y="9349"/>
                  <a:pt x="6411" y="9349"/>
                </a:cubicBezTo>
                <a:cubicBezTo>
                  <a:pt x="6482" y="9349"/>
                  <a:pt x="6553" y="9357"/>
                  <a:pt x="6616" y="9373"/>
                </a:cubicBezTo>
                <a:cubicBezTo>
                  <a:pt x="6805" y="9467"/>
                  <a:pt x="6963" y="9625"/>
                  <a:pt x="6963" y="9782"/>
                </a:cubicBezTo>
                <a:cubicBezTo>
                  <a:pt x="6963" y="10759"/>
                  <a:pt x="7467" y="11641"/>
                  <a:pt x="8223" y="12177"/>
                </a:cubicBezTo>
                <a:cubicBezTo>
                  <a:pt x="8709" y="12521"/>
                  <a:pt x="9272" y="12686"/>
                  <a:pt x="9833" y="12686"/>
                </a:cubicBezTo>
                <a:cubicBezTo>
                  <a:pt x="10762" y="12686"/>
                  <a:pt x="11686" y="12233"/>
                  <a:pt x="12256" y="11389"/>
                </a:cubicBezTo>
                <a:cubicBezTo>
                  <a:pt x="12602" y="10885"/>
                  <a:pt x="12791" y="10223"/>
                  <a:pt x="12728" y="9530"/>
                </a:cubicBezTo>
                <a:cubicBezTo>
                  <a:pt x="12791" y="9467"/>
                  <a:pt x="12791" y="9971"/>
                  <a:pt x="12791" y="2064"/>
                </a:cubicBezTo>
                <a:cubicBezTo>
                  <a:pt x="12791" y="1780"/>
                  <a:pt x="12760" y="1497"/>
                  <a:pt x="12634" y="1276"/>
                </a:cubicBezTo>
                <a:cubicBezTo>
                  <a:pt x="12310" y="458"/>
                  <a:pt x="11539" y="8"/>
                  <a:pt x="10750" y="8"/>
                </a:cubicBezTo>
                <a:cubicBezTo>
                  <a:pt x="10232" y="8"/>
                  <a:pt x="9706" y="202"/>
                  <a:pt x="9294" y="614"/>
                </a:cubicBezTo>
                <a:cubicBezTo>
                  <a:pt x="9137" y="772"/>
                  <a:pt x="9137" y="1024"/>
                  <a:pt x="9294" y="1182"/>
                </a:cubicBezTo>
                <a:cubicBezTo>
                  <a:pt x="9373" y="1260"/>
                  <a:pt x="9483" y="1300"/>
                  <a:pt x="9593" y="1300"/>
                </a:cubicBezTo>
                <a:cubicBezTo>
                  <a:pt x="9704" y="1300"/>
                  <a:pt x="9814" y="1260"/>
                  <a:pt x="9893" y="1182"/>
                </a:cubicBezTo>
                <a:cubicBezTo>
                  <a:pt x="10140" y="935"/>
                  <a:pt x="10448" y="819"/>
                  <a:pt x="10752" y="819"/>
                </a:cubicBezTo>
                <a:cubicBezTo>
                  <a:pt x="11263" y="819"/>
                  <a:pt x="11763" y="1144"/>
                  <a:pt x="11940" y="1717"/>
                </a:cubicBezTo>
                <a:cubicBezTo>
                  <a:pt x="11972" y="1812"/>
                  <a:pt x="11972" y="1938"/>
                  <a:pt x="11972" y="2064"/>
                </a:cubicBezTo>
                <a:lnTo>
                  <a:pt x="11972" y="7766"/>
                </a:lnTo>
                <a:cubicBezTo>
                  <a:pt x="11389" y="7183"/>
                  <a:pt x="10644" y="6907"/>
                  <a:pt x="9909" y="6907"/>
                </a:cubicBezTo>
                <a:cubicBezTo>
                  <a:pt x="8779" y="6907"/>
                  <a:pt x="7673" y="7559"/>
                  <a:pt x="7215" y="8743"/>
                </a:cubicBezTo>
                <a:cubicBezTo>
                  <a:pt x="6994" y="8617"/>
                  <a:pt x="6750" y="8554"/>
                  <a:pt x="6494" y="8554"/>
                </a:cubicBezTo>
                <a:cubicBezTo>
                  <a:pt x="6238" y="8554"/>
                  <a:pt x="5970" y="8617"/>
                  <a:pt x="5702" y="8743"/>
                </a:cubicBezTo>
                <a:cubicBezTo>
                  <a:pt x="5513" y="8207"/>
                  <a:pt x="5135" y="7735"/>
                  <a:pt x="4600" y="7388"/>
                </a:cubicBezTo>
                <a:cubicBezTo>
                  <a:pt x="4117" y="7053"/>
                  <a:pt x="3560" y="6889"/>
                  <a:pt x="3001" y="6889"/>
                </a:cubicBezTo>
                <a:cubicBezTo>
                  <a:pt x="2248" y="6889"/>
                  <a:pt x="1493" y="7187"/>
                  <a:pt x="914" y="7766"/>
                </a:cubicBezTo>
                <a:lnTo>
                  <a:pt x="914" y="2064"/>
                </a:lnTo>
                <a:cubicBezTo>
                  <a:pt x="914" y="1340"/>
                  <a:pt x="1486" y="814"/>
                  <a:pt x="2132" y="814"/>
                </a:cubicBezTo>
                <a:cubicBezTo>
                  <a:pt x="2301" y="814"/>
                  <a:pt x="2476" y="851"/>
                  <a:pt x="2646" y="929"/>
                </a:cubicBezTo>
                <a:cubicBezTo>
                  <a:pt x="2804" y="992"/>
                  <a:pt x="2899" y="1087"/>
                  <a:pt x="3025" y="1182"/>
                </a:cubicBezTo>
                <a:cubicBezTo>
                  <a:pt x="3103" y="1260"/>
                  <a:pt x="3214" y="1300"/>
                  <a:pt x="3324" y="1300"/>
                </a:cubicBezTo>
                <a:cubicBezTo>
                  <a:pt x="3434" y="1300"/>
                  <a:pt x="3544" y="1260"/>
                  <a:pt x="3623" y="1182"/>
                </a:cubicBezTo>
                <a:cubicBezTo>
                  <a:pt x="3781" y="1024"/>
                  <a:pt x="3781" y="772"/>
                  <a:pt x="3623" y="614"/>
                </a:cubicBezTo>
                <a:cubicBezTo>
                  <a:pt x="3434" y="394"/>
                  <a:pt x="3214" y="236"/>
                  <a:pt x="2962" y="173"/>
                </a:cubicBezTo>
                <a:cubicBezTo>
                  <a:pt x="2694" y="55"/>
                  <a:pt x="2420" y="1"/>
                  <a:pt x="2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2" name="Google Shape;9242;p76"/>
          <p:cNvSpPr/>
          <p:nvPr/>
        </p:nvSpPr>
        <p:spPr>
          <a:xfrm>
            <a:off x="1807487" y="2877846"/>
            <a:ext cx="231859" cy="372824"/>
          </a:xfrm>
          <a:custGeom>
            <a:avLst/>
            <a:gdLst/>
            <a:ahLst/>
            <a:cxnLst/>
            <a:rect l="l" t="t" r="r" b="b"/>
            <a:pathLst>
              <a:path w="7877" h="12666" extrusionOk="0">
                <a:moveTo>
                  <a:pt x="6491" y="788"/>
                </a:moveTo>
                <a:cubicBezTo>
                  <a:pt x="6743" y="788"/>
                  <a:pt x="6900" y="977"/>
                  <a:pt x="6932" y="1197"/>
                </a:cubicBezTo>
                <a:cubicBezTo>
                  <a:pt x="6869" y="1449"/>
                  <a:pt x="6711" y="1607"/>
                  <a:pt x="6459" y="1607"/>
                </a:cubicBezTo>
                <a:lnTo>
                  <a:pt x="5640" y="1607"/>
                </a:lnTo>
                <a:cubicBezTo>
                  <a:pt x="5388" y="1607"/>
                  <a:pt x="5230" y="1827"/>
                  <a:pt x="5230" y="2017"/>
                </a:cubicBezTo>
                <a:cubicBezTo>
                  <a:pt x="5230" y="2237"/>
                  <a:pt x="5451" y="2458"/>
                  <a:pt x="5640" y="2458"/>
                </a:cubicBezTo>
                <a:lnTo>
                  <a:pt x="6081" y="2458"/>
                </a:lnTo>
                <a:lnTo>
                  <a:pt x="6081" y="4379"/>
                </a:lnTo>
                <a:lnTo>
                  <a:pt x="1922" y="4379"/>
                </a:lnTo>
                <a:lnTo>
                  <a:pt x="1922" y="2458"/>
                </a:lnTo>
                <a:lnTo>
                  <a:pt x="2364" y="2458"/>
                </a:lnTo>
                <a:cubicBezTo>
                  <a:pt x="2616" y="2458"/>
                  <a:pt x="2805" y="2237"/>
                  <a:pt x="2805" y="2017"/>
                </a:cubicBezTo>
                <a:cubicBezTo>
                  <a:pt x="2805" y="1764"/>
                  <a:pt x="2616" y="1607"/>
                  <a:pt x="2364" y="1607"/>
                </a:cubicBezTo>
                <a:lnTo>
                  <a:pt x="1544" y="1607"/>
                </a:lnTo>
                <a:cubicBezTo>
                  <a:pt x="1292" y="1607"/>
                  <a:pt x="1135" y="1418"/>
                  <a:pt x="1135" y="1197"/>
                </a:cubicBezTo>
                <a:cubicBezTo>
                  <a:pt x="1135" y="945"/>
                  <a:pt x="1355" y="788"/>
                  <a:pt x="1544" y="788"/>
                </a:cubicBezTo>
                <a:close/>
                <a:moveTo>
                  <a:pt x="6018" y="5135"/>
                </a:moveTo>
                <a:lnTo>
                  <a:pt x="6018" y="9641"/>
                </a:lnTo>
                <a:cubicBezTo>
                  <a:pt x="6018" y="10901"/>
                  <a:pt x="5136" y="11815"/>
                  <a:pt x="3970" y="11815"/>
                </a:cubicBezTo>
                <a:cubicBezTo>
                  <a:pt x="2994" y="11815"/>
                  <a:pt x="2143" y="11090"/>
                  <a:pt x="1985" y="10176"/>
                </a:cubicBezTo>
                <a:lnTo>
                  <a:pt x="3151" y="10176"/>
                </a:lnTo>
                <a:cubicBezTo>
                  <a:pt x="3403" y="10176"/>
                  <a:pt x="3561" y="9956"/>
                  <a:pt x="3561" y="9735"/>
                </a:cubicBezTo>
                <a:cubicBezTo>
                  <a:pt x="3561" y="9483"/>
                  <a:pt x="3340" y="9326"/>
                  <a:pt x="3151" y="9326"/>
                </a:cubicBezTo>
                <a:lnTo>
                  <a:pt x="1891" y="9326"/>
                </a:lnTo>
                <a:lnTo>
                  <a:pt x="1891" y="8507"/>
                </a:lnTo>
                <a:lnTo>
                  <a:pt x="3151" y="8507"/>
                </a:lnTo>
                <a:cubicBezTo>
                  <a:pt x="3403" y="8507"/>
                  <a:pt x="3561" y="8317"/>
                  <a:pt x="3561" y="8065"/>
                </a:cubicBezTo>
                <a:cubicBezTo>
                  <a:pt x="3561" y="7845"/>
                  <a:pt x="3340" y="7656"/>
                  <a:pt x="3151" y="7656"/>
                </a:cubicBezTo>
                <a:lnTo>
                  <a:pt x="1891" y="7656"/>
                </a:lnTo>
                <a:lnTo>
                  <a:pt x="1891" y="6805"/>
                </a:lnTo>
                <a:lnTo>
                  <a:pt x="3151" y="6805"/>
                </a:lnTo>
                <a:cubicBezTo>
                  <a:pt x="3403" y="6805"/>
                  <a:pt x="3561" y="6616"/>
                  <a:pt x="3561" y="6396"/>
                </a:cubicBezTo>
                <a:cubicBezTo>
                  <a:pt x="3561" y="6144"/>
                  <a:pt x="3340" y="5955"/>
                  <a:pt x="3151" y="5955"/>
                </a:cubicBezTo>
                <a:lnTo>
                  <a:pt x="1891" y="5955"/>
                </a:lnTo>
                <a:lnTo>
                  <a:pt x="1891" y="5135"/>
                </a:lnTo>
                <a:close/>
                <a:moveTo>
                  <a:pt x="1513" y="0"/>
                </a:moveTo>
                <a:cubicBezTo>
                  <a:pt x="1072" y="0"/>
                  <a:pt x="725" y="189"/>
                  <a:pt x="473" y="567"/>
                </a:cubicBezTo>
                <a:cubicBezTo>
                  <a:pt x="1" y="1229"/>
                  <a:pt x="316" y="2143"/>
                  <a:pt x="1103" y="2395"/>
                </a:cubicBezTo>
                <a:lnTo>
                  <a:pt x="1103" y="9767"/>
                </a:lnTo>
                <a:cubicBezTo>
                  <a:pt x="1103" y="11422"/>
                  <a:pt x="2503" y="12666"/>
                  <a:pt x="4038" y="12666"/>
                </a:cubicBezTo>
                <a:cubicBezTo>
                  <a:pt x="4402" y="12666"/>
                  <a:pt x="4774" y="12596"/>
                  <a:pt x="5136" y="12445"/>
                </a:cubicBezTo>
                <a:cubicBezTo>
                  <a:pt x="6176" y="12004"/>
                  <a:pt x="6900" y="10964"/>
                  <a:pt x="6900" y="9767"/>
                </a:cubicBezTo>
                <a:lnTo>
                  <a:pt x="6900" y="2395"/>
                </a:lnTo>
                <a:cubicBezTo>
                  <a:pt x="7121" y="2332"/>
                  <a:pt x="7373" y="2174"/>
                  <a:pt x="7530" y="1922"/>
                </a:cubicBezTo>
                <a:cubicBezTo>
                  <a:pt x="7877" y="1355"/>
                  <a:pt x="7719" y="599"/>
                  <a:pt x="7184" y="189"/>
                </a:cubicBezTo>
                <a:cubicBezTo>
                  <a:pt x="6963" y="95"/>
                  <a:pt x="6743" y="0"/>
                  <a:pt x="64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3" name="Google Shape;9243;p76"/>
          <p:cNvSpPr/>
          <p:nvPr/>
        </p:nvSpPr>
        <p:spPr>
          <a:xfrm>
            <a:off x="1759274" y="3307876"/>
            <a:ext cx="328289" cy="374914"/>
          </a:xfrm>
          <a:custGeom>
            <a:avLst/>
            <a:gdLst/>
            <a:ahLst/>
            <a:cxnLst/>
            <a:rect l="l" t="t" r="r" b="b"/>
            <a:pathLst>
              <a:path w="11153" h="12737" extrusionOk="0">
                <a:moveTo>
                  <a:pt x="9452" y="4262"/>
                </a:moveTo>
                <a:lnTo>
                  <a:pt x="9452" y="4262"/>
                </a:lnTo>
                <a:cubicBezTo>
                  <a:pt x="9704" y="4703"/>
                  <a:pt x="9609" y="5270"/>
                  <a:pt x="9231" y="5679"/>
                </a:cubicBezTo>
                <a:cubicBezTo>
                  <a:pt x="8976" y="5915"/>
                  <a:pt x="8672" y="6040"/>
                  <a:pt x="8364" y="6040"/>
                </a:cubicBezTo>
                <a:cubicBezTo>
                  <a:pt x="8178" y="6040"/>
                  <a:pt x="7992" y="5995"/>
                  <a:pt x="7814" y="5900"/>
                </a:cubicBezTo>
                <a:lnTo>
                  <a:pt x="9452" y="4262"/>
                </a:lnTo>
                <a:close/>
                <a:moveTo>
                  <a:pt x="6018" y="835"/>
                </a:moveTo>
                <a:cubicBezTo>
                  <a:pt x="6120" y="835"/>
                  <a:pt x="6223" y="875"/>
                  <a:pt x="6301" y="954"/>
                </a:cubicBezTo>
                <a:lnTo>
                  <a:pt x="7215" y="1867"/>
                </a:lnTo>
                <a:cubicBezTo>
                  <a:pt x="7306" y="1935"/>
                  <a:pt x="7397" y="1987"/>
                  <a:pt x="7499" y="1987"/>
                </a:cubicBezTo>
                <a:cubicBezTo>
                  <a:pt x="7539" y="1987"/>
                  <a:pt x="7581" y="1979"/>
                  <a:pt x="7625" y="1962"/>
                </a:cubicBezTo>
                <a:cubicBezTo>
                  <a:pt x="7863" y="1897"/>
                  <a:pt x="8110" y="1865"/>
                  <a:pt x="8359" y="1865"/>
                </a:cubicBezTo>
                <a:cubicBezTo>
                  <a:pt x="8963" y="1865"/>
                  <a:pt x="9578" y="2055"/>
                  <a:pt x="10113" y="2434"/>
                </a:cubicBezTo>
                <a:lnTo>
                  <a:pt x="6049" y="6498"/>
                </a:lnTo>
                <a:cubicBezTo>
                  <a:pt x="5482" y="5774"/>
                  <a:pt x="5356" y="4892"/>
                  <a:pt x="5577" y="4010"/>
                </a:cubicBezTo>
                <a:cubicBezTo>
                  <a:pt x="5608" y="3852"/>
                  <a:pt x="5577" y="3726"/>
                  <a:pt x="5451" y="3631"/>
                </a:cubicBezTo>
                <a:lnTo>
                  <a:pt x="5199" y="3379"/>
                </a:lnTo>
                <a:lnTo>
                  <a:pt x="4537" y="2718"/>
                </a:lnTo>
                <a:cubicBezTo>
                  <a:pt x="4380" y="2560"/>
                  <a:pt x="4380" y="2277"/>
                  <a:pt x="4537" y="2119"/>
                </a:cubicBezTo>
                <a:lnTo>
                  <a:pt x="5734" y="954"/>
                </a:lnTo>
                <a:cubicBezTo>
                  <a:pt x="5813" y="875"/>
                  <a:pt x="5915" y="835"/>
                  <a:pt x="6018" y="835"/>
                </a:cubicBezTo>
                <a:close/>
                <a:moveTo>
                  <a:pt x="1290" y="6917"/>
                </a:moveTo>
                <a:cubicBezTo>
                  <a:pt x="1502" y="6917"/>
                  <a:pt x="1702" y="7106"/>
                  <a:pt x="1702" y="7318"/>
                </a:cubicBezTo>
                <a:cubicBezTo>
                  <a:pt x="1670" y="7538"/>
                  <a:pt x="1544" y="7696"/>
                  <a:pt x="1387" y="7727"/>
                </a:cubicBezTo>
                <a:cubicBezTo>
                  <a:pt x="1342" y="7740"/>
                  <a:pt x="1298" y="7746"/>
                  <a:pt x="1256" y="7746"/>
                </a:cubicBezTo>
                <a:cubicBezTo>
                  <a:pt x="1084" y="7746"/>
                  <a:pt x="933" y="7645"/>
                  <a:pt x="883" y="7444"/>
                </a:cubicBezTo>
                <a:cubicBezTo>
                  <a:pt x="788" y="7223"/>
                  <a:pt x="914" y="7002"/>
                  <a:pt x="1166" y="6939"/>
                </a:cubicBezTo>
                <a:cubicBezTo>
                  <a:pt x="1207" y="6924"/>
                  <a:pt x="1248" y="6917"/>
                  <a:pt x="1290" y="6917"/>
                </a:cubicBezTo>
                <a:close/>
                <a:moveTo>
                  <a:pt x="5807" y="10240"/>
                </a:moveTo>
                <a:cubicBezTo>
                  <a:pt x="6104" y="10240"/>
                  <a:pt x="6409" y="10293"/>
                  <a:pt x="6711" y="10405"/>
                </a:cubicBezTo>
                <a:cubicBezTo>
                  <a:pt x="7373" y="10626"/>
                  <a:pt x="7877" y="11193"/>
                  <a:pt x="8160" y="11886"/>
                </a:cubicBezTo>
                <a:lnTo>
                  <a:pt x="3529" y="11886"/>
                </a:lnTo>
                <a:cubicBezTo>
                  <a:pt x="3847" y="10882"/>
                  <a:pt x="4774" y="10240"/>
                  <a:pt x="5807" y="10240"/>
                </a:cubicBezTo>
                <a:close/>
                <a:moveTo>
                  <a:pt x="6030" y="1"/>
                </a:moveTo>
                <a:cubicBezTo>
                  <a:pt x="5711" y="1"/>
                  <a:pt x="5388" y="119"/>
                  <a:pt x="5136" y="355"/>
                </a:cubicBezTo>
                <a:lnTo>
                  <a:pt x="3938" y="1552"/>
                </a:lnTo>
                <a:cubicBezTo>
                  <a:pt x="3466" y="1993"/>
                  <a:pt x="3466" y="2781"/>
                  <a:pt x="3938" y="3316"/>
                </a:cubicBezTo>
                <a:lnTo>
                  <a:pt x="4348" y="3694"/>
                </a:lnTo>
                <a:lnTo>
                  <a:pt x="1828" y="6215"/>
                </a:lnTo>
                <a:cubicBezTo>
                  <a:pt x="1652" y="6127"/>
                  <a:pt x="1468" y="6087"/>
                  <a:pt x="1287" y="6087"/>
                </a:cubicBezTo>
                <a:cubicBezTo>
                  <a:pt x="623" y="6087"/>
                  <a:pt x="0" y="6625"/>
                  <a:pt x="0" y="7318"/>
                </a:cubicBezTo>
                <a:cubicBezTo>
                  <a:pt x="0" y="8052"/>
                  <a:pt x="611" y="8583"/>
                  <a:pt x="1293" y="8583"/>
                </a:cubicBezTo>
                <a:cubicBezTo>
                  <a:pt x="1459" y="8583"/>
                  <a:pt x="1629" y="8551"/>
                  <a:pt x="1796" y="8483"/>
                </a:cubicBezTo>
                <a:lnTo>
                  <a:pt x="3592" y="10279"/>
                </a:lnTo>
                <a:cubicBezTo>
                  <a:pt x="3056" y="10783"/>
                  <a:pt x="2647" y="11476"/>
                  <a:pt x="2584" y="12264"/>
                </a:cubicBezTo>
                <a:cubicBezTo>
                  <a:pt x="2521" y="12484"/>
                  <a:pt x="2741" y="12736"/>
                  <a:pt x="2962" y="12736"/>
                </a:cubicBezTo>
                <a:lnTo>
                  <a:pt x="8664" y="12736"/>
                </a:lnTo>
                <a:cubicBezTo>
                  <a:pt x="8916" y="12736"/>
                  <a:pt x="9105" y="12484"/>
                  <a:pt x="9074" y="12264"/>
                </a:cubicBezTo>
                <a:cubicBezTo>
                  <a:pt x="8837" y="10556"/>
                  <a:pt x="7367" y="9419"/>
                  <a:pt x="5795" y="9419"/>
                </a:cubicBezTo>
                <a:cubicBezTo>
                  <a:pt x="5279" y="9419"/>
                  <a:pt x="4752" y="9542"/>
                  <a:pt x="4254" y="9806"/>
                </a:cubicBezTo>
                <a:lnTo>
                  <a:pt x="2363" y="7916"/>
                </a:lnTo>
                <a:cubicBezTo>
                  <a:pt x="2521" y="7601"/>
                  <a:pt x="2521" y="7223"/>
                  <a:pt x="2426" y="6845"/>
                </a:cubicBezTo>
                <a:lnTo>
                  <a:pt x="4663" y="4608"/>
                </a:lnTo>
                <a:lnTo>
                  <a:pt x="4663" y="4608"/>
                </a:lnTo>
                <a:cubicBezTo>
                  <a:pt x="4632" y="5679"/>
                  <a:pt x="4978" y="6687"/>
                  <a:pt x="5734" y="7444"/>
                </a:cubicBezTo>
                <a:cubicBezTo>
                  <a:pt x="5813" y="7522"/>
                  <a:pt x="5915" y="7562"/>
                  <a:pt x="6018" y="7562"/>
                </a:cubicBezTo>
                <a:cubicBezTo>
                  <a:pt x="6120" y="7562"/>
                  <a:pt x="6223" y="7522"/>
                  <a:pt x="6301" y="7444"/>
                </a:cubicBezTo>
                <a:lnTo>
                  <a:pt x="7215" y="6530"/>
                </a:lnTo>
                <a:cubicBezTo>
                  <a:pt x="7564" y="6771"/>
                  <a:pt x="7958" y="6887"/>
                  <a:pt x="8352" y="6887"/>
                </a:cubicBezTo>
                <a:cubicBezTo>
                  <a:pt x="8883" y="6887"/>
                  <a:pt x="9414" y="6676"/>
                  <a:pt x="9830" y="6278"/>
                </a:cubicBezTo>
                <a:cubicBezTo>
                  <a:pt x="10523" y="5553"/>
                  <a:pt x="10618" y="4451"/>
                  <a:pt x="10082" y="3663"/>
                </a:cubicBezTo>
                <a:lnTo>
                  <a:pt x="10996" y="2749"/>
                </a:lnTo>
                <a:cubicBezTo>
                  <a:pt x="11153" y="2560"/>
                  <a:pt x="11153" y="2340"/>
                  <a:pt x="10996" y="2119"/>
                </a:cubicBezTo>
                <a:cubicBezTo>
                  <a:pt x="10259" y="1383"/>
                  <a:pt x="9297" y="1056"/>
                  <a:pt x="8341" y="1056"/>
                </a:cubicBezTo>
                <a:cubicBezTo>
                  <a:pt x="8111" y="1056"/>
                  <a:pt x="7882" y="1074"/>
                  <a:pt x="7656" y="1111"/>
                </a:cubicBezTo>
                <a:lnTo>
                  <a:pt x="6900" y="355"/>
                </a:lnTo>
                <a:cubicBezTo>
                  <a:pt x="6664" y="119"/>
                  <a:pt x="6349" y="1"/>
                  <a:pt x="6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4" name="Google Shape;9244;p76"/>
          <p:cNvSpPr/>
          <p:nvPr/>
        </p:nvSpPr>
        <p:spPr>
          <a:xfrm>
            <a:off x="1735189" y="3801910"/>
            <a:ext cx="372824" cy="374060"/>
          </a:xfrm>
          <a:custGeom>
            <a:avLst/>
            <a:gdLst/>
            <a:ahLst/>
            <a:cxnLst/>
            <a:rect l="l" t="t" r="r" b="b"/>
            <a:pathLst>
              <a:path w="12666" h="12708" extrusionOk="0">
                <a:moveTo>
                  <a:pt x="6347" y="841"/>
                </a:moveTo>
                <a:cubicBezTo>
                  <a:pt x="6876" y="841"/>
                  <a:pt x="7350" y="1172"/>
                  <a:pt x="7530" y="1712"/>
                </a:cubicBezTo>
                <a:cubicBezTo>
                  <a:pt x="7719" y="2405"/>
                  <a:pt x="7372" y="3067"/>
                  <a:pt x="6679" y="3256"/>
                </a:cubicBezTo>
                <a:cubicBezTo>
                  <a:pt x="6569" y="3289"/>
                  <a:pt x="6457" y="3305"/>
                  <a:pt x="6345" y="3305"/>
                </a:cubicBezTo>
                <a:cubicBezTo>
                  <a:pt x="5822" y="3305"/>
                  <a:pt x="5323" y="2956"/>
                  <a:pt x="5167" y="2437"/>
                </a:cubicBezTo>
                <a:cubicBezTo>
                  <a:pt x="4947" y="1775"/>
                  <a:pt x="5325" y="1082"/>
                  <a:pt x="5986" y="893"/>
                </a:cubicBezTo>
                <a:cubicBezTo>
                  <a:pt x="6108" y="858"/>
                  <a:pt x="6229" y="841"/>
                  <a:pt x="6347" y="841"/>
                </a:cubicBezTo>
                <a:close/>
                <a:moveTo>
                  <a:pt x="6353" y="5919"/>
                </a:moveTo>
                <a:cubicBezTo>
                  <a:pt x="7021" y="5919"/>
                  <a:pt x="7624" y="6459"/>
                  <a:pt x="7624" y="7162"/>
                </a:cubicBezTo>
                <a:cubicBezTo>
                  <a:pt x="7593" y="7698"/>
                  <a:pt x="7215" y="8170"/>
                  <a:pt x="6742" y="8328"/>
                </a:cubicBezTo>
                <a:cubicBezTo>
                  <a:pt x="6608" y="8371"/>
                  <a:pt x="6474" y="8391"/>
                  <a:pt x="6345" y="8391"/>
                </a:cubicBezTo>
                <a:cubicBezTo>
                  <a:pt x="5810" y="8391"/>
                  <a:pt x="5351" y="8042"/>
                  <a:pt x="5199" y="7509"/>
                </a:cubicBezTo>
                <a:cubicBezTo>
                  <a:pt x="5010" y="6847"/>
                  <a:pt x="5356" y="6186"/>
                  <a:pt x="6018" y="5965"/>
                </a:cubicBezTo>
                <a:cubicBezTo>
                  <a:pt x="6130" y="5934"/>
                  <a:pt x="6242" y="5919"/>
                  <a:pt x="6353" y="5919"/>
                </a:cubicBezTo>
                <a:close/>
                <a:moveTo>
                  <a:pt x="2079" y="9351"/>
                </a:moveTo>
                <a:cubicBezTo>
                  <a:pt x="2744" y="9351"/>
                  <a:pt x="3340" y="9871"/>
                  <a:pt x="3340" y="10596"/>
                </a:cubicBezTo>
                <a:cubicBezTo>
                  <a:pt x="3308" y="11163"/>
                  <a:pt x="2962" y="11604"/>
                  <a:pt x="2426" y="11762"/>
                </a:cubicBezTo>
                <a:cubicBezTo>
                  <a:pt x="2305" y="11797"/>
                  <a:pt x="2183" y="11813"/>
                  <a:pt x="2065" y="11813"/>
                </a:cubicBezTo>
                <a:cubicBezTo>
                  <a:pt x="1538" y="11813"/>
                  <a:pt x="1068" y="11483"/>
                  <a:pt x="914" y="10943"/>
                </a:cubicBezTo>
                <a:cubicBezTo>
                  <a:pt x="693" y="10281"/>
                  <a:pt x="1071" y="9588"/>
                  <a:pt x="1733" y="9399"/>
                </a:cubicBezTo>
                <a:cubicBezTo>
                  <a:pt x="1849" y="9367"/>
                  <a:pt x="1965" y="9351"/>
                  <a:pt x="2079" y="9351"/>
                </a:cubicBezTo>
                <a:close/>
                <a:moveTo>
                  <a:pt x="10617" y="9351"/>
                </a:moveTo>
                <a:cubicBezTo>
                  <a:pt x="11281" y="9351"/>
                  <a:pt x="11878" y="9871"/>
                  <a:pt x="11878" y="10596"/>
                </a:cubicBezTo>
                <a:cubicBezTo>
                  <a:pt x="11846" y="11163"/>
                  <a:pt x="11500" y="11604"/>
                  <a:pt x="10995" y="11762"/>
                </a:cubicBezTo>
                <a:cubicBezTo>
                  <a:pt x="10868" y="11797"/>
                  <a:pt x="10742" y="11813"/>
                  <a:pt x="10620" y="11813"/>
                </a:cubicBezTo>
                <a:cubicBezTo>
                  <a:pt x="10076" y="11813"/>
                  <a:pt x="9606" y="11483"/>
                  <a:pt x="9452" y="10943"/>
                </a:cubicBezTo>
                <a:cubicBezTo>
                  <a:pt x="9263" y="10281"/>
                  <a:pt x="9609" y="9588"/>
                  <a:pt x="10271" y="9399"/>
                </a:cubicBezTo>
                <a:cubicBezTo>
                  <a:pt x="10387" y="9367"/>
                  <a:pt x="10503" y="9351"/>
                  <a:pt x="10617" y="9351"/>
                </a:cubicBezTo>
                <a:close/>
                <a:moveTo>
                  <a:pt x="6344" y="0"/>
                </a:moveTo>
                <a:cubicBezTo>
                  <a:pt x="5677" y="0"/>
                  <a:pt x="5021" y="308"/>
                  <a:pt x="4631" y="893"/>
                </a:cubicBezTo>
                <a:cubicBezTo>
                  <a:pt x="3812" y="2122"/>
                  <a:pt x="4474" y="3760"/>
                  <a:pt x="5955" y="4075"/>
                </a:cubicBezTo>
                <a:lnTo>
                  <a:pt x="5955" y="5146"/>
                </a:lnTo>
                <a:cubicBezTo>
                  <a:pt x="4600" y="5430"/>
                  <a:pt x="3907" y="6910"/>
                  <a:pt x="4537" y="8107"/>
                </a:cubicBezTo>
                <a:lnTo>
                  <a:pt x="3434" y="9021"/>
                </a:lnTo>
                <a:cubicBezTo>
                  <a:pt x="3025" y="8706"/>
                  <a:pt x="2584" y="8548"/>
                  <a:pt x="2080" y="8548"/>
                </a:cubicBezTo>
                <a:cubicBezTo>
                  <a:pt x="945" y="8548"/>
                  <a:pt x="0" y="9494"/>
                  <a:pt x="0" y="10628"/>
                </a:cubicBezTo>
                <a:cubicBezTo>
                  <a:pt x="0" y="11762"/>
                  <a:pt x="945" y="12707"/>
                  <a:pt x="2080" y="12707"/>
                </a:cubicBezTo>
                <a:cubicBezTo>
                  <a:pt x="3214" y="12707"/>
                  <a:pt x="4159" y="11793"/>
                  <a:pt x="4159" y="10628"/>
                </a:cubicBezTo>
                <a:cubicBezTo>
                  <a:pt x="4159" y="10281"/>
                  <a:pt x="4096" y="9966"/>
                  <a:pt x="3938" y="9683"/>
                </a:cubicBezTo>
                <a:lnTo>
                  <a:pt x="5041" y="8769"/>
                </a:lnTo>
                <a:cubicBezTo>
                  <a:pt x="5435" y="9084"/>
                  <a:pt x="5907" y="9242"/>
                  <a:pt x="6376" y="9242"/>
                </a:cubicBezTo>
                <a:cubicBezTo>
                  <a:pt x="6845" y="9242"/>
                  <a:pt x="7309" y="9084"/>
                  <a:pt x="7687" y="8769"/>
                </a:cubicBezTo>
                <a:lnTo>
                  <a:pt x="8790" y="9683"/>
                </a:lnTo>
                <a:cubicBezTo>
                  <a:pt x="8318" y="10596"/>
                  <a:pt x="8570" y="11730"/>
                  <a:pt x="9452" y="12361"/>
                </a:cubicBezTo>
                <a:cubicBezTo>
                  <a:pt x="9803" y="12595"/>
                  <a:pt x="10203" y="12707"/>
                  <a:pt x="10598" y="12707"/>
                </a:cubicBezTo>
                <a:cubicBezTo>
                  <a:pt x="11266" y="12707"/>
                  <a:pt x="11923" y="12387"/>
                  <a:pt x="12319" y="11793"/>
                </a:cubicBezTo>
                <a:cubicBezTo>
                  <a:pt x="12571" y="11478"/>
                  <a:pt x="12665" y="11069"/>
                  <a:pt x="12665" y="10659"/>
                </a:cubicBezTo>
                <a:cubicBezTo>
                  <a:pt x="12665" y="9431"/>
                  <a:pt x="11783" y="8548"/>
                  <a:pt x="10617" y="8548"/>
                </a:cubicBezTo>
                <a:cubicBezTo>
                  <a:pt x="10113" y="8548"/>
                  <a:pt x="9672" y="8706"/>
                  <a:pt x="9294" y="9021"/>
                </a:cubicBezTo>
                <a:lnTo>
                  <a:pt x="8192" y="8107"/>
                </a:lnTo>
                <a:cubicBezTo>
                  <a:pt x="8822" y="6879"/>
                  <a:pt x="8097" y="5398"/>
                  <a:pt x="6774" y="5146"/>
                </a:cubicBezTo>
                <a:lnTo>
                  <a:pt x="6774" y="4075"/>
                </a:lnTo>
                <a:cubicBezTo>
                  <a:pt x="7530" y="3917"/>
                  <a:pt x="8097" y="3382"/>
                  <a:pt x="8349" y="2657"/>
                </a:cubicBezTo>
                <a:cubicBezTo>
                  <a:pt x="8633" y="1806"/>
                  <a:pt x="8318" y="861"/>
                  <a:pt x="7530" y="357"/>
                </a:cubicBezTo>
                <a:cubicBezTo>
                  <a:pt x="7170" y="117"/>
                  <a:pt x="6755" y="0"/>
                  <a:pt x="63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5" name="Google Shape;9245;p76"/>
          <p:cNvSpPr/>
          <p:nvPr/>
        </p:nvSpPr>
        <p:spPr>
          <a:xfrm>
            <a:off x="3953247" y="2878081"/>
            <a:ext cx="374678" cy="372353"/>
          </a:xfrm>
          <a:custGeom>
            <a:avLst/>
            <a:gdLst/>
            <a:ahLst/>
            <a:cxnLst/>
            <a:rect l="l" t="t" r="r" b="b"/>
            <a:pathLst>
              <a:path w="12729" h="12650" extrusionOk="0">
                <a:moveTo>
                  <a:pt x="9326" y="1000"/>
                </a:moveTo>
                <a:lnTo>
                  <a:pt x="11657" y="3332"/>
                </a:lnTo>
                <a:lnTo>
                  <a:pt x="3403" y="11617"/>
                </a:lnTo>
                <a:lnTo>
                  <a:pt x="1072" y="9286"/>
                </a:lnTo>
                <a:lnTo>
                  <a:pt x="2521" y="7837"/>
                </a:lnTo>
                <a:lnTo>
                  <a:pt x="3403" y="8688"/>
                </a:lnTo>
                <a:cubicBezTo>
                  <a:pt x="3482" y="8766"/>
                  <a:pt x="3584" y="8806"/>
                  <a:pt x="3686" y="8806"/>
                </a:cubicBezTo>
                <a:cubicBezTo>
                  <a:pt x="3789" y="8806"/>
                  <a:pt x="3891" y="8766"/>
                  <a:pt x="3970" y="8688"/>
                </a:cubicBezTo>
                <a:cubicBezTo>
                  <a:pt x="4128" y="8530"/>
                  <a:pt x="4128" y="8278"/>
                  <a:pt x="3970" y="8089"/>
                </a:cubicBezTo>
                <a:lnTo>
                  <a:pt x="3119" y="7238"/>
                </a:lnTo>
                <a:lnTo>
                  <a:pt x="4191" y="6167"/>
                </a:lnTo>
                <a:lnTo>
                  <a:pt x="5041" y="7049"/>
                </a:lnTo>
                <a:cubicBezTo>
                  <a:pt x="5120" y="7128"/>
                  <a:pt x="5230" y="7167"/>
                  <a:pt x="5340" y="7167"/>
                </a:cubicBezTo>
                <a:cubicBezTo>
                  <a:pt x="5451" y="7167"/>
                  <a:pt x="5561" y="7128"/>
                  <a:pt x="5640" y="7049"/>
                </a:cubicBezTo>
                <a:cubicBezTo>
                  <a:pt x="5797" y="6892"/>
                  <a:pt x="5797" y="6608"/>
                  <a:pt x="5640" y="6451"/>
                </a:cubicBezTo>
                <a:lnTo>
                  <a:pt x="4758" y="5600"/>
                </a:lnTo>
                <a:lnTo>
                  <a:pt x="5829" y="4529"/>
                </a:lnTo>
                <a:lnTo>
                  <a:pt x="6711" y="5380"/>
                </a:lnTo>
                <a:cubicBezTo>
                  <a:pt x="6790" y="5458"/>
                  <a:pt x="6892" y="5498"/>
                  <a:pt x="6994" y="5498"/>
                </a:cubicBezTo>
                <a:cubicBezTo>
                  <a:pt x="7097" y="5498"/>
                  <a:pt x="7199" y="5458"/>
                  <a:pt x="7278" y="5380"/>
                </a:cubicBezTo>
                <a:cubicBezTo>
                  <a:pt x="7436" y="5222"/>
                  <a:pt x="7436" y="4970"/>
                  <a:pt x="7278" y="4812"/>
                </a:cubicBezTo>
                <a:lnTo>
                  <a:pt x="6427" y="3930"/>
                </a:lnTo>
                <a:lnTo>
                  <a:pt x="7499" y="2859"/>
                </a:lnTo>
                <a:lnTo>
                  <a:pt x="8349" y="3741"/>
                </a:lnTo>
                <a:cubicBezTo>
                  <a:pt x="8428" y="3820"/>
                  <a:pt x="8538" y="3859"/>
                  <a:pt x="8648" y="3859"/>
                </a:cubicBezTo>
                <a:cubicBezTo>
                  <a:pt x="8759" y="3859"/>
                  <a:pt x="8869" y="3820"/>
                  <a:pt x="8948" y="3741"/>
                </a:cubicBezTo>
                <a:cubicBezTo>
                  <a:pt x="9105" y="3584"/>
                  <a:pt x="9105" y="3300"/>
                  <a:pt x="8948" y="3143"/>
                </a:cubicBezTo>
                <a:lnTo>
                  <a:pt x="8066" y="2292"/>
                </a:lnTo>
                <a:lnTo>
                  <a:pt x="9326" y="1000"/>
                </a:lnTo>
                <a:close/>
                <a:moveTo>
                  <a:pt x="9357" y="0"/>
                </a:moveTo>
                <a:cubicBezTo>
                  <a:pt x="9255" y="0"/>
                  <a:pt x="9153" y="39"/>
                  <a:pt x="9074" y="118"/>
                </a:cubicBezTo>
                <a:lnTo>
                  <a:pt x="7247" y="1914"/>
                </a:lnTo>
                <a:lnTo>
                  <a:pt x="7120" y="2040"/>
                </a:lnTo>
                <a:lnTo>
                  <a:pt x="5608" y="3584"/>
                </a:lnTo>
                <a:lnTo>
                  <a:pt x="5482" y="3678"/>
                </a:lnTo>
                <a:lnTo>
                  <a:pt x="3938" y="5222"/>
                </a:lnTo>
                <a:lnTo>
                  <a:pt x="3812" y="5348"/>
                </a:lnTo>
                <a:lnTo>
                  <a:pt x="2300" y="6892"/>
                </a:lnTo>
                <a:lnTo>
                  <a:pt x="2174" y="7018"/>
                </a:lnTo>
                <a:lnTo>
                  <a:pt x="158" y="9003"/>
                </a:lnTo>
                <a:cubicBezTo>
                  <a:pt x="0" y="9160"/>
                  <a:pt x="0" y="9444"/>
                  <a:pt x="158" y="9601"/>
                </a:cubicBezTo>
                <a:lnTo>
                  <a:pt x="3088" y="12531"/>
                </a:lnTo>
                <a:cubicBezTo>
                  <a:pt x="3167" y="12610"/>
                  <a:pt x="3269" y="12649"/>
                  <a:pt x="3371" y="12649"/>
                </a:cubicBezTo>
                <a:cubicBezTo>
                  <a:pt x="3474" y="12649"/>
                  <a:pt x="3576" y="12610"/>
                  <a:pt x="3655" y="12531"/>
                </a:cubicBezTo>
                <a:lnTo>
                  <a:pt x="12539" y="3647"/>
                </a:lnTo>
                <a:cubicBezTo>
                  <a:pt x="12728" y="3458"/>
                  <a:pt x="12728" y="3174"/>
                  <a:pt x="12571" y="3017"/>
                </a:cubicBezTo>
                <a:lnTo>
                  <a:pt x="9641" y="118"/>
                </a:lnTo>
                <a:cubicBezTo>
                  <a:pt x="9562" y="39"/>
                  <a:pt x="9460" y="0"/>
                  <a:pt x="9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6" name="Google Shape;9246;p76"/>
          <p:cNvGrpSpPr/>
          <p:nvPr/>
        </p:nvGrpSpPr>
        <p:grpSpPr>
          <a:xfrm>
            <a:off x="1229534" y="1533910"/>
            <a:ext cx="396931" cy="373147"/>
            <a:chOff x="-42804750" y="1949600"/>
            <a:chExt cx="337125" cy="316925"/>
          </a:xfrm>
        </p:grpSpPr>
        <p:sp>
          <p:nvSpPr>
            <p:cNvPr id="9247" name="Google Shape;9247;p76"/>
            <p:cNvSpPr/>
            <p:nvPr/>
          </p:nvSpPr>
          <p:spPr>
            <a:xfrm>
              <a:off x="-42731500" y="2013125"/>
              <a:ext cx="189825" cy="189900"/>
            </a:xfrm>
            <a:custGeom>
              <a:avLst/>
              <a:gdLst/>
              <a:ahLst/>
              <a:cxnLst/>
              <a:rect l="l" t="t" r="r" b="b"/>
              <a:pathLst>
                <a:path w="7593" h="7596" extrusionOk="0">
                  <a:moveTo>
                    <a:pt x="3781" y="805"/>
                  </a:moveTo>
                  <a:cubicBezTo>
                    <a:pt x="5419" y="805"/>
                    <a:pt x="6742" y="2128"/>
                    <a:pt x="6742" y="3767"/>
                  </a:cubicBezTo>
                  <a:cubicBezTo>
                    <a:pt x="6774" y="5405"/>
                    <a:pt x="5419" y="6760"/>
                    <a:pt x="3781" y="6760"/>
                  </a:cubicBezTo>
                  <a:cubicBezTo>
                    <a:pt x="2426" y="6760"/>
                    <a:pt x="1292" y="5878"/>
                    <a:pt x="946" y="4649"/>
                  </a:cubicBezTo>
                  <a:cubicBezTo>
                    <a:pt x="347" y="2727"/>
                    <a:pt x="1765" y="805"/>
                    <a:pt x="3781" y="805"/>
                  </a:cubicBezTo>
                  <a:close/>
                  <a:moveTo>
                    <a:pt x="3809" y="1"/>
                  </a:moveTo>
                  <a:cubicBezTo>
                    <a:pt x="3297" y="1"/>
                    <a:pt x="2785" y="105"/>
                    <a:pt x="2300" y="301"/>
                  </a:cubicBezTo>
                  <a:cubicBezTo>
                    <a:pt x="946" y="868"/>
                    <a:pt x="0" y="2223"/>
                    <a:pt x="0" y="3798"/>
                  </a:cubicBezTo>
                  <a:cubicBezTo>
                    <a:pt x="0" y="5058"/>
                    <a:pt x="630" y="6224"/>
                    <a:pt x="1670" y="6949"/>
                  </a:cubicBezTo>
                  <a:cubicBezTo>
                    <a:pt x="2333" y="7390"/>
                    <a:pt x="3060" y="7596"/>
                    <a:pt x="3776" y="7596"/>
                  </a:cubicBezTo>
                  <a:cubicBezTo>
                    <a:pt x="4286" y="7596"/>
                    <a:pt x="4790" y="7492"/>
                    <a:pt x="5262" y="7295"/>
                  </a:cubicBezTo>
                  <a:cubicBezTo>
                    <a:pt x="6648" y="6697"/>
                    <a:pt x="7593" y="5373"/>
                    <a:pt x="7593" y="3798"/>
                  </a:cubicBezTo>
                  <a:cubicBezTo>
                    <a:pt x="7593" y="2506"/>
                    <a:pt x="6931" y="1341"/>
                    <a:pt x="5892" y="648"/>
                  </a:cubicBezTo>
                  <a:cubicBezTo>
                    <a:pt x="5248" y="206"/>
                    <a:pt x="4528" y="1"/>
                    <a:pt x="38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8" name="Google Shape;9248;p76"/>
            <p:cNvSpPr/>
            <p:nvPr/>
          </p:nvSpPr>
          <p:spPr>
            <a:xfrm>
              <a:off x="-42804750" y="1949600"/>
              <a:ext cx="337125" cy="316925"/>
            </a:xfrm>
            <a:custGeom>
              <a:avLst/>
              <a:gdLst/>
              <a:ahLst/>
              <a:cxnLst/>
              <a:rect l="l" t="t" r="r" b="b"/>
              <a:pathLst>
                <a:path w="13485" h="12677" extrusionOk="0">
                  <a:moveTo>
                    <a:pt x="3306" y="817"/>
                  </a:moveTo>
                  <a:cubicBezTo>
                    <a:pt x="3769" y="817"/>
                    <a:pt x="4233" y="967"/>
                    <a:pt x="4600" y="1267"/>
                  </a:cubicBezTo>
                  <a:cubicBezTo>
                    <a:pt x="3277" y="1802"/>
                    <a:pt x="2174" y="2905"/>
                    <a:pt x="1607" y="4260"/>
                  </a:cubicBezTo>
                  <a:cubicBezTo>
                    <a:pt x="914" y="3283"/>
                    <a:pt x="1072" y="1897"/>
                    <a:pt x="2143" y="1172"/>
                  </a:cubicBezTo>
                  <a:cubicBezTo>
                    <a:pt x="2484" y="935"/>
                    <a:pt x="2895" y="817"/>
                    <a:pt x="3306" y="817"/>
                  </a:cubicBezTo>
                  <a:close/>
                  <a:moveTo>
                    <a:pt x="10101" y="823"/>
                  </a:moveTo>
                  <a:cubicBezTo>
                    <a:pt x="10771" y="823"/>
                    <a:pt x="11436" y="1137"/>
                    <a:pt x="11846" y="1771"/>
                  </a:cubicBezTo>
                  <a:cubicBezTo>
                    <a:pt x="12382" y="2527"/>
                    <a:pt x="12319" y="3535"/>
                    <a:pt x="11783" y="4260"/>
                  </a:cubicBezTo>
                  <a:cubicBezTo>
                    <a:pt x="11248" y="2905"/>
                    <a:pt x="10177" y="1802"/>
                    <a:pt x="8790" y="1267"/>
                  </a:cubicBezTo>
                  <a:cubicBezTo>
                    <a:pt x="9176" y="971"/>
                    <a:pt x="9640" y="823"/>
                    <a:pt x="10101" y="823"/>
                  </a:cubicBezTo>
                  <a:close/>
                  <a:moveTo>
                    <a:pt x="6662" y="1686"/>
                  </a:moveTo>
                  <a:cubicBezTo>
                    <a:pt x="7287" y="1686"/>
                    <a:pt x="7908" y="1809"/>
                    <a:pt x="8475" y="2055"/>
                  </a:cubicBezTo>
                  <a:cubicBezTo>
                    <a:pt x="10177" y="2748"/>
                    <a:pt x="11311" y="4417"/>
                    <a:pt x="11311" y="6339"/>
                  </a:cubicBezTo>
                  <a:cubicBezTo>
                    <a:pt x="11374" y="8891"/>
                    <a:pt x="9263" y="10970"/>
                    <a:pt x="6711" y="10970"/>
                  </a:cubicBezTo>
                  <a:cubicBezTo>
                    <a:pt x="4159" y="10970"/>
                    <a:pt x="2048" y="8891"/>
                    <a:pt x="2017" y="6339"/>
                  </a:cubicBezTo>
                  <a:cubicBezTo>
                    <a:pt x="2017" y="4764"/>
                    <a:pt x="2804" y="3346"/>
                    <a:pt x="4065" y="2464"/>
                  </a:cubicBezTo>
                  <a:cubicBezTo>
                    <a:pt x="4846" y="1943"/>
                    <a:pt x="5759" y="1686"/>
                    <a:pt x="6662" y="1686"/>
                  </a:cubicBezTo>
                  <a:close/>
                  <a:moveTo>
                    <a:pt x="3282" y="1"/>
                  </a:moveTo>
                  <a:cubicBezTo>
                    <a:pt x="2347" y="1"/>
                    <a:pt x="1411" y="437"/>
                    <a:pt x="820" y="1298"/>
                  </a:cubicBezTo>
                  <a:cubicBezTo>
                    <a:pt x="0" y="2496"/>
                    <a:pt x="189" y="4165"/>
                    <a:pt x="1292" y="5142"/>
                  </a:cubicBezTo>
                  <a:cubicBezTo>
                    <a:pt x="820" y="7316"/>
                    <a:pt x="1702" y="9553"/>
                    <a:pt x="3497" y="10844"/>
                  </a:cubicBezTo>
                  <a:lnTo>
                    <a:pt x="2867" y="12073"/>
                  </a:lnTo>
                  <a:cubicBezTo>
                    <a:pt x="2773" y="12262"/>
                    <a:pt x="2867" y="12514"/>
                    <a:pt x="3088" y="12640"/>
                  </a:cubicBezTo>
                  <a:cubicBezTo>
                    <a:pt x="3137" y="12665"/>
                    <a:pt x="3189" y="12677"/>
                    <a:pt x="3240" y="12677"/>
                  </a:cubicBezTo>
                  <a:cubicBezTo>
                    <a:pt x="3386" y="12677"/>
                    <a:pt x="3530" y="12582"/>
                    <a:pt x="3623" y="12420"/>
                  </a:cubicBezTo>
                  <a:lnTo>
                    <a:pt x="4222" y="11254"/>
                  </a:lnTo>
                  <a:cubicBezTo>
                    <a:pt x="4994" y="11632"/>
                    <a:pt x="5821" y="11821"/>
                    <a:pt x="6648" y="11821"/>
                  </a:cubicBezTo>
                  <a:cubicBezTo>
                    <a:pt x="7475" y="11821"/>
                    <a:pt x="8302" y="11632"/>
                    <a:pt x="9074" y="11254"/>
                  </a:cubicBezTo>
                  <a:lnTo>
                    <a:pt x="9641" y="12420"/>
                  </a:lnTo>
                  <a:cubicBezTo>
                    <a:pt x="9736" y="12587"/>
                    <a:pt x="9904" y="12663"/>
                    <a:pt x="10062" y="12663"/>
                  </a:cubicBezTo>
                  <a:cubicBezTo>
                    <a:pt x="10113" y="12663"/>
                    <a:pt x="10162" y="12655"/>
                    <a:pt x="10208" y="12640"/>
                  </a:cubicBezTo>
                  <a:cubicBezTo>
                    <a:pt x="10397" y="12514"/>
                    <a:pt x="10492" y="12262"/>
                    <a:pt x="10397" y="12073"/>
                  </a:cubicBezTo>
                  <a:lnTo>
                    <a:pt x="9767" y="10844"/>
                  </a:lnTo>
                  <a:cubicBezTo>
                    <a:pt x="11594" y="9584"/>
                    <a:pt x="12476" y="7347"/>
                    <a:pt x="11972" y="5142"/>
                  </a:cubicBezTo>
                  <a:cubicBezTo>
                    <a:pt x="13485" y="3882"/>
                    <a:pt x="13359" y="1582"/>
                    <a:pt x="11752" y="511"/>
                  </a:cubicBezTo>
                  <a:cubicBezTo>
                    <a:pt x="11243" y="171"/>
                    <a:pt x="10658" y="5"/>
                    <a:pt x="10078" y="5"/>
                  </a:cubicBezTo>
                  <a:cubicBezTo>
                    <a:pt x="9258" y="5"/>
                    <a:pt x="8449" y="338"/>
                    <a:pt x="7877" y="983"/>
                  </a:cubicBezTo>
                  <a:cubicBezTo>
                    <a:pt x="7483" y="905"/>
                    <a:pt x="7081" y="865"/>
                    <a:pt x="6679" y="865"/>
                  </a:cubicBezTo>
                  <a:cubicBezTo>
                    <a:pt x="6278" y="865"/>
                    <a:pt x="5876" y="905"/>
                    <a:pt x="5482" y="983"/>
                  </a:cubicBezTo>
                  <a:cubicBezTo>
                    <a:pt x="4898" y="326"/>
                    <a:pt x="4090" y="1"/>
                    <a:pt x="32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9" name="Google Shape;9249;p76"/>
            <p:cNvSpPr/>
            <p:nvPr/>
          </p:nvSpPr>
          <p:spPr>
            <a:xfrm>
              <a:off x="-42644075" y="2060025"/>
              <a:ext cx="59100" cy="65400"/>
            </a:xfrm>
            <a:custGeom>
              <a:avLst/>
              <a:gdLst/>
              <a:ahLst/>
              <a:cxnLst/>
              <a:rect l="l" t="t" r="r" b="b"/>
              <a:pathLst>
                <a:path w="2364" h="2616" extrusionOk="0">
                  <a:moveTo>
                    <a:pt x="442" y="0"/>
                  </a:moveTo>
                  <a:cubicBezTo>
                    <a:pt x="189" y="0"/>
                    <a:pt x="0" y="189"/>
                    <a:pt x="0" y="410"/>
                  </a:cubicBezTo>
                  <a:lnTo>
                    <a:pt x="0" y="2237"/>
                  </a:lnTo>
                  <a:cubicBezTo>
                    <a:pt x="0" y="2458"/>
                    <a:pt x="189" y="2615"/>
                    <a:pt x="442" y="2615"/>
                  </a:cubicBezTo>
                  <a:lnTo>
                    <a:pt x="1922" y="2615"/>
                  </a:lnTo>
                  <a:cubicBezTo>
                    <a:pt x="2174" y="2615"/>
                    <a:pt x="2363" y="2426"/>
                    <a:pt x="2363" y="2237"/>
                  </a:cubicBezTo>
                  <a:cubicBezTo>
                    <a:pt x="2363" y="1954"/>
                    <a:pt x="2174" y="1796"/>
                    <a:pt x="1922" y="1796"/>
                  </a:cubicBezTo>
                  <a:lnTo>
                    <a:pt x="820" y="1796"/>
                  </a:lnTo>
                  <a:lnTo>
                    <a:pt x="820" y="410"/>
                  </a:lnTo>
                  <a:cubicBezTo>
                    <a:pt x="820" y="189"/>
                    <a:pt x="631"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50" name="Google Shape;9250;p76"/>
          <p:cNvGrpSpPr/>
          <p:nvPr/>
        </p:nvGrpSpPr>
        <p:grpSpPr>
          <a:xfrm>
            <a:off x="1292211" y="1986607"/>
            <a:ext cx="335706" cy="364258"/>
            <a:chOff x="-42778750" y="2320125"/>
            <a:chExt cx="285125" cy="309375"/>
          </a:xfrm>
        </p:grpSpPr>
        <p:sp>
          <p:nvSpPr>
            <p:cNvPr id="9251" name="Google Shape;9251;p76"/>
            <p:cNvSpPr/>
            <p:nvPr/>
          </p:nvSpPr>
          <p:spPr>
            <a:xfrm>
              <a:off x="-42778750" y="2320125"/>
              <a:ext cx="285125" cy="309375"/>
            </a:xfrm>
            <a:custGeom>
              <a:avLst/>
              <a:gdLst/>
              <a:ahLst/>
              <a:cxnLst/>
              <a:rect l="l" t="t" r="r" b="b"/>
              <a:pathLst>
                <a:path w="11405" h="12375" extrusionOk="0">
                  <a:moveTo>
                    <a:pt x="5654" y="815"/>
                  </a:moveTo>
                  <a:cubicBezTo>
                    <a:pt x="5920" y="815"/>
                    <a:pt x="6185" y="965"/>
                    <a:pt x="6459" y="1253"/>
                  </a:cubicBezTo>
                  <a:cubicBezTo>
                    <a:pt x="6711" y="1568"/>
                    <a:pt x="6963" y="1978"/>
                    <a:pt x="7120" y="2419"/>
                  </a:cubicBezTo>
                  <a:cubicBezTo>
                    <a:pt x="6616" y="2545"/>
                    <a:pt x="6144" y="2734"/>
                    <a:pt x="5671" y="2923"/>
                  </a:cubicBezTo>
                  <a:cubicBezTo>
                    <a:pt x="5198" y="2734"/>
                    <a:pt x="4726" y="2545"/>
                    <a:pt x="4190" y="2419"/>
                  </a:cubicBezTo>
                  <a:cubicBezTo>
                    <a:pt x="4348" y="2072"/>
                    <a:pt x="4568" y="1663"/>
                    <a:pt x="4789" y="1348"/>
                  </a:cubicBezTo>
                  <a:cubicBezTo>
                    <a:pt x="5083" y="988"/>
                    <a:pt x="5368" y="815"/>
                    <a:pt x="5654" y="815"/>
                  </a:cubicBezTo>
                  <a:close/>
                  <a:moveTo>
                    <a:pt x="3938" y="3238"/>
                  </a:moveTo>
                  <a:cubicBezTo>
                    <a:pt x="4159" y="3332"/>
                    <a:pt x="4411" y="3364"/>
                    <a:pt x="4600" y="3427"/>
                  </a:cubicBezTo>
                  <a:cubicBezTo>
                    <a:pt x="4285" y="3616"/>
                    <a:pt x="4033" y="3774"/>
                    <a:pt x="3781" y="3900"/>
                  </a:cubicBezTo>
                  <a:cubicBezTo>
                    <a:pt x="3844" y="3679"/>
                    <a:pt x="3907" y="3427"/>
                    <a:pt x="3938" y="3238"/>
                  </a:cubicBezTo>
                  <a:close/>
                  <a:moveTo>
                    <a:pt x="7341" y="3238"/>
                  </a:moveTo>
                  <a:cubicBezTo>
                    <a:pt x="7435" y="3490"/>
                    <a:pt x="7467" y="3711"/>
                    <a:pt x="7498" y="3963"/>
                  </a:cubicBezTo>
                  <a:cubicBezTo>
                    <a:pt x="7246" y="3805"/>
                    <a:pt x="6963" y="3616"/>
                    <a:pt x="6679" y="3490"/>
                  </a:cubicBezTo>
                  <a:cubicBezTo>
                    <a:pt x="6868" y="3364"/>
                    <a:pt x="7120" y="3301"/>
                    <a:pt x="7341" y="3238"/>
                  </a:cubicBezTo>
                  <a:close/>
                  <a:moveTo>
                    <a:pt x="2340" y="2993"/>
                  </a:moveTo>
                  <a:cubicBezTo>
                    <a:pt x="2618" y="2993"/>
                    <a:pt x="2897" y="3021"/>
                    <a:pt x="3151" y="3049"/>
                  </a:cubicBezTo>
                  <a:cubicBezTo>
                    <a:pt x="3025" y="3522"/>
                    <a:pt x="2899" y="3994"/>
                    <a:pt x="2867" y="4593"/>
                  </a:cubicBezTo>
                  <a:cubicBezTo>
                    <a:pt x="2457" y="4908"/>
                    <a:pt x="2048" y="5223"/>
                    <a:pt x="1670" y="5569"/>
                  </a:cubicBezTo>
                  <a:cubicBezTo>
                    <a:pt x="1040" y="4782"/>
                    <a:pt x="473" y="3616"/>
                    <a:pt x="1355" y="3175"/>
                  </a:cubicBezTo>
                  <a:cubicBezTo>
                    <a:pt x="1651" y="3036"/>
                    <a:pt x="1995" y="2993"/>
                    <a:pt x="2340" y="2993"/>
                  </a:cubicBezTo>
                  <a:close/>
                  <a:moveTo>
                    <a:pt x="8935" y="3013"/>
                  </a:moveTo>
                  <a:cubicBezTo>
                    <a:pt x="9678" y="3013"/>
                    <a:pt x="10397" y="3218"/>
                    <a:pt x="10397" y="3868"/>
                  </a:cubicBezTo>
                  <a:cubicBezTo>
                    <a:pt x="10397" y="4435"/>
                    <a:pt x="9956" y="5097"/>
                    <a:pt x="9609" y="5569"/>
                  </a:cubicBezTo>
                  <a:cubicBezTo>
                    <a:pt x="9294" y="5254"/>
                    <a:pt x="8884" y="4908"/>
                    <a:pt x="8412" y="4593"/>
                  </a:cubicBezTo>
                  <a:cubicBezTo>
                    <a:pt x="8349" y="4089"/>
                    <a:pt x="8254" y="3553"/>
                    <a:pt x="8160" y="3080"/>
                  </a:cubicBezTo>
                  <a:cubicBezTo>
                    <a:pt x="8400" y="3039"/>
                    <a:pt x="8669" y="3013"/>
                    <a:pt x="8935" y="3013"/>
                  </a:cubicBezTo>
                  <a:close/>
                  <a:moveTo>
                    <a:pt x="8538" y="5695"/>
                  </a:moveTo>
                  <a:cubicBezTo>
                    <a:pt x="8727" y="5853"/>
                    <a:pt x="8884" y="6010"/>
                    <a:pt x="9042" y="6168"/>
                  </a:cubicBezTo>
                  <a:cubicBezTo>
                    <a:pt x="8884" y="6325"/>
                    <a:pt x="8695" y="6483"/>
                    <a:pt x="8538" y="6640"/>
                  </a:cubicBezTo>
                  <a:lnTo>
                    <a:pt x="8538" y="5695"/>
                  </a:lnTo>
                  <a:close/>
                  <a:moveTo>
                    <a:pt x="2741" y="5727"/>
                  </a:moveTo>
                  <a:lnTo>
                    <a:pt x="2741" y="6672"/>
                  </a:lnTo>
                  <a:cubicBezTo>
                    <a:pt x="2552" y="6514"/>
                    <a:pt x="2394" y="6357"/>
                    <a:pt x="2237" y="6199"/>
                  </a:cubicBezTo>
                  <a:cubicBezTo>
                    <a:pt x="2426" y="6010"/>
                    <a:pt x="2583" y="5884"/>
                    <a:pt x="2741" y="5727"/>
                  </a:cubicBezTo>
                  <a:close/>
                  <a:moveTo>
                    <a:pt x="5671" y="3837"/>
                  </a:moveTo>
                  <a:cubicBezTo>
                    <a:pt x="6364" y="4152"/>
                    <a:pt x="7026" y="4561"/>
                    <a:pt x="7656" y="5002"/>
                  </a:cubicBezTo>
                  <a:cubicBezTo>
                    <a:pt x="7750" y="5821"/>
                    <a:pt x="7750" y="6609"/>
                    <a:pt x="7656" y="7334"/>
                  </a:cubicBezTo>
                  <a:cubicBezTo>
                    <a:pt x="7026" y="7775"/>
                    <a:pt x="6364" y="8184"/>
                    <a:pt x="5671" y="8531"/>
                  </a:cubicBezTo>
                  <a:cubicBezTo>
                    <a:pt x="4946" y="8216"/>
                    <a:pt x="4285" y="7806"/>
                    <a:pt x="3655" y="7334"/>
                  </a:cubicBezTo>
                  <a:cubicBezTo>
                    <a:pt x="3560" y="6609"/>
                    <a:pt x="3560" y="5821"/>
                    <a:pt x="3655" y="5002"/>
                  </a:cubicBezTo>
                  <a:cubicBezTo>
                    <a:pt x="3970" y="4782"/>
                    <a:pt x="4285" y="4593"/>
                    <a:pt x="4631" y="4404"/>
                  </a:cubicBezTo>
                  <a:cubicBezTo>
                    <a:pt x="4978" y="4183"/>
                    <a:pt x="5356" y="3994"/>
                    <a:pt x="5671" y="3837"/>
                  </a:cubicBezTo>
                  <a:close/>
                  <a:moveTo>
                    <a:pt x="3781" y="8436"/>
                  </a:moveTo>
                  <a:lnTo>
                    <a:pt x="3781" y="8436"/>
                  </a:lnTo>
                  <a:cubicBezTo>
                    <a:pt x="3907" y="8531"/>
                    <a:pt x="4033" y="8594"/>
                    <a:pt x="4222" y="8688"/>
                  </a:cubicBezTo>
                  <a:cubicBezTo>
                    <a:pt x="4241" y="8641"/>
                    <a:pt x="4248" y="8625"/>
                    <a:pt x="4250" y="8625"/>
                  </a:cubicBezTo>
                  <a:lnTo>
                    <a:pt x="4250" y="8625"/>
                  </a:lnTo>
                  <a:cubicBezTo>
                    <a:pt x="4252" y="8625"/>
                    <a:pt x="4233" y="8679"/>
                    <a:pt x="4225" y="8690"/>
                  </a:cubicBezTo>
                  <a:lnTo>
                    <a:pt x="4225" y="8690"/>
                  </a:lnTo>
                  <a:cubicBezTo>
                    <a:pt x="4224" y="8689"/>
                    <a:pt x="4223" y="8689"/>
                    <a:pt x="4222" y="8688"/>
                  </a:cubicBezTo>
                  <a:lnTo>
                    <a:pt x="4222" y="8688"/>
                  </a:lnTo>
                  <a:cubicBezTo>
                    <a:pt x="4222" y="8691"/>
                    <a:pt x="4222" y="8692"/>
                    <a:pt x="4223" y="8692"/>
                  </a:cubicBezTo>
                  <a:cubicBezTo>
                    <a:pt x="4223" y="8692"/>
                    <a:pt x="4224" y="8691"/>
                    <a:pt x="4225" y="8690"/>
                  </a:cubicBezTo>
                  <a:lnTo>
                    <a:pt x="4225" y="8690"/>
                  </a:lnTo>
                  <a:cubicBezTo>
                    <a:pt x="4350" y="8753"/>
                    <a:pt x="4475" y="8846"/>
                    <a:pt x="4631" y="8909"/>
                  </a:cubicBezTo>
                  <a:cubicBezTo>
                    <a:pt x="4411" y="9003"/>
                    <a:pt x="4159" y="9066"/>
                    <a:pt x="3970" y="9129"/>
                  </a:cubicBezTo>
                  <a:cubicBezTo>
                    <a:pt x="3907" y="8909"/>
                    <a:pt x="3844" y="8688"/>
                    <a:pt x="3781" y="8436"/>
                  </a:cubicBezTo>
                  <a:close/>
                  <a:moveTo>
                    <a:pt x="7498" y="8499"/>
                  </a:moveTo>
                  <a:cubicBezTo>
                    <a:pt x="7467" y="8688"/>
                    <a:pt x="7435" y="8909"/>
                    <a:pt x="7341" y="9161"/>
                  </a:cubicBezTo>
                  <a:cubicBezTo>
                    <a:pt x="7120" y="9066"/>
                    <a:pt x="6868" y="9035"/>
                    <a:pt x="6679" y="8972"/>
                  </a:cubicBezTo>
                  <a:cubicBezTo>
                    <a:pt x="6994" y="8814"/>
                    <a:pt x="7278" y="8625"/>
                    <a:pt x="7498" y="8499"/>
                  </a:cubicBezTo>
                  <a:close/>
                  <a:moveTo>
                    <a:pt x="1638" y="6798"/>
                  </a:moveTo>
                  <a:cubicBezTo>
                    <a:pt x="1985" y="7145"/>
                    <a:pt x="2394" y="7491"/>
                    <a:pt x="2836" y="7775"/>
                  </a:cubicBezTo>
                  <a:cubicBezTo>
                    <a:pt x="2899" y="8279"/>
                    <a:pt x="2993" y="8814"/>
                    <a:pt x="3088" y="9287"/>
                  </a:cubicBezTo>
                  <a:cubicBezTo>
                    <a:pt x="2848" y="9347"/>
                    <a:pt x="2583" y="9369"/>
                    <a:pt x="2309" y="9369"/>
                  </a:cubicBezTo>
                  <a:cubicBezTo>
                    <a:pt x="2150" y="9369"/>
                    <a:pt x="1989" y="9361"/>
                    <a:pt x="1827" y="9350"/>
                  </a:cubicBezTo>
                  <a:cubicBezTo>
                    <a:pt x="1103" y="9224"/>
                    <a:pt x="725" y="8846"/>
                    <a:pt x="945" y="8090"/>
                  </a:cubicBezTo>
                  <a:cubicBezTo>
                    <a:pt x="1040" y="7649"/>
                    <a:pt x="1323" y="7239"/>
                    <a:pt x="1638" y="6798"/>
                  </a:cubicBezTo>
                  <a:close/>
                  <a:moveTo>
                    <a:pt x="9641" y="6830"/>
                  </a:moveTo>
                  <a:cubicBezTo>
                    <a:pt x="9987" y="7271"/>
                    <a:pt x="10428" y="7932"/>
                    <a:pt x="10428" y="8531"/>
                  </a:cubicBezTo>
                  <a:cubicBezTo>
                    <a:pt x="10405" y="9192"/>
                    <a:pt x="9707" y="9391"/>
                    <a:pt x="8988" y="9391"/>
                  </a:cubicBezTo>
                  <a:cubicBezTo>
                    <a:pt x="8713" y="9391"/>
                    <a:pt x="8435" y="9362"/>
                    <a:pt x="8191" y="9318"/>
                  </a:cubicBezTo>
                  <a:cubicBezTo>
                    <a:pt x="8286" y="8846"/>
                    <a:pt x="8412" y="8373"/>
                    <a:pt x="8443" y="7806"/>
                  </a:cubicBezTo>
                  <a:cubicBezTo>
                    <a:pt x="8853" y="7491"/>
                    <a:pt x="9294" y="7176"/>
                    <a:pt x="9641" y="6830"/>
                  </a:cubicBezTo>
                  <a:close/>
                  <a:moveTo>
                    <a:pt x="5671" y="9444"/>
                  </a:moveTo>
                  <a:cubicBezTo>
                    <a:pt x="6144" y="9633"/>
                    <a:pt x="6616" y="9822"/>
                    <a:pt x="7120" y="9948"/>
                  </a:cubicBezTo>
                  <a:cubicBezTo>
                    <a:pt x="6868" y="10453"/>
                    <a:pt x="6522" y="11177"/>
                    <a:pt x="6049" y="11429"/>
                  </a:cubicBezTo>
                  <a:cubicBezTo>
                    <a:pt x="5909" y="11527"/>
                    <a:pt x="5782" y="11569"/>
                    <a:pt x="5659" y="11569"/>
                  </a:cubicBezTo>
                  <a:cubicBezTo>
                    <a:pt x="5504" y="11569"/>
                    <a:pt x="5356" y="11503"/>
                    <a:pt x="5198" y="11398"/>
                  </a:cubicBezTo>
                  <a:cubicBezTo>
                    <a:pt x="4757" y="11083"/>
                    <a:pt x="4411" y="10453"/>
                    <a:pt x="4222" y="9948"/>
                  </a:cubicBezTo>
                  <a:cubicBezTo>
                    <a:pt x="4694" y="9822"/>
                    <a:pt x="5198" y="9633"/>
                    <a:pt x="5671" y="9444"/>
                  </a:cubicBezTo>
                  <a:close/>
                  <a:moveTo>
                    <a:pt x="5689" y="1"/>
                  </a:moveTo>
                  <a:cubicBezTo>
                    <a:pt x="5142" y="1"/>
                    <a:pt x="4663" y="283"/>
                    <a:pt x="4285" y="686"/>
                  </a:cubicBezTo>
                  <a:cubicBezTo>
                    <a:pt x="3907" y="1127"/>
                    <a:pt x="3623" y="1663"/>
                    <a:pt x="3434" y="2261"/>
                  </a:cubicBezTo>
                  <a:cubicBezTo>
                    <a:pt x="3054" y="2197"/>
                    <a:pt x="2712" y="2168"/>
                    <a:pt x="2405" y="2168"/>
                  </a:cubicBezTo>
                  <a:cubicBezTo>
                    <a:pt x="753" y="2168"/>
                    <a:pt x="126" y="3018"/>
                    <a:pt x="126" y="3868"/>
                  </a:cubicBezTo>
                  <a:cubicBezTo>
                    <a:pt x="126" y="4687"/>
                    <a:pt x="630" y="5538"/>
                    <a:pt x="1166" y="6168"/>
                  </a:cubicBezTo>
                  <a:cubicBezTo>
                    <a:pt x="788" y="6640"/>
                    <a:pt x="441" y="7176"/>
                    <a:pt x="221" y="7775"/>
                  </a:cubicBezTo>
                  <a:cubicBezTo>
                    <a:pt x="0" y="8499"/>
                    <a:pt x="126" y="9224"/>
                    <a:pt x="693" y="9696"/>
                  </a:cubicBezTo>
                  <a:cubicBezTo>
                    <a:pt x="1155" y="10078"/>
                    <a:pt x="1784" y="10204"/>
                    <a:pt x="2416" y="10204"/>
                  </a:cubicBezTo>
                  <a:cubicBezTo>
                    <a:pt x="2775" y="10204"/>
                    <a:pt x="3135" y="10163"/>
                    <a:pt x="3466" y="10106"/>
                  </a:cubicBezTo>
                  <a:lnTo>
                    <a:pt x="3812" y="10925"/>
                  </a:lnTo>
                  <a:cubicBezTo>
                    <a:pt x="4442" y="12059"/>
                    <a:pt x="5135" y="12374"/>
                    <a:pt x="5702" y="12374"/>
                  </a:cubicBezTo>
                  <a:cubicBezTo>
                    <a:pt x="6837" y="12374"/>
                    <a:pt x="7593" y="11177"/>
                    <a:pt x="8002" y="10106"/>
                  </a:cubicBezTo>
                  <a:cubicBezTo>
                    <a:pt x="8317" y="10159"/>
                    <a:pt x="8660" y="10194"/>
                    <a:pt x="9004" y="10194"/>
                  </a:cubicBezTo>
                  <a:cubicBezTo>
                    <a:pt x="9690" y="10194"/>
                    <a:pt x="10376" y="10054"/>
                    <a:pt x="10838" y="9633"/>
                  </a:cubicBezTo>
                  <a:cubicBezTo>
                    <a:pt x="11310" y="9161"/>
                    <a:pt x="11373" y="8531"/>
                    <a:pt x="11216" y="7901"/>
                  </a:cubicBezTo>
                  <a:cubicBezTo>
                    <a:pt x="10995" y="7302"/>
                    <a:pt x="10617" y="6703"/>
                    <a:pt x="10208" y="6199"/>
                  </a:cubicBezTo>
                  <a:cubicBezTo>
                    <a:pt x="10838" y="5443"/>
                    <a:pt x="11405" y="4435"/>
                    <a:pt x="11184" y="3490"/>
                  </a:cubicBezTo>
                  <a:cubicBezTo>
                    <a:pt x="10995" y="2765"/>
                    <a:pt x="10397" y="2387"/>
                    <a:pt x="9641" y="2230"/>
                  </a:cubicBezTo>
                  <a:cubicBezTo>
                    <a:pt x="9406" y="2175"/>
                    <a:pt x="9153" y="2150"/>
                    <a:pt x="8895" y="2150"/>
                  </a:cubicBezTo>
                  <a:cubicBezTo>
                    <a:pt x="8565" y="2150"/>
                    <a:pt x="8226" y="2191"/>
                    <a:pt x="7908" y="2261"/>
                  </a:cubicBezTo>
                  <a:cubicBezTo>
                    <a:pt x="7593" y="1348"/>
                    <a:pt x="6994" y="340"/>
                    <a:pt x="6112" y="56"/>
                  </a:cubicBezTo>
                  <a:cubicBezTo>
                    <a:pt x="5967" y="18"/>
                    <a:pt x="5826" y="1"/>
                    <a:pt x="56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2" name="Google Shape;9252;p76"/>
            <p:cNvSpPr/>
            <p:nvPr/>
          </p:nvSpPr>
          <p:spPr>
            <a:xfrm>
              <a:off x="-42667700" y="2443600"/>
              <a:ext cx="62250" cy="61475"/>
            </a:xfrm>
            <a:custGeom>
              <a:avLst/>
              <a:gdLst/>
              <a:ahLst/>
              <a:cxnLst/>
              <a:rect l="l" t="t" r="r" b="b"/>
              <a:pathLst>
                <a:path w="2490" h="2459" extrusionOk="0">
                  <a:moveTo>
                    <a:pt x="1249" y="858"/>
                  </a:moveTo>
                  <a:cubicBezTo>
                    <a:pt x="1468" y="858"/>
                    <a:pt x="1639" y="1027"/>
                    <a:pt x="1639" y="1260"/>
                  </a:cubicBezTo>
                  <a:cubicBezTo>
                    <a:pt x="1607" y="1418"/>
                    <a:pt x="1481" y="1575"/>
                    <a:pt x="1323" y="1670"/>
                  </a:cubicBezTo>
                  <a:cubicBezTo>
                    <a:pt x="1285" y="1681"/>
                    <a:pt x="1248" y="1686"/>
                    <a:pt x="1211" y="1686"/>
                  </a:cubicBezTo>
                  <a:cubicBezTo>
                    <a:pt x="1040" y="1686"/>
                    <a:pt x="897" y="1569"/>
                    <a:pt x="819" y="1386"/>
                  </a:cubicBezTo>
                  <a:cubicBezTo>
                    <a:pt x="756" y="1134"/>
                    <a:pt x="851" y="945"/>
                    <a:pt x="1103" y="882"/>
                  </a:cubicBezTo>
                  <a:cubicBezTo>
                    <a:pt x="1153" y="866"/>
                    <a:pt x="1202" y="858"/>
                    <a:pt x="1249" y="858"/>
                  </a:cubicBezTo>
                  <a:close/>
                  <a:moveTo>
                    <a:pt x="1229" y="0"/>
                  </a:moveTo>
                  <a:cubicBezTo>
                    <a:pt x="567" y="0"/>
                    <a:pt x="0" y="567"/>
                    <a:pt x="0" y="1229"/>
                  </a:cubicBezTo>
                  <a:cubicBezTo>
                    <a:pt x="0" y="1874"/>
                    <a:pt x="509" y="2459"/>
                    <a:pt x="1177" y="2459"/>
                  </a:cubicBezTo>
                  <a:cubicBezTo>
                    <a:pt x="1194" y="2459"/>
                    <a:pt x="1211" y="2458"/>
                    <a:pt x="1229" y="2458"/>
                  </a:cubicBezTo>
                  <a:cubicBezTo>
                    <a:pt x="1891" y="2458"/>
                    <a:pt x="2489" y="1891"/>
                    <a:pt x="2489" y="1229"/>
                  </a:cubicBezTo>
                  <a:cubicBezTo>
                    <a:pt x="2426" y="567"/>
                    <a:pt x="1891"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53" name="Google Shape;9253;p76"/>
          <p:cNvGrpSpPr/>
          <p:nvPr/>
        </p:nvGrpSpPr>
        <p:grpSpPr>
          <a:xfrm>
            <a:off x="1269879" y="2433612"/>
            <a:ext cx="375591" cy="374678"/>
            <a:chOff x="-42796875" y="2680675"/>
            <a:chExt cx="319000" cy="318225"/>
          </a:xfrm>
        </p:grpSpPr>
        <p:sp>
          <p:nvSpPr>
            <p:cNvPr id="9254" name="Google Shape;9254;p76"/>
            <p:cNvSpPr/>
            <p:nvPr/>
          </p:nvSpPr>
          <p:spPr>
            <a:xfrm>
              <a:off x="-42671650" y="2853950"/>
              <a:ext cx="70125" cy="21275"/>
            </a:xfrm>
            <a:custGeom>
              <a:avLst/>
              <a:gdLst/>
              <a:ahLst/>
              <a:cxnLst/>
              <a:rect l="l" t="t" r="r" b="b"/>
              <a:pathLst>
                <a:path w="2805" h="851" extrusionOk="0">
                  <a:moveTo>
                    <a:pt x="442" y="0"/>
                  </a:moveTo>
                  <a:cubicBezTo>
                    <a:pt x="190" y="0"/>
                    <a:pt x="1" y="221"/>
                    <a:pt x="1" y="410"/>
                  </a:cubicBezTo>
                  <a:cubicBezTo>
                    <a:pt x="1" y="630"/>
                    <a:pt x="190" y="851"/>
                    <a:pt x="442" y="851"/>
                  </a:cubicBezTo>
                  <a:lnTo>
                    <a:pt x="2364" y="851"/>
                  </a:lnTo>
                  <a:cubicBezTo>
                    <a:pt x="2616" y="851"/>
                    <a:pt x="2773" y="630"/>
                    <a:pt x="2773" y="410"/>
                  </a:cubicBezTo>
                  <a:cubicBezTo>
                    <a:pt x="2805" y="221"/>
                    <a:pt x="2584" y="0"/>
                    <a:pt x="2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5" name="Google Shape;9255;p76"/>
            <p:cNvSpPr/>
            <p:nvPr/>
          </p:nvSpPr>
          <p:spPr>
            <a:xfrm>
              <a:off x="-42671650" y="2895675"/>
              <a:ext cx="70125" cy="20525"/>
            </a:xfrm>
            <a:custGeom>
              <a:avLst/>
              <a:gdLst/>
              <a:ahLst/>
              <a:cxnLst/>
              <a:rect l="l" t="t" r="r" b="b"/>
              <a:pathLst>
                <a:path w="2805" h="821" extrusionOk="0">
                  <a:moveTo>
                    <a:pt x="442" y="1"/>
                  </a:moveTo>
                  <a:cubicBezTo>
                    <a:pt x="190" y="1"/>
                    <a:pt x="1" y="190"/>
                    <a:pt x="1" y="442"/>
                  </a:cubicBezTo>
                  <a:cubicBezTo>
                    <a:pt x="1" y="663"/>
                    <a:pt x="190" y="820"/>
                    <a:pt x="442" y="820"/>
                  </a:cubicBezTo>
                  <a:lnTo>
                    <a:pt x="2364" y="820"/>
                  </a:lnTo>
                  <a:cubicBezTo>
                    <a:pt x="2616" y="820"/>
                    <a:pt x="2773" y="631"/>
                    <a:pt x="2773" y="442"/>
                  </a:cubicBezTo>
                  <a:cubicBezTo>
                    <a:pt x="2805" y="190"/>
                    <a:pt x="2584" y="1"/>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6" name="Google Shape;9256;p76"/>
            <p:cNvSpPr/>
            <p:nvPr/>
          </p:nvSpPr>
          <p:spPr>
            <a:xfrm>
              <a:off x="-42796875" y="2680675"/>
              <a:ext cx="319000" cy="318225"/>
            </a:xfrm>
            <a:custGeom>
              <a:avLst/>
              <a:gdLst/>
              <a:ahLst/>
              <a:cxnLst/>
              <a:rect l="l" t="t" r="r" b="b"/>
              <a:pathLst>
                <a:path w="12760" h="12729" extrusionOk="0">
                  <a:moveTo>
                    <a:pt x="9011" y="882"/>
                  </a:moveTo>
                  <a:cubicBezTo>
                    <a:pt x="9168" y="882"/>
                    <a:pt x="9357" y="914"/>
                    <a:pt x="9483" y="945"/>
                  </a:cubicBezTo>
                  <a:cubicBezTo>
                    <a:pt x="9799" y="1071"/>
                    <a:pt x="10051" y="1355"/>
                    <a:pt x="10177" y="1701"/>
                  </a:cubicBezTo>
                  <a:lnTo>
                    <a:pt x="2615" y="1701"/>
                  </a:lnTo>
                  <a:cubicBezTo>
                    <a:pt x="2804" y="1229"/>
                    <a:pt x="3245" y="882"/>
                    <a:pt x="3781" y="882"/>
                  </a:cubicBezTo>
                  <a:close/>
                  <a:moveTo>
                    <a:pt x="1733" y="3623"/>
                  </a:moveTo>
                  <a:lnTo>
                    <a:pt x="1733" y="5293"/>
                  </a:lnTo>
                  <a:lnTo>
                    <a:pt x="914" y="5293"/>
                  </a:lnTo>
                  <a:lnTo>
                    <a:pt x="914" y="3623"/>
                  </a:lnTo>
                  <a:close/>
                  <a:moveTo>
                    <a:pt x="11941" y="3623"/>
                  </a:moveTo>
                  <a:lnTo>
                    <a:pt x="11941" y="5293"/>
                  </a:lnTo>
                  <a:lnTo>
                    <a:pt x="11122" y="5293"/>
                  </a:lnTo>
                  <a:lnTo>
                    <a:pt x="11122" y="3623"/>
                  </a:lnTo>
                  <a:close/>
                  <a:moveTo>
                    <a:pt x="10240" y="2521"/>
                  </a:moveTo>
                  <a:lnTo>
                    <a:pt x="10240" y="5316"/>
                  </a:lnTo>
                  <a:lnTo>
                    <a:pt x="10240" y="5316"/>
                  </a:lnTo>
                  <a:cubicBezTo>
                    <a:pt x="10144" y="5293"/>
                    <a:pt x="10003" y="5293"/>
                    <a:pt x="9862" y="5293"/>
                  </a:cubicBezTo>
                  <a:lnTo>
                    <a:pt x="6932" y="5293"/>
                  </a:lnTo>
                  <a:lnTo>
                    <a:pt x="6932" y="2521"/>
                  </a:lnTo>
                  <a:close/>
                  <a:moveTo>
                    <a:pt x="6144" y="2521"/>
                  </a:moveTo>
                  <a:lnTo>
                    <a:pt x="6144" y="5293"/>
                  </a:lnTo>
                  <a:lnTo>
                    <a:pt x="2962" y="5293"/>
                  </a:lnTo>
                  <a:cubicBezTo>
                    <a:pt x="2804" y="5293"/>
                    <a:pt x="2678" y="5293"/>
                    <a:pt x="2552" y="5324"/>
                  </a:cubicBezTo>
                  <a:lnTo>
                    <a:pt x="2552" y="2521"/>
                  </a:lnTo>
                  <a:close/>
                  <a:moveTo>
                    <a:pt x="9893" y="6207"/>
                  </a:moveTo>
                  <a:cubicBezTo>
                    <a:pt x="10555" y="6207"/>
                    <a:pt x="11122" y="6742"/>
                    <a:pt x="11122" y="7404"/>
                  </a:cubicBezTo>
                  <a:lnTo>
                    <a:pt x="11122" y="9861"/>
                  </a:lnTo>
                  <a:cubicBezTo>
                    <a:pt x="11122" y="10019"/>
                    <a:pt x="11027" y="10145"/>
                    <a:pt x="10933" y="10208"/>
                  </a:cubicBezTo>
                  <a:cubicBezTo>
                    <a:pt x="10838" y="10239"/>
                    <a:pt x="10775" y="10302"/>
                    <a:pt x="10681" y="10302"/>
                  </a:cubicBezTo>
                  <a:lnTo>
                    <a:pt x="2143" y="10302"/>
                  </a:lnTo>
                  <a:cubicBezTo>
                    <a:pt x="1922" y="10302"/>
                    <a:pt x="1796" y="10176"/>
                    <a:pt x="1733" y="10019"/>
                  </a:cubicBezTo>
                  <a:cubicBezTo>
                    <a:pt x="1702" y="9924"/>
                    <a:pt x="1733" y="10050"/>
                    <a:pt x="1733" y="8254"/>
                  </a:cubicBezTo>
                  <a:lnTo>
                    <a:pt x="1733" y="7404"/>
                  </a:lnTo>
                  <a:cubicBezTo>
                    <a:pt x="1733" y="6994"/>
                    <a:pt x="1922" y="6616"/>
                    <a:pt x="2300" y="6396"/>
                  </a:cubicBezTo>
                  <a:cubicBezTo>
                    <a:pt x="2489" y="6270"/>
                    <a:pt x="2710" y="6207"/>
                    <a:pt x="2993" y="6207"/>
                  </a:cubicBezTo>
                  <a:close/>
                  <a:moveTo>
                    <a:pt x="3403" y="11090"/>
                  </a:moveTo>
                  <a:lnTo>
                    <a:pt x="3403" y="11909"/>
                  </a:lnTo>
                  <a:lnTo>
                    <a:pt x="2552" y="11909"/>
                  </a:lnTo>
                  <a:lnTo>
                    <a:pt x="2552" y="11090"/>
                  </a:lnTo>
                  <a:close/>
                  <a:moveTo>
                    <a:pt x="10271" y="11090"/>
                  </a:moveTo>
                  <a:lnTo>
                    <a:pt x="10271" y="11909"/>
                  </a:lnTo>
                  <a:lnTo>
                    <a:pt x="9452" y="11909"/>
                  </a:lnTo>
                  <a:lnTo>
                    <a:pt x="9452" y="11090"/>
                  </a:lnTo>
                  <a:close/>
                  <a:moveTo>
                    <a:pt x="3750" y="0"/>
                  </a:moveTo>
                  <a:cubicBezTo>
                    <a:pt x="2615" y="0"/>
                    <a:pt x="1670" y="945"/>
                    <a:pt x="1670" y="2079"/>
                  </a:cubicBezTo>
                  <a:lnTo>
                    <a:pt x="1670" y="2804"/>
                  </a:lnTo>
                  <a:lnTo>
                    <a:pt x="442" y="2804"/>
                  </a:lnTo>
                  <a:cubicBezTo>
                    <a:pt x="190" y="2804"/>
                    <a:pt x="0" y="2993"/>
                    <a:pt x="0" y="3214"/>
                  </a:cubicBezTo>
                  <a:lnTo>
                    <a:pt x="0" y="5671"/>
                  </a:lnTo>
                  <a:cubicBezTo>
                    <a:pt x="0" y="5923"/>
                    <a:pt x="190" y="6112"/>
                    <a:pt x="442" y="6112"/>
                  </a:cubicBezTo>
                  <a:lnTo>
                    <a:pt x="1261" y="6112"/>
                  </a:lnTo>
                  <a:cubicBezTo>
                    <a:pt x="977" y="6459"/>
                    <a:pt x="820" y="6900"/>
                    <a:pt x="820" y="7341"/>
                  </a:cubicBezTo>
                  <a:lnTo>
                    <a:pt x="820" y="9830"/>
                  </a:lnTo>
                  <a:cubicBezTo>
                    <a:pt x="820" y="10365"/>
                    <a:pt x="1198" y="10806"/>
                    <a:pt x="1670" y="10995"/>
                  </a:cubicBezTo>
                  <a:lnTo>
                    <a:pt x="1670" y="12287"/>
                  </a:lnTo>
                  <a:cubicBezTo>
                    <a:pt x="1670" y="12539"/>
                    <a:pt x="1859" y="12728"/>
                    <a:pt x="2048" y="12728"/>
                  </a:cubicBezTo>
                  <a:lnTo>
                    <a:pt x="3718" y="12728"/>
                  </a:lnTo>
                  <a:cubicBezTo>
                    <a:pt x="3939" y="12728"/>
                    <a:pt x="4096" y="12539"/>
                    <a:pt x="4096" y="12287"/>
                  </a:cubicBezTo>
                  <a:lnTo>
                    <a:pt x="4096" y="11090"/>
                  </a:lnTo>
                  <a:lnTo>
                    <a:pt x="8507" y="11090"/>
                  </a:lnTo>
                  <a:lnTo>
                    <a:pt x="8507" y="12287"/>
                  </a:lnTo>
                  <a:cubicBezTo>
                    <a:pt x="8507" y="12539"/>
                    <a:pt x="8696" y="12728"/>
                    <a:pt x="8916" y="12728"/>
                  </a:cubicBezTo>
                  <a:lnTo>
                    <a:pt x="10555" y="12728"/>
                  </a:lnTo>
                  <a:cubicBezTo>
                    <a:pt x="10807" y="12728"/>
                    <a:pt x="10964" y="12539"/>
                    <a:pt x="10964" y="12287"/>
                  </a:cubicBezTo>
                  <a:lnTo>
                    <a:pt x="10964" y="10995"/>
                  </a:lnTo>
                  <a:cubicBezTo>
                    <a:pt x="11468" y="10838"/>
                    <a:pt x="11783" y="10365"/>
                    <a:pt x="11783" y="9830"/>
                  </a:cubicBezTo>
                  <a:lnTo>
                    <a:pt x="11783" y="7341"/>
                  </a:lnTo>
                  <a:cubicBezTo>
                    <a:pt x="11783" y="6868"/>
                    <a:pt x="11626" y="6427"/>
                    <a:pt x="11374" y="6112"/>
                  </a:cubicBezTo>
                  <a:lnTo>
                    <a:pt x="12224" y="6112"/>
                  </a:lnTo>
                  <a:cubicBezTo>
                    <a:pt x="12445" y="6112"/>
                    <a:pt x="12602" y="5923"/>
                    <a:pt x="12602" y="5671"/>
                  </a:cubicBezTo>
                  <a:lnTo>
                    <a:pt x="12602" y="3214"/>
                  </a:lnTo>
                  <a:cubicBezTo>
                    <a:pt x="12760" y="2993"/>
                    <a:pt x="12571" y="2804"/>
                    <a:pt x="12319" y="2804"/>
                  </a:cubicBezTo>
                  <a:lnTo>
                    <a:pt x="11059" y="2804"/>
                  </a:lnTo>
                  <a:lnTo>
                    <a:pt x="11059" y="2079"/>
                  </a:lnTo>
                  <a:cubicBezTo>
                    <a:pt x="11059" y="945"/>
                    <a:pt x="10145" y="0"/>
                    <a:pt x="89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7" name="Google Shape;9257;p76"/>
            <p:cNvSpPr/>
            <p:nvPr/>
          </p:nvSpPr>
          <p:spPr>
            <a:xfrm>
              <a:off x="-42753550" y="2854500"/>
              <a:ext cx="63825" cy="61700"/>
            </a:xfrm>
            <a:custGeom>
              <a:avLst/>
              <a:gdLst/>
              <a:ahLst/>
              <a:cxnLst/>
              <a:rect l="l" t="t" r="r" b="b"/>
              <a:pathLst>
                <a:path w="2553" h="2468" extrusionOk="0">
                  <a:moveTo>
                    <a:pt x="1263" y="829"/>
                  </a:moveTo>
                  <a:cubicBezTo>
                    <a:pt x="1435" y="829"/>
                    <a:pt x="1565" y="949"/>
                    <a:pt x="1639" y="1144"/>
                  </a:cubicBezTo>
                  <a:cubicBezTo>
                    <a:pt x="1718" y="1410"/>
                    <a:pt x="1483" y="1676"/>
                    <a:pt x="1218" y="1676"/>
                  </a:cubicBezTo>
                  <a:cubicBezTo>
                    <a:pt x="1170" y="1676"/>
                    <a:pt x="1120" y="1668"/>
                    <a:pt x="1071" y="1648"/>
                  </a:cubicBezTo>
                  <a:cubicBezTo>
                    <a:pt x="945" y="1616"/>
                    <a:pt x="882" y="1490"/>
                    <a:pt x="851" y="1364"/>
                  </a:cubicBezTo>
                  <a:cubicBezTo>
                    <a:pt x="756" y="1144"/>
                    <a:pt x="914" y="892"/>
                    <a:pt x="1103" y="860"/>
                  </a:cubicBezTo>
                  <a:cubicBezTo>
                    <a:pt x="1160" y="839"/>
                    <a:pt x="1213" y="829"/>
                    <a:pt x="1263" y="829"/>
                  </a:cubicBezTo>
                  <a:close/>
                  <a:moveTo>
                    <a:pt x="1234" y="0"/>
                  </a:moveTo>
                  <a:cubicBezTo>
                    <a:pt x="841" y="0"/>
                    <a:pt x="443" y="194"/>
                    <a:pt x="189" y="545"/>
                  </a:cubicBezTo>
                  <a:cubicBezTo>
                    <a:pt x="95" y="734"/>
                    <a:pt x="0" y="986"/>
                    <a:pt x="0" y="1238"/>
                  </a:cubicBezTo>
                  <a:cubicBezTo>
                    <a:pt x="0" y="1932"/>
                    <a:pt x="567" y="2467"/>
                    <a:pt x="1229" y="2467"/>
                  </a:cubicBezTo>
                  <a:cubicBezTo>
                    <a:pt x="1765" y="2467"/>
                    <a:pt x="2237" y="2121"/>
                    <a:pt x="2395" y="1616"/>
                  </a:cubicBezTo>
                  <a:cubicBezTo>
                    <a:pt x="2552" y="1081"/>
                    <a:pt x="2363" y="514"/>
                    <a:pt x="1922" y="230"/>
                  </a:cubicBezTo>
                  <a:cubicBezTo>
                    <a:pt x="1718" y="74"/>
                    <a:pt x="1477" y="0"/>
                    <a:pt x="12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8" name="Google Shape;9258;p76"/>
            <p:cNvSpPr/>
            <p:nvPr/>
          </p:nvSpPr>
          <p:spPr>
            <a:xfrm>
              <a:off x="-42581850" y="2853950"/>
              <a:ext cx="63025" cy="61475"/>
            </a:xfrm>
            <a:custGeom>
              <a:avLst/>
              <a:gdLst/>
              <a:ahLst/>
              <a:cxnLst/>
              <a:rect l="l" t="t" r="r" b="b"/>
              <a:pathLst>
                <a:path w="2521" h="2459" extrusionOk="0">
                  <a:moveTo>
                    <a:pt x="1269" y="860"/>
                  </a:moveTo>
                  <a:cubicBezTo>
                    <a:pt x="1493" y="860"/>
                    <a:pt x="1670" y="1049"/>
                    <a:pt x="1670" y="1260"/>
                  </a:cubicBezTo>
                  <a:cubicBezTo>
                    <a:pt x="1670" y="1481"/>
                    <a:pt x="1576" y="1638"/>
                    <a:pt x="1355" y="1670"/>
                  </a:cubicBezTo>
                  <a:cubicBezTo>
                    <a:pt x="1311" y="1683"/>
                    <a:pt x="1268" y="1689"/>
                    <a:pt x="1227" y="1689"/>
                  </a:cubicBezTo>
                  <a:cubicBezTo>
                    <a:pt x="1063" y="1689"/>
                    <a:pt x="927" y="1588"/>
                    <a:pt x="851" y="1386"/>
                  </a:cubicBezTo>
                  <a:cubicBezTo>
                    <a:pt x="788" y="1166"/>
                    <a:pt x="882" y="945"/>
                    <a:pt x="1135" y="882"/>
                  </a:cubicBezTo>
                  <a:cubicBezTo>
                    <a:pt x="1180" y="867"/>
                    <a:pt x="1225" y="860"/>
                    <a:pt x="1269" y="860"/>
                  </a:cubicBezTo>
                  <a:close/>
                  <a:moveTo>
                    <a:pt x="1261" y="0"/>
                  </a:moveTo>
                  <a:cubicBezTo>
                    <a:pt x="567" y="0"/>
                    <a:pt x="0" y="567"/>
                    <a:pt x="32" y="1229"/>
                  </a:cubicBezTo>
                  <a:cubicBezTo>
                    <a:pt x="32" y="1874"/>
                    <a:pt x="541" y="2459"/>
                    <a:pt x="1208" y="2459"/>
                  </a:cubicBezTo>
                  <a:cubicBezTo>
                    <a:pt x="1226" y="2459"/>
                    <a:pt x="1243" y="2458"/>
                    <a:pt x="1261" y="2458"/>
                  </a:cubicBezTo>
                  <a:cubicBezTo>
                    <a:pt x="1922" y="2458"/>
                    <a:pt x="2521" y="1891"/>
                    <a:pt x="2458" y="1229"/>
                  </a:cubicBezTo>
                  <a:cubicBezTo>
                    <a:pt x="2521" y="567"/>
                    <a:pt x="1954"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59" name="Google Shape;9259;p76"/>
          <p:cNvSpPr/>
          <p:nvPr/>
        </p:nvSpPr>
        <p:spPr>
          <a:xfrm>
            <a:off x="3439644" y="1559525"/>
            <a:ext cx="375591" cy="373030"/>
          </a:xfrm>
          <a:custGeom>
            <a:avLst/>
            <a:gdLst/>
            <a:ahLst/>
            <a:cxnLst/>
            <a:rect l="l" t="t" r="r" b="b"/>
            <a:pathLst>
              <a:path w="12760" h="12673" extrusionOk="0">
                <a:moveTo>
                  <a:pt x="2225" y="866"/>
                </a:moveTo>
                <a:cubicBezTo>
                  <a:pt x="2371" y="866"/>
                  <a:pt x="2521" y="929"/>
                  <a:pt x="2647" y="1056"/>
                </a:cubicBezTo>
                <a:lnTo>
                  <a:pt x="3245" y="1654"/>
                </a:lnTo>
                <a:lnTo>
                  <a:pt x="1702" y="3166"/>
                </a:lnTo>
                <a:lnTo>
                  <a:pt x="1103" y="2599"/>
                </a:lnTo>
                <a:cubicBezTo>
                  <a:pt x="1072" y="2536"/>
                  <a:pt x="977" y="2473"/>
                  <a:pt x="977" y="2379"/>
                </a:cubicBezTo>
                <a:cubicBezTo>
                  <a:pt x="914" y="2190"/>
                  <a:pt x="946" y="1906"/>
                  <a:pt x="1103" y="1749"/>
                </a:cubicBezTo>
                <a:lnTo>
                  <a:pt x="1828" y="1056"/>
                </a:lnTo>
                <a:cubicBezTo>
                  <a:pt x="1938" y="929"/>
                  <a:pt x="2080" y="866"/>
                  <a:pt x="2225" y="866"/>
                </a:cubicBezTo>
                <a:close/>
                <a:moveTo>
                  <a:pt x="3812" y="2221"/>
                </a:moveTo>
                <a:lnTo>
                  <a:pt x="4506" y="2914"/>
                </a:lnTo>
                <a:lnTo>
                  <a:pt x="2962" y="4427"/>
                </a:lnTo>
                <a:lnTo>
                  <a:pt x="2300" y="3765"/>
                </a:lnTo>
                <a:lnTo>
                  <a:pt x="3812" y="2221"/>
                </a:lnTo>
                <a:close/>
                <a:moveTo>
                  <a:pt x="9452" y="1056"/>
                </a:moveTo>
                <a:lnTo>
                  <a:pt x="11783" y="3387"/>
                </a:lnTo>
                <a:lnTo>
                  <a:pt x="8979" y="6159"/>
                </a:lnTo>
                <a:lnTo>
                  <a:pt x="6648" y="3828"/>
                </a:lnTo>
                <a:lnTo>
                  <a:pt x="7908" y="2599"/>
                </a:lnTo>
                <a:lnTo>
                  <a:pt x="8790" y="3450"/>
                </a:lnTo>
                <a:cubicBezTo>
                  <a:pt x="8869" y="3529"/>
                  <a:pt x="8979" y="3568"/>
                  <a:pt x="9090" y="3568"/>
                </a:cubicBezTo>
                <a:cubicBezTo>
                  <a:pt x="9200" y="3568"/>
                  <a:pt x="9310" y="3529"/>
                  <a:pt x="9389" y="3450"/>
                </a:cubicBezTo>
                <a:cubicBezTo>
                  <a:pt x="9546" y="3292"/>
                  <a:pt x="9546" y="3009"/>
                  <a:pt x="9389" y="2851"/>
                </a:cubicBezTo>
                <a:lnTo>
                  <a:pt x="8507" y="2001"/>
                </a:lnTo>
                <a:lnTo>
                  <a:pt x="9452" y="1056"/>
                </a:lnTo>
                <a:close/>
                <a:moveTo>
                  <a:pt x="5041" y="3450"/>
                </a:moveTo>
                <a:cubicBezTo>
                  <a:pt x="5356" y="3765"/>
                  <a:pt x="10366" y="8711"/>
                  <a:pt x="10523" y="8932"/>
                </a:cubicBezTo>
                <a:lnTo>
                  <a:pt x="8948" y="10412"/>
                </a:lnTo>
                <a:lnTo>
                  <a:pt x="3497" y="4994"/>
                </a:lnTo>
                <a:lnTo>
                  <a:pt x="5041" y="3450"/>
                </a:lnTo>
                <a:close/>
                <a:moveTo>
                  <a:pt x="10996" y="9625"/>
                </a:moveTo>
                <a:lnTo>
                  <a:pt x="11657" y="11610"/>
                </a:lnTo>
                <a:lnTo>
                  <a:pt x="9609" y="10948"/>
                </a:lnTo>
                <a:lnTo>
                  <a:pt x="10996" y="9625"/>
                </a:lnTo>
                <a:close/>
                <a:moveTo>
                  <a:pt x="3939" y="6600"/>
                </a:moveTo>
                <a:lnTo>
                  <a:pt x="6270" y="8932"/>
                </a:lnTo>
                <a:lnTo>
                  <a:pt x="3466" y="11736"/>
                </a:lnTo>
                <a:lnTo>
                  <a:pt x="1135" y="9404"/>
                </a:lnTo>
                <a:lnTo>
                  <a:pt x="2489" y="8050"/>
                </a:lnTo>
                <a:lnTo>
                  <a:pt x="3340" y="8932"/>
                </a:lnTo>
                <a:cubicBezTo>
                  <a:pt x="3419" y="9010"/>
                  <a:pt x="3529" y="9050"/>
                  <a:pt x="3639" y="9050"/>
                </a:cubicBezTo>
                <a:cubicBezTo>
                  <a:pt x="3749" y="9050"/>
                  <a:pt x="3860" y="9010"/>
                  <a:pt x="3939" y="8932"/>
                </a:cubicBezTo>
                <a:cubicBezTo>
                  <a:pt x="4096" y="8774"/>
                  <a:pt x="4096" y="8491"/>
                  <a:pt x="3939" y="8333"/>
                </a:cubicBezTo>
                <a:lnTo>
                  <a:pt x="3088" y="7482"/>
                </a:lnTo>
                <a:lnTo>
                  <a:pt x="3939" y="6600"/>
                </a:lnTo>
                <a:close/>
                <a:moveTo>
                  <a:pt x="2194" y="0"/>
                </a:moveTo>
                <a:cubicBezTo>
                  <a:pt x="1828" y="0"/>
                  <a:pt x="1465" y="142"/>
                  <a:pt x="1198" y="425"/>
                </a:cubicBezTo>
                <a:lnTo>
                  <a:pt x="473" y="1119"/>
                </a:lnTo>
                <a:cubicBezTo>
                  <a:pt x="221" y="1402"/>
                  <a:pt x="95" y="1749"/>
                  <a:pt x="95" y="2127"/>
                </a:cubicBezTo>
                <a:cubicBezTo>
                  <a:pt x="95" y="2473"/>
                  <a:pt x="252" y="2851"/>
                  <a:pt x="473" y="3103"/>
                </a:cubicBezTo>
                <a:lnTo>
                  <a:pt x="1387" y="4017"/>
                </a:lnTo>
                <a:cubicBezTo>
                  <a:pt x="1387" y="4017"/>
                  <a:pt x="2647" y="5277"/>
                  <a:pt x="2615" y="5277"/>
                </a:cubicBezTo>
                <a:lnTo>
                  <a:pt x="3277" y="5939"/>
                </a:lnTo>
                <a:lnTo>
                  <a:pt x="2174" y="7041"/>
                </a:lnTo>
                <a:lnTo>
                  <a:pt x="2048" y="7167"/>
                </a:lnTo>
                <a:lnTo>
                  <a:pt x="158" y="9058"/>
                </a:lnTo>
                <a:cubicBezTo>
                  <a:pt x="0" y="9215"/>
                  <a:pt x="0" y="9467"/>
                  <a:pt x="158" y="9625"/>
                </a:cubicBezTo>
                <a:lnTo>
                  <a:pt x="3088" y="12555"/>
                </a:lnTo>
                <a:cubicBezTo>
                  <a:pt x="3167" y="12634"/>
                  <a:pt x="3269" y="12673"/>
                  <a:pt x="3371" y="12673"/>
                </a:cubicBezTo>
                <a:cubicBezTo>
                  <a:pt x="3474" y="12673"/>
                  <a:pt x="3576" y="12634"/>
                  <a:pt x="3655" y="12555"/>
                </a:cubicBezTo>
                <a:lnTo>
                  <a:pt x="6742" y="9467"/>
                </a:lnTo>
                <a:lnTo>
                  <a:pt x="8570" y="11295"/>
                </a:lnTo>
                <a:cubicBezTo>
                  <a:pt x="8601" y="11326"/>
                  <a:pt x="8633" y="11358"/>
                  <a:pt x="8696" y="11358"/>
                </a:cubicBezTo>
                <a:cubicBezTo>
                  <a:pt x="8759" y="11452"/>
                  <a:pt x="8822" y="11515"/>
                  <a:pt x="8948" y="11578"/>
                </a:cubicBezTo>
                <a:lnTo>
                  <a:pt x="12098" y="12618"/>
                </a:lnTo>
                <a:cubicBezTo>
                  <a:pt x="12147" y="12637"/>
                  <a:pt x="12196" y="12646"/>
                  <a:pt x="12243" y="12646"/>
                </a:cubicBezTo>
                <a:cubicBezTo>
                  <a:pt x="12500" y="12646"/>
                  <a:pt x="12709" y="12380"/>
                  <a:pt x="12602" y="12114"/>
                </a:cubicBezTo>
                <a:lnTo>
                  <a:pt x="11657" y="8963"/>
                </a:lnTo>
                <a:cubicBezTo>
                  <a:pt x="11626" y="8900"/>
                  <a:pt x="11594" y="8806"/>
                  <a:pt x="11468" y="8743"/>
                </a:cubicBezTo>
                <a:cubicBezTo>
                  <a:pt x="11437" y="8648"/>
                  <a:pt x="11531" y="8806"/>
                  <a:pt x="9546" y="6758"/>
                </a:cubicBezTo>
                <a:lnTo>
                  <a:pt x="12602" y="3702"/>
                </a:lnTo>
                <a:cubicBezTo>
                  <a:pt x="12760" y="3544"/>
                  <a:pt x="12760" y="3261"/>
                  <a:pt x="12602" y="3103"/>
                </a:cubicBezTo>
                <a:lnTo>
                  <a:pt x="9704" y="173"/>
                </a:lnTo>
                <a:cubicBezTo>
                  <a:pt x="9625" y="95"/>
                  <a:pt x="9515" y="55"/>
                  <a:pt x="9405" y="55"/>
                </a:cubicBezTo>
                <a:cubicBezTo>
                  <a:pt x="9294" y="55"/>
                  <a:pt x="9184" y="95"/>
                  <a:pt x="9105" y="173"/>
                </a:cubicBezTo>
                <a:lnTo>
                  <a:pt x="7656" y="1654"/>
                </a:lnTo>
                <a:lnTo>
                  <a:pt x="7530" y="1749"/>
                </a:lnTo>
                <a:lnTo>
                  <a:pt x="6049" y="3261"/>
                </a:lnTo>
                <a:lnTo>
                  <a:pt x="3214" y="425"/>
                </a:lnTo>
                <a:cubicBezTo>
                  <a:pt x="2930" y="142"/>
                  <a:pt x="2560" y="0"/>
                  <a:pt x="21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0" name="Google Shape;9260;p76"/>
          <p:cNvSpPr/>
          <p:nvPr/>
        </p:nvSpPr>
        <p:spPr>
          <a:xfrm>
            <a:off x="3459773" y="2040992"/>
            <a:ext cx="380241" cy="318104"/>
          </a:xfrm>
          <a:custGeom>
            <a:avLst/>
            <a:gdLst/>
            <a:ahLst/>
            <a:cxnLst/>
            <a:rect l="l" t="t" r="r" b="b"/>
            <a:pathLst>
              <a:path w="12918" h="10807" extrusionOk="0">
                <a:moveTo>
                  <a:pt x="10807" y="851"/>
                </a:moveTo>
                <a:cubicBezTo>
                  <a:pt x="10366" y="1608"/>
                  <a:pt x="10366" y="2584"/>
                  <a:pt x="10807" y="3340"/>
                </a:cubicBezTo>
                <a:lnTo>
                  <a:pt x="2332" y="3340"/>
                </a:lnTo>
                <a:cubicBezTo>
                  <a:pt x="1765" y="3340"/>
                  <a:pt x="1293" y="2962"/>
                  <a:pt x="1135" y="2458"/>
                </a:cubicBezTo>
                <a:cubicBezTo>
                  <a:pt x="915" y="1671"/>
                  <a:pt x="1513" y="851"/>
                  <a:pt x="2332" y="851"/>
                </a:cubicBezTo>
                <a:close/>
                <a:moveTo>
                  <a:pt x="8822" y="4159"/>
                </a:moveTo>
                <a:lnTo>
                  <a:pt x="8822" y="6648"/>
                </a:lnTo>
                <a:lnTo>
                  <a:pt x="1891" y="6648"/>
                </a:lnTo>
                <a:lnTo>
                  <a:pt x="1891" y="4159"/>
                </a:lnTo>
                <a:close/>
                <a:moveTo>
                  <a:pt x="10524" y="4159"/>
                </a:moveTo>
                <a:lnTo>
                  <a:pt x="10524" y="6648"/>
                </a:lnTo>
                <a:lnTo>
                  <a:pt x="9704" y="6648"/>
                </a:lnTo>
                <a:lnTo>
                  <a:pt x="9704" y="4159"/>
                </a:lnTo>
                <a:close/>
                <a:moveTo>
                  <a:pt x="12130" y="4159"/>
                </a:moveTo>
                <a:lnTo>
                  <a:pt x="12130" y="6648"/>
                </a:lnTo>
                <a:lnTo>
                  <a:pt x="11343" y="6648"/>
                </a:lnTo>
                <a:lnTo>
                  <a:pt x="11343" y="4159"/>
                </a:lnTo>
                <a:close/>
                <a:moveTo>
                  <a:pt x="1986" y="7467"/>
                </a:moveTo>
                <a:lnTo>
                  <a:pt x="1986" y="9956"/>
                </a:lnTo>
                <a:lnTo>
                  <a:pt x="1104" y="9956"/>
                </a:lnTo>
                <a:lnTo>
                  <a:pt x="1104" y="7467"/>
                </a:lnTo>
                <a:close/>
                <a:moveTo>
                  <a:pt x="3624" y="7467"/>
                </a:moveTo>
                <a:lnTo>
                  <a:pt x="3624" y="9956"/>
                </a:lnTo>
                <a:lnTo>
                  <a:pt x="2805" y="9956"/>
                </a:lnTo>
                <a:lnTo>
                  <a:pt x="2805" y="7467"/>
                </a:lnTo>
                <a:close/>
                <a:moveTo>
                  <a:pt x="11311" y="7467"/>
                </a:moveTo>
                <a:lnTo>
                  <a:pt x="11311" y="9956"/>
                </a:lnTo>
                <a:lnTo>
                  <a:pt x="4443" y="9956"/>
                </a:lnTo>
                <a:lnTo>
                  <a:pt x="4443" y="7467"/>
                </a:lnTo>
                <a:close/>
                <a:moveTo>
                  <a:pt x="2364" y="1"/>
                </a:moveTo>
                <a:cubicBezTo>
                  <a:pt x="1671" y="1"/>
                  <a:pt x="1041" y="379"/>
                  <a:pt x="631" y="914"/>
                </a:cubicBezTo>
                <a:cubicBezTo>
                  <a:pt x="1" y="1828"/>
                  <a:pt x="253" y="3088"/>
                  <a:pt x="1104" y="3718"/>
                </a:cubicBezTo>
                <a:lnTo>
                  <a:pt x="1104" y="6648"/>
                </a:lnTo>
                <a:lnTo>
                  <a:pt x="694" y="6648"/>
                </a:lnTo>
                <a:cubicBezTo>
                  <a:pt x="442" y="6648"/>
                  <a:pt x="284" y="6837"/>
                  <a:pt x="284" y="7058"/>
                </a:cubicBezTo>
                <a:lnTo>
                  <a:pt x="284" y="10366"/>
                </a:lnTo>
                <a:cubicBezTo>
                  <a:pt x="284" y="10618"/>
                  <a:pt x="473" y="10807"/>
                  <a:pt x="694" y="10807"/>
                </a:cubicBezTo>
                <a:lnTo>
                  <a:pt x="11721" y="10807"/>
                </a:lnTo>
                <a:cubicBezTo>
                  <a:pt x="11941" y="10807"/>
                  <a:pt x="12130" y="10618"/>
                  <a:pt x="12130" y="10366"/>
                </a:cubicBezTo>
                <a:lnTo>
                  <a:pt x="12130" y="7499"/>
                </a:lnTo>
                <a:lnTo>
                  <a:pt x="12540" y="7499"/>
                </a:lnTo>
                <a:cubicBezTo>
                  <a:pt x="12760" y="7499"/>
                  <a:pt x="12918" y="7310"/>
                  <a:pt x="12918" y="7058"/>
                </a:cubicBezTo>
                <a:lnTo>
                  <a:pt x="12918" y="3750"/>
                </a:lnTo>
                <a:cubicBezTo>
                  <a:pt x="12918" y="3529"/>
                  <a:pt x="12760" y="3340"/>
                  <a:pt x="12540" y="3340"/>
                </a:cubicBezTo>
                <a:lnTo>
                  <a:pt x="11878" y="3340"/>
                </a:lnTo>
                <a:cubicBezTo>
                  <a:pt x="11091" y="2647"/>
                  <a:pt x="11122" y="1387"/>
                  <a:pt x="11973" y="757"/>
                </a:cubicBezTo>
                <a:cubicBezTo>
                  <a:pt x="12256" y="536"/>
                  <a:pt x="12130" y="64"/>
                  <a:pt x="117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1" name="Google Shape;9261;p76"/>
          <p:cNvSpPr/>
          <p:nvPr/>
        </p:nvSpPr>
        <p:spPr>
          <a:xfrm>
            <a:off x="3469303" y="2441147"/>
            <a:ext cx="375620" cy="372441"/>
          </a:xfrm>
          <a:custGeom>
            <a:avLst/>
            <a:gdLst/>
            <a:ahLst/>
            <a:cxnLst/>
            <a:rect l="l" t="t" r="r" b="b"/>
            <a:pathLst>
              <a:path w="12761" h="12653" extrusionOk="0">
                <a:moveTo>
                  <a:pt x="6396" y="866"/>
                </a:moveTo>
                <a:lnTo>
                  <a:pt x="11469" y="3796"/>
                </a:lnTo>
                <a:cubicBezTo>
                  <a:pt x="8759" y="5340"/>
                  <a:pt x="12729" y="3072"/>
                  <a:pt x="6396" y="6695"/>
                </a:cubicBezTo>
                <a:cubicBezTo>
                  <a:pt x="1" y="3072"/>
                  <a:pt x="4097" y="5403"/>
                  <a:pt x="1324" y="3796"/>
                </a:cubicBezTo>
                <a:lnTo>
                  <a:pt x="6396" y="866"/>
                </a:lnTo>
                <a:close/>
                <a:moveTo>
                  <a:pt x="10208" y="5498"/>
                </a:moveTo>
                <a:lnTo>
                  <a:pt x="10208" y="8081"/>
                </a:lnTo>
                <a:cubicBezTo>
                  <a:pt x="10177" y="8207"/>
                  <a:pt x="10051" y="8365"/>
                  <a:pt x="9925" y="8428"/>
                </a:cubicBezTo>
                <a:cubicBezTo>
                  <a:pt x="9312" y="8970"/>
                  <a:pt x="7887" y="9300"/>
                  <a:pt x="6364" y="9300"/>
                </a:cubicBezTo>
                <a:cubicBezTo>
                  <a:pt x="5852" y="9300"/>
                  <a:pt x="5329" y="9263"/>
                  <a:pt x="4821" y="9184"/>
                </a:cubicBezTo>
                <a:cubicBezTo>
                  <a:pt x="4317" y="9121"/>
                  <a:pt x="3718" y="8963"/>
                  <a:pt x="3246" y="8711"/>
                </a:cubicBezTo>
                <a:cubicBezTo>
                  <a:pt x="2994" y="8585"/>
                  <a:pt x="2584" y="8333"/>
                  <a:pt x="2584" y="8050"/>
                </a:cubicBezTo>
                <a:lnTo>
                  <a:pt x="2584" y="5498"/>
                </a:lnTo>
                <a:cubicBezTo>
                  <a:pt x="4412" y="6537"/>
                  <a:pt x="4317" y="6474"/>
                  <a:pt x="6207" y="7545"/>
                </a:cubicBezTo>
                <a:cubicBezTo>
                  <a:pt x="6255" y="7577"/>
                  <a:pt x="6318" y="7593"/>
                  <a:pt x="6385" y="7593"/>
                </a:cubicBezTo>
                <a:cubicBezTo>
                  <a:pt x="6452" y="7593"/>
                  <a:pt x="6522" y="7577"/>
                  <a:pt x="6585" y="7545"/>
                </a:cubicBezTo>
                <a:cubicBezTo>
                  <a:pt x="6617" y="7482"/>
                  <a:pt x="9925" y="5592"/>
                  <a:pt x="10208" y="5498"/>
                </a:cubicBezTo>
                <a:close/>
                <a:moveTo>
                  <a:pt x="6385" y="0"/>
                </a:moveTo>
                <a:cubicBezTo>
                  <a:pt x="6318" y="0"/>
                  <a:pt x="6255" y="16"/>
                  <a:pt x="6207" y="47"/>
                </a:cubicBezTo>
                <a:lnTo>
                  <a:pt x="284" y="3450"/>
                </a:lnTo>
                <a:cubicBezTo>
                  <a:pt x="1" y="3607"/>
                  <a:pt x="1" y="3985"/>
                  <a:pt x="284" y="4143"/>
                </a:cubicBezTo>
                <a:lnTo>
                  <a:pt x="1797" y="4962"/>
                </a:lnTo>
                <a:lnTo>
                  <a:pt x="1797" y="8018"/>
                </a:lnTo>
                <a:cubicBezTo>
                  <a:pt x="1797" y="8711"/>
                  <a:pt x="2458" y="9215"/>
                  <a:pt x="3088" y="9499"/>
                </a:cubicBezTo>
                <a:cubicBezTo>
                  <a:pt x="3994" y="9903"/>
                  <a:pt x="5215" y="10104"/>
                  <a:pt x="6430" y="10104"/>
                </a:cubicBezTo>
                <a:cubicBezTo>
                  <a:pt x="7963" y="10104"/>
                  <a:pt x="9488" y="9785"/>
                  <a:pt x="10366" y="9152"/>
                </a:cubicBezTo>
                <a:cubicBezTo>
                  <a:pt x="10776" y="8869"/>
                  <a:pt x="11091" y="8491"/>
                  <a:pt x="11091" y="8018"/>
                </a:cubicBezTo>
                <a:lnTo>
                  <a:pt x="11091" y="4962"/>
                </a:lnTo>
                <a:lnTo>
                  <a:pt x="11941" y="4490"/>
                </a:lnTo>
                <a:lnTo>
                  <a:pt x="11941" y="12208"/>
                </a:lnTo>
                <a:cubicBezTo>
                  <a:pt x="11941" y="12429"/>
                  <a:pt x="12099" y="12618"/>
                  <a:pt x="12288" y="12649"/>
                </a:cubicBezTo>
                <a:cubicBezTo>
                  <a:pt x="12306" y="12652"/>
                  <a:pt x="12325" y="12653"/>
                  <a:pt x="12343" y="12653"/>
                </a:cubicBezTo>
                <a:cubicBezTo>
                  <a:pt x="12571" y="12653"/>
                  <a:pt x="12760" y="12475"/>
                  <a:pt x="12760" y="12271"/>
                </a:cubicBezTo>
                <a:lnTo>
                  <a:pt x="12760" y="3796"/>
                </a:lnTo>
                <a:cubicBezTo>
                  <a:pt x="12729" y="3639"/>
                  <a:pt x="12666" y="3513"/>
                  <a:pt x="12508" y="3450"/>
                </a:cubicBezTo>
                <a:lnTo>
                  <a:pt x="6585" y="47"/>
                </a:lnTo>
                <a:cubicBezTo>
                  <a:pt x="6522" y="16"/>
                  <a:pt x="6452" y="0"/>
                  <a:pt x="63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76"/>
          <p:cNvSpPr/>
          <p:nvPr/>
        </p:nvSpPr>
        <p:spPr>
          <a:xfrm>
            <a:off x="2230466" y="2877846"/>
            <a:ext cx="268977" cy="370969"/>
          </a:xfrm>
          <a:custGeom>
            <a:avLst/>
            <a:gdLst/>
            <a:ahLst/>
            <a:cxnLst/>
            <a:rect l="l" t="t" r="r" b="b"/>
            <a:pathLst>
              <a:path w="9138" h="12603" extrusionOk="0">
                <a:moveTo>
                  <a:pt x="5420" y="788"/>
                </a:moveTo>
                <a:cubicBezTo>
                  <a:pt x="7026" y="788"/>
                  <a:pt x="8287" y="2080"/>
                  <a:pt x="8287" y="3655"/>
                </a:cubicBezTo>
                <a:lnTo>
                  <a:pt x="8287" y="4978"/>
                </a:lnTo>
                <a:lnTo>
                  <a:pt x="5829" y="4978"/>
                </a:lnTo>
                <a:lnTo>
                  <a:pt x="5829" y="3718"/>
                </a:lnTo>
                <a:cubicBezTo>
                  <a:pt x="5829" y="3151"/>
                  <a:pt x="5451" y="2710"/>
                  <a:pt x="4979" y="2521"/>
                </a:cubicBezTo>
                <a:lnTo>
                  <a:pt x="4979" y="788"/>
                </a:lnTo>
                <a:close/>
                <a:moveTo>
                  <a:pt x="4159" y="882"/>
                </a:moveTo>
                <a:lnTo>
                  <a:pt x="4159" y="2615"/>
                </a:lnTo>
                <a:cubicBezTo>
                  <a:pt x="3687" y="2773"/>
                  <a:pt x="3340" y="3245"/>
                  <a:pt x="3340" y="3781"/>
                </a:cubicBezTo>
                <a:lnTo>
                  <a:pt x="3340" y="5041"/>
                </a:lnTo>
                <a:lnTo>
                  <a:pt x="851" y="5041"/>
                </a:lnTo>
                <a:lnTo>
                  <a:pt x="851" y="3749"/>
                </a:lnTo>
                <a:cubicBezTo>
                  <a:pt x="851" y="2143"/>
                  <a:pt x="2175" y="882"/>
                  <a:pt x="3781" y="882"/>
                </a:cubicBezTo>
                <a:close/>
                <a:moveTo>
                  <a:pt x="4569" y="3308"/>
                </a:moveTo>
                <a:cubicBezTo>
                  <a:pt x="4790" y="3308"/>
                  <a:pt x="4947" y="3497"/>
                  <a:pt x="4947" y="3749"/>
                </a:cubicBezTo>
                <a:lnTo>
                  <a:pt x="4947" y="5388"/>
                </a:lnTo>
                <a:cubicBezTo>
                  <a:pt x="4947" y="5620"/>
                  <a:pt x="4736" y="5830"/>
                  <a:pt x="4504" y="5830"/>
                </a:cubicBezTo>
                <a:cubicBezTo>
                  <a:pt x="4453" y="5830"/>
                  <a:pt x="4400" y="5820"/>
                  <a:pt x="4348" y="5797"/>
                </a:cubicBezTo>
                <a:cubicBezTo>
                  <a:pt x="4191" y="5703"/>
                  <a:pt x="4128" y="5608"/>
                  <a:pt x="4128" y="5388"/>
                </a:cubicBezTo>
                <a:lnTo>
                  <a:pt x="4128" y="3718"/>
                </a:lnTo>
                <a:cubicBezTo>
                  <a:pt x="4159" y="3466"/>
                  <a:pt x="4348" y="3308"/>
                  <a:pt x="4569" y="3308"/>
                </a:cubicBezTo>
                <a:close/>
                <a:moveTo>
                  <a:pt x="8287" y="5797"/>
                </a:moveTo>
                <a:lnTo>
                  <a:pt x="8287" y="8948"/>
                </a:lnTo>
                <a:cubicBezTo>
                  <a:pt x="8287" y="10554"/>
                  <a:pt x="6995" y="11815"/>
                  <a:pt x="5420" y="11815"/>
                </a:cubicBezTo>
                <a:lnTo>
                  <a:pt x="3781" y="11815"/>
                </a:lnTo>
                <a:cubicBezTo>
                  <a:pt x="2143" y="11815"/>
                  <a:pt x="883" y="10523"/>
                  <a:pt x="851" y="8948"/>
                </a:cubicBezTo>
                <a:lnTo>
                  <a:pt x="851" y="5797"/>
                </a:lnTo>
                <a:lnTo>
                  <a:pt x="3403" y="5797"/>
                </a:lnTo>
                <a:cubicBezTo>
                  <a:pt x="3498" y="6018"/>
                  <a:pt x="3655" y="6270"/>
                  <a:pt x="3876" y="6427"/>
                </a:cubicBezTo>
                <a:cubicBezTo>
                  <a:pt x="4098" y="6579"/>
                  <a:pt x="4340" y="6649"/>
                  <a:pt x="4575" y="6649"/>
                </a:cubicBezTo>
                <a:cubicBezTo>
                  <a:pt x="5073" y="6649"/>
                  <a:pt x="5542" y="6332"/>
                  <a:pt x="5735" y="5797"/>
                </a:cubicBezTo>
                <a:close/>
                <a:moveTo>
                  <a:pt x="3750" y="0"/>
                </a:moveTo>
                <a:cubicBezTo>
                  <a:pt x="1702" y="0"/>
                  <a:pt x="1" y="1670"/>
                  <a:pt x="1" y="3718"/>
                </a:cubicBezTo>
                <a:lnTo>
                  <a:pt x="1" y="8885"/>
                </a:lnTo>
                <a:cubicBezTo>
                  <a:pt x="1" y="10932"/>
                  <a:pt x="1639" y="12602"/>
                  <a:pt x="3750" y="12602"/>
                </a:cubicBezTo>
                <a:lnTo>
                  <a:pt x="5388" y="12602"/>
                </a:lnTo>
                <a:cubicBezTo>
                  <a:pt x="7436" y="12602"/>
                  <a:pt x="9137" y="10964"/>
                  <a:pt x="9074" y="8885"/>
                </a:cubicBezTo>
                <a:lnTo>
                  <a:pt x="9074" y="3686"/>
                </a:lnTo>
                <a:cubicBezTo>
                  <a:pt x="9137" y="1670"/>
                  <a:pt x="7467"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76"/>
          <p:cNvSpPr/>
          <p:nvPr/>
        </p:nvSpPr>
        <p:spPr>
          <a:xfrm>
            <a:off x="2117481" y="3661407"/>
            <a:ext cx="29" cy="29"/>
          </a:xfrm>
          <a:custGeom>
            <a:avLst/>
            <a:gdLst/>
            <a:ahLst/>
            <a:cxnLst/>
            <a:rect l="l" t="t" r="r" b="b"/>
            <a:pathLst>
              <a:path w="1" h="1" extrusionOk="0">
                <a:moveTo>
                  <a:pt x="1"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64" name="Google Shape;9264;p76"/>
          <p:cNvGrpSpPr/>
          <p:nvPr/>
        </p:nvGrpSpPr>
        <p:grpSpPr>
          <a:xfrm>
            <a:off x="2168150" y="3311887"/>
            <a:ext cx="390426" cy="369586"/>
            <a:chOff x="-39055650" y="2315975"/>
            <a:chExt cx="331600" cy="313900"/>
          </a:xfrm>
        </p:grpSpPr>
        <p:sp>
          <p:nvSpPr>
            <p:cNvPr id="9265" name="Google Shape;9265;p76"/>
            <p:cNvSpPr/>
            <p:nvPr/>
          </p:nvSpPr>
          <p:spPr>
            <a:xfrm>
              <a:off x="-38976900" y="2390225"/>
              <a:ext cx="167775" cy="165825"/>
            </a:xfrm>
            <a:custGeom>
              <a:avLst/>
              <a:gdLst/>
              <a:ahLst/>
              <a:cxnLst/>
              <a:rect l="l" t="t" r="r" b="b"/>
              <a:pathLst>
                <a:path w="6711" h="6633" extrusionOk="0">
                  <a:moveTo>
                    <a:pt x="3765" y="1"/>
                  </a:moveTo>
                  <a:cubicBezTo>
                    <a:pt x="3655" y="1"/>
                    <a:pt x="3545" y="40"/>
                    <a:pt x="3466" y="119"/>
                  </a:cubicBezTo>
                  <a:cubicBezTo>
                    <a:pt x="3309" y="276"/>
                    <a:pt x="3309" y="560"/>
                    <a:pt x="3466" y="718"/>
                  </a:cubicBezTo>
                  <a:lnTo>
                    <a:pt x="4411" y="1663"/>
                  </a:lnTo>
                  <a:lnTo>
                    <a:pt x="3340" y="2734"/>
                  </a:lnTo>
                  <a:lnTo>
                    <a:pt x="2395" y="1789"/>
                  </a:lnTo>
                  <a:cubicBezTo>
                    <a:pt x="2316" y="1710"/>
                    <a:pt x="2214" y="1671"/>
                    <a:pt x="2111" y="1671"/>
                  </a:cubicBezTo>
                  <a:cubicBezTo>
                    <a:pt x="2009" y="1671"/>
                    <a:pt x="1907" y="1710"/>
                    <a:pt x="1828" y="1789"/>
                  </a:cubicBezTo>
                  <a:cubicBezTo>
                    <a:pt x="1670" y="1946"/>
                    <a:pt x="1670" y="2198"/>
                    <a:pt x="1828" y="2387"/>
                  </a:cubicBezTo>
                  <a:lnTo>
                    <a:pt x="2773" y="3332"/>
                  </a:lnTo>
                  <a:lnTo>
                    <a:pt x="1702" y="4372"/>
                  </a:lnTo>
                  <a:lnTo>
                    <a:pt x="757" y="3427"/>
                  </a:lnTo>
                  <a:cubicBezTo>
                    <a:pt x="678" y="3348"/>
                    <a:pt x="568" y="3309"/>
                    <a:pt x="457" y="3309"/>
                  </a:cubicBezTo>
                  <a:cubicBezTo>
                    <a:pt x="347" y="3309"/>
                    <a:pt x="237" y="3348"/>
                    <a:pt x="158" y="3427"/>
                  </a:cubicBezTo>
                  <a:cubicBezTo>
                    <a:pt x="1" y="3584"/>
                    <a:pt x="1" y="3868"/>
                    <a:pt x="158" y="4026"/>
                  </a:cubicBezTo>
                  <a:lnTo>
                    <a:pt x="1103" y="4971"/>
                  </a:lnTo>
                  <a:lnTo>
                    <a:pt x="977" y="5097"/>
                  </a:lnTo>
                  <a:cubicBezTo>
                    <a:pt x="820" y="5254"/>
                    <a:pt x="820" y="5538"/>
                    <a:pt x="977" y="5695"/>
                  </a:cubicBezTo>
                  <a:cubicBezTo>
                    <a:pt x="1056" y="5774"/>
                    <a:pt x="1166" y="5813"/>
                    <a:pt x="1276" y="5813"/>
                  </a:cubicBezTo>
                  <a:cubicBezTo>
                    <a:pt x="1387" y="5813"/>
                    <a:pt x="1497" y="5774"/>
                    <a:pt x="1576" y="5695"/>
                  </a:cubicBezTo>
                  <a:lnTo>
                    <a:pt x="1702" y="5569"/>
                  </a:lnTo>
                  <a:lnTo>
                    <a:pt x="2647" y="6514"/>
                  </a:lnTo>
                  <a:cubicBezTo>
                    <a:pt x="2726" y="6593"/>
                    <a:pt x="2836" y="6633"/>
                    <a:pt x="2946" y="6633"/>
                  </a:cubicBezTo>
                  <a:cubicBezTo>
                    <a:pt x="3057" y="6633"/>
                    <a:pt x="3167" y="6593"/>
                    <a:pt x="3246" y="6514"/>
                  </a:cubicBezTo>
                  <a:cubicBezTo>
                    <a:pt x="3403" y="6357"/>
                    <a:pt x="3403" y="6073"/>
                    <a:pt x="3246" y="5916"/>
                  </a:cubicBezTo>
                  <a:lnTo>
                    <a:pt x="2300" y="4971"/>
                  </a:lnTo>
                  <a:lnTo>
                    <a:pt x="3340" y="3899"/>
                  </a:lnTo>
                  <a:lnTo>
                    <a:pt x="4285" y="4845"/>
                  </a:lnTo>
                  <a:cubicBezTo>
                    <a:pt x="4364" y="4923"/>
                    <a:pt x="4474" y="4963"/>
                    <a:pt x="4585" y="4963"/>
                  </a:cubicBezTo>
                  <a:cubicBezTo>
                    <a:pt x="4695" y="4963"/>
                    <a:pt x="4805" y="4923"/>
                    <a:pt x="4884" y="4845"/>
                  </a:cubicBezTo>
                  <a:cubicBezTo>
                    <a:pt x="5041" y="4687"/>
                    <a:pt x="5041" y="4435"/>
                    <a:pt x="4884" y="4278"/>
                  </a:cubicBezTo>
                  <a:lnTo>
                    <a:pt x="3939" y="3332"/>
                  </a:lnTo>
                  <a:lnTo>
                    <a:pt x="5010" y="2261"/>
                  </a:lnTo>
                  <a:lnTo>
                    <a:pt x="5955" y="3206"/>
                  </a:lnTo>
                  <a:cubicBezTo>
                    <a:pt x="6034" y="3285"/>
                    <a:pt x="6144" y="3325"/>
                    <a:pt x="6254" y="3325"/>
                  </a:cubicBezTo>
                  <a:cubicBezTo>
                    <a:pt x="6365" y="3325"/>
                    <a:pt x="6475" y="3285"/>
                    <a:pt x="6554" y="3206"/>
                  </a:cubicBezTo>
                  <a:cubicBezTo>
                    <a:pt x="6711" y="3049"/>
                    <a:pt x="6711" y="2765"/>
                    <a:pt x="6554" y="2608"/>
                  </a:cubicBezTo>
                  <a:lnTo>
                    <a:pt x="5608" y="1663"/>
                  </a:lnTo>
                  <a:lnTo>
                    <a:pt x="5703" y="1537"/>
                  </a:lnTo>
                  <a:cubicBezTo>
                    <a:pt x="5860" y="1379"/>
                    <a:pt x="5860" y="1127"/>
                    <a:pt x="5703" y="970"/>
                  </a:cubicBezTo>
                  <a:cubicBezTo>
                    <a:pt x="5624" y="891"/>
                    <a:pt x="5522" y="851"/>
                    <a:pt x="5419" y="851"/>
                  </a:cubicBezTo>
                  <a:cubicBezTo>
                    <a:pt x="5317" y="851"/>
                    <a:pt x="5215" y="891"/>
                    <a:pt x="5136" y="970"/>
                  </a:cubicBezTo>
                  <a:lnTo>
                    <a:pt x="5010" y="1064"/>
                  </a:lnTo>
                  <a:lnTo>
                    <a:pt x="4065" y="119"/>
                  </a:lnTo>
                  <a:cubicBezTo>
                    <a:pt x="3986" y="40"/>
                    <a:pt x="3876" y="1"/>
                    <a:pt x="3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76"/>
            <p:cNvSpPr/>
            <p:nvPr/>
          </p:nvSpPr>
          <p:spPr>
            <a:xfrm>
              <a:off x="-39055650" y="2315975"/>
              <a:ext cx="331600" cy="313900"/>
            </a:xfrm>
            <a:custGeom>
              <a:avLst/>
              <a:gdLst/>
              <a:ahLst/>
              <a:cxnLst/>
              <a:rect l="l" t="t" r="r" b="b"/>
              <a:pathLst>
                <a:path w="13264" h="12556" extrusionOk="0">
                  <a:moveTo>
                    <a:pt x="9083" y="792"/>
                  </a:moveTo>
                  <a:cubicBezTo>
                    <a:pt x="9988" y="792"/>
                    <a:pt x="10673" y="917"/>
                    <a:pt x="11121" y="1041"/>
                  </a:cubicBezTo>
                  <a:cubicBezTo>
                    <a:pt x="11216" y="1073"/>
                    <a:pt x="11373" y="1167"/>
                    <a:pt x="11499" y="1199"/>
                  </a:cubicBezTo>
                  <a:lnTo>
                    <a:pt x="11625" y="1325"/>
                  </a:lnTo>
                  <a:cubicBezTo>
                    <a:pt x="11814" y="1608"/>
                    <a:pt x="11909" y="2144"/>
                    <a:pt x="11940" y="2459"/>
                  </a:cubicBezTo>
                  <a:cubicBezTo>
                    <a:pt x="12003" y="3152"/>
                    <a:pt x="12003" y="3845"/>
                    <a:pt x="11972" y="4475"/>
                  </a:cubicBezTo>
                  <a:lnTo>
                    <a:pt x="8317" y="821"/>
                  </a:lnTo>
                  <a:cubicBezTo>
                    <a:pt x="8588" y="801"/>
                    <a:pt x="8843" y="792"/>
                    <a:pt x="9083" y="792"/>
                  </a:cubicBezTo>
                  <a:close/>
                  <a:moveTo>
                    <a:pt x="7246" y="978"/>
                  </a:moveTo>
                  <a:lnTo>
                    <a:pt x="11814" y="5546"/>
                  </a:lnTo>
                  <a:cubicBezTo>
                    <a:pt x="11184" y="8728"/>
                    <a:pt x="9136" y="11028"/>
                    <a:pt x="5797" y="11595"/>
                  </a:cubicBezTo>
                  <a:lnTo>
                    <a:pt x="1229" y="7027"/>
                  </a:lnTo>
                  <a:cubicBezTo>
                    <a:pt x="1890" y="3845"/>
                    <a:pt x="3907" y="1608"/>
                    <a:pt x="7246" y="978"/>
                  </a:cubicBezTo>
                  <a:close/>
                  <a:moveTo>
                    <a:pt x="1071" y="8004"/>
                  </a:moveTo>
                  <a:lnTo>
                    <a:pt x="4726" y="11690"/>
                  </a:lnTo>
                  <a:cubicBezTo>
                    <a:pt x="4391" y="11722"/>
                    <a:pt x="4083" y="11736"/>
                    <a:pt x="3800" y="11736"/>
                  </a:cubicBezTo>
                  <a:cubicBezTo>
                    <a:pt x="2431" y="11736"/>
                    <a:pt x="1669" y="11411"/>
                    <a:pt x="1512" y="11280"/>
                  </a:cubicBezTo>
                  <a:cubicBezTo>
                    <a:pt x="1229" y="11028"/>
                    <a:pt x="914" y="9799"/>
                    <a:pt x="1071" y="8004"/>
                  </a:cubicBezTo>
                  <a:close/>
                  <a:moveTo>
                    <a:pt x="9132" y="0"/>
                  </a:moveTo>
                  <a:cubicBezTo>
                    <a:pt x="8355" y="0"/>
                    <a:pt x="7508" y="77"/>
                    <a:pt x="6742" y="222"/>
                  </a:cubicBezTo>
                  <a:cubicBezTo>
                    <a:pt x="5482" y="506"/>
                    <a:pt x="4411" y="978"/>
                    <a:pt x="3560" y="1640"/>
                  </a:cubicBezTo>
                  <a:cubicBezTo>
                    <a:pt x="1764" y="2931"/>
                    <a:pt x="756" y="4948"/>
                    <a:pt x="347" y="7090"/>
                  </a:cubicBezTo>
                  <a:lnTo>
                    <a:pt x="347" y="7122"/>
                  </a:lnTo>
                  <a:cubicBezTo>
                    <a:pt x="0" y="9012"/>
                    <a:pt x="189" y="10934"/>
                    <a:pt x="756" y="11721"/>
                  </a:cubicBezTo>
                  <a:cubicBezTo>
                    <a:pt x="882" y="11879"/>
                    <a:pt x="945" y="11942"/>
                    <a:pt x="1103" y="12036"/>
                  </a:cubicBezTo>
                  <a:cubicBezTo>
                    <a:pt x="1678" y="12389"/>
                    <a:pt x="2725" y="12556"/>
                    <a:pt x="3868" y="12556"/>
                  </a:cubicBezTo>
                  <a:cubicBezTo>
                    <a:pt x="4664" y="12556"/>
                    <a:pt x="5506" y="12475"/>
                    <a:pt x="6270" y="12320"/>
                  </a:cubicBezTo>
                  <a:cubicBezTo>
                    <a:pt x="8380" y="11879"/>
                    <a:pt x="9956" y="10776"/>
                    <a:pt x="11058" y="9295"/>
                  </a:cubicBezTo>
                  <a:cubicBezTo>
                    <a:pt x="13264" y="6302"/>
                    <a:pt x="13075" y="2018"/>
                    <a:pt x="12255" y="852"/>
                  </a:cubicBezTo>
                  <a:cubicBezTo>
                    <a:pt x="12129" y="695"/>
                    <a:pt x="11972" y="537"/>
                    <a:pt x="11657" y="411"/>
                  </a:cubicBezTo>
                  <a:cubicBezTo>
                    <a:pt x="11279" y="222"/>
                    <a:pt x="10712" y="159"/>
                    <a:pt x="10271" y="64"/>
                  </a:cubicBezTo>
                  <a:cubicBezTo>
                    <a:pt x="9925" y="21"/>
                    <a:pt x="9538" y="0"/>
                    <a:pt x="91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67" name="Google Shape;9267;p76"/>
          <p:cNvSpPr/>
          <p:nvPr/>
        </p:nvSpPr>
        <p:spPr>
          <a:xfrm>
            <a:off x="2174857" y="3829888"/>
            <a:ext cx="374649" cy="318104"/>
          </a:xfrm>
          <a:custGeom>
            <a:avLst/>
            <a:gdLst/>
            <a:ahLst/>
            <a:cxnLst/>
            <a:rect l="l" t="t" r="r" b="b"/>
            <a:pathLst>
              <a:path w="12728" h="10807" extrusionOk="0">
                <a:moveTo>
                  <a:pt x="11877" y="819"/>
                </a:moveTo>
                <a:lnTo>
                  <a:pt x="11877" y="2489"/>
                </a:lnTo>
                <a:lnTo>
                  <a:pt x="851" y="2489"/>
                </a:lnTo>
                <a:lnTo>
                  <a:pt x="851" y="819"/>
                </a:lnTo>
                <a:close/>
                <a:moveTo>
                  <a:pt x="3340" y="3308"/>
                </a:moveTo>
                <a:lnTo>
                  <a:pt x="3340" y="6616"/>
                </a:lnTo>
                <a:lnTo>
                  <a:pt x="2520" y="6616"/>
                </a:lnTo>
                <a:lnTo>
                  <a:pt x="2520" y="3308"/>
                </a:lnTo>
                <a:close/>
                <a:moveTo>
                  <a:pt x="6648" y="3308"/>
                </a:moveTo>
                <a:lnTo>
                  <a:pt x="6648" y="6616"/>
                </a:lnTo>
                <a:lnTo>
                  <a:pt x="5828" y="6616"/>
                </a:lnTo>
                <a:lnTo>
                  <a:pt x="5828" y="3308"/>
                </a:lnTo>
                <a:close/>
                <a:moveTo>
                  <a:pt x="10239" y="3308"/>
                </a:moveTo>
                <a:lnTo>
                  <a:pt x="10239" y="6616"/>
                </a:lnTo>
                <a:lnTo>
                  <a:pt x="9420" y="6616"/>
                </a:lnTo>
                <a:lnTo>
                  <a:pt x="9420" y="3308"/>
                </a:lnTo>
                <a:close/>
                <a:moveTo>
                  <a:pt x="1701" y="3308"/>
                </a:moveTo>
                <a:lnTo>
                  <a:pt x="1701" y="7026"/>
                </a:lnTo>
                <a:cubicBezTo>
                  <a:pt x="1701" y="7246"/>
                  <a:pt x="1890" y="7435"/>
                  <a:pt x="2111" y="7435"/>
                </a:cubicBezTo>
                <a:lnTo>
                  <a:pt x="2552" y="7435"/>
                </a:lnTo>
                <a:lnTo>
                  <a:pt x="2552" y="9924"/>
                </a:lnTo>
                <a:lnTo>
                  <a:pt x="851" y="9924"/>
                </a:lnTo>
                <a:lnTo>
                  <a:pt x="851" y="3308"/>
                </a:lnTo>
                <a:close/>
                <a:moveTo>
                  <a:pt x="5009" y="3308"/>
                </a:moveTo>
                <a:lnTo>
                  <a:pt x="5009" y="7026"/>
                </a:lnTo>
                <a:cubicBezTo>
                  <a:pt x="5009" y="7246"/>
                  <a:pt x="5198" y="7435"/>
                  <a:pt x="5387" y="7435"/>
                </a:cubicBezTo>
                <a:lnTo>
                  <a:pt x="5828" y="7435"/>
                </a:lnTo>
                <a:lnTo>
                  <a:pt x="5828" y="9924"/>
                </a:lnTo>
                <a:lnTo>
                  <a:pt x="3340" y="9924"/>
                </a:lnTo>
                <a:lnTo>
                  <a:pt x="3340" y="7435"/>
                </a:lnTo>
                <a:lnTo>
                  <a:pt x="3781" y="7435"/>
                </a:lnTo>
                <a:cubicBezTo>
                  <a:pt x="4001" y="7435"/>
                  <a:pt x="4159" y="7246"/>
                  <a:pt x="4159" y="7026"/>
                </a:cubicBezTo>
                <a:lnTo>
                  <a:pt x="4159" y="3308"/>
                </a:lnTo>
                <a:close/>
                <a:moveTo>
                  <a:pt x="8569" y="3308"/>
                </a:moveTo>
                <a:lnTo>
                  <a:pt x="8569" y="7026"/>
                </a:lnTo>
                <a:cubicBezTo>
                  <a:pt x="8569" y="7246"/>
                  <a:pt x="8790" y="7435"/>
                  <a:pt x="9010" y="7435"/>
                </a:cubicBezTo>
                <a:lnTo>
                  <a:pt x="9452" y="7435"/>
                </a:lnTo>
                <a:lnTo>
                  <a:pt x="9452" y="9924"/>
                </a:lnTo>
                <a:lnTo>
                  <a:pt x="6648" y="9924"/>
                </a:lnTo>
                <a:lnTo>
                  <a:pt x="6648" y="7435"/>
                </a:lnTo>
                <a:lnTo>
                  <a:pt x="7089" y="7435"/>
                </a:lnTo>
                <a:cubicBezTo>
                  <a:pt x="7309" y="7435"/>
                  <a:pt x="7467" y="7246"/>
                  <a:pt x="7467" y="7026"/>
                </a:cubicBezTo>
                <a:lnTo>
                  <a:pt x="7467" y="3308"/>
                </a:lnTo>
                <a:close/>
                <a:moveTo>
                  <a:pt x="11940" y="3308"/>
                </a:moveTo>
                <a:lnTo>
                  <a:pt x="11940" y="9924"/>
                </a:lnTo>
                <a:lnTo>
                  <a:pt x="10239" y="9924"/>
                </a:lnTo>
                <a:lnTo>
                  <a:pt x="10239" y="7435"/>
                </a:lnTo>
                <a:lnTo>
                  <a:pt x="10680" y="7435"/>
                </a:lnTo>
                <a:cubicBezTo>
                  <a:pt x="10901" y="7435"/>
                  <a:pt x="11090" y="7246"/>
                  <a:pt x="11090" y="7026"/>
                </a:cubicBezTo>
                <a:lnTo>
                  <a:pt x="11090" y="3308"/>
                </a:lnTo>
                <a:close/>
                <a:moveTo>
                  <a:pt x="441" y="0"/>
                </a:moveTo>
                <a:cubicBezTo>
                  <a:pt x="189" y="0"/>
                  <a:pt x="0" y="189"/>
                  <a:pt x="0" y="441"/>
                </a:cubicBezTo>
                <a:lnTo>
                  <a:pt x="0" y="10365"/>
                </a:lnTo>
                <a:cubicBezTo>
                  <a:pt x="0" y="10586"/>
                  <a:pt x="189" y="10806"/>
                  <a:pt x="441" y="10806"/>
                </a:cubicBezTo>
                <a:lnTo>
                  <a:pt x="12287" y="10806"/>
                </a:lnTo>
                <a:cubicBezTo>
                  <a:pt x="12508" y="10806"/>
                  <a:pt x="12728" y="10586"/>
                  <a:pt x="12728" y="10365"/>
                </a:cubicBezTo>
                <a:lnTo>
                  <a:pt x="12728" y="2930"/>
                </a:lnTo>
                <a:lnTo>
                  <a:pt x="12728" y="441"/>
                </a:lnTo>
                <a:cubicBezTo>
                  <a:pt x="12728" y="189"/>
                  <a:pt x="12508" y="0"/>
                  <a:pt x="122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76"/>
          <p:cNvSpPr/>
          <p:nvPr/>
        </p:nvSpPr>
        <p:spPr>
          <a:xfrm>
            <a:off x="3995440" y="3297221"/>
            <a:ext cx="290288" cy="375355"/>
          </a:xfrm>
          <a:custGeom>
            <a:avLst/>
            <a:gdLst/>
            <a:ahLst/>
            <a:cxnLst/>
            <a:rect l="l" t="t" r="r" b="b"/>
            <a:pathLst>
              <a:path w="9862" h="12752" extrusionOk="0">
                <a:moveTo>
                  <a:pt x="2395" y="1001"/>
                </a:moveTo>
                <a:lnTo>
                  <a:pt x="5042" y="3552"/>
                </a:lnTo>
                <a:lnTo>
                  <a:pt x="3971" y="4655"/>
                </a:lnTo>
                <a:lnTo>
                  <a:pt x="1356" y="2103"/>
                </a:lnTo>
                <a:lnTo>
                  <a:pt x="2395" y="1001"/>
                </a:lnTo>
                <a:close/>
                <a:moveTo>
                  <a:pt x="5640" y="4151"/>
                </a:moveTo>
                <a:lnTo>
                  <a:pt x="6302" y="4781"/>
                </a:lnTo>
                <a:lnTo>
                  <a:pt x="5231" y="5884"/>
                </a:lnTo>
                <a:lnTo>
                  <a:pt x="4569" y="5254"/>
                </a:lnTo>
                <a:lnTo>
                  <a:pt x="5640" y="4151"/>
                </a:lnTo>
                <a:close/>
                <a:moveTo>
                  <a:pt x="4443" y="8562"/>
                </a:moveTo>
                <a:cubicBezTo>
                  <a:pt x="4664" y="8562"/>
                  <a:pt x="4821" y="8688"/>
                  <a:pt x="4853" y="8845"/>
                </a:cubicBezTo>
                <a:cubicBezTo>
                  <a:pt x="4884" y="8908"/>
                  <a:pt x="4853" y="8877"/>
                  <a:pt x="4884" y="9790"/>
                </a:cubicBezTo>
                <a:lnTo>
                  <a:pt x="4884" y="10200"/>
                </a:lnTo>
                <a:lnTo>
                  <a:pt x="4065" y="10200"/>
                </a:lnTo>
                <a:lnTo>
                  <a:pt x="4065" y="9003"/>
                </a:lnTo>
                <a:cubicBezTo>
                  <a:pt x="4065" y="8751"/>
                  <a:pt x="4254" y="8562"/>
                  <a:pt x="4443" y="8562"/>
                </a:cubicBezTo>
                <a:close/>
                <a:moveTo>
                  <a:pt x="7814" y="10956"/>
                </a:moveTo>
                <a:cubicBezTo>
                  <a:pt x="8035" y="10956"/>
                  <a:pt x="8224" y="11145"/>
                  <a:pt x="8224" y="11366"/>
                </a:cubicBezTo>
                <a:lnTo>
                  <a:pt x="8224" y="11744"/>
                </a:lnTo>
                <a:lnTo>
                  <a:pt x="789" y="11870"/>
                </a:lnTo>
                <a:lnTo>
                  <a:pt x="789" y="11460"/>
                </a:lnTo>
                <a:cubicBezTo>
                  <a:pt x="789" y="11271"/>
                  <a:pt x="915" y="11114"/>
                  <a:pt x="1072" y="11082"/>
                </a:cubicBezTo>
                <a:cubicBezTo>
                  <a:pt x="1104" y="11066"/>
                  <a:pt x="1072" y="11066"/>
                  <a:pt x="1371" y="11066"/>
                </a:cubicBezTo>
                <a:cubicBezTo>
                  <a:pt x="1671" y="11066"/>
                  <a:pt x="2301" y="11066"/>
                  <a:pt x="3656" y="11051"/>
                </a:cubicBezTo>
                <a:cubicBezTo>
                  <a:pt x="3719" y="11051"/>
                  <a:pt x="5357" y="10988"/>
                  <a:pt x="5325" y="10988"/>
                </a:cubicBezTo>
                <a:cubicBezTo>
                  <a:pt x="5483" y="10988"/>
                  <a:pt x="7121" y="10956"/>
                  <a:pt x="7814" y="10956"/>
                </a:cubicBezTo>
                <a:close/>
                <a:moveTo>
                  <a:pt x="2427" y="0"/>
                </a:moveTo>
                <a:cubicBezTo>
                  <a:pt x="2324" y="0"/>
                  <a:pt x="2222" y="40"/>
                  <a:pt x="2143" y="118"/>
                </a:cubicBezTo>
                <a:lnTo>
                  <a:pt x="505" y="1820"/>
                </a:lnTo>
                <a:cubicBezTo>
                  <a:pt x="348" y="1977"/>
                  <a:pt x="348" y="2261"/>
                  <a:pt x="505" y="2418"/>
                </a:cubicBezTo>
                <a:lnTo>
                  <a:pt x="1608" y="3458"/>
                </a:lnTo>
                <a:cubicBezTo>
                  <a:pt x="726" y="4624"/>
                  <a:pt x="505" y="6104"/>
                  <a:pt x="946" y="7396"/>
                </a:cubicBezTo>
                <a:cubicBezTo>
                  <a:pt x="1356" y="8499"/>
                  <a:pt x="2175" y="9412"/>
                  <a:pt x="3277" y="9885"/>
                </a:cubicBezTo>
                <a:lnTo>
                  <a:pt x="3277" y="10263"/>
                </a:lnTo>
                <a:lnTo>
                  <a:pt x="1230" y="10294"/>
                </a:lnTo>
                <a:cubicBezTo>
                  <a:pt x="568" y="10294"/>
                  <a:pt x="1" y="10862"/>
                  <a:pt x="1" y="11555"/>
                </a:cubicBezTo>
                <a:lnTo>
                  <a:pt x="1" y="12374"/>
                </a:lnTo>
                <a:cubicBezTo>
                  <a:pt x="1" y="12594"/>
                  <a:pt x="222" y="12752"/>
                  <a:pt x="442" y="12752"/>
                </a:cubicBezTo>
                <a:lnTo>
                  <a:pt x="8728" y="12657"/>
                </a:lnTo>
                <a:cubicBezTo>
                  <a:pt x="8948" y="12657"/>
                  <a:pt x="9106" y="12437"/>
                  <a:pt x="9106" y="12216"/>
                </a:cubicBezTo>
                <a:lnTo>
                  <a:pt x="9106" y="11397"/>
                </a:lnTo>
                <a:cubicBezTo>
                  <a:pt x="9106" y="10704"/>
                  <a:pt x="8507" y="10168"/>
                  <a:pt x="7846" y="10168"/>
                </a:cubicBezTo>
                <a:lnTo>
                  <a:pt x="5798" y="10200"/>
                </a:lnTo>
                <a:lnTo>
                  <a:pt x="5798" y="10137"/>
                </a:lnTo>
                <a:cubicBezTo>
                  <a:pt x="7153" y="9853"/>
                  <a:pt x="8255" y="8908"/>
                  <a:pt x="8759" y="7680"/>
                </a:cubicBezTo>
                <a:lnTo>
                  <a:pt x="9452" y="7680"/>
                </a:lnTo>
                <a:cubicBezTo>
                  <a:pt x="9704" y="7680"/>
                  <a:pt x="9862" y="7491"/>
                  <a:pt x="9862" y="7270"/>
                </a:cubicBezTo>
                <a:cubicBezTo>
                  <a:pt x="9799" y="6986"/>
                  <a:pt x="9610" y="6797"/>
                  <a:pt x="9389" y="6797"/>
                </a:cubicBezTo>
                <a:lnTo>
                  <a:pt x="6901" y="6829"/>
                </a:lnTo>
                <a:cubicBezTo>
                  <a:pt x="6649" y="6829"/>
                  <a:pt x="6491" y="7018"/>
                  <a:pt x="6491" y="7270"/>
                </a:cubicBezTo>
                <a:cubicBezTo>
                  <a:pt x="6491" y="7491"/>
                  <a:pt x="6712" y="7648"/>
                  <a:pt x="6932" y="7648"/>
                </a:cubicBezTo>
                <a:lnTo>
                  <a:pt x="7751" y="7648"/>
                </a:lnTo>
                <a:cubicBezTo>
                  <a:pt x="7342" y="8436"/>
                  <a:pt x="6586" y="9003"/>
                  <a:pt x="5703" y="9223"/>
                </a:cubicBezTo>
                <a:lnTo>
                  <a:pt x="5703" y="8908"/>
                </a:lnTo>
                <a:cubicBezTo>
                  <a:pt x="5703" y="8341"/>
                  <a:pt x="5357" y="7900"/>
                  <a:pt x="4821" y="7711"/>
                </a:cubicBezTo>
                <a:cubicBezTo>
                  <a:pt x="4709" y="7680"/>
                  <a:pt x="4598" y="7665"/>
                  <a:pt x="4488" y="7665"/>
                </a:cubicBezTo>
                <a:cubicBezTo>
                  <a:pt x="3826" y="7665"/>
                  <a:pt x="3246" y="8205"/>
                  <a:pt x="3246" y="8908"/>
                </a:cubicBezTo>
                <a:cubicBezTo>
                  <a:pt x="1450" y="7932"/>
                  <a:pt x="1041" y="5569"/>
                  <a:pt x="2206" y="4025"/>
                </a:cubicBezTo>
                <a:lnTo>
                  <a:pt x="2206" y="4025"/>
                </a:lnTo>
                <a:lnTo>
                  <a:pt x="5010" y="6734"/>
                </a:lnTo>
                <a:cubicBezTo>
                  <a:pt x="5089" y="6813"/>
                  <a:pt x="5199" y="6853"/>
                  <a:pt x="5310" y="6853"/>
                </a:cubicBezTo>
                <a:cubicBezTo>
                  <a:pt x="5420" y="6853"/>
                  <a:pt x="5530" y="6813"/>
                  <a:pt x="5609" y="6734"/>
                </a:cubicBezTo>
                <a:lnTo>
                  <a:pt x="7216" y="5033"/>
                </a:lnTo>
                <a:cubicBezTo>
                  <a:pt x="7373" y="4876"/>
                  <a:pt x="7373" y="4624"/>
                  <a:pt x="7216" y="4466"/>
                </a:cubicBezTo>
                <a:lnTo>
                  <a:pt x="5955" y="3237"/>
                </a:lnTo>
                <a:lnTo>
                  <a:pt x="2710" y="118"/>
                </a:lnTo>
                <a:cubicBezTo>
                  <a:pt x="2632" y="40"/>
                  <a:pt x="2529"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69" name="Google Shape;9269;p76"/>
          <p:cNvGrpSpPr/>
          <p:nvPr/>
        </p:nvGrpSpPr>
        <p:grpSpPr>
          <a:xfrm>
            <a:off x="1659816" y="1534087"/>
            <a:ext cx="380241" cy="371793"/>
            <a:chOff x="-42430625" y="1949750"/>
            <a:chExt cx="322950" cy="315775"/>
          </a:xfrm>
        </p:grpSpPr>
        <p:sp>
          <p:nvSpPr>
            <p:cNvPr id="9270" name="Google Shape;9270;p76"/>
            <p:cNvSpPr/>
            <p:nvPr/>
          </p:nvSpPr>
          <p:spPr>
            <a:xfrm>
              <a:off x="-423534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1" name="Google Shape;9271;p76"/>
            <p:cNvSpPr/>
            <p:nvPr/>
          </p:nvSpPr>
          <p:spPr>
            <a:xfrm>
              <a:off x="-422896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92" y="1639"/>
                    <a:pt x="1639" y="1293"/>
                    <a:pt x="1639" y="820"/>
                  </a:cubicBezTo>
                  <a:cubicBezTo>
                    <a:pt x="1639" y="379"/>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2" name="Google Shape;9272;p76"/>
            <p:cNvSpPr/>
            <p:nvPr/>
          </p:nvSpPr>
          <p:spPr>
            <a:xfrm>
              <a:off x="-42226625" y="2065525"/>
              <a:ext cx="40975" cy="41000"/>
            </a:xfrm>
            <a:custGeom>
              <a:avLst/>
              <a:gdLst/>
              <a:ahLst/>
              <a:cxnLst/>
              <a:rect l="l" t="t" r="r" b="b"/>
              <a:pathLst>
                <a:path w="1639" h="1640" extrusionOk="0">
                  <a:moveTo>
                    <a:pt x="819" y="1"/>
                  </a:moveTo>
                  <a:cubicBezTo>
                    <a:pt x="378" y="1"/>
                    <a:pt x="0" y="379"/>
                    <a:pt x="0" y="820"/>
                  </a:cubicBezTo>
                  <a:cubicBezTo>
                    <a:pt x="0" y="1293"/>
                    <a:pt x="378" y="1639"/>
                    <a:pt x="819" y="1639"/>
                  </a:cubicBezTo>
                  <a:cubicBezTo>
                    <a:pt x="1292" y="1639"/>
                    <a:pt x="1638" y="1293"/>
                    <a:pt x="1638" y="820"/>
                  </a:cubicBezTo>
                  <a:cubicBezTo>
                    <a:pt x="1638" y="379"/>
                    <a:pt x="1292"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3" name="Google Shape;9273;p76"/>
            <p:cNvSpPr/>
            <p:nvPr/>
          </p:nvSpPr>
          <p:spPr>
            <a:xfrm>
              <a:off x="-42430625" y="1949750"/>
              <a:ext cx="322950" cy="315775"/>
            </a:xfrm>
            <a:custGeom>
              <a:avLst/>
              <a:gdLst/>
              <a:ahLst/>
              <a:cxnLst/>
              <a:rect l="l" t="t" r="r" b="b"/>
              <a:pathLst>
                <a:path w="12918" h="12631" extrusionOk="0">
                  <a:moveTo>
                    <a:pt x="6427" y="757"/>
                  </a:moveTo>
                  <a:cubicBezTo>
                    <a:pt x="8790" y="757"/>
                    <a:pt x="10712" y="2017"/>
                    <a:pt x="11500" y="3655"/>
                  </a:cubicBezTo>
                  <a:cubicBezTo>
                    <a:pt x="12098" y="4821"/>
                    <a:pt x="12098" y="6081"/>
                    <a:pt x="11500" y="7215"/>
                  </a:cubicBezTo>
                  <a:cubicBezTo>
                    <a:pt x="10679" y="8857"/>
                    <a:pt x="8789" y="10067"/>
                    <a:pt x="6472" y="10067"/>
                  </a:cubicBezTo>
                  <a:cubicBezTo>
                    <a:pt x="6210" y="10067"/>
                    <a:pt x="5943" y="10051"/>
                    <a:pt x="5671" y="10019"/>
                  </a:cubicBezTo>
                  <a:cubicBezTo>
                    <a:pt x="5545" y="10019"/>
                    <a:pt x="5451" y="10051"/>
                    <a:pt x="5325" y="10145"/>
                  </a:cubicBezTo>
                  <a:lnTo>
                    <a:pt x="4285" y="11153"/>
                  </a:lnTo>
                  <a:lnTo>
                    <a:pt x="4285" y="9988"/>
                  </a:lnTo>
                  <a:cubicBezTo>
                    <a:pt x="4285" y="9830"/>
                    <a:pt x="4190" y="9673"/>
                    <a:pt x="4033" y="9578"/>
                  </a:cubicBezTo>
                  <a:cubicBezTo>
                    <a:pt x="3088" y="9200"/>
                    <a:pt x="2300" y="8602"/>
                    <a:pt x="1796" y="7908"/>
                  </a:cubicBezTo>
                  <a:cubicBezTo>
                    <a:pt x="0" y="5577"/>
                    <a:pt x="1071" y="2458"/>
                    <a:pt x="4033" y="1229"/>
                  </a:cubicBezTo>
                  <a:cubicBezTo>
                    <a:pt x="4726" y="914"/>
                    <a:pt x="5545" y="757"/>
                    <a:pt x="6427" y="757"/>
                  </a:cubicBezTo>
                  <a:close/>
                  <a:moveTo>
                    <a:pt x="6427" y="1"/>
                  </a:moveTo>
                  <a:cubicBezTo>
                    <a:pt x="2962" y="1"/>
                    <a:pt x="126" y="2427"/>
                    <a:pt x="126" y="5451"/>
                  </a:cubicBezTo>
                  <a:cubicBezTo>
                    <a:pt x="126" y="7593"/>
                    <a:pt x="1544" y="9389"/>
                    <a:pt x="3497" y="10303"/>
                  </a:cubicBezTo>
                  <a:lnTo>
                    <a:pt x="3497" y="12193"/>
                  </a:lnTo>
                  <a:cubicBezTo>
                    <a:pt x="3497" y="12319"/>
                    <a:pt x="3560" y="12477"/>
                    <a:pt x="3655" y="12540"/>
                  </a:cubicBezTo>
                  <a:cubicBezTo>
                    <a:pt x="3729" y="12599"/>
                    <a:pt x="3825" y="12631"/>
                    <a:pt x="3921" y="12631"/>
                  </a:cubicBezTo>
                  <a:cubicBezTo>
                    <a:pt x="4029" y="12631"/>
                    <a:pt x="4139" y="12591"/>
                    <a:pt x="4222" y="12508"/>
                  </a:cubicBezTo>
                  <a:lnTo>
                    <a:pt x="5829" y="10901"/>
                  </a:lnTo>
                  <a:cubicBezTo>
                    <a:pt x="6063" y="10925"/>
                    <a:pt x="6295" y="10936"/>
                    <a:pt x="6524" y="10936"/>
                  </a:cubicBezTo>
                  <a:cubicBezTo>
                    <a:pt x="9075" y="10936"/>
                    <a:pt x="11304" y="9530"/>
                    <a:pt x="12287" y="7593"/>
                  </a:cubicBezTo>
                  <a:cubicBezTo>
                    <a:pt x="12917" y="6239"/>
                    <a:pt x="12917" y="4663"/>
                    <a:pt x="12256" y="3309"/>
                  </a:cubicBezTo>
                  <a:cubicBezTo>
                    <a:pt x="11311" y="1324"/>
                    <a:pt x="9074" y="1"/>
                    <a:pt x="6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74" name="Google Shape;9274;p76"/>
          <p:cNvSpPr/>
          <p:nvPr/>
        </p:nvSpPr>
        <p:spPr>
          <a:xfrm>
            <a:off x="1719036" y="1981654"/>
            <a:ext cx="324609" cy="372824"/>
          </a:xfrm>
          <a:custGeom>
            <a:avLst/>
            <a:gdLst/>
            <a:ahLst/>
            <a:cxnLst/>
            <a:rect l="l" t="t" r="r" b="b"/>
            <a:pathLst>
              <a:path w="11028" h="12666" extrusionOk="0">
                <a:moveTo>
                  <a:pt x="8538" y="820"/>
                </a:moveTo>
                <a:lnTo>
                  <a:pt x="8538" y="2710"/>
                </a:lnTo>
                <a:lnTo>
                  <a:pt x="8412" y="2584"/>
                </a:lnTo>
                <a:cubicBezTo>
                  <a:pt x="8333" y="2505"/>
                  <a:pt x="8223" y="2466"/>
                  <a:pt x="8113" y="2466"/>
                </a:cubicBezTo>
                <a:cubicBezTo>
                  <a:pt x="8003" y="2466"/>
                  <a:pt x="7892" y="2505"/>
                  <a:pt x="7814" y="2584"/>
                </a:cubicBezTo>
                <a:lnTo>
                  <a:pt x="7719" y="2710"/>
                </a:lnTo>
                <a:lnTo>
                  <a:pt x="7719" y="820"/>
                </a:lnTo>
                <a:close/>
                <a:moveTo>
                  <a:pt x="10177" y="820"/>
                </a:moveTo>
                <a:lnTo>
                  <a:pt x="10177" y="9357"/>
                </a:lnTo>
                <a:lnTo>
                  <a:pt x="2458" y="9357"/>
                </a:lnTo>
                <a:lnTo>
                  <a:pt x="2458" y="820"/>
                </a:lnTo>
                <a:lnTo>
                  <a:pt x="6869" y="820"/>
                </a:lnTo>
                <a:lnTo>
                  <a:pt x="6869" y="3687"/>
                </a:lnTo>
                <a:cubicBezTo>
                  <a:pt x="6869" y="3813"/>
                  <a:pt x="6932" y="3970"/>
                  <a:pt x="7026" y="4033"/>
                </a:cubicBezTo>
                <a:cubicBezTo>
                  <a:pt x="7100" y="4093"/>
                  <a:pt x="7196" y="4124"/>
                  <a:pt x="7292" y="4124"/>
                </a:cubicBezTo>
                <a:cubicBezTo>
                  <a:pt x="7400" y="4124"/>
                  <a:pt x="7510" y="4085"/>
                  <a:pt x="7593" y="4002"/>
                </a:cubicBezTo>
                <a:lnTo>
                  <a:pt x="8129" y="3466"/>
                </a:lnTo>
                <a:lnTo>
                  <a:pt x="8664" y="3970"/>
                </a:lnTo>
                <a:cubicBezTo>
                  <a:pt x="8719" y="4024"/>
                  <a:pt x="8844" y="4102"/>
                  <a:pt x="8958" y="4102"/>
                </a:cubicBezTo>
                <a:cubicBezTo>
                  <a:pt x="8976" y="4102"/>
                  <a:pt x="8994" y="4100"/>
                  <a:pt x="9011" y="4096"/>
                </a:cubicBezTo>
                <a:cubicBezTo>
                  <a:pt x="9200" y="4033"/>
                  <a:pt x="9357" y="3876"/>
                  <a:pt x="9357" y="3687"/>
                </a:cubicBezTo>
                <a:lnTo>
                  <a:pt x="9357" y="820"/>
                </a:lnTo>
                <a:close/>
                <a:moveTo>
                  <a:pt x="1639" y="851"/>
                </a:moveTo>
                <a:lnTo>
                  <a:pt x="1639" y="9326"/>
                </a:lnTo>
                <a:cubicBezTo>
                  <a:pt x="1355" y="9326"/>
                  <a:pt x="1103" y="9389"/>
                  <a:pt x="820" y="9546"/>
                </a:cubicBezTo>
                <a:lnTo>
                  <a:pt x="820" y="2017"/>
                </a:lnTo>
                <a:cubicBezTo>
                  <a:pt x="820" y="1481"/>
                  <a:pt x="1166" y="1040"/>
                  <a:pt x="1639" y="851"/>
                </a:cubicBezTo>
                <a:close/>
                <a:moveTo>
                  <a:pt x="10145" y="10177"/>
                </a:moveTo>
                <a:lnTo>
                  <a:pt x="10145" y="11846"/>
                </a:lnTo>
                <a:lnTo>
                  <a:pt x="1639" y="11846"/>
                </a:lnTo>
                <a:cubicBezTo>
                  <a:pt x="1166" y="11846"/>
                  <a:pt x="820" y="11500"/>
                  <a:pt x="820" y="11027"/>
                </a:cubicBezTo>
                <a:cubicBezTo>
                  <a:pt x="820" y="10555"/>
                  <a:pt x="1166" y="10177"/>
                  <a:pt x="1639" y="10177"/>
                </a:cubicBezTo>
                <a:close/>
                <a:moveTo>
                  <a:pt x="1985" y="0"/>
                </a:moveTo>
                <a:cubicBezTo>
                  <a:pt x="851" y="32"/>
                  <a:pt x="0" y="946"/>
                  <a:pt x="0" y="2017"/>
                </a:cubicBezTo>
                <a:lnTo>
                  <a:pt x="0" y="11027"/>
                </a:lnTo>
                <a:cubicBezTo>
                  <a:pt x="0" y="11909"/>
                  <a:pt x="725" y="12665"/>
                  <a:pt x="1639" y="12665"/>
                </a:cubicBezTo>
                <a:lnTo>
                  <a:pt x="10618" y="12665"/>
                </a:lnTo>
                <a:cubicBezTo>
                  <a:pt x="10870" y="12665"/>
                  <a:pt x="11027" y="12476"/>
                  <a:pt x="11027" y="12224"/>
                </a:cubicBezTo>
                <a:lnTo>
                  <a:pt x="11027" y="379"/>
                </a:lnTo>
                <a:cubicBezTo>
                  <a:pt x="11027" y="189"/>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5" name="Google Shape;9275;p76"/>
          <p:cNvSpPr/>
          <p:nvPr/>
        </p:nvSpPr>
        <p:spPr>
          <a:xfrm>
            <a:off x="1696509" y="2414097"/>
            <a:ext cx="370057" cy="372647"/>
          </a:xfrm>
          <a:custGeom>
            <a:avLst/>
            <a:gdLst/>
            <a:ahLst/>
            <a:cxnLst/>
            <a:rect l="l" t="t" r="r" b="b"/>
            <a:pathLst>
              <a:path w="12572" h="12660" extrusionOk="0">
                <a:moveTo>
                  <a:pt x="2773" y="840"/>
                </a:moveTo>
                <a:cubicBezTo>
                  <a:pt x="3025" y="840"/>
                  <a:pt x="3183" y="1061"/>
                  <a:pt x="3183" y="1250"/>
                </a:cubicBezTo>
                <a:lnTo>
                  <a:pt x="3183" y="2888"/>
                </a:lnTo>
                <a:cubicBezTo>
                  <a:pt x="3183" y="3140"/>
                  <a:pt x="2962" y="3298"/>
                  <a:pt x="2773" y="3298"/>
                </a:cubicBezTo>
                <a:cubicBezTo>
                  <a:pt x="2553" y="3298"/>
                  <a:pt x="2395" y="3109"/>
                  <a:pt x="2332" y="2888"/>
                </a:cubicBezTo>
                <a:lnTo>
                  <a:pt x="2332" y="1250"/>
                </a:lnTo>
                <a:cubicBezTo>
                  <a:pt x="2332" y="998"/>
                  <a:pt x="2553" y="840"/>
                  <a:pt x="2773" y="840"/>
                </a:cubicBezTo>
                <a:close/>
                <a:moveTo>
                  <a:pt x="9673" y="840"/>
                </a:moveTo>
                <a:cubicBezTo>
                  <a:pt x="9925" y="840"/>
                  <a:pt x="10082" y="1061"/>
                  <a:pt x="10082" y="1250"/>
                </a:cubicBezTo>
                <a:lnTo>
                  <a:pt x="10082" y="2888"/>
                </a:lnTo>
                <a:cubicBezTo>
                  <a:pt x="10082" y="3140"/>
                  <a:pt x="9862" y="3298"/>
                  <a:pt x="9673" y="3298"/>
                </a:cubicBezTo>
                <a:cubicBezTo>
                  <a:pt x="9452" y="3298"/>
                  <a:pt x="9295" y="3109"/>
                  <a:pt x="9232" y="2888"/>
                </a:cubicBezTo>
                <a:lnTo>
                  <a:pt x="9232" y="1250"/>
                </a:lnTo>
                <a:cubicBezTo>
                  <a:pt x="9232" y="998"/>
                  <a:pt x="9452" y="840"/>
                  <a:pt x="9673" y="840"/>
                </a:cubicBezTo>
                <a:close/>
                <a:moveTo>
                  <a:pt x="11374" y="2479"/>
                </a:moveTo>
                <a:cubicBezTo>
                  <a:pt x="11469" y="2479"/>
                  <a:pt x="11595" y="2542"/>
                  <a:pt x="11689" y="2668"/>
                </a:cubicBezTo>
                <a:cubicBezTo>
                  <a:pt x="11752" y="2794"/>
                  <a:pt x="11721" y="2857"/>
                  <a:pt x="11721" y="2983"/>
                </a:cubicBezTo>
                <a:lnTo>
                  <a:pt x="11721" y="4936"/>
                </a:lnTo>
                <a:lnTo>
                  <a:pt x="694" y="4936"/>
                </a:lnTo>
                <a:lnTo>
                  <a:pt x="694" y="2983"/>
                </a:lnTo>
                <a:cubicBezTo>
                  <a:pt x="694" y="2857"/>
                  <a:pt x="694" y="2794"/>
                  <a:pt x="725" y="2668"/>
                </a:cubicBezTo>
                <a:cubicBezTo>
                  <a:pt x="820" y="2542"/>
                  <a:pt x="946" y="2479"/>
                  <a:pt x="1040" y="2479"/>
                </a:cubicBezTo>
                <a:lnTo>
                  <a:pt x="1513" y="2479"/>
                </a:lnTo>
                <a:lnTo>
                  <a:pt x="1513" y="2888"/>
                </a:lnTo>
                <a:cubicBezTo>
                  <a:pt x="1513" y="3614"/>
                  <a:pt x="2132" y="4133"/>
                  <a:pt x="2803" y="4133"/>
                </a:cubicBezTo>
                <a:cubicBezTo>
                  <a:pt x="2919" y="4133"/>
                  <a:pt x="3036" y="4118"/>
                  <a:pt x="3151" y="4085"/>
                </a:cubicBezTo>
                <a:cubicBezTo>
                  <a:pt x="3655" y="3928"/>
                  <a:pt x="4002" y="3455"/>
                  <a:pt x="4002" y="2888"/>
                </a:cubicBezTo>
                <a:lnTo>
                  <a:pt x="4002" y="2479"/>
                </a:lnTo>
                <a:lnTo>
                  <a:pt x="8413" y="2479"/>
                </a:lnTo>
                <a:lnTo>
                  <a:pt x="8413" y="2888"/>
                </a:lnTo>
                <a:cubicBezTo>
                  <a:pt x="8413" y="3455"/>
                  <a:pt x="8759" y="3928"/>
                  <a:pt x="9263" y="4085"/>
                </a:cubicBezTo>
                <a:cubicBezTo>
                  <a:pt x="9379" y="4118"/>
                  <a:pt x="9496" y="4133"/>
                  <a:pt x="9612" y="4133"/>
                </a:cubicBezTo>
                <a:cubicBezTo>
                  <a:pt x="10282" y="4133"/>
                  <a:pt x="10902" y="3614"/>
                  <a:pt x="10902" y="2888"/>
                </a:cubicBezTo>
                <a:lnTo>
                  <a:pt x="10902" y="2479"/>
                </a:lnTo>
                <a:close/>
                <a:moveTo>
                  <a:pt x="11721" y="5787"/>
                </a:moveTo>
                <a:lnTo>
                  <a:pt x="11721" y="11457"/>
                </a:lnTo>
                <a:cubicBezTo>
                  <a:pt x="11721" y="11678"/>
                  <a:pt x="11532" y="11835"/>
                  <a:pt x="11280" y="11867"/>
                </a:cubicBezTo>
                <a:lnTo>
                  <a:pt x="1072" y="11867"/>
                </a:lnTo>
                <a:cubicBezTo>
                  <a:pt x="851" y="11867"/>
                  <a:pt x="694" y="11678"/>
                  <a:pt x="694" y="11457"/>
                </a:cubicBezTo>
                <a:lnTo>
                  <a:pt x="694" y="5787"/>
                </a:lnTo>
                <a:close/>
                <a:moveTo>
                  <a:pt x="2825" y="1"/>
                </a:moveTo>
                <a:cubicBezTo>
                  <a:pt x="2180" y="1"/>
                  <a:pt x="1608" y="526"/>
                  <a:pt x="1608" y="1250"/>
                </a:cubicBezTo>
                <a:lnTo>
                  <a:pt x="1608" y="1691"/>
                </a:lnTo>
                <a:lnTo>
                  <a:pt x="1135" y="1691"/>
                </a:lnTo>
                <a:cubicBezTo>
                  <a:pt x="851" y="1691"/>
                  <a:pt x="568" y="1785"/>
                  <a:pt x="379" y="2006"/>
                </a:cubicBezTo>
                <a:cubicBezTo>
                  <a:pt x="158" y="2227"/>
                  <a:pt x="1" y="2542"/>
                  <a:pt x="1" y="2888"/>
                </a:cubicBezTo>
                <a:lnTo>
                  <a:pt x="1" y="11457"/>
                </a:lnTo>
                <a:cubicBezTo>
                  <a:pt x="1" y="12087"/>
                  <a:pt x="486" y="12659"/>
                  <a:pt x="1102" y="12659"/>
                </a:cubicBezTo>
                <a:cubicBezTo>
                  <a:pt x="1134" y="12659"/>
                  <a:pt x="1166" y="12658"/>
                  <a:pt x="1198" y="12655"/>
                </a:cubicBezTo>
                <a:lnTo>
                  <a:pt x="11311" y="12655"/>
                </a:lnTo>
                <a:cubicBezTo>
                  <a:pt x="12004" y="12655"/>
                  <a:pt x="12571" y="12119"/>
                  <a:pt x="12571" y="11457"/>
                </a:cubicBezTo>
                <a:lnTo>
                  <a:pt x="12571" y="2888"/>
                </a:lnTo>
                <a:cubicBezTo>
                  <a:pt x="12571" y="2542"/>
                  <a:pt x="12414" y="2227"/>
                  <a:pt x="12193" y="2006"/>
                </a:cubicBezTo>
                <a:cubicBezTo>
                  <a:pt x="12004" y="1785"/>
                  <a:pt x="11721" y="1691"/>
                  <a:pt x="11437" y="1691"/>
                </a:cubicBezTo>
                <a:lnTo>
                  <a:pt x="10965" y="1691"/>
                </a:lnTo>
                <a:lnTo>
                  <a:pt x="10965" y="1250"/>
                </a:lnTo>
                <a:cubicBezTo>
                  <a:pt x="10965" y="526"/>
                  <a:pt x="10392" y="1"/>
                  <a:pt x="9747" y="1"/>
                </a:cubicBezTo>
                <a:cubicBezTo>
                  <a:pt x="9577" y="1"/>
                  <a:pt x="9402" y="37"/>
                  <a:pt x="9232" y="116"/>
                </a:cubicBezTo>
                <a:cubicBezTo>
                  <a:pt x="8759" y="305"/>
                  <a:pt x="8507" y="746"/>
                  <a:pt x="8507" y="1250"/>
                </a:cubicBezTo>
                <a:lnTo>
                  <a:pt x="8507" y="1691"/>
                </a:lnTo>
                <a:lnTo>
                  <a:pt x="4096" y="1691"/>
                </a:lnTo>
                <a:lnTo>
                  <a:pt x="4096" y="1250"/>
                </a:lnTo>
                <a:cubicBezTo>
                  <a:pt x="4096" y="746"/>
                  <a:pt x="3781" y="305"/>
                  <a:pt x="3340" y="116"/>
                </a:cubicBezTo>
                <a:cubicBezTo>
                  <a:pt x="3170" y="37"/>
                  <a:pt x="2995"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6" name="Google Shape;9276;p76"/>
          <p:cNvSpPr/>
          <p:nvPr/>
        </p:nvSpPr>
        <p:spPr>
          <a:xfrm>
            <a:off x="3917021" y="1568326"/>
            <a:ext cx="373766" cy="340357"/>
          </a:xfrm>
          <a:custGeom>
            <a:avLst/>
            <a:gdLst/>
            <a:ahLst/>
            <a:cxnLst/>
            <a:rect l="l" t="t" r="r" b="b"/>
            <a:pathLst>
              <a:path w="12698" h="11563" extrusionOk="0">
                <a:moveTo>
                  <a:pt x="2490" y="820"/>
                </a:moveTo>
                <a:cubicBezTo>
                  <a:pt x="3529" y="914"/>
                  <a:pt x="4600" y="1292"/>
                  <a:pt x="5483" y="2017"/>
                </a:cubicBezTo>
                <a:lnTo>
                  <a:pt x="5798" y="2237"/>
                </a:lnTo>
                <a:lnTo>
                  <a:pt x="5798" y="10334"/>
                </a:lnTo>
                <a:lnTo>
                  <a:pt x="5766" y="10334"/>
                </a:lnTo>
                <a:cubicBezTo>
                  <a:pt x="4789" y="9609"/>
                  <a:pt x="3655" y="9168"/>
                  <a:pt x="2490" y="9105"/>
                </a:cubicBezTo>
                <a:lnTo>
                  <a:pt x="2490" y="820"/>
                </a:lnTo>
                <a:close/>
                <a:moveTo>
                  <a:pt x="9925" y="883"/>
                </a:moveTo>
                <a:lnTo>
                  <a:pt x="9925" y="9137"/>
                </a:lnTo>
                <a:cubicBezTo>
                  <a:pt x="8728" y="9200"/>
                  <a:pt x="7593" y="9609"/>
                  <a:pt x="6617" y="10334"/>
                </a:cubicBezTo>
                <a:lnTo>
                  <a:pt x="6617" y="2300"/>
                </a:lnTo>
                <a:lnTo>
                  <a:pt x="6932" y="2048"/>
                </a:lnTo>
                <a:cubicBezTo>
                  <a:pt x="7782" y="1355"/>
                  <a:pt x="8854" y="946"/>
                  <a:pt x="9925" y="883"/>
                </a:cubicBezTo>
                <a:close/>
                <a:moveTo>
                  <a:pt x="1702" y="2458"/>
                </a:moveTo>
                <a:lnTo>
                  <a:pt x="1702" y="9483"/>
                </a:lnTo>
                <a:cubicBezTo>
                  <a:pt x="1702" y="9735"/>
                  <a:pt x="1891" y="9924"/>
                  <a:pt x="2080" y="9924"/>
                </a:cubicBezTo>
                <a:cubicBezTo>
                  <a:pt x="3057" y="9924"/>
                  <a:pt x="4096" y="10208"/>
                  <a:pt x="4978" y="10744"/>
                </a:cubicBezTo>
                <a:lnTo>
                  <a:pt x="1261" y="10744"/>
                </a:lnTo>
                <a:cubicBezTo>
                  <a:pt x="1009" y="10744"/>
                  <a:pt x="851" y="10555"/>
                  <a:pt x="851" y="10334"/>
                </a:cubicBezTo>
                <a:lnTo>
                  <a:pt x="851" y="2867"/>
                </a:lnTo>
                <a:cubicBezTo>
                  <a:pt x="851" y="2647"/>
                  <a:pt x="1040" y="2489"/>
                  <a:pt x="1261" y="2458"/>
                </a:cubicBezTo>
                <a:close/>
                <a:moveTo>
                  <a:pt x="11406" y="2458"/>
                </a:moveTo>
                <a:cubicBezTo>
                  <a:pt x="11658" y="2458"/>
                  <a:pt x="11815" y="2647"/>
                  <a:pt x="11847" y="2867"/>
                </a:cubicBezTo>
                <a:lnTo>
                  <a:pt x="11847" y="10334"/>
                </a:lnTo>
                <a:cubicBezTo>
                  <a:pt x="11847" y="10555"/>
                  <a:pt x="11658" y="10712"/>
                  <a:pt x="11406" y="10744"/>
                </a:cubicBezTo>
                <a:lnTo>
                  <a:pt x="7436" y="10744"/>
                </a:lnTo>
                <a:cubicBezTo>
                  <a:pt x="8255" y="10239"/>
                  <a:pt x="9295" y="9924"/>
                  <a:pt x="10303" y="9924"/>
                </a:cubicBezTo>
                <a:cubicBezTo>
                  <a:pt x="10555" y="9924"/>
                  <a:pt x="10712" y="9735"/>
                  <a:pt x="10712" y="9483"/>
                </a:cubicBezTo>
                <a:lnTo>
                  <a:pt x="10712" y="2458"/>
                </a:lnTo>
                <a:close/>
                <a:moveTo>
                  <a:pt x="2080" y="0"/>
                </a:moveTo>
                <a:cubicBezTo>
                  <a:pt x="1828" y="0"/>
                  <a:pt x="1670" y="189"/>
                  <a:pt x="1670" y="410"/>
                </a:cubicBezTo>
                <a:lnTo>
                  <a:pt x="1670" y="1670"/>
                </a:lnTo>
                <a:lnTo>
                  <a:pt x="1261" y="1670"/>
                </a:lnTo>
                <a:cubicBezTo>
                  <a:pt x="568" y="1670"/>
                  <a:pt x="1" y="2206"/>
                  <a:pt x="32" y="2930"/>
                </a:cubicBezTo>
                <a:lnTo>
                  <a:pt x="32" y="10334"/>
                </a:lnTo>
                <a:cubicBezTo>
                  <a:pt x="32" y="10996"/>
                  <a:pt x="568" y="11563"/>
                  <a:pt x="1261" y="11563"/>
                </a:cubicBezTo>
                <a:lnTo>
                  <a:pt x="11437" y="11563"/>
                </a:lnTo>
                <a:cubicBezTo>
                  <a:pt x="12130" y="11563"/>
                  <a:pt x="12697" y="11027"/>
                  <a:pt x="12697" y="10334"/>
                </a:cubicBezTo>
                <a:lnTo>
                  <a:pt x="12697" y="2867"/>
                </a:lnTo>
                <a:cubicBezTo>
                  <a:pt x="12666" y="2206"/>
                  <a:pt x="12130" y="1670"/>
                  <a:pt x="11437" y="1670"/>
                </a:cubicBezTo>
                <a:lnTo>
                  <a:pt x="10744" y="1670"/>
                </a:lnTo>
                <a:lnTo>
                  <a:pt x="10744" y="410"/>
                </a:lnTo>
                <a:cubicBezTo>
                  <a:pt x="10744" y="158"/>
                  <a:pt x="10555" y="0"/>
                  <a:pt x="10334" y="0"/>
                </a:cubicBezTo>
                <a:cubicBezTo>
                  <a:pt x="8980" y="0"/>
                  <a:pt x="7562" y="473"/>
                  <a:pt x="6396" y="1387"/>
                </a:cubicBezTo>
                <a:lnTo>
                  <a:pt x="6207" y="1544"/>
                </a:lnTo>
                <a:lnTo>
                  <a:pt x="6018" y="1387"/>
                </a:lnTo>
                <a:cubicBezTo>
                  <a:pt x="4915" y="473"/>
                  <a:pt x="3498"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76"/>
          <p:cNvSpPr/>
          <p:nvPr/>
        </p:nvSpPr>
        <p:spPr>
          <a:xfrm>
            <a:off x="3936416" y="2007614"/>
            <a:ext cx="379329" cy="373766"/>
          </a:xfrm>
          <a:custGeom>
            <a:avLst/>
            <a:gdLst/>
            <a:ahLst/>
            <a:cxnLst/>
            <a:rect l="l" t="t" r="r" b="b"/>
            <a:pathLst>
              <a:path w="12887" h="12698" extrusionOk="0">
                <a:moveTo>
                  <a:pt x="7814" y="3309"/>
                </a:moveTo>
                <a:cubicBezTo>
                  <a:pt x="7782" y="3592"/>
                  <a:pt x="7782" y="3907"/>
                  <a:pt x="7814" y="4159"/>
                </a:cubicBezTo>
                <a:lnTo>
                  <a:pt x="4947" y="4159"/>
                </a:lnTo>
                <a:cubicBezTo>
                  <a:pt x="4978" y="3876"/>
                  <a:pt x="4978" y="3592"/>
                  <a:pt x="4947" y="3309"/>
                </a:cubicBezTo>
                <a:close/>
                <a:moveTo>
                  <a:pt x="9830" y="788"/>
                </a:moveTo>
                <a:cubicBezTo>
                  <a:pt x="10082" y="788"/>
                  <a:pt x="10366" y="820"/>
                  <a:pt x="10618" y="946"/>
                </a:cubicBezTo>
                <a:cubicBezTo>
                  <a:pt x="11721" y="1481"/>
                  <a:pt x="12193" y="2678"/>
                  <a:pt x="11752" y="3718"/>
                </a:cubicBezTo>
                <a:cubicBezTo>
                  <a:pt x="11500" y="4254"/>
                  <a:pt x="11027" y="4695"/>
                  <a:pt x="10460" y="4884"/>
                </a:cubicBezTo>
                <a:cubicBezTo>
                  <a:pt x="10261" y="4950"/>
                  <a:pt x="10035" y="4990"/>
                  <a:pt x="9816" y="4990"/>
                </a:cubicBezTo>
                <a:cubicBezTo>
                  <a:pt x="9619" y="4990"/>
                  <a:pt x="9427" y="4958"/>
                  <a:pt x="9263" y="4884"/>
                </a:cubicBezTo>
                <a:cubicBezTo>
                  <a:pt x="9074" y="4821"/>
                  <a:pt x="8885" y="4663"/>
                  <a:pt x="8791" y="4474"/>
                </a:cubicBezTo>
                <a:cubicBezTo>
                  <a:pt x="8791" y="4411"/>
                  <a:pt x="8759" y="4380"/>
                  <a:pt x="8728" y="4348"/>
                </a:cubicBezTo>
                <a:cubicBezTo>
                  <a:pt x="8570" y="3970"/>
                  <a:pt x="8570" y="3561"/>
                  <a:pt x="8728" y="3183"/>
                </a:cubicBezTo>
                <a:cubicBezTo>
                  <a:pt x="8759" y="3151"/>
                  <a:pt x="8759" y="3120"/>
                  <a:pt x="8791" y="3088"/>
                </a:cubicBezTo>
                <a:cubicBezTo>
                  <a:pt x="8980" y="2710"/>
                  <a:pt x="9358" y="2521"/>
                  <a:pt x="9830" y="2521"/>
                </a:cubicBezTo>
                <a:cubicBezTo>
                  <a:pt x="9956" y="2521"/>
                  <a:pt x="10019" y="2552"/>
                  <a:pt x="10082" y="2615"/>
                </a:cubicBezTo>
                <a:cubicBezTo>
                  <a:pt x="10240" y="2773"/>
                  <a:pt x="10240" y="3025"/>
                  <a:pt x="10145" y="3183"/>
                </a:cubicBezTo>
                <a:cubicBezTo>
                  <a:pt x="10051" y="3309"/>
                  <a:pt x="9956" y="3340"/>
                  <a:pt x="9830" y="3340"/>
                </a:cubicBezTo>
                <a:cubicBezTo>
                  <a:pt x="9578" y="3340"/>
                  <a:pt x="9389" y="3561"/>
                  <a:pt x="9389" y="3781"/>
                </a:cubicBezTo>
                <a:cubicBezTo>
                  <a:pt x="9389" y="4033"/>
                  <a:pt x="9578" y="4222"/>
                  <a:pt x="9830" y="4222"/>
                </a:cubicBezTo>
                <a:cubicBezTo>
                  <a:pt x="10555" y="4222"/>
                  <a:pt x="11059" y="3655"/>
                  <a:pt x="11059" y="2962"/>
                </a:cubicBezTo>
                <a:cubicBezTo>
                  <a:pt x="11059" y="2395"/>
                  <a:pt x="10681" y="1891"/>
                  <a:pt x="10114" y="1733"/>
                </a:cubicBezTo>
                <a:cubicBezTo>
                  <a:pt x="10034" y="1721"/>
                  <a:pt x="9933" y="1712"/>
                  <a:pt x="9817" y="1712"/>
                </a:cubicBezTo>
                <a:cubicBezTo>
                  <a:pt x="9339" y="1712"/>
                  <a:pt x="8611" y="1861"/>
                  <a:pt x="8129" y="2521"/>
                </a:cubicBezTo>
                <a:lnTo>
                  <a:pt x="4600" y="2521"/>
                </a:lnTo>
                <a:cubicBezTo>
                  <a:pt x="4191" y="1985"/>
                  <a:pt x="3592" y="1702"/>
                  <a:pt x="2931" y="1702"/>
                </a:cubicBezTo>
                <a:cubicBezTo>
                  <a:pt x="2395" y="1702"/>
                  <a:pt x="1986" y="1985"/>
                  <a:pt x="1796" y="2458"/>
                </a:cubicBezTo>
                <a:cubicBezTo>
                  <a:pt x="1481" y="3246"/>
                  <a:pt x="1954" y="4191"/>
                  <a:pt x="2931" y="4191"/>
                </a:cubicBezTo>
                <a:cubicBezTo>
                  <a:pt x="3183" y="4191"/>
                  <a:pt x="3340" y="3970"/>
                  <a:pt x="3340" y="3750"/>
                </a:cubicBezTo>
                <a:cubicBezTo>
                  <a:pt x="3340" y="3498"/>
                  <a:pt x="3120" y="3309"/>
                  <a:pt x="2931" y="3309"/>
                </a:cubicBezTo>
                <a:cubicBezTo>
                  <a:pt x="2805" y="3309"/>
                  <a:pt x="2742" y="3277"/>
                  <a:pt x="2647" y="3246"/>
                </a:cubicBezTo>
                <a:cubicBezTo>
                  <a:pt x="2458" y="3057"/>
                  <a:pt x="2490" y="2615"/>
                  <a:pt x="2805" y="2521"/>
                </a:cubicBezTo>
                <a:cubicBezTo>
                  <a:pt x="2836" y="2513"/>
                  <a:pt x="2879" y="2509"/>
                  <a:pt x="2931" y="2509"/>
                </a:cubicBezTo>
                <a:cubicBezTo>
                  <a:pt x="3084" y="2509"/>
                  <a:pt x="3309" y="2545"/>
                  <a:pt x="3498" y="2615"/>
                </a:cubicBezTo>
                <a:cubicBezTo>
                  <a:pt x="3687" y="2678"/>
                  <a:pt x="3876" y="2836"/>
                  <a:pt x="3970" y="3025"/>
                </a:cubicBezTo>
                <a:cubicBezTo>
                  <a:pt x="3970" y="3088"/>
                  <a:pt x="4002" y="3120"/>
                  <a:pt x="4033" y="3151"/>
                </a:cubicBezTo>
                <a:cubicBezTo>
                  <a:pt x="4191" y="3498"/>
                  <a:pt x="4191" y="3939"/>
                  <a:pt x="4033" y="4285"/>
                </a:cubicBezTo>
                <a:cubicBezTo>
                  <a:pt x="4002" y="4348"/>
                  <a:pt x="4002" y="4380"/>
                  <a:pt x="3970" y="4411"/>
                </a:cubicBezTo>
                <a:cubicBezTo>
                  <a:pt x="3750" y="4726"/>
                  <a:pt x="3403" y="4978"/>
                  <a:pt x="2931" y="4978"/>
                </a:cubicBezTo>
                <a:cubicBezTo>
                  <a:pt x="1796" y="4978"/>
                  <a:pt x="851" y="4033"/>
                  <a:pt x="851" y="2899"/>
                </a:cubicBezTo>
                <a:cubicBezTo>
                  <a:pt x="851" y="1733"/>
                  <a:pt x="1765" y="851"/>
                  <a:pt x="2931" y="788"/>
                </a:cubicBezTo>
                <a:close/>
                <a:moveTo>
                  <a:pt x="7751" y="4915"/>
                </a:moveTo>
                <a:lnTo>
                  <a:pt x="7751" y="10618"/>
                </a:lnTo>
                <a:cubicBezTo>
                  <a:pt x="7751" y="10838"/>
                  <a:pt x="7940" y="11027"/>
                  <a:pt x="8129" y="11027"/>
                </a:cubicBezTo>
                <a:cubicBezTo>
                  <a:pt x="8318" y="11027"/>
                  <a:pt x="8570" y="10838"/>
                  <a:pt x="8570" y="10618"/>
                </a:cubicBezTo>
                <a:lnTo>
                  <a:pt x="8570" y="5419"/>
                </a:lnTo>
                <a:cubicBezTo>
                  <a:pt x="8791" y="5577"/>
                  <a:pt x="9074" y="5671"/>
                  <a:pt x="9389" y="5766"/>
                </a:cubicBezTo>
                <a:lnTo>
                  <a:pt x="9389" y="11878"/>
                </a:lnTo>
                <a:lnTo>
                  <a:pt x="3372" y="11878"/>
                </a:lnTo>
                <a:lnTo>
                  <a:pt x="3372" y="5766"/>
                </a:lnTo>
                <a:cubicBezTo>
                  <a:pt x="3687" y="5734"/>
                  <a:pt x="3970" y="5608"/>
                  <a:pt x="4191" y="5419"/>
                </a:cubicBezTo>
                <a:lnTo>
                  <a:pt x="4191" y="10618"/>
                </a:lnTo>
                <a:cubicBezTo>
                  <a:pt x="4191" y="10838"/>
                  <a:pt x="4380" y="11027"/>
                  <a:pt x="4600" y="11027"/>
                </a:cubicBezTo>
                <a:cubicBezTo>
                  <a:pt x="4821" y="11027"/>
                  <a:pt x="5010" y="10838"/>
                  <a:pt x="5010" y="10618"/>
                </a:cubicBezTo>
                <a:lnTo>
                  <a:pt x="5010" y="4915"/>
                </a:lnTo>
                <a:lnTo>
                  <a:pt x="5861" y="4915"/>
                </a:lnTo>
                <a:lnTo>
                  <a:pt x="5861" y="10618"/>
                </a:lnTo>
                <a:cubicBezTo>
                  <a:pt x="5861" y="10838"/>
                  <a:pt x="6050" y="11027"/>
                  <a:pt x="6239" y="11027"/>
                </a:cubicBezTo>
                <a:cubicBezTo>
                  <a:pt x="6428" y="11027"/>
                  <a:pt x="6648" y="10838"/>
                  <a:pt x="6648" y="10618"/>
                </a:cubicBezTo>
                <a:lnTo>
                  <a:pt x="6648" y="4915"/>
                </a:lnTo>
                <a:close/>
                <a:moveTo>
                  <a:pt x="2931" y="1"/>
                </a:moveTo>
                <a:cubicBezTo>
                  <a:pt x="1324" y="1"/>
                  <a:pt x="1" y="1324"/>
                  <a:pt x="1" y="2899"/>
                </a:cubicBezTo>
                <a:cubicBezTo>
                  <a:pt x="1" y="4348"/>
                  <a:pt x="1072" y="5514"/>
                  <a:pt x="2490" y="5766"/>
                </a:cubicBezTo>
                <a:lnTo>
                  <a:pt x="2490" y="12256"/>
                </a:lnTo>
                <a:cubicBezTo>
                  <a:pt x="2490" y="12508"/>
                  <a:pt x="2679" y="12697"/>
                  <a:pt x="2931" y="12697"/>
                </a:cubicBezTo>
                <a:lnTo>
                  <a:pt x="9830" y="12697"/>
                </a:lnTo>
                <a:cubicBezTo>
                  <a:pt x="10051" y="12697"/>
                  <a:pt x="10208" y="12508"/>
                  <a:pt x="10208" y="12256"/>
                </a:cubicBezTo>
                <a:lnTo>
                  <a:pt x="10208" y="5797"/>
                </a:lnTo>
                <a:cubicBezTo>
                  <a:pt x="10964" y="5671"/>
                  <a:pt x="11721" y="5293"/>
                  <a:pt x="12193" y="4537"/>
                </a:cubicBezTo>
                <a:cubicBezTo>
                  <a:pt x="12823" y="3718"/>
                  <a:pt x="12886" y="2678"/>
                  <a:pt x="12508" y="1796"/>
                </a:cubicBezTo>
                <a:cubicBezTo>
                  <a:pt x="12067" y="725"/>
                  <a:pt x="10996" y="1"/>
                  <a:pt x="98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8" name="Google Shape;9278;p76"/>
          <p:cNvSpPr/>
          <p:nvPr/>
        </p:nvSpPr>
        <p:spPr>
          <a:xfrm>
            <a:off x="3906859" y="2439940"/>
            <a:ext cx="373766" cy="373736"/>
          </a:xfrm>
          <a:custGeom>
            <a:avLst/>
            <a:gdLst/>
            <a:ahLst/>
            <a:cxnLst/>
            <a:rect l="l" t="t" r="r" b="b"/>
            <a:pathLst>
              <a:path w="12698" h="12697" extrusionOk="0">
                <a:moveTo>
                  <a:pt x="11784" y="970"/>
                </a:moveTo>
                <a:lnTo>
                  <a:pt x="11784" y="2577"/>
                </a:lnTo>
                <a:lnTo>
                  <a:pt x="5168" y="4026"/>
                </a:lnTo>
                <a:lnTo>
                  <a:pt x="5168" y="2420"/>
                </a:lnTo>
                <a:lnTo>
                  <a:pt x="11784" y="970"/>
                </a:lnTo>
                <a:close/>
                <a:moveTo>
                  <a:pt x="10115" y="7741"/>
                </a:moveTo>
                <a:cubicBezTo>
                  <a:pt x="10982" y="7741"/>
                  <a:pt x="11784" y="8286"/>
                  <a:pt x="11784" y="8973"/>
                </a:cubicBezTo>
                <a:cubicBezTo>
                  <a:pt x="11784" y="9666"/>
                  <a:pt x="11027" y="10201"/>
                  <a:pt x="10145" y="10201"/>
                </a:cubicBezTo>
                <a:cubicBezTo>
                  <a:pt x="9358" y="10201"/>
                  <a:pt x="8665" y="9792"/>
                  <a:pt x="8507" y="9225"/>
                </a:cubicBezTo>
                <a:cubicBezTo>
                  <a:pt x="8350" y="8689"/>
                  <a:pt x="8728" y="8154"/>
                  <a:pt x="9263" y="7933"/>
                </a:cubicBezTo>
                <a:cubicBezTo>
                  <a:pt x="9537" y="7800"/>
                  <a:pt x="9829" y="7741"/>
                  <a:pt x="10115" y="7741"/>
                </a:cubicBezTo>
                <a:close/>
                <a:moveTo>
                  <a:pt x="2665" y="9393"/>
                </a:moveTo>
                <a:cubicBezTo>
                  <a:pt x="3537" y="9393"/>
                  <a:pt x="4348" y="9928"/>
                  <a:pt x="4348" y="10642"/>
                </a:cubicBezTo>
                <a:cubicBezTo>
                  <a:pt x="4348" y="11304"/>
                  <a:pt x="3592" y="11871"/>
                  <a:pt x="2679" y="11871"/>
                </a:cubicBezTo>
                <a:cubicBezTo>
                  <a:pt x="1891" y="11871"/>
                  <a:pt x="1229" y="11430"/>
                  <a:pt x="1072" y="10894"/>
                </a:cubicBezTo>
                <a:cubicBezTo>
                  <a:pt x="914" y="10327"/>
                  <a:pt x="1261" y="9823"/>
                  <a:pt x="1828" y="9571"/>
                </a:cubicBezTo>
                <a:cubicBezTo>
                  <a:pt x="2097" y="9448"/>
                  <a:pt x="2384" y="9393"/>
                  <a:pt x="2665" y="9393"/>
                </a:cubicBezTo>
                <a:close/>
                <a:moveTo>
                  <a:pt x="12242" y="1"/>
                </a:moveTo>
                <a:cubicBezTo>
                  <a:pt x="12197" y="1"/>
                  <a:pt x="12149" y="9"/>
                  <a:pt x="12099" y="25"/>
                </a:cubicBezTo>
                <a:lnTo>
                  <a:pt x="4663" y="1664"/>
                </a:lnTo>
                <a:cubicBezTo>
                  <a:pt x="4474" y="1695"/>
                  <a:pt x="4348" y="1853"/>
                  <a:pt x="4348" y="2073"/>
                </a:cubicBezTo>
                <a:lnTo>
                  <a:pt x="4348" y="9067"/>
                </a:lnTo>
                <a:cubicBezTo>
                  <a:pt x="3876" y="8721"/>
                  <a:pt x="3277" y="8563"/>
                  <a:pt x="2679" y="8563"/>
                </a:cubicBezTo>
                <a:cubicBezTo>
                  <a:pt x="1481" y="8563"/>
                  <a:pt x="536" y="9256"/>
                  <a:pt x="284" y="10138"/>
                </a:cubicBezTo>
                <a:cubicBezTo>
                  <a:pt x="1" y="11084"/>
                  <a:pt x="568" y="12060"/>
                  <a:pt x="1670" y="12501"/>
                </a:cubicBezTo>
                <a:cubicBezTo>
                  <a:pt x="1997" y="12634"/>
                  <a:pt x="2349" y="12697"/>
                  <a:pt x="2700" y="12697"/>
                </a:cubicBezTo>
                <a:cubicBezTo>
                  <a:pt x="3600" y="12697"/>
                  <a:pt x="4494" y="12281"/>
                  <a:pt x="4947" y="11556"/>
                </a:cubicBezTo>
                <a:cubicBezTo>
                  <a:pt x="5104" y="11273"/>
                  <a:pt x="5199" y="10957"/>
                  <a:pt x="5199" y="10611"/>
                </a:cubicBezTo>
                <a:lnTo>
                  <a:pt x="5199" y="4909"/>
                </a:lnTo>
                <a:lnTo>
                  <a:pt x="11815" y="3428"/>
                </a:lnTo>
                <a:lnTo>
                  <a:pt x="11815" y="7460"/>
                </a:lnTo>
                <a:cubicBezTo>
                  <a:pt x="11342" y="7114"/>
                  <a:pt x="10775" y="6956"/>
                  <a:pt x="10177" y="6956"/>
                </a:cubicBezTo>
                <a:cubicBezTo>
                  <a:pt x="8948" y="6956"/>
                  <a:pt x="8003" y="7649"/>
                  <a:pt x="7782" y="8532"/>
                </a:cubicBezTo>
                <a:cubicBezTo>
                  <a:pt x="7499" y="9477"/>
                  <a:pt x="8034" y="10453"/>
                  <a:pt x="9137" y="10894"/>
                </a:cubicBezTo>
                <a:cubicBezTo>
                  <a:pt x="9470" y="11017"/>
                  <a:pt x="9823" y="11076"/>
                  <a:pt x="10172" y="11076"/>
                </a:cubicBezTo>
                <a:cubicBezTo>
                  <a:pt x="11077" y="11076"/>
                  <a:pt x="11959" y="10677"/>
                  <a:pt x="12414" y="9949"/>
                </a:cubicBezTo>
                <a:cubicBezTo>
                  <a:pt x="12571" y="9666"/>
                  <a:pt x="12697" y="9351"/>
                  <a:pt x="12697" y="8973"/>
                </a:cubicBezTo>
                <a:cubicBezTo>
                  <a:pt x="12603" y="8941"/>
                  <a:pt x="12603" y="403"/>
                  <a:pt x="12603" y="403"/>
                </a:cubicBezTo>
                <a:cubicBezTo>
                  <a:pt x="12603" y="170"/>
                  <a:pt x="12453" y="1"/>
                  <a:pt x="122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9" name="Google Shape;9279;p76"/>
          <p:cNvSpPr/>
          <p:nvPr/>
        </p:nvSpPr>
        <p:spPr>
          <a:xfrm>
            <a:off x="2616350" y="2874814"/>
            <a:ext cx="374678" cy="375620"/>
          </a:xfrm>
          <a:custGeom>
            <a:avLst/>
            <a:gdLst/>
            <a:ahLst/>
            <a:cxnLst/>
            <a:rect l="l" t="t" r="r" b="b"/>
            <a:pathLst>
              <a:path w="12729" h="12761" extrusionOk="0">
                <a:moveTo>
                  <a:pt x="10595" y="882"/>
                </a:moveTo>
                <a:cubicBezTo>
                  <a:pt x="11081" y="882"/>
                  <a:pt x="11558" y="1164"/>
                  <a:pt x="11752" y="1647"/>
                </a:cubicBezTo>
                <a:cubicBezTo>
                  <a:pt x="11941" y="2120"/>
                  <a:pt x="11846" y="2624"/>
                  <a:pt x="11500" y="3033"/>
                </a:cubicBezTo>
                <a:lnTo>
                  <a:pt x="11374" y="3128"/>
                </a:lnTo>
                <a:lnTo>
                  <a:pt x="9609" y="1363"/>
                </a:lnTo>
                <a:lnTo>
                  <a:pt x="9735" y="1237"/>
                </a:lnTo>
                <a:cubicBezTo>
                  <a:pt x="9979" y="994"/>
                  <a:pt x="10288" y="882"/>
                  <a:pt x="10595" y="882"/>
                </a:cubicBezTo>
                <a:close/>
                <a:moveTo>
                  <a:pt x="9011" y="1899"/>
                </a:moveTo>
                <a:lnTo>
                  <a:pt x="10807" y="3695"/>
                </a:lnTo>
                <a:lnTo>
                  <a:pt x="7656" y="6845"/>
                </a:lnTo>
                <a:lnTo>
                  <a:pt x="5860" y="5049"/>
                </a:lnTo>
                <a:lnTo>
                  <a:pt x="9011" y="1899"/>
                </a:lnTo>
                <a:close/>
                <a:moveTo>
                  <a:pt x="5293" y="5648"/>
                </a:moveTo>
                <a:lnTo>
                  <a:pt x="7057" y="7444"/>
                </a:lnTo>
                <a:lnTo>
                  <a:pt x="4065" y="10437"/>
                </a:lnTo>
                <a:lnTo>
                  <a:pt x="2300" y="8641"/>
                </a:lnTo>
                <a:lnTo>
                  <a:pt x="5293" y="5648"/>
                </a:lnTo>
                <a:close/>
                <a:moveTo>
                  <a:pt x="2017" y="9523"/>
                </a:moveTo>
                <a:lnTo>
                  <a:pt x="3245" y="10752"/>
                </a:lnTo>
                <a:lnTo>
                  <a:pt x="1733" y="11004"/>
                </a:lnTo>
                <a:lnTo>
                  <a:pt x="2017" y="9523"/>
                </a:lnTo>
                <a:close/>
                <a:moveTo>
                  <a:pt x="7762" y="1"/>
                </a:moveTo>
                <a:cubicBezTo>
                  <a:pt x="7443" y="1"/>
                  <a:pt x="7120" y="119"/>
                  <a:pt x="6868" y="355"/>
                </a:cubicBezTo>
                <a:lnTo>
                  <a:pt x="4569" y="2624"/>
                </a:lnTo>
                <a:cubicBezTo>
                  <a:pt x="4411" y="2781"/>
                  <a:pt x="4411" y="3065"/>
                  <a:pt x="4569" y="3222"/>
                </a:cubicBezTo>
                <a:cubicBezTo>
                  <a:pt x="4647" y="3301"/>
                  <a:pt x="4758" y="3340"/>
                  <a:pt x="4868" y="3340"/>
                </a:cubicBezTo>
                <a:cubicBezTo>
                  <a:pt x="4978" y="3340"/>
                  <a:pt x="5088" y="3301"/>
                  <a:pt x="5167" y="3222"/>
                </a:cubicBezTo>
                <a:lnTo>
                  <a:pt x="7436" y="922"/>
                </a:lnTo>
                <a:cubicBezTo>
                  <a:pt x="7514" y="844"/>
                  <a:pt x="7625" y="804"/>
                  <a:pt x="7735" y="804"/>
                </a:cubicBezTo>
                <a:cubicBezTo>
                  <a:pt x="7845" y="804"/>
                  <a:pt x="7955" y="844"/>
                  <a:pt x="8034" y="922"/>
                </a:cubicBezTo>
                <a:lnTo>
                  <a:pt x="8475" y="1363"/>
                </a:lnTo>
                <a:lnTo>
                  <a:pt x="5041" y="4797"/>
                </a:lnTo>
                <a:lnTo>
                  <a:pt x="1450" y="8389"/>
                </a:lnTo>
                <a:cubicBezTo>
                  <a:pt x="1418" y="8420"/>
                  <a:pt x="1387" y="8483"/>
                  <a:pt x="1355" y="8578"/>
                </a:cubicBezTo>
                <a:cubicBezTo>
                  <a:pt x="1355" y="8610"/>
                  <a:pt x="1387" y="8420"/>
                  <a:pt x="883" y="11319"/>
                </a:cubicBezTo>
                <a:lnTo>
                  <a:pt x="158" y="12044"/>
                </a:lnTo>
                <a:cubicBezTo>
                  <a:pt x="0" y="12201"/>
                  <a:pt x="0" y="12485"/>
                  <a:pt x="158" y="12642"/>
                </a:cubicBezTo>
                <a:cubicBezTo>
                  <a:pt x="237" y="12721"/>
                  <a:pt x="347" y="12760"/>
                  <a:pt x="457" y="12760"/>
                </a:cubicBezTo>
                <a:cubicBezTo>
                  <a:pt x="567" y="12760"/>
                  <a:pt x="678" y="12721"/>
                  <a:pt x="756" y="12642"/>
                </a:cubicBezTo>
                <a:lnTo>
                  <a:pt x="1450" y="11918"/>
                </a:lnTo>
                <a:cubicBezTo>
                  <a:pt x="1513" y="11918"/>
                  <a:pt x="4191" y="11445"/>
                  <a:pt x="4191" y="11445"/>
                </a:cubicBezTo>
                <a:cubicBezTo>
                  <a:pt x="4254" y="11445"/>
                  <a:pt x="4317" y="11413"/>
                  <a:pt x="4380" y="11382"/>
                </a:cubicBezTo>
                <a:lnTo>
                  <a:pt x="12130" y="3600"/>
                </a:lnTo>
                <a:cubicBezTo>
                  <a:pt x="12539" y="3222"/>
                  <a:pt x="12728" y="2718"/>
                  <a:pt x="12728" y="2151"/>
                </a:cubicBezTo>
                <a:cubicBezTo>
                  <a:pt x="12697" y="985"/>
                  <a:pt x="11783" y="72"/>
                  <a:pt x="10649" y="72"/>
                </a:cubicBezTo>
                <a:cubicBezTo>
                  <a:pt x="10082" y="72"/>
                  <a:pt x="9578" y="261"/>
                  <a:pt x="9168" y="670"/>
                </a:cubicBezTo>
                <a:lnTo>
                  <a:pt x="9074" y="765"/>
                </a:lnTo>
                <a:lnTo>
                  <a:pt x="8633" y="355"/>
                </a:lnTo>
                <a:cubicBezTo>
                  <a:pt x="8396" y="119"/>
                  <a:pt x="8081" y="1"/>
                  <a:pt x="77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80" name="Google Shape;9280;p76"/>
          <p:cNvGrpSpPr/>
          <p:nvPr/>
        </p:nvGrpSpPr>
        <p:grpSpPr>
          <a:xfrm>
            <a:off x="2623344" y="3310032"/>
            <a:ext cx="372824" cy="372058"/>
            <a:chOff x="-38686275" y="2314400"/>
            <a:chExt cx="316650" cy="316000"/>
          </a:xfrm>
        </p:grpSpPr>
        <p:sp>
          <p:nvSpPr>
            <p:cNvPr id="9281" name="Google Shape;9281;p76"/>
            <p:cNvSpPr/>
            <p:nvPr/>
          </p:nvSpPr>
          <p:spPr>
            <a:xfrm>
              <a:off x="-38686275" y="2314400"/>
              <a:ext cx="316650" cy="316000"/>
            </a:xfrm>
            <a:custGeom>
              <a:avLst/>
              <a:gdLst/>
              <a:ahLst/>
              <a:cxnLst/>
              <a:rect l="l" t="t" r="r" b="b"/>
              <a:pathLst>
                <a:path w="12666" h="12640" extrusionOk="0">
                  <a:moveTo>
                    <a:pt x="8161" y="852"/>
                  </a:moveTo>
                  <a:cubicBezTo>
                    <a:pt x="8381" y="852"/>
                    <a:pt x="8539" y="1041"/>
                    <a:pt x="8570" y="1262"/>
                  </a:cubicBezTo>
                  <a:lnTo>
                    <a:pt x="8570" y="1703"/>
                  </a:lnTo>
                  <a:lnTo>
                    <a:pt x="4160" y="1703"/>
                  </a:lnTo>
                  <a:lnTo>
                    <a:pt x="4160" y="1230"/>
                  </a:lnTo>
                  <a:lnTo>
                    <a:pt x="4128" y="1230"/>
                  </a:lnTo>
                  <a:cubicBezTo>
                    <a:pt x="4128" y="1199"/>
                    <a:pt x="4128" y="1104"/>
                    <a:pt x="4160" y="1073"/>
                  </a:cubicBezTo>
                  <a:cubicBezTo>
                    <a:pt x="4254" y="915"/>
                    <a:pt x="4380" y="852"/>
                    <a:pt x="4569" y="852"/>
                  </a:cubicBezTo>
                  <a:close/>
                  <a:moveTo>
                    <a:pt x="11437" y="2427"/>
                  </a:moveTo>
                  <a:cubicBezTo>
                    <a:pt x="11658" y="2427"/>
                    <a:pt x="11815" y="2616"/>
                    <a:pt x="11847" y="2805"/>
                  </a:cubicBezTo>
                  <a:lnTo>
                    <a:pt x="11847" y="5641"/>
                  </a:lnTo>
                  <a:cubicBezTo>
                    <a:pt x="11847" y="5830"/>
                    <a:pt x="11721" y="5987"/>
                    <a:pt x="11563" y="6050"/>
                  </a:cubicBezTo>
                  <a:cubicBezTo>
                    <a:pt x="11542" y="6061"/>
                    <a:pt x="11532" y="6064"/>
                    <a:pt x="11478" y="6064"/>
                  </a:cubicBezTo>
                  <a:cubicBezTo>
                    <a:pt x="11371" y="6064"/>
                    <a:pt x="11091" y="6050"/>
                    <a:pt x="10208" y="6050"/>
                  </a:cubicBezTo>
                  <a:lnTo>
                    <a:pt x="10208" y="4822"/>
                  </a:lnTo>
                  <a:cubicBezTo>
                    <a:pt x="10208" y="4570"/>
                    <a:pt x="9988" y="4381"/>
                    <a:pt x="9767" y="4381"/>
                  </a:cubicBezTo>
                  <a:lnTo>
                    <a:pt x="8129" y="4381"/>
                  </a:lnTo>
                  <a:cubicBezTo>
                    <a:pt x="7877" y="4381"/>
                    <a:pt x="7688" y="4570"/>
                    <a:pt x="7688" y="4822"/>
                  </a:cubicBezTo>
                  <a:lnTo>
                    <a:pt x="7688" y="6050"/>
                  </a:lnTo>
                  <a:lnTo>
                    <a:pt x="4916" y="6050"/>
                  </a:lnTo>
                  <a:lnTo>
                    <a:pt x="4916" y="4822"/>
                  </a:lnTo>
                  <a:cubicBezTo>
                    <a:pt x="4916" y="4570"/>
                    <a:pt x="4727" y="4381"/>
                    <a:pt x="4506" y="4381"/>
                  </a:cubicBezTo>
                  <a:lnTo>
                    <a:pt x="2836" y="4381"/>
                  </a:lnTo>
                  <a:cubicBezTo>
                    <a:pt x="2710" y="4381"/>
                    <a:pt x="2647" y="4412"/>
                    <a:pt x="2553" y="4507"/>
                  </a:cubicBezTo>
                  <a:cubicBezTo>
                    <a:pt x="2490" y="4570"/>
                    <a:pt x="2458" y="4696"/>
                    <a:pt x="2458" y="4790"/>
                  </a:cubicBezTo>
                  <a:lnTo>
                    <a:pt x="2458" y="5987"/>
                  </a:lnTo>
                  <a:lnTo>
                    <a:pt x="1230" y="5987"/>
                  </a:lnTo>
                  <a:cubicBezTo>
                    <a:pt x="978" y="5987"/>
                    <a:pt x="820" y="5798"/>
                    <a:pt x="788" y="5578"/>
                  </a:cubicBezTo>
                  <a:lnTo>
                    <a:pt x="788" y="2805"/>
                  </a:lnTo>
                  <a:cubicBezTo>
                    <a:pt x="788" y="2585"/>
                    <a:pt x="978" y="2427"/>
                    <a:pt x="1230" y="2427"/>
                  </a:cubicBezTo>
                  <a:close/>
                  <a:moveTo>
                    <a:pt x="4128" y="5200"/>
                  </a:moveTo>
                  <a:lnTo>
                    <a:pt x="4128" y="6428"/>
                  </a:lnTo>
                  <a:cubicBezTo>
                    <a:pt x="4128" y="6586"/>
                    <a:pt x="4065" y="6712"/>
                    <a:pt x="3939" y="6775"/>
                  </a:cubicBezTo>
                  <a:cubicBezTo>
                    <a:pt x="3857" y="6826"/>
                    <a:pt x="3768" y="6851"/>
                    <a:pt x="3684" y="6851"/>
                  </a:cubicBezTo>
                  <a:cubicBezTo>
                    <a:pt x="3508" y="6851"/>
                    <a:pt x="3351" y="6746"/>
                    <a:pt x="3309" y="6554"/>
                  </a:cubicBezTo>
                  <a:lnTo>
                    <a:pt x="3309" y="5200"/>
                  </a:lnTo>
                  <a:close/>
                  <a:moveTo>
                    <a:pt x="9358" y="5200"/>
                  </a:moveTo>
                  <a:lnTo>
                    <a:pt x="9358" y="6428"/>
                  </a:lnTo>
                  <a:cubicBezTo>
                    <a:pt x="9358" y="6586"/>
                    <a:pt x="9295" y="6712"/>
                    <a:pt x="9169" y="6775"/>
                  </a:cubicBezTo>
                  <a:cubicBezTo>
                    <a:pt x="9097" y="6826"/>
                    <a:pt x="9015" y="6851"/>
                    <a:pt x="8934" y="6851"/>
                  </a:cubicBezTo>
                  <a:cubicBezTo>
                    <a:pt x="8766" y="6851"/>
                    <a:pt x="8602" y="6746"/>
                    <a:pt x="8539" y="6554"/>
                  </a:cubicBezTo>
                  <a:lnTo>
                    <a:pt x="8539" y="5200"/>
                  </a:lnTo>
                  <a:close/>
                  <a:moveTo>
                    <a:pt x="11059" y="6869"/>
                  </a:moveTo>
                  <a:lnTo>
                    <a:pt x="11059" y="11438"/>
                  </a:lnTo>
                  <a:lnTo>
                    <a:pt x="11028" y="11438"/>
                  </a:lnTo>
                  <a:cubicBezTo>
                    <a:pt x="11028" y="11658"/>
                    <a:pt x="10839" y="11816"/>
                    <a:pt x="10618" y="11816"/>
                  </a:cubicBezTo>
                  <a:lnTo>
                    <a:pt x="2080" y="11816"/>
                  </a:lnTo>
                  <a:cubicBezTo>
                    <a:pt x="1860" y="11816"/>
                    <a:pt x="1702" y="11627"/>
                    <a:pt x="1702" y="11438"/>
                  </a:cubicBezTo>
                  <a:lnTo>
                    <a:pt x="1702" y="6869"/>
                  </a:lnTo>
                  <a:lnTo>
                    <a:pt x="2616" y="6869"/>
                  </a:lnTo>
                  <a:cubicBezTo>
                    <a:pt x="2710" y="7216"/>
                    <a:pt x="3025" y="7531"/>
                    <a:pt x="3403" y="7657"/>
                  </a:cubicBezTo>
                  <a:cubicBezTo>
                    <a:pt x="3520" y="7692"/>
                    <a:pt x="3637" y="7709"/>
                    <a:pt x="3752" y="7709"/>
                  </a:cubicBezTo>
                  <a:cubicBezTo>
                    <a:pt x="4263" y="7709"/>
                    <a:pt x="4736" y="7383"/>
                    <a:pt x="4916" y="6869"/>
                  </a:cubicBezTo>
                  <a:lnTo>
                    <a:pt x="7846" y="6869"/>
                  </a:lnTo>
                  <a:cubicBezTo>
                    <a:pt x="8017" y="7384"/>
                    <a:pt x="8513" y="7708"/>
                    <a:pt x="9036" y="7708"/>
                  </a:cubicBezTo>
                  <a:cubicBezTo>
                    <a:pt x="9185" y="7708"/>
                    <a:pt x="9337" y="7682"/>
                    <a:pt x="9484" y="7626"/>
                  </a:cubicBezTo>
                  <a:cubicBezTo>
                    <a:pt x="9799" y="7500"/>
                    <a:pt x="10082" y="7216"/>
                    <a:pt x="10145" y="6869"/>
                  </a:cubicBezTo>
                  <a:close/>
                  <a:moveTo>
                    <a:pt x="8211" y="0"/>
                  </a:moveTo>
                  <a:cubicBezTo>
                    <a:pt x="8194" y="0"/>
                    <a:pt x="8177" y="1"/>
                    <a:pt x="8161" y="1"/>
                  </a:cubicBezTo>
                  <a:lnTo>
                    <a:pt x="4569" y="1"/>
                  </a:lnTo>
                  <a:cubicBezTo>
                    <a:pt x="3907" y="1"/>
                    <a:pt x="3309" y="569"/>
                    <a:pt x="3340" y="1230"/>
                  </a:cubicBezTo>
                  <a:lnTo>
                    <a:pt x="3340" y="1671"/>
                  </a:lnTo>
                  <a:lnTo>
                    <a:pt x="1261" y="1671"/>
                  </a:lnTo>
                  <a:cubicBezTo>
                    <a:pt x="599" y="1671"/>
                    <a:pt x="1" y="2207"/>
                    <a:pt x="1" y="2868"/>
                  </a:cubicBezTo>
                  <a:lnTo>
                    <a:pt x="1" y="5641"/>
                  </a:lnTo>
                  <a:cubicBezTo>
                    <a:pt x="1" y="6145"/>
                    <a:pt x="316" y="6617"/>
                    <a:pt x="820" y="6838"/>
                  </a:cubicBezTo>
                  <a:lnTo>
                    <a:pt x="820" y="11438"/>
                  </a:lnTo>
                  <a:cubicBezTo>
                    <a:pt x="820" y="12067"/>
                    <a:pt x="1333" y="12639"/>
                    <a:pt x="1953" y="12639"/>
                  </a:cubicBezTo>
                  <a:cubicBezTo>
                    <a:pt x="1984" y="12639"/>
                    <a:pt x="2016" y="12638"/>
                    <a:pt x="2049" y="12635"/>
                  </a:cubicBezTo>
                  <a:lnTo>
                    <a:pt x="10587" y="12635"/>
                  </a:lnTo>
                  <a:cubicBezTo>
                    <a:pt x="11248" y="12635"/>
                    <a:pt x="11847" y="12099"/>
                    <a:pt x="11815" y="11438"/>
                  </a:cubicBezTo>
                  <a:lnTo>
                    <a:pt x="11815" y="6838"/>
                  </a:lnTo>
                  <a:cubicBezTo>
                    <a:pt x="12288" y="6680"/>
                    <a:pt x="12634" y="6208"/>
                    <a:pt x="12634" y="5641"/>
                  </a:cubicBezTo>
                  <a:lnTo>
                    <a:pt x="12634" y="2868"/>
                  </a:lnTo>
                  <a:cubicBezTo>
                    <a:pt x="12666" y="2207"/>
                    <a:pt x="12130" y="1640"/>
                    <a:pt x="11469" y="1640"/>
                  </a:cubicBezTo>
                  <a:lnTo>
                    <a:pt x="9358" y="1640"/>
                  </a:lnTo>
                  <a:lnTo>
                    <a:pt x="9358" y="1230"/>
                  </a:lnTo>
                  <a:cubicBezTo>
                    <a:pt x="9358" y="585"/>
                    <a:pt x="8849" y="0"/>
                    <a:pt x="82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2" name="Google Shape;9282;p76"/>
            <p:cNvSpPr/>
            <p:nvPr/>
          </p:nvSpPr>
          <p:spPr>
            <a:xfrm>
              <a:off x="-38583075" y="2527075"/>
              <a:ext cx="111075" cy="63050"/>
            </a:xfrm>
            <a:custGeom>
              <a:avLst/>
              <a:gdLst/>
              <a:ahLst/>
              <a:cxnLst/>
              <a:rect l="l" t="t" r="r" b="b"/>
              <a:pathLst>
                <a:path w="4443" h="2522" extrusionOk="0">
                  <a:moveTo>
                    <a:pt x="3592" y="851"/>
                  </a:moveTo>
                  <a:lnTo>
                    <a:pt x="3592" y="1670"/>
                  </a:lnTo>
                  <a:lnTo>
                    <a:pt x="819" y="1670"/>
                  </a:lnTo>
                  <a:lnTo>
                    <a:pt x="819" y="851"/>
                  </a:lnTo>
                  <a:close/>
                  <a:moveTo>
                    <a:pt x="441" y="1"/>
                  </a:moveTo>
                  <a:cubicBezTo>
                    <a:pt x="189" y="1"/>
                    <a:pt x="0" y="221"/>
                    <a:pt x="0" y="442"/>
                  </a:cubicBezTo>
                  <a:lnTo>
                    <a:pt x="0" y="2112"/>
                  </a:lnTo>
                  <a:cubicBezTo>
                    <a:pt x="0" y="2332"/>
                    <a:pt x="189" y="2521"/>
                    <a:pt x="441" y="2521"/>
                  </a:cubicBezTo>
                  <a:lnTo>
                    <a:pt x="4033" y="2521"/>
                  </a:lnTo>
                  <a:cubicBezTo>
                    <a:pt x="4253" y="2521"/>
                    <a:pt x="4442" y="2332"/>
                    <a:pt x="4442" y="2112"/>
                  </a:cubicBezTo>
                  <a:lnTo>
                    <a:pt x="4442" y="442"/>
                  </a:lnTo>
                  <a:cubicBezTo>
                    <a:pt x="4411" y="221"/>
                    <a:pt x="4253" y="1"/>
                    <a:pt x="40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83" name="Google Shape;9283;p76"/>
          <p:cNvGrpSpPr/>
          <p:nvPr/>
        </p:nvGrpSpPr>
        <p:grpSpPr>
          <a:xfrm>
            <a:off x="2621946" y="3802072"/>
            <a:ext cx="375620" cy="373736"/>
            <a:chOff x="-38686275" y="2682250"/>
            <a:chExt cx="319025" cy="317425"/>
          </a:xfrm>
        </p:grpSpPr>
        <p:sp>
          <p:nvSpPr>
            <p:cNvPr id="9284" name="Google Shape;9284;p76"/>
            <p:cNvSpPr/>
            <p:nvPr/>
          </p:nvSpPr>
          <p:spPr>
            <a:xfrm>
              <a:off x="-38686275" y="2682250"/>
              <a:ext cx="319025" cy="317425"/>
            </a:xfrm>
            <a:custGeom>
              <a:avLst/>
              <a:gdLst/>
              <a:ahLst/>
              <a:cxnLst/>
              <a:rect l="l" t="t" r="r" b="b"/>
              <a:pathLst>
                <a:path w="12761" h="12697" extrusionOk="0">
                  <a:moveTo>
                    <a:pt x="11511" y="5995"/>
                  </a:moveTo>
                  <a:cubicBezTo>
                    <a:pt x="11742" y="5995"/>
                    <a:pt x="11941" y="6184"/>
                    <a:pt x="11941" y="6396"/>
                  </a:cubicBezTo>
                  <a:cubicBezTo>
                    <a:pt x="11941" y="6616"/>
                    <a:pt x="11815" y="6774"/>
                    <a:pt x="11626" y="6805"/>
                  </a:cubicBezTo>
                  <a:cubicBezTo>
                    <a:pt x="11576" y="6818"/>
                    <a:pt x="11528" y="6824"/>
                    <a:pt x="11483" y="6824"/>
                  </a:cubicBezTo>
                  <a:cubicBezTo>
                    <a:pt x="11302" y="6824"/>
                    <a:pt x="11166" y="6723"/>
                    <a:pt x="11091" y="6522"/>
                  </a:cubicBezTo>
                  <a:cubicBezTo>
                    <a:pt x="11028" y="6301"/>
                    <a:pt x="11154" y="6081"/>
                    <a:pt x="11374" y="6018"/>
                  </a:cubicBezTo>
                  <a:cubicBezTo>
                    <a:pt x="11420" y="6002"/>
                    <a:pt x="11466" y="5995"/>
                    <a:pt x="11511" y="5995"/>
                  </a:cubicBezTo>
                  <a:close/>
                  <a:moveTo>
                    <a:pt x="5042" y="788"/>
                  </a:moveTo>
                  <a:cubicBezTo>
                    <a:pt x="7310" y="788"/>
                    <a:pt x="9169" y="2615"/>
                    <a:pt x="9169" y="4915"/>
                  </a:cubicBezTo>
                  <a:cubicBezTo>
                    <a:pt x="9169" y="7183"/>
                    <a:pt x="7310" y="9042"/>
                    <a:pt x="5042" y="9042"/>
                  </a:cubicBezTo>
                  <a:cubicBezTo>
                    <a:pt x="3624" y="9042"/>
                    <a:pt x="2364" y="8317"/>
                    <a:pt x="1608" y="7246"/>
                  </a:cubicBezTo>
                  <a:cubicBezTo>
                    <a:pt x="820" y="6049"/>
                    <a:pt x="694" y="4568"/>
                    <a:pt x="1230" y="3308"/>
                  </a:cubicBezTo>
                  <a:cubicBezTo>
                    <a:pt x="1860" y="1827"/>
                    <a:pt x="3309" y="788"/>
                    <a:pt x="5042" y="788"/>
                  </a:cubicBezTo>
                  <a:close/>
                  <a:moveTo>
                    <a:pt x="7531" y="9200"/>
                  </a:moveTo>
                  <a:lnTo>
                    <a:pt x="7531" y="11373"/>
                  </a:lnTo>
                  <a:cubicBezTo>
                    <a:pt x="7531" y="11594"/>
                    <a:pt x="7310" y="11751"/>
                    <a:pt x="7089" y="11814"/>
                  </a:cubicBezTo>
                  <a:lnTo>
                    <a:pt x="2962" y="11814"/>
                  </a:lnTo>
                  <a:cubicBezTo>
                    <a:pt x="2710" y="11814"/>
                    <a:pt x="2553" y="11594"/>
                    <a:pt x="2553" y="11373"/>
                  </a:cubicBezTo>
                  <a:lnTo>
                    <a:pt x="2553" y="9200"/>
                  </a:lnTo>
                  <a:cubicBezTo>
                    <a:pt x="3316" y="9645"/>
                    <a:pt x="4174" y="9873"/>
                    <a:pt x="5041" y="9873"/>
                  </a:cubicBezTo>
                  <a:cubicBezTo>
                    <a:pt x="5892" y="9873"/>
                    <a:pt x="6750" y="9652"/>
                    <a:pt x="7531" y="9200"/>
                  </a:cubicBezTo>
                  <a:close/>
                  <a:moveTo>
                    <a:pt x="4947" y="0"/>
                  </a:moveTo>
                  <a:cubicBezTo>
                    <a:pt x="4296" y="0"/>
                    <a:pt x="3643" y="126"/>
                    <a:pt x="3025" y="378"/>
                  </a:cubicBezTo>
                  <a:cubicBezTo>
                    <a:pt x="1230" y="1134"/>
                    <a:pt x="1" y="2930"/>
                    <a:pt x="1" y="4946"/>
                  </a:cubicBezTo>
                  <a:cubicBezTo>
                    <a:pt x="1" y="6396"/>
                    <a:pt x="631" y="7750"/>
                    <a:pt x="1639" y="8664"/>
                  </a:cubicBezTo>
                  <a:lnTo>
                    <a:pt x="1639" y="11436"/>
                  </a:lnTo>
                  <a:cubicBezTo>
                    <a:pt x="1639" y="12098"/>
                    <a:pt x="2206" y="12697"/>
                    <a:pt x="2868" y="12697"/>
                  </a:cubicBezTo>
                  <a:lnTo>
                    <a:pt x="6995" y="12697"/>
                  </a:lnTo>
                  <a:cubicBezTo>
                    <a:pt x="7562" y="12697"/>
                    <a:pt x="8035" y="12350"/>
                    <a:pt x="8192" y="11877"/>
                  </a:cubicBezTo>
                  <a:cubicBezTo>
                    <a:pt x="10114" y="11720"/>
                    <a:pt x="11847" y="10113"/>
                    <a:pt x="11847" y="8160"/>
                  </a:cubicBezTo>
                  <a:lnTo>
                    <a:pt x="11847" y="7719"/>
                  </a:lnTo>
                  <a:cubicBezTo>
                    <a:pt x="12351" y="7530"/>
                    <a:pt x="12666" y="7089"/>
                    <a:pt x="12666" y="6522"/>
                  </a:cubicBezTo>
                  <a:cubicBezTo>
                    <a:pt x="12760" y="5734"/>
                    <a:pt x="12193" y="5198"/>
                    <a:pt x="11500" y="5198"/>
                  </a:cubicBezTo>
                  <a:cubicBezTo>
                    <a:pt x="10839" y="5198"/>
                    <a:pt x="10240" y="5734"/>
                    <a:pt x="10240" y="6459"/>
                  </a:cubicBezTo>
                  <a:cubicBezTo>
                    <a:pt x="10240" y="6994"/>
                    <a:pt x="10587" y="7435"/>
                    <a:pt x="11059" y="7624"/>
                  </a:cubicBezTo>
                  <a:lnTo>
                    <a:pt x="11059" y="8097"/>
                  </a:lnTo>
                  <a:cubicBezTo>
                    <a:pt x="11059" y="9546"/>
                    <a:pt x="9767" y="10775"/>
                    <a:pt x="8318" y="10964"/>
                  </a:cubicBezTo>
                  <a:lnTo>
                    <a:pt x="8318" y="8664"/>
                  </a:lnTo>
                  <a:cubicBezTo>
                    <a:pt x="8633" y="8380"/>
                    <a:pt x="8885" y="8065"/>
                    <a:pt x="9106" y="7750"/>
                  </a:cubicBezTo>
                  <a:cubicBezTo>
                    <a:pt x="10618" y="5514"/>
                    <a:pt x="10051" y="2395"/>
                    <a:pt x="7751" y="851"/>
                  </a:cubicBezTo>
                  <a:cubicBezTo>
                    <a:pt x="6900" y="284"/>
                    <a:pt x="5925" y="0"/>
                    <a:pt x="4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76"/>
            <p:cNvSpPr/>
            <p:nvPr/>
          </p:nvSpPr>
          <p:spPr>
            <a:xfrm>
              <a:off x="-38591750" y="2773600"/>
              <a:ext cx="63025" cy="61350"/>
            </a:xfrm>
            <a:custGeom>
              <a:avLst/>
              <a:gdLst/>
              <a:ahLst/>
              <a:cxnLst/>
              <a:rect l="l" t="t" r="r" b="b"/>
              <a:pathLst>
                <a:path w="2521" h="2454" extrusionOk="0">
                  <a:moveTo>
                    <a:pt x="1264" y="788"/>
                  </a:moveTo>
                  <a:cubicBezTo>
                    <a:pt x="1315" y="788"/>
                    <a:pt x="1368" y="798"/>
                    <a:pt x="1418" y="820"/>
                  </a:cubicBezTo>
                  <a:cubicBezTo>
                    <a:pt x="1544" y="851"/>
                    <a:pt x="1607" y="977"/>
                    <a:pt x="1639" y="1103"/>
                  </a:cubicBezTo>
                  <a:cubicBezTo>
                    <a:pt x="1716" y="1387"/>
                    <a:pt x="1519" y="1649"/>
                    <a:pt x="1273" y="1649"/>
                  </a:cubicBezTo>
                  <a:cubicBezTo>
                    <a:pt x="1218" y="1649"/>
                    <a:pt x="1161" y="1636"/>
                    <a:pt x="1103" y="1607"/>
                  </a:cubicBezTo>
                  <a:cubicBezTo>
                    <a:pt x="914" y="1544"/>
                    <a:pt x="788" y="1292"/>
                    <a:pt x="851" y="1072"/>
                  </a:cubicBezTo>
                  <a:cubicBezTo>
                    <a:pt x="924" y="902"/>
                    <a:pt x="1090" y="788"/>
                    <a:pt x="1264" y="788"/>
                  </a:cubicBezTo>
                  <a:close/>
                  <a:moveTo>
                    <a:pt x="1261" y="1"/>
                  </a:moveTo>
                  <a:cubicBezTo>
                    <a:pt x="599" y="1"/>
                    <a:pt x="0" y="536"/>
                    <a:pt x="32" y="1229"/>
                  </a:cubicBezTo>
                  <a:cubicBezTo>
                    <a:pt x="32" y="1765"/>
                    <a:pt x="379" y="2238"/>
                    <a:pt x="914" y="2395"/>
                  </a:cubicBezTo>
                  <a:cubicBezTo>
                    <a:pt x="1038" y="2435"/>
                    <a:pt x="1163" y="2453"/>
                    <a:pt x="1285" y="2453"/>
                  </a:cubicBezTo>
                  <a:cubicBezTo>
                    <a:pt x="1939" y="2453"/>
                    <a:pt x="2521" y="1920"/>
                    <a:pt x="2521" y="1229"/>
                  </a:cubicBezTo>
                  <a:cubicBezTo>
                    <a:pt x="2489" y="536"/>
                    <a:pt x="192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86" name="Google Shape;9286;p76"/>
          <p:cNvGrpSpPr/>
          <p:nvPr/>
        </p:nvGrpSpPr>
        <p:grpSpPr>
          <a:xfrm>
            <a:off x="3940328" y="3800615"/>
            <a:ext cx="391368" cy="376650"/>
            <a:chOff x="-37534750" y="2668075"/>
            <a:chExt cx="332400" cy="319900"/>
          </a:xfrm>
        </p:grpSpPr>
        <p:sp>
          <p:nvSpPr>
            <p:cNvPr id="9287" name="Google Shape;9287;p76"/>
            <p:cNvSpPr/>
            <p:nvPr/>
          </p:nvSpPr>
          <p:spPr>
            <a:xfrm>
              <a:off x="-37534750" y="2668075"/>
              <a:ext cx="332400" cy="319900"/>
            </a:xfrm>
            <a:custGeom>
              <a:avLst/>
              <a:gdLst/>
              <a:ahLst/>
              <a:cxnLst/>
              <a:rect l="l" t="t" r="r" b="b"/>
              <a:pathLst>
                <a:path w="13296" h="12796" extrusionOk="0">
                  <a:moveTo>
                    <a:pt x="5258" y="834"/>
                  </a:moveTo>
                  <a:cubicBezTo>
                    <a:pt x="5799" y="834"/>
                    <a:pt x="6338" y="935"/>
                    <a:pt x="6837" y="1134"/>
                  </a:cubicBezTo>
                  <a:cubicBezTo>
                    <a:pt x="9105" y="2142"/>
                    <a:pt x="10019" y="4852"/>
                    <a:pt x="8822" y="6963"/>
                  </a:cubicBezTo>
                  <a:cubicBezTo>
                    <a:pt x="8790" y="7026"/>
                    <a:pt x="8790" y="7026"/>
                    <a:pt x="8790" y="7057"/>
                  </a:cubicBezTo>
                  <a:cubicBezTo>
                    <a:pt x="8632" y="7372"/>
                    <a:pt x="8412" y="7656"/>
                    <a:pt x="8160" y="7876"/>
                  </a:cubicBezTo>
                  <a:cubicBezTo>
                    <a:pt x="8002" y="8002"/>
                    <a:pt x="7876" y="8128"/>
                    <a:pt x="7782" y="8191"/>
                  </a:cubicBezTo>
                  <a:cubicBezTo>
                    <a:pt x="7687" y="8223"/>
                    <a:pt x="7719" y="8223"/>
                    <a:pt x="7687" y="8286"/>
                  </a:cubicBezTo>
                  <a:cubicBezTo>
                    <a:pt x="7152" y="8664"/>
                    <a:pt x="6585" y="8947"/>
                    <a:pt x="5923" y="9073"/>
                  </a:cubicBezTo>
                  <a:cubicBezTo>
                    <a:pt x="5694" y="9110"/>
                    <a:pt x="5468" y="9128"/>
                    <a:pt x="5245" y="9128"/>
                  </a:cubicBezTo>
                  <a:cubicBezTo>
                    <a:pt x="2977" y="9128"/>
                    <a:pt x="1071" y="7298"/>
                    <a:pt x="1071" y="4946"/>
                  </a:cubicBezTo>
                  <a:cubicBezTo>
                    <a:pt x="1071" y="3592"/>
                    <a:pt x="1796" y="2268"/>
                    <a:pt x="2899" y="1544"/>
                  </a:cubicBezTo>
                  <a:cubicBezTo>
                    <a:pt x="3603" y="1068"/>
                    <a:pt x="4433" y="834"/>
                    <a:pt x="5258" y="834"/>
                  </a:cubicBezTo>
                  <a:close/>
                  <a:moveTo>
                    <a:pt x="9200" y="7876"/>
                  </a:moveTo>
                  <a:lnTo>
                    <a:pt x="11909" y="10586"/>
                  </a:lnTo>
                  <a:cubicBezTo>
                    <a:pt x="12067" y="10743"/>
                    <a:pt x="12130" y="10901"/>
                    <a:pt x="12130" y="11153"/>
                  </a:cubicBezTo>
                  <a:cubicBezTo>
                    <a:pt x="12130" y="11594"/>
                    <a:pt x="11783" y="11909"/>
                    <a:pt x="11405" y="11909"/>
                  </a:cubicBezTo>
                  <a:cubicBezTo>
                    <a:pt x="11184" y="11909"/>
                    <a:pt x="10995" y="11814"/>
                    <a:pt x="10838" y="11657"/>
                  </a:cubicBezTo>
                  <a:lnTo>
                    <a:pt x="8128" y="8947"/>
                  </a:lnTo>
                  <a:cubicBezTo>
                    <a:pt x="8160" y="8916"/>
                    <a:pt x="8759" y="8506"/>
                    <a:pt x="9200" y="7876"/>
                  </a:cubicBezTo>
                  <a:close/>
                  <a:moveTo>
                    <a:pt x="5198" y="0"/>
                  </a:moveTo>
                  <a:cubicBezTo>
                    <a:pt x="3529" y="0"/>
                    <a:pt x="1985" y="882"/>
                    <a:pt x="1103" y="2205"/>
                  </a:cubicBezTo>
                  <a:cubicBezTo>
                    <a:pt x="158" y="3623"/>
                    <a:pt x="0" y="5387"/>
                    <a:pt x="630" y="6931"/>
                  </a:cubicBezTo>
                  <a:cubicBezTo>
                    <a:pt x="1470" y="8860"/>
                    <a:pt x="3356" y="9972"/>
                    <a:pt x="5251" y="9972"/>
                  </a:cubicBezTo>
                  <a:cubicBezTo>
                    <a:pt x="5988" y="9972"/>
                    <a:pt x="6725" y="9804"/>
                    <a:pt x="7404" y="9452"/>
                  </a:cubicBezTo>
                  <a:lnTo>
                    <a:pt x="10302" y="12318"/>
                  </a:lnTo>
                  <a:cubicBezTo>
                    <a:pt x="10588" y="12626"/>
                    <a:pt x="11026" y="12796"/>
                    <a:pt x="11468" y="12796"/>
                  </a:cubicBezTo>
                  <a:cubicBezTo>
                    <a:pt x="11661" y="12796"/>
                    <a:pt x="11854" y="12763"/>
                    <a:pt x="12035" y="12697"/>
                  </a:cubicBezTo>
                  <a:cubicBezTo>
                    <a:pt x="13043" y="12161"/>
                    <a:pt x="13295" y="10806"/>
                    <a:pt x="12539" y="10050"/>
                  </a:cubicBezTo>
                  <a:lnTo>
                    <a:pt x="9672" y="7183"/>
                  </a:lnTo>
                  <a:cubicBezTo>
                    <a:pt x="10334" y="5860"/>
                    <a:pt x="10334" y="4348"/>
                    <a:pt x="9767" y="3025"/>
                  </a:cubicBezTo>
                  <a:cubicBezTo>
                    <a:pt x="9042" y="1229"/>
                    <a:pt x="7215" y="0"/>
                    <a:pt x="5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76"/>
            <p:cNvSpPr/>
            <p:nvPr/>
          </p:nvSpPr>
          <p:spPr>
            <a:xfrm>
              <a:off x="-37487500" y="2709475"/>
              <a:ext cx="165425" cy="164450"/>
            </a:xfrm>
            <a:custGeom>
              <a:avLst/>
              <a:gdLst/>
              <a:ahLst/>
              <a:cxnLst/>
              <a:rect l="l" t="t" r="r" b="b"/>
              <a:pathLst>
                <a:path w="6617" h="6578" extrusionOk="0">
                  <a:moveTo>
                    <a:pt x="3308" y="833"/>
                  </a:moveTo>
                  <a:cubicBezTo>
                    <a:pt x="4695" y="833"/>
                    <a:pt x="5797" y="1936"/>
                    <a:pt x="5797" y="3290"/>
                  </a:cubicBezTo>
                  <a:cubicBezTo>
                    <a:pt x="5797" y="4614"/>
                    <a:pt x="4726" y="5779"/>
                    <a:pt x="3308" y="5779"/>
                  </a:cubicBezTo>
                  <a:cubicBezTo>
                    <a:pt x="1954" y="5779"/>
                    <a:pt x="851" y="4677"/>
                    <a:pt x="851" y="3290"/>
                  </a:cubicBezTo>
                  <a:cubicBezTo>
                    <a:pt x="851" y="1936"/>
                    <a:pt x="1954" y="833"/>
                    <a:pt x="3308" y="833"/>
                  </a:cubicBezTo>
                  <a:close/>
                  <a:moveTo>
                    <a:pt x="3319" y="0"/>
                  </a:moveTo>
                  <a:cubicBezTo>
                    <a:pt x="2880" y="0"/>
                    <a:pt x="2438" y="81"/>
                    <a:pt x="2017" y="234"/>
                  </a:cubicBezTo>
                  <a:cubicBezTo>
                    <a:pt x="851" y="738"/>
                    <a:pt x="0" y="1936"/>
                    <a:pt x="0" y="3259"/>
                  </a:cubicBezTo>
                  <a:cubicBezTo>
                    <a:pt x="0" y="4362"/>
                    <a:pt x="568" y="5401"/>
                    <a:pt x="1481" y="6031"/>
                  </a:cubicBezTo>
                  <a:cubicBezTo>
                    <a:pt x="2033" y="6405"/>
                    <a:pt x="2645" y="6578"/>
                    <a:pt x="3255" y="6578"/>
                  </a:cubicBezTo>
                  <a:cubicBezTo>
                    <a:pt x="3725" y="6578"/>
                    <a:pt x="4193" y="6475"/>
                    <a:pt x="4632" y="6283"/>
                  </a:cubicBezTo>
                  <a:cubicBezTo>
                    <a:pt x="5829" y="5748"/>
                    <a:pt x="6585" y="4551"/>
                    <a:pt x="6585" y="3259"/>
                  </a:cubicBezTo>
                  <a:cubicBezTo>
                    <a:pt x="6616" y="2219"/>
                    <a:pt x="6081" y="1180"/>
                    <a:pt x="5167" y="549"/>
                  </a:cubicBezTo>
                  <a:cubicBezTo>
                    <a:pt x="4605" y="175"/>
                    <a:pt x="3965" y="0"/>
                    <a:pt x="33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89" name="Google Shape;9289;p76"/>
          <p:cNvSpPr/>
          <p:nvPr/>
        </p:nvSpPr>
        <p:spPr>
          <a:xfrm>
            <a:off x="2106751" y="1533329"/>
            <a:ext cx="375591" cy="372588"/>
          </a:xfrm>
          <a:custGeom>
            <a:avLst/>
            <a:gdLst/>
            <a:ahLst/>
            <a:cxnLst/>
            <a:rect l="l" t="t" r="r" b="b"/>
            <a:pathLst>
              <a:path w="12760" h="12658" extrusionOk="0">
                <a:moveTo>
                  <a:pt x="6270" y="1032"/>
                </a:moveTo>
                <a:lnTo>
                  <a:pt x="6932" y="1693"/>
                </a:lnTo>
                <a:lnTo>
                  <a:pt x="5640" y="1693"/>
                </a:lnTo>
                <a:lnTo>
                  <a:pt x="6270" y="1032"/>
                </a:lnTo>
                <a:close/>
                <a:moveTo>
                  <a:pt x="11342" y="2481"/>
                </a:moveTo>
                <a:lnTo>
                  <a:pt x="10523" y="3300"/>
                </a:lnTo>
                <a:lnTo>
                  <a:pt x="2332" y="3300"/>
                </a:lnTo>
                <a:lnTo>
                  <a:pt x="1513" y="2481"/>
                </a:lnTo>
                <a:close/>
                <a:moveTo>
                  <a:pt x="8381" y="9381"/>
                </a:moveTo>
                <a:lnTo>
                  <a:pt x="8381" y="10200"/>
                </a:lnTo>
                <a:lnTo>
                  <a:pt x="6711" y="10200"/>
                </a:lnTo>
                <a:lnTo>
                  <a:pt x="6711" y="9381"/>
                </a:lnTo>
                <a:close/>
                <a:moveTo>
                  <a:pt x="10303" y="4151"/>
                </a:moveTo>
                <a:lnTo>
                  <a:pt x="10303" y="10200"/>
                </a:lnTo>
                <a:lnTo>
                  <a:pt x="9200" y="10200"/>
                </a:lnTo>
                <a:lnTo>
                  <a:pt x="9200" y="9003"/>
                </a:lnTo>
                <a:cubicBezTo>
                  <a:pt x="9200" y="8751"/>
                  <a:pt x="8980" y="8562"/>
                  <a:pt x="8759" y="8562"/>
                </a:cubicBezTo>
                <a:lnTo>
                  <a:pt x="6270" y="8562"/>
                </a:lnTo>
                <a:cubicBezTo>
                  <a:pt x="6050" y="8562"/>
                  <a:pt x="5892" y="8751"/>
                  <a:pt x="5892" y="9003"/>
                </a:cubicBezTo>
                <a:lnTo>
                  <a:pt x="5892" y="10200"/>
                </a:lnTo>
                <a:lnTo>
                  <a:pt x="2584" y="10200"/>
                </a:lnTo>
                <a:lnTo>
                  <a:pt x="2584" y="4151"/>
                </a:lnTo>
                <a:close/>
                <a:moveTo>
                  <a:pt x="914" y="3080"/>
                </a:moveTo>
                <a:lnTo>
                  <a:pt x="1733" y="3899"/>
                </a:lnTo>
                <a:lnTo>
                  <a:pt x="1733" y="10452"/>
                </a:lnTo>
                <a:lnTo>
                  <a:pt x="914" y="11271"/>
                </a:lnTo>
                <a:lnTo>
                  <a:pt x="914" y="3080"/>
                </a:lnTo>
                <a:close/>
                <a:moveTo>
                  <a:pt x="11941" y="3080"/>
                </a:moveTo>
                <a:lnTo>
                  <a:pt x="11941" y="11271"/>
                </a:lnTo>
                <a:lnTo>
                  <a:pt x="11122" y="10452"/>
                </a:lnTo>
                <a:lnTo>
                  <a:pt x="11122" y="3899"/>
                </a:lnTo>
                <a:lnTo>
                  <a:pt x="11941" y="3080"/>
                </a:lnTo>
                <a:close/>
                <a:moveTo>
                  <a:pt x="10492" y="11050"/>
                </a:moveTo>
                <a:lnTo>
                  <a:pt x="11311" y="11870"/>
                </a:lnTo>
                <a:lnTo>
                  <a:pt x="1481" y="11870"/>
                </a:lnTo>
                <a:lnTo>
                  <a:pt x="2300" y="11050"/>
                </a:lnTo>
                <a:close/>
                <a:moveTo>
                  <a:pt x="6254" y="0"/>
                </a:moveTo>
                <a:cubicBezTo>
                  <a:pt x="6144" y="0"/>
                  <a:pt x="6034" y="39"/>
                  <a:pt x="5955" y="118"/>
                </a:cubicBezTo>
                <a:lnTo>
                  <a:pt x="4443" y="1662"/>
                </a:lnTo>
                <a:lnTo>
                  <a:pt x="379" y="1662"/>
                </a:lnTo>
                <a:cubicBezTo>
                  <a:pt x="221" y="1693"/>
                  <a:pt x="95" y="1819"/>
                  <a:pt x="64" y="1946"/>
                </a:cubicBezTo>
                <a:cubicBezTo>
                  <a:pt x="1" y="2009"/>
                  <a:pt x="64" y="1473"/>
                  <a:pt x="64" y="12248"/>
                </a:cubicBezTo>
                <a:cubicBezTo>
                  <a:pt x="64" y="12374"/>
                  <a:pt x="95" y="12500"/>
                  <a:pt x="221" y="12563"/>
                </a:cubicBezTo>
                <a:cubicBezTo>
                  <a:pt x="284" y="12657"/>
                  <a:pt x="379" y="12657"/>
                  <a:pt x="473" y="12657"/>
                </a:cubicBezTo>
                <a:lnTo>
                  <a:pt x="12351" y="12657"/>
                </a:lnTo>
                <a:cubicBezTo>
                  <a:pt x="12571" y="12657"/>
                  <a:pt x="12729" y="12468"/>
                  <a:pt x="12729" y="12216"/>
                </a:cubicBezTo>
                <a:lnTo>
                  <a:pt x="12729" y="2009"/>
                </a:lnTo>
                <a:cubicBezTo>
                  <a:pt x="12760" y="1851"/>
                  <a:pt x="12571" y="1662"/>
                  <a:pt x="12351" y="1662"/>
                </a:cubicBezTo>
                <a:lnTo>
                  <a:pt x="8097" y="1662"/>
                </a:lnTo>
                <a:lnTo>
                  <a:pt x="6554" y="118"/>
                </a:lnTo>
                <a:cubicBezTo>
                  <a:pt x="6475" y="39"/>
                  <a:pt x="6365" y="0"/>
                  <a:pt x="6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0" name="Google Shape;9290;p76"/>
          <p:cNvGrpSpPr/>
          <p:nvPr/>
        </p:nvGrpSpPr>
        <p:grpSpPr>
          <a:xfrm>
            <a:off x="2131694" y="1981750"/>
            <a:ext cx="375591" cy="374060"/>
            <a:chOff x="-42062025" y="2316000"/>
            <a:chExt cx="319000" cy="317700"/>
          </a:xfrm>
        </p:grpSpPr>
        <p:sp>
          <p:nvSpPr>
            <p:cNvPr id="9291" name="Google Shape;9291;p76"/>
            <p:cNvSpPr/>
            <p:nvPr/>
          </p:nvSpPr>
          <p:spPr>
            <a:xfrm>
              <a:off x="-41965150" y="2477075"/>
              <a:ext cx="124475" cy="112675"/>
            </a:xfrm>
            <a:custGeom>
              <a:avLst/>
              <a:gdLst/>
              <a:ahLst/>
              <a:cxnLst/>
              <a:rect l="l" t="t" r="r" b="b"/>
              <a:pathLst>
                <a:path w="4979" h="4507" extrusionOk="0">
                  <a:moveTo>
                    <a:pt x="2521" y="1371"/>
                  </a:moveTo>
                  <a:lnTo>
                    <a:pt x="2773" y="1812"/>
                  </a:lnTo>
                  <a:cubicBezTo>
                    <a:pt x="2836" y="1938"/>
                    <a:pt x="2931" y="2001"/>
                    <a:pt x="3088" y="2064"/>
                  </a:cubicBezTo>
                  <a:lnTo>
                    <a:pt x="3592" y="2127"/>
                  </a:lnTo>
                  <a:lnTo>
                    <a:pt x="3151" y="2473"/>
                  </a:lnTo>
                  <a:cubicBezTo>
                    <a:pt x="3088" y="2568"/>
                    <a:pt x="2994" y="2725"/>
                    <a:pt x="3057" y="2851"/>
                  </a:cubicBezTo>
                  <a:lnTo>
                    <a:pt x="3120" y="3355"/>
                  </a:lnTo>
                  <a:lnTo>
                    <a:pt x="2679" y="3103"/>
                  </a:lnTo>
                  <a:cubicBezTo>
                    <a:pt x="2631" y="3072"/>
                    <a:pt x="2568" y="3056"/>
                    <a:pt x="2501" y="3056"/>
                  </a:cubicBezTo>
                  <a:cubicBezTo>
                    <a:pt x="2434" y="3056"/>
                    <a:pt x="2364" y="3072"/>
                    <a:pt x="2301" y="3103"/>
                  </a:cubicBezTo>
                  <a:lnTo>
                    <a:pt x="1860" y="3355"/>
                  </a:lnTo>
                  <a:lnTo>
                    <a:pt x="1954" y="2851"/>
                  </a:lnTo>
                  <a:cubicBezTo>
                    <a:pt x="1986" y="2725"/>
                    <a:pt x="1891" y="2568"/>
                    <a:pt x="1828" y="2473"/>
                  </a:cubicBezTo>
                  <a:lnTo>
                    <a:pt x="1481" y="2127"/>
                  </a:lnTo>
                  <a:lnTo>
                    <a:pt x="1986" y="2064"/>
                  </a:lnTo>
                  <a:cubicBezTo>
                    <a:pt x="2112" y="2064"/>
                    <a:pt x="2206" y="1938"/>
                    <a:pt x="2301" y="1812"/>
                  </a:cubicBezTo>
                  <a:lnTo>
                    <a:pt x="2521" y="1371"/>
                  </a:lnTo>
                  <a:close/>
                  <a:moveTo>
                    <a:pt x="2474" y="0"/>
                  </a:moveTo>
                  <a:cubicBezTo>
                    <a:pt x="2332" y="0"/>
                    <a:pt x="2190" y="79"/>
                    <a:pt x="2112" y="236"/>
                  </a:cubicBezTo>
                  <a:lnTo>
                    <a:pt x="1576" y="1276"/>
                  </a:lnTo>
                  <a:lnTo>
                    <a:pt x="473" y="1434"/>
                  </a:lnTo>
                  <a:cubicBezTo>
                    <a:pt x="127" y="1465"/>
                    <a:pt x="1" y="1906"/>
                    <a:pt x="253" y="2127"/>
                  </a:cubicBezTo>
                  <a:lnTo>
                    <a:pt x="1040" y="2914"/>
                  </a:lnTo>
                  <a:lnTo>
                    <a:pt x="851" y="4017"/>
                  </a:lnTo>
                  <a:cubicBezTo>
                    <a:pt x="802" y="4291"/>
                    <a:pt x="1028" y="4506"/>
                    <a:pt x="1249" y="4506"/>
                  </a:cubicBezTo>
                  <a:cubicBezTo>
                    <a:pt x="1308" y="4506"/>
                    <a:pt x="1366" y="4491"/>
                    <a:pt x="1418" y="4458"/>
                  </a:cubicBezTo>
                  <a:lnTo>
                    <a:pt x="2427" y="3954"/>
                  </a:lnTo>
                  <a:lnTo>
                    <a:pt x="3403" y="4458"/>
                  </a:lnTo>
                  <a:cubicBezTo>
                    <a:pt x="3465" y="4489"/>
                    <a:pt x="3528" y="4503"/>
                    <a:pt x="3589" y="4503"/>
                  </a:cubicBezTo>
                  <a:cubicBezTo>
                    <a:pt x="3839" y="4503"/>
                    <a:pt x="4052" y="4270"/>
                    <a:pt x="4002" y="4017"/>
                  </a:cubicBezTo>
                  <a:lnTo>
                    <a:pt x="3781" y="2914"/>
                  </a:lnTo>
                  <a:lnTo>
                    <a:pt x="4569" y="2127"/>
                  </a:lnTo>
                  <a:cubicBezTo>
                    <a:pt x="4978" y="1906"/>
                    <a:pt x="4821" y="1465"/>
                    <a:pt x="4474" y="1434"/>
                  </a:cubicBezTo>
                  <a:lnTo>
                    <a:pt x="3372" y="1276"/>
                  </a:lnTo>
                  <a:lnTo>
                    <a:pt x="2836" y="236"/>
                  </a:lnTo>
                  <a:cubicBezTo>
                    <a:pt x="2757" y="79"/>
                    <a:pt x="2616" y="0"/>
                    <a:pt x="2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76"/>
            <p:cNvSpPr/>
            <p:nvPr/>
          </p:nvSpPr>
          <p:spPr>
            <a:xfrm>
              <a:off x="-42062025" y="2316000"/>
              <a:ext cx="319000" cy="317700"/>
            </a:xfrm>
            <a:custGeom>
              <a:avLst/>
              <a:gdLst/>
              <a:ahLst/>
              <a:cxnLst/>
              <a:rect l="l" t="t" r="r" b="b"/>
              <a:pathLst>
                <a:path w="12760" h="12708" extrusionOk="0">
                  <a:moveTo>
                    <a:pt x="9610" y="851"/>
                  </a:moveTo>
                  <a:lnTo>
                    <a:pt x="8129" y="2615"/>
                  </a:lnTo>
                  <a:cubicBezTo>
                    <a:pt x="8097" y="2584"/>
                    <a:pt x="8034" y="2584"/>
                    <a:pt x="7940" y="2584"/>
                  </a:cubicBezTo>
                  <a:lnTo>
                    <a:pt x="4821" y="2584"/>
                  </a:lnTo>
                  <a:cubicBezTo>
                    <a:pt x="4758" y="2584"/>
                    <a:pt x="4726" y="2584"/>
                    <a:pt x="4632" y="2615"/>
                  </a:cubicBezTo>
                  <a:lnTo>
                    <a:pt x="3183" y="851"/>
                  </a:lnTo>
                  <a:close/>
                  <a:moveTo>
                    <a:pt x="7530" y="3371"/>
                  </a:moveTo>
                  <a:lnTo>
                    <a:pt x="6396" y="4726"/>
                  </a:lnTo>
                  <a:lnTo>
                    <a:pt x="5293" y="3371"/>
                  </a:lnTo>
                  <a:close/>
                  <a:moveTo>
                    <a:pt x="10555" y="1009"/>
                  </a:moveTo>
                  <a:lnTo>
                    <a:pt x="11783" y="2237"/>
                  </a:lnTo>
                  <a:lnTo>
                    <a:pt x="8759" y="5923"/>
                  </a:lnTo>
                  <a:cubicBezTo>
                    <a:pt x="8255" y="5545"/>
                    <a:pt x="7719" y="5262"/>
                    <a:pt x="7121" y="5136"/>
                  </a:cubicBezTo>
                  <a:lnTo>
                    <a:pt x="10555" y="1009"/>
                  </a:lnTo>
                  <a:close/>
                  <a:moveTo>
                    <a:pt x="2269" y="1040"/>
                  </a:moveTo>
                  <a:lnTo>
                    <a:pt x="5703" y="5199"/>
                  </a:lnTo>
                  <a:cubicBezTo>
                    <a:pt x="5104" y="5293"/>
                    <a:pt x="4506" y="5545"/>
                    <a:pt x="4033" y="5986"/>
                  </a:cubicBezTo>
                  <a:cubicBezTo>
                    <a:pt x="3214" y="4947"/>
                    <a:pt x="1040" y="2269"/>
                    <a:pt x="1040" y="2269"/>
                  </a:cubicBezTo>
                  <a:lnTo>
                    <a:pt x="2269" y="1040"/>
                  </a:lnTo>
                  <a:close/>
                  <a:moveTo>
                    <a:pt x="6349" y="5978"/>
                  </a:moveTo>
                  <a:cubicBezTo>
                    <a:pt x="7097" y="5978"/>
                    <a:pt x="7845" y="6254"/>
                    <a:pt x="8412" y="6805"/>
                  </a:cubicBezTo>
                  <a:lnTo>
                    <a:pt x="8538" y="6932"/>
                  </a:lnTo>
                  <a:cubicBezTo>
                    <a:pt x="8633" y="7026"/>
                    <a:pt x="8727" y="7152"/>
                    <a:pt x="8822" y="7278"/>
                  </a:cubicBezTo>
                  <a:cubicBezTo>
                    <a:pt x="9452" y="8097"/>
                    <a:pt x="9484" y="9168"/>
                    <a:pt x="9137" y="10082"/>
                  </a:cubicBezTo>
                  <a:cubicBezTo>
                    <a:pt x="8662" y="11199"/>
                    <a:pt x="7524" y="11885"/>
                    <a:pt x="6358" y="11885"/>
                  </a:cubicBezTo>
                  <a:cubicBezTo>
                    <a:pt x="5978" y="11885"/>
                    <a:pt x="5595" y="11812"/>
                    <a:pt x="5230" y="11657"/>
                  </a:cubicBezTo>
                  <a:cubicBezTo>
                    <a:pt x="3340" y="10870"/>
                    <a:pt x="2805" y="8412"/>
                    <a:pt x="4159" y="6932"/>
                  </a:cubicBezTo>
                  <a:lnTo>
                    <a:pt x="4285" y="6805"/>
                  </a:lnTo>
                  <a:cubicBezTo>
                    <a:pt x="4852" y="6254"/>
                    <a:pt x="5601" y="5978"/>
                    <a:pt x="6349" y="5978"/>
                  </a:cubicBezTo>
                  <a:close/>
                  <a:moveTo>
                    <a:pt x="2269" y="0"/>
                  </a:moveTo>
                  <a:cubicBezTo>
                    <a:pt x="2143" y="0"/>
                    <a:pt x="2048" y="32"/>
                    <a:pt x="1954" y="95"/>
                  </a:cubicBezTo>
                  <a:lnTo>
                    <a:pt x="158" y="1922"/>
                  </a:lnTo>
                  <a:cubicBezTo>
                    <a:pt x="1" y="2080"/>
                    <a:pt x="1" y="2300"/>
                    <a:pt x="95" y="2458"/>
                  </a:cubicBezTo>
                  <a:lnTo>
                    <a:pt x="3372" y="6522"/>
                  </a:lnTo>
                  <a:cubicBezTo>
                    <a:pt x="1985" y="8255"/>
                    <a:pt x="2395" y="10807"/>
                    <a:pt x="4254" y="12035"/>
                  </a:cubicBezTo>
                  <a:cubicBezTo>
                    <a:pt x="4911" y="12489"/>
                    <a:pt x="5659" y="12708"/>
                    <a:pt x="6397" y="12708"/>
                  </a:cubicBezTo>
                  <a:cubicBezTo>
                    <a:pt x="7606" y="12708"/>
                    <a:pt x="8791" y="12122"/>
                    <a:pt x="9515" y="11027"/>
                  </a:cubicBezTo>
                  <a:cubicBezTo>
                    <a:pt x="10429" y="9641"/>
                    <a:pt x="10397" y="7814"/>
                    <a:pt x="9326" y="6522"/>
                  </a:cubicBezTo>
                  <a:lnTo>
                    <a:pt x="12634" y="2458"/>
                  </a:lnTo>
                  <a:cubicBezTo>
                    <a:pt x="12760" y="2300"/>
                    <a:pt x="12760" y="2080"/>
                    <a:pt x="12603" y="1922"/>
                  </a:cubicBezTo>
                  <a:lnTo>
                    <a:pt x="10775" y="95"/>
                  </a:lnTo>
                  <a:cubicBezTo>
                    <a:pt x="10712" y="32"/>
                    <a:pt x="10555" y="0"/>
                    <a:pt x="104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93" name="Google Shape;9293;p76"/>
          <p:cNvSpPr/>
          <p:nvPr/>
        </p:nvSpPr>
        <p:spPr>
          <a:xfrm>
            <a:off x="2135027" y="2413185"/>
            <a:ext cx="378387" cy="375296"/>
          </a:xfrm>
          <a:custGeom>
            <a:avLst/>
            <a:gdLst/>
            <a:ahLst/>
            <a:cxnLst/>
            <a:rect l="l" t="t" r="r" b="b"/>
            <a:pathLst>
              <a:path w="12855" h="12750" extrusionOk="0">
                <a:moveTo>
                  <a:pt x="6304" y="770"/>
                </a:moveTo>
                <a:cubicBezTo>
                  <a:pt x="6519" y="770"/>
                  <a:pt x="6711" y="952"/>
                  <a:pt x="6711" y="1186"/>
                </a:cubicBezTo>
                <a:lnTo>
                  <a:pt x="6711" y="1659"/>
                </a:lnTo>
                <a:cubicBezTo>
                  <a:pt x="6569" y="1643"/>
                  <a:pt x="6435" y="1635"/>
                  <a:pt x="6302" y="1635"/>
                </a:cubicBezTo>
                <a:cubicBezTo>
                  <a:pt x="6168" y="1635"/>
                  <a:pt x="6034" y="1643"/>
                  <a:pt x="5892" y="1659"/>
                </a:cubicBezTo>
                <a:lnTo>
                  <a:pt x="5892" y="1186"/>
                </a:lnTo>
                <a:cubicBezTo>
                  <a:pt x="5892" y="1029"/>
                  <a:pt x="5955" y="934"/>
                  <a:pt x="6081" y="840"/>
                </a:cubicBezTo>
                <a:cubicBezTo>
                  <a:pt x="6154" y="791"/>
                  <a:pt x="6230" y="770"/>
                  <a:pt x="6304" y="770"/>
                </a:cubicBezTo>
                <a:close/>
                <a:moveTo>
                  <a:pt x="6249" y="2423"/>
                </a:moveTo>
                <a:cubicBezTo>
                  <a:pt x="7067" y="2423"/>
                  <a:pt x="7748" y="3312"/>
                  <a:pt x="7373" y="4148"/>
                </a:cubicBezTo>
                <a:cubicBezTo>
                  <a:pt x="7184" y="4619"/>
                  <a:pt x="6731" y="4914"/>
                  <a:pt x="6251" y="4914"/>
                </a:cubicBezTo>
                <a:cubicBezTo>
                  <a:pt x="6089" y="4914"/>
                  <a:pt x="5925" y="4881"/>
                  <a:pt x="5766" y="4809"/>
                </a:cubicBezTo>
                <a:cubicBezTo>
                  <a:pt x="5136" y="4557"/>
                  <a:pt x="4852" y="3707"/>
                  <a:pt x="5230" y="3045"/>
                </a:cubicBezTo>
                <a:cubicBezTo>
                  <a:pt x="5325" y="2856"/>
                  <a:pt x="5482" y="2699"/>
                  <a:pt x="5640" y="2604"/>
                </a:cubicBezTo>
                <a:cubicBezTo>
                  <a:pt x="5766" y="2541"/>
                  <a:pt x="5892" y="2510"/>
                  <a:pt x="6018" y="2447"/>
                </a:cubicBezTo>
                <a:cubicBezTo>
                  <a:pt x="6096" y="2431"/>
                  <a:pt x="6173" y="2423"/>
                  <a:pt x="6249" y="2423"/>
                </a:cubicBezTo>
                <a:close/>
                <a:moveTo>
                  <a:pt x="4852" y="5156"/>
                </a:moveTo>
                <a:cubicBezTo>
                  <a:pt x="5041" y="5377"/>
                  <a:pt x="5293" y="5534"/>
                  <a:pt x="5577" y="5597"/>
                </a:cubicBezTo>
                <a:lnTo>
                  <a:pt x="3939" y="8243"/>
                </a:lnTo>
                <a:lnTo>
                  <a:pt x="2962" y="8243"/>
                </a:lnTo>
                <a:lnTo>
                  <a:pt x="4852" y="5156"/>
                </a:lnTo>
                <a:close/>
                <a:moveTo>
                  <a:pt x="7719" y="5187"/>
                </a:moveTo>
                <a:lnTo>
                  <a:pt x="9610" y="8243"/>
                </a:lnTo>
                <a:lnTo>
                  <a:pt x="8633" y="8243"/>
                </a:lnTo>
                <a:lnTo>
                  <a:pt x="7026" y="5597"/>
                </a:lnTo>
                <a:cubicBezTo>
                  <a:pt x="7310" y="5503"/>
                  <a:pt x="7530" y="5377"/>
                  <a:pt x="7719" y="5187"/>
                </a:cubicBezTo>
                <a:close/>
                <a:moveTo>
                  <a:pt x="6333" y="6007"/>
                </a:moveTo>
                <a:lnTo>
                  <a:pt x="7688" y="8275"/>
                </a:lnTo>
                <a:lnTo>
                  <a:pt x="7467" y="8275"/>
                </a:lnTo>
                <a:lnTo>
                  <a:pt x="7467" y="8243"/>
                </a:lnTo>
                <a:cubicBezTo>
                  <a:pt x="7373" y="7960"/>
                  <a:pt x="7215" y="7771"/>
                  <a:pt x="6995" y="7613"/>
                </a:cubicBezTo>
                <a:cubicBezTo>
                  <a:pt x="6783" y="7462"/>
                  <a:pt x="6545" y="7391"/>
                  <a:pt x="6310" y="7391"/>
                </a:cubicBezTo>
                <a:cubicBezTo>
                  <a:pt x="5812" y="7391"/>
                  <a:pt x="5329" y="7708"/>
                  <a:pt x="5136" y="8243"/>
                </a:cubicBezTo>
                <a:lnTo>
                  <a:pt x="4947" y="8243"/>
                </a:lnTo>
                <a:lnTo>
                  <a:pt x="6333" y="6007"/>
                </a:lnTo>
                <a:close/>
                <a:moveTo>
                  <a:pt x="6274" y="8212"/>
                </a:moveTo>
                <a:cubicBezTo>
                  <a:pt x="6325" y="8212"/>
                  <a:pt x="6377" y="8222"/>
                  <a:pt x="6428" y="8243"/>
                </a:cubicBezTo>
                <a:cubicBezTo>
                  <a:pt x="6585" y="8306"/>
                  <a:pt x="6680" y="8495"/>
                  <a:pt x="6680" y="8653"/>
                </a:cubicBezTo>
                <a:cubicBezTo>
                  <a:pt x="6704" y="8901"/>
                  <a:pt x="6515" y="9071"/>
                  <a:pt x="6295" y="9071"/>
                </a:cubicBezTo>
                <a:cubicBezTo>
                  <a:pt x="6235" y="9071"/>
                  <a:pt x="6173" y="9058"/>
                  <a:pt x="6113" y="9031"/>
                </a:cubicBezTo>
                <a:cubicBezTo>
                  <a:pt x="5924" y="8968"/>
                  <a:pt x="5798" y="8716"/>
                  <a:pt x="5892" y="8495"/>
                </a:cubicBezTo>
                <a:cubicBezTo>
                  <a:pt x="5941" y="8326"/>
                  <a:pt x="6101" y="8212"/>
                  <a:pt x="6274" y="8212"/>
                </a:cubicBezTo>
                <a:close/>
                <a:moveTo>
                  <a:pt x="3435" y="9063"/>
                </a:moveTo>
                <a:lnTo>
                  <a:pt x="1891" y="11583"/>
                </a:lnTo>
                <a:cubicBezTo>
                  <a:pt x="1576" y="11205"/>
                  <a:pt x="1513" y="10606"/>
                  <a:pt x="1796" y="10165"/>
                </a:cubicBezTo>
                <a:lnTo>
                  <a:pt x="2458" y="9063"/>
                </a:lnTo>
                <a:close/>
                <a:moveTo>
                  <a:pt x="10145" y="9063"/>
                </a:moveTo>
                <a:lnTo>
                  <a:pt x="10807" y="10165"/>
                </a:lnTo>
                <a:cubicBezTo>
                  <a:pt x="11027" y="10606"/>
                  <a:pt x="10996" y="11205"/>
                  <a:pt x="10681" y="11583"/>
                </a:cubicBezTo>
                <a:lnTo>
                  <a:pt x="9169" y="9063"/>
                </a:lnTo>
                <a:close/>
                <a:moveTo>
                  <a:pt x="6256" y="1"/>
                </a:moveTo>
                <a:cubicBezTo>
                  <a:pt x="5728" y="1"/>
                  <a:pt x="5259" y="331"/>
                  <a:pt x="5104" y="871"/>
                </a:cubicBezTo>
                <a:cubicBezTo>
                  <a:pt x="5041" y="997"/>
                  <a:pt x="5041" y="1123"/>
                  <a:pt x="5041" y="1218"/>
                </a:cubicBezTo>
                <a:lnTo>
                  <a:pt x="5041" y="2069"/>
                </a:lnTo>
                <a:cubicBezTo>
                  <a:pt x="4317" y="2604"/>
                  <a:pt x="4033" y="3581"/>
                  <a:pt x="4348" y="4431"/>
                </a:cubicBezTo>
                <a:cubicBezTo>
                  <a:pt x="4002" y="4998"/>
                  <a:pt x="2836" y="6920"/>
                  <a:pt x="1985" y="8275"/>
                </a:cubicBezTo>
                <a:lnTo>
                  <a:pt x="473" y="8275"/>
                </a:lnTo>
                <a:cubicBezTo>
                  <a:pt x="284" y="8275"/>
                  <a:pt x="95" y="8432"/>
                  <a:pt x="64" y="8653"/>
                </a:cubicBezTo>
                <a:cubicBezTo>
                  <a:pt x="1" y="8874"/>
                  <a:pt x="221" y="9094"/>
                  <a:pt x="442" y="9094"/>
                </a:cubicBezTo>
                <a:lnTo>
                  <a:pt x="1418" y="9094"/>
                </a:lnTo>
                <a:lnTo>
                  <a:pt x="1009" y="9787"/>
                </a:lnTo>
                <a:cubicBezTo>
                  <a:pt x="599" y="10417"/>
                  <a:pt x="599" y="11236"/>
                  <a:pt x="946" y="11866"/>
                </a:cubicBezTo>
                <a:cubicBezTo>
                  <a:pt x="1103" y="12182"/>
                  <a:pt x="1387" y="12465"/>
                  <a:pt x="1702" y="12654"/>
                </a:cubicBezTo>
                <a:cubicBezTo>
                  <a:pt x="1761" y="12694"/>
                  <a:pt x="1827" y="12711"/>
                  <a:pt x="1893" y="12711"/>
                </a:cubicBezTo>
                <a:cubicBezTo>
                  <a:pt x="2037" y="12711"/>
                  <a:pt x="2182" y="12626"/>
                  <a:pt x="2269" y="12497"/>
                </a:cubicBezTo>
                <a:lnTo>
                  <a:pt x="4348" y="9094"/>
                </a:lnTo>
                <a:lnTo>
                  <a:pt x="5041" y="9094"/>
                </a:lnTo>
                <a:cubicBezTo>
                  <a:pt x="5167" y="9504"/>
                  <a:pt x="5482" y="9787"/>
                  <a:pt x="5829" y="9882"/>
                </a:cubicBezTo>
                <a:cubicBezTo>
                  <a:pt x="5961" y="9928"/>
                  <a:pt x="6096" y="9950"/>
                  <a:pt x="6227" y="9950"/>
                </a:cubicBezTo>
                <a:cubicBezTo>
                  <a:pt x="6628" y="9950"/>
                  <a:pt x="7002" y="9749"/>
                  <a:pt x="7215" y="9441"/>
                </a:cubicBezTo>
                <a:cubicBezTo>
                  <a:pt x="7310" y="9346"/>
                  <a:pt x="7373" y="9189"/>
                  <a:pt x="7373" y="9189"/>
                </a:cubicBezTo>
                <a:lnTo>
                  <a:pt x="8097" y="9189"/>
                </a:lnTo>
                <a:lnTo>
                  <a:pt x="10145" y="12528"/>
                </a:lnTo>
                <a:cubicBezTo>
                  <a:pt x="10207" y="12673"/>
                  <a:pt x="10337" y="12750"/>
                  <a:pt x="10473" y="12750"/>
                </a:cubicBezTo>
                <a:cubicBezTo>
                  <a:pt x="10544" y="12750"/>
                  <a:pt x="10616" y="12729"/>
                  <a:pt x="10681" y="12686"/>
                </a:cubicBezTo>
                <a:cubicBezTo>
                  <a:pt x="11657" y="12119"/>
                  <a:pt x="11972" y="10795"/>
                  <a:pt x="11405" y="9850"/>
                </a:cubicBezTo>
                <a:lnTo>
                  <a:pt x="10996" y="9189"/>
                </a:lnTo>
                <a:lnTo>
                  <a:pt x="12288" y="9189"/>
                </a:lnTo>
                <a:cubicBezTo>
                  <a:pt x="12508" y="9189"/>
                  <a:pt x="12697" y="9031"/>
                  <a:pt x="12729" y="8842"/>
                </a:cubicBezTo>
                <a:cubicBezTo>
                  <a:pt x="12855" y="8432"/>
                  <a:pt x="12666" y="8243"/>
                  <a:pt x="12382" y="8243"/>
                </a:cubicBezTo>
                <a:lnTo>
                  <a:pt x="10555" y="8243"/>
                </a:lnTo>
                <a:lnTo>
                  <a:pt x="8192" y="4368"/>
                </a:lnTo>
                <a:cubicBezTo>
                  <a:pt x="8507" y="3549"/>
                  <a:pt x="8255" y="2573"/>
                  <a:pt x="7499" y="2005"/>
                </a:cubicBezTo>
                <a:lnTo>
                  <a:pt x="7499" y="1218"/>
                </a:lnTo>
                <a:cubicBezTo>
                  <a:pt x="7499" y="682"/>
                  <a:pt x="7152" y="210"/>
                  <a:pt x="6617" y="52"/>
                </a:cubicBezTo>
                <a:cubicBezTo>
                  <a:pt x="6495" y="18"/>
                  <a:pt x="6374" y="1"/>
                  <a:pt x="62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4" name="Google Shape;9294;p76"/>
          <p:cNvGrpSpPr/>
          <p:nvPr/>
        </p:nvGrpSpPr>
        <p:grpSpPr>
          <a:xfrm>
            <a:off x="876569" y="2892853"/>
            <a:ext cx="330143" cy="368173"/>
            <a:chOff x="-40150450" y="1977325"/>
            <a:chExt cx="280400" cy="312700"/>
          </a:xfrm>
        </p:grpSpPr>
        <p:sp>
          <p:nvSpPr>
            <p:cNvPr id="9295" name="Google Shape;9295;p76"/>
            <p:cNvSpPr/>
            <p:nvPr/>
          </p:nvSpPr>
          <p:spPr>
            <a:xfrm>
              <a:off x="-40052800" y="204112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76"/>
            <p:cNvSpPr/>
            <p:nvPr/>
          </p:nvSpPr>
          <p:spPr>
            <a:xfrm>
              <a:off x="-40150450" y="1977325"/>
              <a:ext cx="280400" cy="312700"/>
            </a:xfrm>
            <a:custGeom>
              <a:avLst/>
              <a:gdLst/>
              <a:ahLst/>
              <a:cxnLst/>
              <a:rect l="l" t="t" r="r" b="b"/>
              <a:pathLst>
                <a:path w="11216" h="12508" extrusionOk="0">
                  <a:moveTo>
                    <a:pt x="8379" y="838"/>
                  </a:moveTo>
                  <a:cubicBezTo>
                    <a:pt x="8626" y="838"/>
                    <a:pt x="8880" y="873"/>
                    <a:pt x="9137" y="946"/>
                  </a:cubicBezTo>
                  <a:cubicBezTo>
                    <a:pt x="8948" y="1733"/>
                    <a:pt x="8506" y="2300"/>
                    <a:pt x="7971" y="2615"/>
                  </a:cubicBezTo>
                  <a:cubicBezTo>
                    <a:pt x="7908" y="2678"/>
                    <a:pt x="7876" y="2678"/>
                    <a:pt x="7876" y="2678"/>
                  </a:cubicBezTo>
                  <a:cubicBezTo>
                    <a:pt x="7861" y="2694"/>
                    <a:pt x="7853" y="2694"/>
                    <a:pt x="7845" y="2694"/>
                  </a:cubicBezTo>
                  <a:cubicBezTo>
                    <a:pt x="7837" y="2694"/>
                    <a:pt x="7829" y="2694"/>
                    <a:pt x="7813" y="2710"/>
                  </a:cubicBezTo>
                  <a:cubicBezTo>
                    <a:pt x="7470" y="2868"/>
                    <a:pt x="7083" y="2938"/>
                    <a:pt x="6744" y="2938"/>
                  </a:cubicBezTo>
                  <a:cubicBezTo>
                    <a:pt x="6678" y="2938"/>
                    <a:pt x="6615" y="2935"/>
                    <a:pt x="6553" y="2930"/>
                  </a:cubicBezTo>
                  <a:lnTo>
                    <a:pt x="6459" y="2930"/>
                  </a:lnTo>
                  <a:cubicBezTo>
                    <a:pt x="6301" y="2930"/>
                    <a:pt x="6112" y="2899"/>
                    <a:pt x="5955" y="2867"/>
                  </a:cubicBezTo>
                  <a:cubicBezTo>
                    <a:pt x="6240" y="1597"/>
                    <a:pt x="7230" y="838"/>
                    <a:pt x="8379" y="838"/>
                  </a:cubicBezTo>
                  <a:close/>
                  <a:moveTo>
                    <a:pt x="9798" y="8538"/>
                  </a:moveTo>
                  <a:lnTo>
                    <a:pt x="9798" y="8538"/>
                  </a:lnTo>
                  <a:cubicBezTo>
                    <a:pt x="9831" y="8545"/>
                    <a:pt x="9862" y="8554"/>
                    <a:pt x="9892" y="8565"/>
                  </a:cubicBezTo>
                  <a:lnTo>
                    <a:pt x="9892" y="8565"/>
                  </a:lnTo>
                  <a:cubicBezTo>
                    <a:pt x="9829" y="8546"/>
                    <a:pt x="9798" y="8538"/>
                    <a:pt x="9798" y="8538"/>
                  </a:cubicBezTo>
                  <a:close/>
                  <a:moveTo>
                    <a:pt x="3433" y="3256"/>
                  </a:moveTo>
                  <a:cubicBezTo>
                    <a:pt x="3506" y="3256"/>
                    <a:pt x="3570" y="3264"/>
                    <a:pt x="3623" y="3277"/>
                  </a:cubicBezTo>
                  <a:cubicBezTo>
                    <a:pt x="4064" y="3403"/>
                    <a:pt x="4631" y="3970"/>
                    <a:pt x="5167" y="4128"/>
                  </a:cubicBezTo>
                  <a:cubicBezTo>
                    <a:pt x="5293" y="4159"/>
                    <a:pt x="5419" y="4159"/>
                    <a:pt x="5514" y="4159"/>
                  </a:cubicBezTo>
                  <a:lnTo>
                    <a:pt x="5577" y="4159"/>
                  </a:lnTo>
                  <a:cubicBezTo>
                    <a:pt x="5923" y="4159"/>
                    <a:pt x="6270" y="3907"/>
                    <a:pt x="6585" y="3718"/>
                  </a:cubicBezTo>
                  <a:cubicBezTo>
                    <a:pt x="7152" y="3718"/>
                    <a:pt x="7687" y="3592"/>
                    <a:pt x="8160" y="3371"/>
                  </a:cubicBezTo>
                  <a:cubicBezTo>
                    <a:pt x="9294" y="3812"/>
                    <a:pt x="10838" y="5388"/>
                    <a:pt x="9767" y="8475"/>
                  </a:cubicBezTo>
                  <a:cubicBezTo>
                    <a:pt x="9420" y="9672"/>
                    <a:pt x="8506" y="11342"/>
                    <a:pt x="7561" y="11594"/>
                  </a:cubicBezTo>
                  <a:cubicBezTo>
                    <a:pt x="7484" y="11627"/>
                    <a:pt x="7404" y="11641"/>
                    <a:pt x="7319" y="11641"/>
                  </a:cubicBezTo>
                  <a:cubicBezTo>
                    <a:pt x="7161" y="11641"/>
                    <a:pt x="6990" y="11593"/>
                    <a:pt x="6805" y="11531"/>
                  </a:cubicBezTo>
                  <a:cubicBezTo>
                    <a:pt x="6459" y="11279"/>
                    <a:pt x="6081" y="11027"/>
                    <a:pt x="5608" y="11027"/>
                  </a:cubicBezTo>
                  <a:cubicBezTo>
                    <a:pt x="5482" y="11027"/>
                    <a:pt x="5356" y="11027"/>
                    <a:pt x="5135" y="11059"/>
                  </a:cubicBezTo>
                  <a:cubicBezTo>
                    <a:pt x="4820" y="11122"/>
                    <a:pt x="4537" y="11311"/>
                    <a:pt x="4253" y="11468"/>
                  </a:cubicBezTo>
                  <a:cubicBezTo>
                    <a:pt x="4094" y="11568"/>
                    <a:pt x="3934" y="11630"/>
                    <a:pt x="3767" y="11630"/>
                  </a:cubicBezTo>
                  <a:cubicBezTo>
                    <a:pt x="3670" y="11630"/>
                    <a:pt x="3570" y="11609"/>
                    <a:pt x="3466" y="11563"/>
                  </a:cubicBezTo>
                  <a:cubicBezTo>
                    <a:pt x="3119" y="11437"/>
                    <a:pt x="2804" y="11122"/>
                    <a:pt x="2552" y="10838"/>
                  </a:cubicBezTo>
                  <a:cubicBezTo>
                    <a:pt x="1386" y="9515"/>
                    <a:pt x="0" y="6207"/>
                    <a:pt x="1670" y="4222"/>
                  </a:cubicBezTo>
                  <a:cubicBezTo>
                    <a:pt x="2238" y="3518"/>
                    <a:pt x="2992" y="3256"/>
                    <a:pt x="3433" y="3256"/>
                  </a:cubicBezTo>
                  <a:close/>
                  <a:moveTo>
                    <a:pt x="8415" y="0"/>
                  </a:moveTo>
                  <a:cubicBezTo>
                    <a:pt x="7084" y="0"/>
                    <a:pt x="5925" y="752"/>
                    <a:pt x="5356" y="1985"/>
                  </a:cubicBezTo>
                  <a:cubicBezTo>
                    <a:pt x="5104" y="1576"/>
                    <a:pt x="4663" y="1198"/>
                    <a:pt x="4190" y="977"/>
                  </a:cubicBezTo>
                  <a:lnTo>
                    <a:pt x="4033" y="883"/>
                  </a:lnTo>
                  <a:cubicBezTo>
                    <a:pt x="3975" y="858"/>
                    <a:pt x="3917" y="846"/>
                    <a:pt x="3862" y="846"/>
                  </a:cubicBezTo>
                  <a:cubicBezTo>
                    <a:pt x="3703" y="846"/>
                    <a:pt x="3559" y="940"/>
                    <a:pt x="3466" y="1103"/>
                  </a:cubicBezTo>
                  <a:cubicBezTo>
                    <a:pt x="3340" y="1292"/>
                    <a:pt x="3466" y="1513"/>
                    <a:pt x="3655" y="1639"/>
                  </a:cubicBezTo>
                  <a:lnTo>
                    <a:pt x="3812" y="1733"/>
                  </a:lnTo>
                  <a:cubicBezTo>
                    <a:pt x="4411" y="1985"/>
                    <a:pt x="4820" y="2521"/>
                    <a:pt x="4978" y="3088"/>
                  </a:cubicBezTo>
                  <a:cubicBezTo>
                    <a:pt x="4600" y="2867"/>
                    <a:pt x="4253" y="2615"/>
                    <a:pt x="3907" y="2521"/>
                  </a:cubicBezTo>
                  <a:cubicBezTo>
                    <a:pt x="3773" y="2479"/>
                    <a:pt x="3623" y="2459"/>
                    <a:pt x="3462" y="2459"/>
                  </a:cubicBezTo>
                  <a:cubicBezTo>
                    <a:pt x="2151" y="2459"/>
                    <a:pt x="126" y="3831"/>
                    <a:pt x="126" y="6553"/>
                  </a:cubicBezTo>
                  <a:cubicBezTo>
                    <a:pt x="126" y="8034"/>
                    <a:pt x="725" y="9641"/>
                    <a:pt x="1544" y="10870"/>
                  </a:cubicBezTo>
                  <a:cubicBezTo>
                    <a:pt x="2365" y="12070"/>
                    <a:pt x="3159" y="12482"/>
                    <a:pt x="3830" y="12482"/>
                  </a:cubicBezTo>
                  <a:cubicBezTo>
                    <a:pt x="4162" y="12482"/>
                    <a:pt x="4465" y="12381"/>
                    <a:pt x="4726" y="12224"/>
                  </a:cubicBezTo>
                  <a:cubicBezTo>
                    <a:pt x="4978" y="12067"/>
                    <a:pt x="5324" y="11846"/>
                    <a:pt x="5514" y="11846"/>
                  </a:cubicBezTo>
                  <a:cubicBezTo>
                    <a:pt x="5545" y="11846"/>
                    <a:pt x="5573" y="11844"/>
                    <a:pt x="5602" y="11844"/>
                  </a:cubicBezTo>
                  <a:cubicBezTo>
                    <a:pt x="5689" y="11844"/>
                    <a:pt x="5789" y="11862"/>
                    <a:pt x="6049" y="12004"/>
                  </a:cubicBezTo>
                  <a:lnTo>
                    <a:pt x="6396" y="12224"/>
                  </a:lnTo>
                  <a:cubicBezTo>
                    <a:pt x="6711" y="12445"/>
                    <a:pt x="6994" y="12508"/>
                    <a:pt x="7309" y="12508"/>
                  </a:cubicBezTo>
                  <a:cubicBezTo>
                    <a:pt x="8822" y="12508"/>
                    <a:pt x="10082" y="10302"/>
                    <a:pt x="10617" y="8853"/>
                  </a:cubicBezTo>
                  <a:cubicBezTo>
                    <a:pt x="11121" y="7246"/>
                    <a:pt x="11216" y="5514"/>
                    <a:pt x="10271" y="4096"/>
                  </a:cubicBezTo>
                  <a:cubicBezTo>
                    <a:pt x="9924" y="3560"/>
                    <a:pt x="9452" y="3151"/>
                    <a:pt x="8979" y="2867"/>
                  </a:cubicBezTo>
                  <a:cubicBezTo>
                    <a:pt x="9546" y="2363"/>
                    <a:pt x="9924" y="1607"/>
                    <a:pt x="10050" y="693"/>
                  </a:cubicBezTo>
                  <a:cubicBezTo>
                    <a:pt x="10082" y="504"/>
                    <a:pt x="9956" y="347"/>
                    <a:pt x="9767" y="252"/>
                  </a:cubicBezTo>
                  <a:cubicBezTo>
                    <a:pt x="9308" y="81"/>
                    <a:pt x="8852" y="0"/>
                    <a:pt x="84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76"/>
            <p:cNvSpPr/>
            <p:nvPr/>
          </p:nvSpPr>
          <p:spPr>
            <a:xfrm>
              <a:off x="-39925200" y="210807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76"/>
            <p:cNvSpPr/>
            <p:nvPr/>
          </p:nvSpPr>
          <p:spPr>
            <a:xfrm>
              <a:off x="-39958275" y="2087025"/>
              <a:ext cx="44925" cy="105350"/>
            </a:xfrm>
            <a:custGeom>
              <a:avLst/>
              <a:gdLst/>
              <a:ahLst/>
              <a:cxnLst/>
              <a:rect l="l" t="t" r="r" b="b"/>
              <a:pathLst>
                <a:path w="1797" h="4214" extrusionOk="0">
                  <a:moveTo>
                    <a:pt x="439" y="1"/>
                  </a:moveTo>
                  <a:cubicBezTo>
                    <a:pt x="326" y="1"/>
                    <a:pt x="216" y="55"/>
                    <a:pt x="126" y="181"/>
                  </a:cubicBezTo>
                  <a:cubicBezTo>
                    <a:pt x="0" y="370"/>
                    <a:pt x="0" y="590"/>
                    <a:pt x="189" y="748"/>
                  </a:cubicBezTo>
                  <a:cubicBezTo>
                    <a:pt x="1009" y="1378"/>
                    <a:pt x="914" y="2638"/>
                    <a:pt x="536" y="3678"/>
                  </a:cubicBezTo>
                  <a:cubicBezTo>
                    <a:pt x="473" y="3867"/>
                    <a:pt x="599" y="4087"/>
                    <a:pt x="819" y="4182"/>
                  </a:cubicBezTo>
                  <a:cubicBezTo>
                    <a:pt x="862" y="4203"/>
                    <a:pt x="908" y="4213"/>
                    <a:pt x="954" y="4213"/>
                  </a:cubicBezTo>
                  <a:cubicBezTo>
                    <a:pt x="1112" y="4213"/>
                    <a:pt x="1275" y="4093"/>
                    <a:pt x="1324" y="3898"/>
                  </a:cubicBezTo>
                  <a:cubicBezTo>
                    <a:pt x="1639" y="2922"/>
                    <a:pt x="1796" y="1787"/>
                    <a:pt x="1324" y="842"/>
                  </a:cubicBezTo>
                  <a:cubicBezTo>
                    <a:pt x="1166" y="559"/>
                    <a:pt x="977" y="275"/>
                    <a:pt x="693" y="86"/>
                  </a:cubicBezTo>
                  <a:cubicBezTo>
                    <a:pt x="612" y="32"/>
                    <a:pt x="525" y="1"/>
                    <a:pt x="4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99" name="Google Shape;9299;p76"/>
          <p:cNvGrpSpPr/>
          <p:nvPr/>
        </p:nvGrpSpPr>
        <p:grpSpPr>
          <a:xfrm>
            <a:off x="870534" y="3352072"/>
            <a:ext cx="342211" cy="372824"/>
            <a:chOff x="-40160700" y="2339625"/>
            <a:chExt cx="290650" cy="316650"/>
          </a:xfrm>
        </p:grpSpPr>
        <p:sp>
          <p:nvSpPr>
            <p:cNvPr id="9300" name="Google Shape;9300;p76"/>
            <p:cNvSpPr/>
            <p:nvPr/>
          </p:nvSpPr>
          <p:spPr>
            <a:xfrm>
              <a:off x="-40005525" y="2552600"/>
              <a:ext cx="70900" cy="62175"/>
            </a:xfrm>
            <a:custGeom>
              <a:avLst/>
              <a:gdLst/>
              <a:ahLst/>
              <a:cxnLst/>
              <a:rect l="l" t="t" r="r" b="b"/>
              <a:pathLst>
                <a:path w="2836" h="2487" extrusionOk="0">
                  <a:moveTo>
                    <a:pt x="1408" y="807"/>
                  </a:moveTo>
                  <a:cubicBezTo>
                    <a:pt x="1461" y="807"/>
                    <a:pt x="1518" y="817"/>
                    <a:pt x="1575" y="839"/>
                  </a:cubicBezTo>
                  <a:cubicBezTo>
                    <a:pt x="1733" y="902"/>
                    <a:pt x="1796" y="1028"/>
                    <a:pt x="1796" y="1248"/>
                  </a:cubicBezTo>
                  <a:cubicBezTo>
                    <a:pt x="1845" y="1496"/>
                    <a:pt x="1661" y="1666"/>
                    <a:pt x="1442" y="1666"/>
                  </a:cubicBezTo>
                  <a:cubicBezTo>
                    <a:pt x="1383" y="1666"/>
                    <a:pt x="1321" y="1653"/>
                    <a:pt x="1260" y="1626"/>
                  </a:cubicBezTo>
                  <a:cubicBezTo>
                    <a:pt x="1071" y="1563"/>
                    <a:pt x="945" y="1311"/>
                    <a:pt x="1008" y="1091"/>
                  </a:cubicBezTo>
                  <a:cubicBezTo>
                    <a:pt x="1081" y="921"/>
                    <a:pt x="1229" y="807"/>
                    <a:pt x="1408" y="807"/>
                  </a:cubicBezTo>
                  <a:close/>
                  <a:moveTo>
                    <a:pt x="1438" y="1"/>
                  </a:moveTo>
                  <a:cubicBezTo>
                    <a:pt x="1040" y="1"/>
                    <a:pt x="635" y="188"/>
                    <a:pt x="378" y="523"/>
                  </a:cubicBezTo>
                  <a:cubicBezTo>
                    <a:pt x="0" y="1091"/>
                    <a:pt x="158" y="1878"/>
                    <a:pt x="693" y="2256"/>
                  </a:cubicBezTo>
                  <a:cubicBezTo>
                    <a:pt x="909" y="2412"/>
                    <a:pt x="1158" y="2486"/>
                    <a:pt x="1405" y="2486"/>
                  </a:cubicBezTo>
                  <a:cubicBezTo>
                    <a:pt x="1806" y="2486"/>
                    <a:pt x="2204" y="2292"/>
                    <a:pt x="2457" y="1941"/>
                  </a:cubicBezTo>
                  <a:cubicBezTo>
                    <a:pt x="2836" y="1406"/>
                    <a:pt x="2678" y="618"/>
                    <a:pt x="2111" y="208"/>
                  </a:cubicBezTo>
                  <a:cubicBezTo>
                    <a:pt x="1911" y="67"/>
                    <a:pt x="1676" y="1"/>
                    <a:pt x="14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1" name="Google Shape;9301;p76"/>
            <p:cNvSpPr/>
            <p:nvPr/>
          </p:nvSpPr>
          <p:spPr>
            <a:xfrm>
              <a:off x="-40039400" y="2605050"/>
              <a:ext cx="29150" cy="20500"/>
            </a:xfrm>
            <a:custGeom>
              <a:avLst/>
              <a:gdLst/>
              <a:ahLst/>
              <a:cxnLst/>
              <a:rect l="l" t="t" r="r" b="b"/>
              <a:pathLst>
                <a:path w="1166" h="820" extrusionOk="0">
                  <a:moveTo>
                    <a:pt x="725" y="1"/>
                  </a:moveTo>
                  <a:cubicBezTo>
                    <a:pt x="473" y="1"/>
                    <a:pt x="0" y="190"/>
                    <a:pt x="0" y="410"/>
                  </a:cubicBezTo>
                  <a:cubicBezTo>
                    <a:pt x="0" y="631"/>
                    <a:pt x="473" y="820"/>
                    <a:pt x="725" y="820"/>
                  </a:cubicBezTo>
                  <a:cubicBezTo>
                    <a:pt x="945" y="820"/>
                    <a:pt x="1166" y="631"/>
                    <a:pt x="1166" y="410"/>
                  </a:cubicBezTo>
                  <a:cubicBezTo>
                    <a:pt x="1103" y="158"/>
                    <a:pt x="914"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76"/>
            <p:cNvSpPr/>
            <p:nvPr/>
          </p:nvSpPr>
          <p:spPr>
            <a:xfrm>
              <a:off x="-40079575" y="2584575"/>
              <a:ext cx="19725" cy="19725"/>
            </a:xfrm>
            <a:custGeom>
              <a:avLst/>
              <a:gdLst/>
              <a:ahLst/>
              <a:cxnLst/>
              <a:rect l="l" t="t" r="r" b="b"/>
              <a:pathLst>
                <a:path w="789" h="789" extrusionOk="0">
                  <a:moveTo>
                    <a:pt x="410" y="1"/>
                  </a:moveTo>
                  <a:cubicBezTo>
                    <a:pt x="190" y="1"/>
                    <a:pt x="1" y="158"/>
                    <a:pt x="1" y="379"/>
                  </a:cubicBezTo>
                  <a:cubicBezTo>
                    <a:pt x="1" y="599"/>
                    <a:pt x="190" y="788"/>
                    <a:pt x="410" y="788"/>
                  </a:cubicBezTo>
                  <a:cubicBezTo>
                    <a:pt x="631" y="788"/>
                    <a:pt x="788" y="599"/>
                    <a:pt x="788" y="379"/>
                  </a:cubicBezTo>
                  <a:cubicBezTo>
                    <a:pt x="788" y="158"/>
                    <a:pt x="631"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76"/>
            <p:cNvSpPr/>
            <p:nvPr/>
          </p:nvSpPr>
          <p:spPr>
            <a:xfrm>
              <a:off x="-40160700" y="2339625"/>
              <a:ext cx="290650" cy="316650"/>
            </a:xfrm>
            <a:custGeom>
              <a:avLst/>
              <a:gdLst/>
              <a:ahLst/>
              <a:cxnLst/>
              <a:rect l="l" t="t" r="r" b="b"/>
              <a:pathLst>
                <a:path w="11626" h="12666" extrusionOk="0">
                  <a:moveTo>
                    <a:pt x="7656" y="820"/>
                  </a:moveTo>
                  <a:cubicBezTo>
                    <a:pt x="7845" y="820"/>
                    <a:pt x="8003" y="946"/>
                    <a:pt x="8066" y="1072"/>
                  </a:cubicBezTo>
                  <a:cubicBezTo>
                    <a:pt x="8129" y="1355"/>
                    <a:pt x="7940" y="1639"/>
                    <a:pt x="7656" y="1639"/>
                  </a:cubicBezTo>
                  <a:lnTo>
                    <a:pt x="4065" y="1639"/>
                  </a:lnTo>
                  <a:cubicBezTo>
                    <a:pt x="3876" y="1639"/>
                    <a:pt x="3687" y="1450"/>
                    <a:pt x="3687" y="1261"/>
                  </a:cubicBezTo>
                  <a:cubicBezTo>
                    <a:pt x="3687" y="1009"/>
                    <a:pt x="3876" y="851"/>
                    <a:pt x="4065" y="820"/>
                  </a:cubicBezTo>
                  <a:close/>
                  <a:moveTo>
                    <a:pt x="7310" y="2458"/>
                  </a:moveTo>
                  <a:lnTo>
                    <a:pt x="7310" y="5860"/>
                  </a:lnTo>
                  <a:cubicBezTo>
                    <a:pt x="7310" y="6270"/>
                    <a:pt x="7467" y="6711"/>
                    <a:pt x="7656" y="7026"/>
                  </a:cubicBezTo>
                  <a:cubicBezTo>
                    <a:pt x="7026" y="7152"/>
                    <a:pt x="6396" y="7404"/>
                    <a:pt x="5797" y="7782"/>
                  </a:cubicBezTo>
                  <a:cubicBezTo>
                    <a:pt x="5146" y="8207"/>
                    <a:pt x="4241" y="8453"/>
                    <a:pt x="3401" y="8453"/>
                  </a:cubicBezTo>
                  <a:cubicBezTo>
                    <a:pt x="3306" y="8453"/>
                    <a:pt x="3212" y="8450"/>
                    <a:pt x="3120" y="8444"/>
                  </a:cubicBezTo>
                  <a:lnTo>
                    <a:pt x="4128" y="7026"/>
                  </a:lnTo>
                  <a:cubicBezTo>
                    <a:pt x="4380" y="6680"/>
                    <a:pt x="4537" y="6239"/>
                    <a:pt x="4537" y="5829"/>
                  </a:cubicBezTo>
                  <a:lnTo>
                    <a:pt x="4537" y="2458"/>
                  </a:lnTo>
                  <a:close/>
                  <a:moveTo>
                    <a:pt x="8192" y="7782"/>
                  </a:moveTo>
                  <a:cubicBezTo>
                    <a:pt x="10775" y="11500"/>
                    <a:pt x="10586" y="11216"/>
                    <a:pt x="10618" y="11279"/>
                  </a:cubicBezTo>
                  <a:cubicBezTo>
                    <a:pt x="10681" y="11563"/>
                    <a:pt x="10523" y="11846"/>
                    <a:pt x="10208" y="11846"/>
                  </a:cubicBezTo>
                  <a:lnTo>
                    <a:pt x="1576" y="11846"/>
                  </a:lnTo>
                  <a:cubicBezTo>
                    <a:pt x="1198" y="11846"/>
                    <a:pt x="1040" y="11437"/>
                    <a:pt x="1198" y="11216"/>
                  </a:cubicBezTo>
                  <a:lnTo>
                    <a:pt x="2584" y="9232"/>
                  </a:lnTo>
                  <a:cubicBezTo>
                    <a:pt x="2825" y="9263"/>
                    <a:pt x="3077" y="9280"/>
                    <a:pt x="3333" y="9280"/>
                  </a:cubicBezTo>
                  <a:cubicBezTo>
                    <a:pt x="4347" y="9280"/>
                    <a:pt x="5434" y="9022"/>
                    <a:pt x="6239" y="8444"/>
                  </a:cubicBezTo>
                  <a:cubicBezTo>
                    <a:pt x="6837" y="8066"/>
                    <a:pt x="7499" y="7814"/>
                    <a:pt x="8192" y="7782"/>
                  </a:cubicBezTo>
                  <a:close/>
                  <a:moveTo>
                    <a:pt x="4128" y="1"/>
                  </a:moveTo>
                  <a:cubicBezTo>
                    <a:pt x="3435" y="1"/>
                    <a:pt x="2899" y="536"/>
                    <a:pt x="2899" y="1261"/>
                  </a:cubicBezTo>
                  <a:cubicBezTo>
                    <a:pt x="2899" y="1765"/>
                    <a:pt x="3214" y="2237"/>
                    <a:pt x="3718" y="2426"/>
                  </a:cubicBezTo>
                  <a:lnTo>
                    <a:pt x="3718" y="5860"/>
                  </a:lnTo>
                  <a:cubicBezTo>
                    <a:pt x="3718" y="6081"/>
                    <a:pt x="3655" y="6365"/>
                    <a:pt x="3498" y="6554"/>
                  </a:cubicBezTo>
                  <a:lnTo>
                    <a:pt x="568" y="10744"/>
                  </a:lnTo>
                  <a:cubicBezTo>
                    <a:pt x="1" y="11563"/>
                    <a:pt x="568" y="12666"/>
                    <a:pt x="1607" y="12666"/>
                  </a:cubicBezTo>
                  <a:lnTo>
                    <a:pt x="10271" y="12666"/>
                  </a:lnTo>
                  <a:cubicBezTo>
                    <a:pt x="10555" y="12666"/>
                    <a:pt x="10870" y="12540"/>
                    <a:pt x="11090" y="12350"/>
                  </a:cubicBezTo>
                  <a:cubicBezTo>
                    <a:pt x="11531" y="11972"/>
                    <a:pt x="11626" y="11248"/>
                    <a:pt x="11248" y="10744"/>
                  </a:cubicBezTo>
                  <a:lnTo>
                    <a:pt x="8318" y="6554"/>
                  </a:lnTo>
                  <a:cubicBezTo>
                    <a:pt x="8160" y="6365"/>
                    <a:pt x="8097" y="6081"/>
                    <a:pt x="8097" y="5860"/>
                  </a:cubicBezTo>
                  <a:lnTo>
                    <a:pt x="8097" y="2426"/>
                  </a:lnTo>
                  <a:cubicBezTo>
                    <a:pt x="8570" y="2269"/>
                    <a:pt x="8916" y="1796"/>
                    <a:pt x="8916" y="1261"/>
                  </a:cubicBezTo>
                  <a:cubicBezTo>
                    <a:pt x="8916" y="568"/>
                    <a:pt x="8381" y="1"/>
                    <a:pt x="76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04" name="Google Shape;9304;p76"/>
          <p:cNvGrpSpPr/>
          <p:nvPr/>
        </p:nvGrpSpPr>
        <p:grpSpPr>
          <a:xfrm>
            <a:off x="852359" y="3802529"/>
            <a:ext cx="375591" cy="372824"/>
            <a:chOff x="-40171725" y="2705875"/>
            <a:chExt cx="319000" cy="316650"/>
          </a:xfrm>
        </p:grpSpPr>
        <p:sp>
          <p:nvSpPr>
            <p:cNvPr id="9305" name="Google Shape;9305;p76"/>
            <p:cNvSpPr/>
            <p:nvPr/>
          </p:nvSpPr>
          <p:spPr>
            <a:xfrm>
              <a:off x="-40068550" y="2788575"/>
              <a:ext cx="48075" cy="58775"/>
            </a:xfrm>
            <a:custGeom>
              <a:avLst/>
              <a:gdLst/>
              <a:ahLst/>
              <a:cxnLst/>
              <a:rect l="l" t="t" r="r" b="b"/>
              <a:pathLst>
                <a:path w="1923" h="2351" extrusionOk="0">
                  <a:moveTo>
                    <a:pt x="442" y="0"/>
                  </a:moveTo>
                  <a:cubicBezTo>
                    <a:pt x="190" y="0"/>
                    <a:pt x="1" y="158"/>
                    <a:pt x="32" y="410"/>
                  </a:cubicBezTo>
                  <a:cubicBezTo>
                    <a:pt x="32" y="1261"/>
                    <a:pt x="505" y="1985"/>
                    <a:pt x="1261" y="2300"/>
                  </a:cubicBezTo>
                  <a:cubicBezTo>
                    <a:pt x="1322" y="2335"/>
                    <a:pt x="1386" y="2351"/>
                    <a:pt x="1448" y="2351"/>
                  </a:cubicBezTo>
                  <a:cubicBezTo>
                    <a:pt x="1607" y="2351"/>
                    <a:pt x="1751" y="2247"/>
                    <a:pt x="1796" y="2111"/>
                  </a:cubicBezTo>
                  <a:cubicBezTo>
                    <a:pt x="1922" y="1891"/>
                    <a:pt x="1796" y="1639"/>
                    <a:pt x="1607" y="1576"/>
                  </a:cubicBezTo>
                  <a:cubicBezTo>
                    <a:pt x="1135" y="1355"/>
                    <a:pt x="851" y="945"/>
                    <a:pt x="851" y="410"/>
                  </a:cubicBezTo>
                  <a:cubicBezTo>
                    <a:pt x="851" y="189"/>
                    <a:pt x="662"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76"/>
            <p:cNvSpPr/>
            <p:nvPr/>
          </p:nvSpPr>
          <p:spPr>
            <a:xfrm>
              <a:off x="-40171725" y="2705875"/>
              <a:ext cx="319000" cy="316650"/>
            </a:xfrm>
            <a:custGeom>
              <a:avLst/>
              <a:gdLst/>
              <a:ahLst/>
              <a:cxnLst/>
              <a:rect l="l" t="t" r="r" b="b"/>
              <a:pathLst>
                <a:path w="12760" h="12666" extrusionOk="0">
                  <a:moveTo>
                    <a:pt x="2489" y="1639"/>
                  </a:moveTo>
                  <a:lnTo>
                    <a:pt x="2489" y="3718"/>
                  </a:lnTo>
                  <a:cubicBezTo>
                    <a:pt x="2489" y="4127"/>
                    <a:pt x="2552" y="4506"/>
                    <a:pt x="2678" y="4884"/>
                  </a:cubicBezTo>
                  <a:cubicBezTo>
                    <a:pt x="1639" y="4600"/>
                    <a:pt x="820" y="3623"/>
                    <a:pt x="820" y="2458"/>
                  </a:cubicBezTo>
                  <a:lnTo>
                    <a:pt x="820" y="2048"/>
                  </a:lnTo>
                  <a:cubicBezTo>
                    <a:pt x="820" y="1796"/>
                    <a:pt x="1009" y="1639"/>
                    <a:pt x="1261" y="1639"/>
                  </a:cubicBezTo>
                  <a:close/>
                  <a:moveTo>
                    <a:pt x="11500" y="1639"/>
                  </a:moveTo>
                  <a:cubicBezTo>
                    <a:pt x="11720" y="1639"/>
                    <a:pt x="11878" y="1828"/>
                    <a:pt x="11878" y="2048"/>
                  </a:cubicBezTo>
                  <a:lnTo>
                    <a:pt x="11878" y="2426"/>
                  </a:lnTo>
                  <a:cubicBezTo>
                    <a:pt x="11878" y="3623"/>
                    <a:pt x="11090" y="4569"/>
                    <a:pt x="10019" y="4884"/>
                  </a:cubicBezTo>
                  <a:cubicBezTo>
                    <a:pt x="10145" y="4506"/>
                    <a:pt x="10240" y="4127"/>
                    <a:pt x="10240" y="3718"/>
                  </a:cubicBezTo>
                  <a:lnTo>
                    <a:pt x="10240" y="1639"/>
                  </a:lnTo>
                  <a:close/>
                  <a:moveTo>
                    <a:pt x="9389" y="788"/>
                  </a:moveTo>
                  <a:lnTo>
                    <a:pt x="9389" y="3686"/>
                  </a:lnTo>
                  <a:cubicBezTo>
                    <a:pt x="9389" y="4789"/>
                    <a:pt x="8759" y="5860"/>
                    <a:pt x="7656" y="6333"/>
                  </a:cubicBezTo>
                  <a:cubicBezTo>
                    <a:pt x="7247" y="6522"/>
                    <a:pt x="6932" y="6963"/>
                    <a:pt x="6932" y="7467"/>
                  </a:cubicBezTo>
                  <a:cubicBezTo>
                    <a:pt x="6932" y="7467"/>
                    <a:pt x="6932" y="7908"/>
                    <a:pt x="7026" y="8507"/>
                  </a:cubicBezTo>
                  <a:cubicBezTo>
                    <a:pt x="7121" y="8759"/>
                    <a:pt x="7247" y="9074"/>
                    <a:pt x="7341" y="9357"/>
                  </a:cubicBezTo>
                  <a:lnTo>
                    <a:pt x="5356" y="9357"/>
                  </a:lnTo>
                  <a:cubicBezTo>
                    <a:pt x="5671" y="8759"/>
                    <a:pt x="5766" y="8066"/>
                    <a:pt x="5766" y="7498"/>
                  </a:cubicBezTo>
                  <a:cubicBezTo>
                    <a:pt x="5766" y="6994"/>
                    <a:pt x="5451" y="6553"/>
                    <a:pt x="5041" y="6364"/>
                  </a:cubicBezTo>
                  <a:cubicBezTo>
                    <a:pt x="4569" y="6144"/>
                    <a:pt x="4128" y="5766"/>
                    <a:pt x="3813" y="5293"/>
                  </a:cubicBezTo>
                  <a:cubicBezTo>
                    <a:pt x="3498" y="4821"/>
                    <a:pt x="3340" y="4285"/>
                    <a:pt x="3340" y="3686"/>
                  </a:cubicBezTo>
                  <a:lnTo>
                    <a:pt x="3340" y="788"/>
                  </a:lnTo>
                  <a:close/>
                  <a:moveTo>
                    <a:pt x="8696" y="10176"/>
                  </a:moveTo>
                  <a:lnTo>
                    <a:pt x="9263" y="11846"/>
                  </a:lnTo>
                  <a:lnTo>
                    <a:pt x="3498" y="11846"/>
                  </a:lnTo>
                  <a:lnTo>
                    <a:pt x="4033" y="10176"/>
                  </a:lnTo>
                  <a:close/>
                  <a:moveTo>
                    <a:pt x="2930" y="0"/>
                  </a:moveTo>
                  <a:cubicBezTo>
                    <a:pt x="2710" y="0"/>
                    <a:pt x="2552" y="189"/>
                    <a:pt x="2552" y="410"/>
                  </a:cubicBezTo>
                  <a:lnTo>
                    <a:pt x="2552" y="851"/>
                  </a:lnTo>
                  <a:lnTo>
                    <a:pt x="1324" y="851"/>
                  </a:lnTo>
                  <a:cubicBezTo>
                    <a:pt x="1302" y="850"/>
                    <a:pt x="1280" y="850"/>
                    <a:pt x="1258" y="850"/>
                  </a:cubicBezTo>
                  <a:cubicBezTo>
                    <a:pt x="506" y="850"/>
                    <a:pt x="1" y="1374"/>
                    <a:pt x="1" y="2048"/>
                  </a:cubicBezTo>
                  <a:lnTo>
                    <a:pt x="1" y="2426"/>
                  </a:lnTo>
                  <a:cubicBezTo>
                    <a:pt x="1" y="4190"/>
                    <a:pt x="1355" y="5608"/>
                    <a:pt x="3088" y="5766"/>
                  </a:cubicBezTo>
                  <a:cubicBezTo>
                    <a:pt x="3498" y="6364"/>
                    <a:pt x="4033" y="6837"/>
                    <a:pt x="4726" y="7120"/>
                  </a:cubicBezTo>
                  <a:cubicBezTo>
                    <a:pt x="4884" y="7183"/>
                    <a:pt x="4947" y="7309"/>
                    <a:pt x="4947" y="7498"/>
                  </a:cubicBezTo>
                  <a:cubicBezTo>
                    <a:pt x="4947" y="8097"/>
                    <a:pt x="4726" y="8885"/>
                    <a:pt x="4348" y="9357"/>
                  </a:cubicBezTo>
                  <a:lnTo>
                    <a:pt x="3718" y="9357"/>
                  </a:lnTo>
                  <a:cubicBezTo>
                    <a:pt x="3529" y="9357"/>
                    <a:pt x="3372" y="9483"/>
                    <a:pt x="3340" y="9641"/>
                  </a:cubicBezTo>
                  <a:lnTo>
                    <a:pt x="2521" y="12130"/>
                  </a:lnTo>
                  <a:cubicBezTo>
                    <a:pt x="2426" y="12382"/>
                    <a:pt x="2615" y="12665"/>
                    <a:pt x="2899" y="12665"/>
                  </a:cubicBezTo>
                  <a:lnTo>
                    <a:pt x="9799" y="12665"/>
                  </a:lnTo>
                  <a:cubicBezTo>
                    <a:pt x="10082" y="12665"/>
                    <a:pt x="10271" y="12382"/>
                    <a:pt x="10177" y="12130"/>
                  </a:cubicBezTo>
                  <a:lnTo>
                    <a:pt x="9357" y="9641"/>
                  </a:lnTo>
                  <a:cubicBezTo>
                    <a:pt x="9326" y="9483"/>
                    <a:pt x="9168" y="9357"/>
                    <a:pt x="8979" y="9357"/>
                  </a:cubicBezTo>
                  <a:lnTo>
                    <a:pt x="8349" y="9357"/>
                  </a:lnTo>
                  <a:cubicBezTo>
                    <a:pt x="7971" y="8885"/>
                    <a:pt x="7751" y="8097"/>
                    <a:pt x="7751" y="7498"/>
                  </a:cubicBezTo>
                  <a:cubicBezTo>
                    <a:pt x="7751" y="7341"/>
                    <a:pt x="7877" y="7183"/>
                    <a:pt x="7971" y="7152"/>
                  </a:cubicBezTo>
                  <a:cubicBezTo>
                    <a:pt x="8601" y="6868"/>
                    <a:pt x="9200" y="6396"/>
                    <a:pt x="9610" y="5829"/>
                  </a:cubicBezTo>
                  <a:cubicBezTo>
                    <a:pt x="10901" y="5734"/>
                    <a:pt x="12004" y="4947"/>
                    <a:pt x="12476" y="3781"/>
                  </a:cubicBezTo>
                  <a:cubicBezTo>
                    <a:pt x="12760" y="3056"/>
                    <a:pt x="12760" y="2552"/>
                    <a:pt x="12760" y="2080"/>
                  </a:cubicBezTo>
                  <a:cubicBezTo>
                    <a:pt x="12760" y="1435"/>
                    <a:pt x="12221" y="850"/>
                    <a:pt x="11581" y="850"/>
                  </a:cubicBezTo>
                  <a:cubicBezTo>
                    <a:pt x="11565" y="850"/>
                    <a:pt x="11548" y="850"/>
                    <a:pt x="11531" y="851"/>
                  </a:cubicBezTo>
                  <a:lnTo>
                    <a:pt x="10271" y="851"/>
                  </a:lnTo>
                  <a:lnTo>
                    <a:pt x="10271" y="410"/>
                  </a:lnTo>
                  <a:cubicBezTo>
                    <a:pt x="10271" y="189"/>
                    <a:pt x="10082" y="0"/>
                    <a:pt x="98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07" name="Google Shape;9307;p76"/>
          <p:cNvGrpSpPr/>
          <p:nvPr/>
        </p:nvGrpSpPr>
        <p:grpSpPr>
          <a:xfrm>
            <a:off x="3109957" y="2876984"/>
            <a:ext cx="272686" cy="373766"/>
            <a:chOff x="-38275925" y="1946600"/>
            <a:chExt cx="231600" cy="317450"/>
          </a:xfrm>
        </p:grpSpPr>
        <p:sp>
          <p:nvSpPr>
            <p:cNvPr id="9308" name="Google Shape;9308;p76"/>
            <p:cNvSpPr/>
            <p:nvPr/>
          </p:nvSpPr>
          <p:spPr>
            <a:xfrm>
              <a:off x="-38275925" y="1946600"/>
              <a:ext cx="231600" cy="317450"/>
            </a:xfrm>
            <a:custGeom>
              <a:avLst/>
              <a:gdLst/>
              <a:ahLst/>
              <a:cxnLst/>
              <a:rect l="l" t="t" r="r" b="b"/>
              <a:pathLst>
                <a:path w="9264" h="12698" extrusionOk="0">
                  <a:moveTo>
                    <a:pt x="4546" y="892"/>
                  </a:moveTo>
                  <a:cubicBezTo>
                    <a:pt x="4811" y="892"/>
                    <a:pt x="5082" y="920"/>
                    <a:pt x="5357" y="977"/>
                  </a:cubicBezTo>
                  <a:cubicBezTo>
                    <a:pt x="6964" y="1292"/>
                    <a:pt x="8287" y="2742"/>
                    <a:pt x="8287" y="4600"/>
                  </a:cubicBezTo>
                  <a:cubicBezTo>
                    <a:pt x="8287" y="5987"/>
                    <a:pt x="7531" y="7215"/>
                    <a:pt x="6396" y="7845"/>
                  </a:cubicBezTo>
                  <a:cubicBezTo>
                    <a:pt x="5987" y="8034"/>
                    <a:pt x="5798" y="8475"/>
                    <a:pt x="5798" y="8885"/>
                  </a:cubicBezTo>
                  <a:lnTo>
                    <a:pt x="5798" y="9169"/>
                  </a:lnTo>
                  <a:lnTo>
                    <a:pt x="3309" y="9169"/>
                  </a:lnTo>
                  <a:lnTo>
                    <a:pt x="3309" y="8854"/>
                  </a:lnTo>
                  <a:cubicBezTo>
                    <a:pt x="3309" y="8412"/>
                    <a:pt x="3088" y="8034"/>
                    <a:pt x="2679" y="7782"/>
                  </a:cubicBezTo>
                  <a:cubicBezTo>
                    <a:pt x="1545" y="7121"/>
                    <a:pt x="820" y="5955"/>
                    <a:pt x="820" y="4600"/>
                  </a:cubicBezTo>
                  <a:cubicBezTo>
                    <a:pt x="820" y="2536"/>
                    <a:pt x="2499" y="892"/>
                    <a:pt x="4546" y="892"/>
                  </a:cubicBezTo>
                  <a:close/>
                  <a:moveTo>
                    <a:pt x="5798" y="9956"/>
                  </a:moveTo>
                  <a:lnTo>
                    <a:pt x="5798" y="10681"/>
                  </a:lnTo>
                  <a:cubicBezTo>
                    <a:pt x="5798" y="10901"/>
                    <a:pt x="5609" y="11059"/>
                    <a:pt x="5357" y="11090"/>
                  </a:cubicBezTo>
                  <a:lnTo>
                    <a:pt x="3719" y="11090"/>
                  </a:lnTo>
                  <a:cubicBezTo>
                    <a:pt x="3467" y="11090"/>
                    <a:pt x="3309" y="10901"/>
                    <a:pt x="3277" y="10681"/>
                  </a:cubicBezTo>
                  <a:lnTo>
                    <a:pt x="3277" y="9956"/>
                  </a:lnTo>
                  <a:close/>
                  <a:moveTo>
                    <a:pt x="4443" y="1"/>
                  </a:moveTo>
                  <a:cubicBezTo>
                    <a:pt x="2049" y="32"/>
                    <a:pt x="1" y="2080"/>
                    <a:pt x="1" y="4600"/>
                  </a:cubicBezTo>
                  <a:cubicBezTo>
                    <a:pt x="1" y="6270"/>
                    <a:pt x="883" y="7719"/>
                    <a:pt x="2238" y="8539"/>
                  </a:cubicBezTo>
                  <a:cubicBezTo>
                    <a:pt x="2332" y="8570"/>
                    <a:pt x="2395" y="8696"/>
                    <a:pt x="2458" y="8759"/>
                  </a:cubicBezTo>
                  <a:lnTo>
                    <a:pt x="2458" y="10681"/>
                  </a:lnTo>
                  <a:cubicBezTo>
                    <a:pt x="2458" y="11216"/>
                    <a:pt x="2805" y="11689"/>
                    <a:pt x="3309" y="11847"/>
                  </a:cubicBezTo>
                  <a:cubicBezTo>
                    <a:pt x="3467" y="12351"/>
                    <a:pt x="3939" y="12697"/>
                    <a:pt x="4506" y="12697"/>
                  </a:cubicBezTo>
                  <a:cubicBezTo>
                    <a:pt x="5042" y="12697"/>
                    <a:pt x="5514" y="12351"/>
                    <a:pt x="5672" y="11847"/>
                  </a:cubicBezTo>
                  <a:cubicBezTo>
                    <a:pt x="6176" y="11689"/>
                    <a:pt x="6554" y="11216"/>
                    <a:pt x="6554" y="10681"/>
                  </a:cubicBezTo>
                  <a:lnTo>
                    <a:pt x="6554" y="8854"/>
                  </a:lnTo>
                  <a:cubicBezTo>
                    <a:pt x="6554" y="8728"/>
                    <a:pt x="6617" y="8570"/>
                    <a:pt x="6712" y="8507"/>
                  </a:cubicBezTo>
                  <a:cubicBezTo>
                    <a:pt x="8318" y="7593"/>
                    <a:pt x="9263" y="5735"/>
                    <a:pt x="8948" y="3750"/>
                  </a:cubicBezTo>
                  <a:cubicBezTo>
                    <a:pt x="8602" y="1702"/>
                    <a:pt x="6806"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9" name="Google Shape;9309;p76"/>
            <p:cNvSpPr/>
            <p:nvPr/>
          </p:nvSpPr>
          <p:spPr>
            <a:xfrm>
              <a:off x="-38235750" y="1989125"/>
              <a:ext cx="84300" cy="83525"/>
            </a:xfrm>
            <a:custGeom>
              <a:avLst/>
              <a:gdLst/>
              <a:ahLst/>
              <a:cxnLst/>
              <a:rect l="l" t="t" r="r" b="b"/>
              <a:pathLst>
                <a:path w="3372" h="3341" extrusionOk="0">
                  <a:moveTo>
                    <a:pt x="2931" y="1"/>
                  </a:moveTo>
                  <a:cubicBezTo>
                    <a:pt x="1355" y="1"/>
                    <a:pt x="64" y="1293"/>
                    <a:pt x="1" y="2899"/>
                  </a:cubicBezTo>
                  <a:cubicBezTo>
                    <a:pt x="1" y="3120"/>
                    <a:pt x="158" y="3340"/>
                    <a:pt x="410" y="3340"/>
                  </a:cubicBezTo>
                  <a:cubicBezTo>
                    <a:pt x="631" y="3340"/>
                    <a:pt x="851" y="3120"/>
                    <a:pt x="851" y="2899"/>
                  </a:cubicBezTo>
                  <a:cubicBezTo>
                    <a:pt x="883" y="1765"/>
                    <a:pt x="1796" y="820"/>
                    <a:pt x="2931" y="820"/>
                  </a:cubicBezTo>
                  <a:cubicBezTo>
                    <a:pt x="3151" y="820"/>
                    <a:pt x="3372" y="631"/>
                    <a:pt x="3372" y="379"/>
                  </a:cubicBezTo>
                  <a:cubicBezTo>
                    <a:pt x="3372" y="190"/>
                    <a:pt x="3151"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10" name="Google Shape;9310;p76"/>
          <p:cNvSpPr/>
          <p:nvPr/>
        </p:nvSpPr>
        <p:spPr>
          <a:xfrm>
            <a:off x="3057873" y="3308700"/>
            <a:ext cx="374678" cy="374089"/>
          </a:xfrm>
          <a:custGeom>
            <a:avLst/>
            <a:gdLst/>
            <a:ahLst/>
            <a:cxnLst/>
            <a:rect l="l" t="t" r="r" b="b"/>
            <a:pathLst>
              <a:path w="12729" h="12709" extrusionOk="0">
                <a:moveTo>
                  <a:pt x="7089" y="894"/>
                </a:moveTo>
                <a:lnTo>
                  <a:pt x="7089" y="894"/>
                </a:lnTo>
                <a:cubicBezTo>
                  <a:pt x="8160" y="989"/>
                  <a:pt x="9137" y="1461"/>
                  <a:pt x="9956" y="2186"/>
                </a:cubicBezTo>
                <a:lnTo>
                  <a:pt x="8192" y="3950"/>
                </a:lnTo>
                <a:cubicBezTo>
                  <a:pt x="7436" y="3099"/>
                  <a:pt x="7089" y="1934"/>
                  <a:pt x="7089" y="894"/>
                </a:cubicBezTo>
                <a:close/>
                <a:moveTo>
                  <a:pt x="10555" y="2721"/>
                </a:moveTo>
                <a:cubicBezTo>
                  <a:pt x="11248" y="3572"/>
                  <a:pt x="11689" y="4549"/>
                  <a:pt x="11847" y="5620"/>
                </a:cubicBezTo>
                <a:cubicBezTo>
                  <a:pt x="10775" y="5620"/>
                  <a:pt x="9673" y="5242"/>
                  <a:pt x="8791" y="4486"/>
                </a:cubicBezTo>
                <a:lnTo>
                  <a:pt x="10555" y="2721"/>
                </a:lnTo>
                <a:close/>
                <a:moveTo>
                  <a:pt x="6270" y="831"/>
                </a:moveTo>
                <a:cubicBezTo>
                  <a:pt x="6207" y="2154"/>
                  <a:pt x="6680" y="3477"/>
                  <a:pt x="7593" y="4549"/>
                </a:cubicBezTo>
                <a:lnTo>
                  <a:pt x="6365" y="5777"/>
                </a:lnTo>
                <a:lnTo>
                  <a:pt x="2805" y="2186"/>
                </a:lnTo>
                <a:cubicBezTo>
                  <a:pt x="3781" y="1304"/>
                  <a:pt x="5010" y="831"/>
                  <a:pt x="6270" y="831"/>
                </a:cubicBezTo>
                <a:close/>
                <a:moveTo>
                  <a:pt x="2206" y="2721"/>
                </a:moveTo>
                <a:lnTo>
                  <a:pt x="5798" y="6313"/>
                </a:lnTo>
                <a:lnTo>
                  <a:pt x="4569" y="7542"/>
                </a:lnTo>
                <a:cubicBezTo>
                  <a:pt x="3648" y="6620"/>
                  <a:pt x="2337" y="6028"/>
                  <a:pt x="958" y="6028"/>
                </a:cubicBezTo>
                <a:cubicBezTo>
                  <a:pt x="923" y="6028"/>
                  <a:pt x="887" y="6029"/>
                  <a:pt x="851" y="6029"/>
                </a:cubicBezTo>
                <a:cubicBezTo>
                  <a:pt x="946" y="4864"/>
                  <a:pt x="1387" y="3666"/>
                  <a:pt x="2206" y="2721"/>
                </a:cubicBezTo>
                <a:close/>
                <a:moveTo>
                  <a:pt x="8192" y="5147"/>
                </a:moveTo>
                <a:cubicBezTo>
                  <a:pt x="9263" y="6029"/>
                  <a:pt x="10586" y="6470"/>
                  <a:pt x="11878" y="6470"/>
                </a:cubicBezTo>
                <a:cubicBezTo>
                  <a:pt x="11847" y="7699"/>
                  <a:pt x="11405" y="8959"/>
                  <a:pt x="10555" y="9936"/>
                </a:cubicBezTo>
                <a:lnTo>
                  <a:pt x="6963" y="6344"/>
                </a:lnTo>
                <a:lnTo>
                  <a:pt x="8192" y="5147"/>
                </a:lnTo>
                <a:close/>
                <a:moveTo>
                  <a:pt x="1027" y="6910"/>
                </a:moveTo>
                <a:cubicBezTo>
                  <a:pt x="2180" y="6910"/>
                  <a:pt x="3239" y="7378"/>
                  <a:pt x="4002" y="8172"/>
                </a:cubicBezTo>
                <a:lnTo>
                  <a:pt x="2206" y="9967"/>
                </a:lnTo>
                <a:cubicBezTo>
                  <a:pt x="1450" y="9117"/>
                  <a:pt x="1009" y="8046"/>
                  <a:pt x="914" y="6911"/>
                </a:cubicBezTo>
                <a:cubicBezTo>
                  <a:pt x="952" y="6910"/>
                  <a:pt x="989" y="6910"/>
                  <a:pt x="1027" y="6910"/>
                </a:cubicBezTo>
                <a:close/>
                <a:moveTo>
                  <a:pt x="4537" y="8770"/>
                </a:moveTo>
                <a:cubicBezTo>
                  <a:pt x="5104" y="9652"/>
                  <a:pt x="5325" y="10692"/>
                  <a:pt x="5199" y="11700"/>
                </a:cubicBezTo>
                <a:cubicBezTo>
                  <a:pt x="4285" y="11511"/>
                  <a:pt x="3498" y="11133"/>
                  <a:pt x="2805" y="10503"/>
                </a:cubicBezTo>
                <a:lnTo>
                  <a:pt x="4537" y="8770"/>
                </a:lnTo>
                <a:close/>
                <a:moveTo>
                  <a:pt x="6365" y="6911"/>
                </a:moveTo>
                <a:lnTo>
                  <a:pt x="9956" y="10503"/>
                </a:lnTo>
                <a:cubicBezTo>
                  <a:pt x="8948" y="11399"/>
                  <a:pt x="7716" y="11847"/>
                  <a:pt x="6481" y="11847"/>
                </a:cubicBezTo>
                <a:cubicBezTo>
                  <a:pt x="6327" y="11847"/>
                  <a:pt x="6172" y="11840"/>
                  <a:pt x="6018" y="11826"/>
                </a:cubicBezTo>
                <a:cubicBezTo>
                  <a:pt x="6176" y="10566"/>
                  <a:pt x="5892" y="9274"/>
                  <a:pt x="5104" y="8172"/>
                </a:cubicBezTo>
                <a:lnTo>
                  <a:pt x="6365" y="6911"/>
                </a:lnTo>
                <a:close/>
                <a:moveTo>
                  <a:pt x="6349" y="0"/>
                </a:moveTo>
                <a:cubicBezTo>
                  <a:pt x="2842" y="0"/>
                  <a:pt x="1" y="2821"/>
                  <a:pt x="1" y="6344"/>
                </a:cubicBezTo>
                <a:cubicBezTo>
                  <a:pt x="1" y="9873"/>
                  <a:pt x="2836" y="12708"/>
                  <a:pt x="6333" y="12708"/>
                </a:cubicBezTo>
                <a:cubicBezTo>
                  <a:pt x="9830" y="12708"/>
                  <a:pt x="12666" y="9873"/>
                  <a:pt x="12666" y="6344"/>
                </a:cubicBezTo>
                <a:cubicBezTo>
                  <a:pt x="12729" y="2973"/>
                  <a:pt x="10082" y="201"/>
                  <a:pt x="6743" y="12"/>
                </a:cubicBezTo>
                <a:cubicBezTo>
                  <a:pt x="6611" y="4"/>
                  <a:pt x="6479" y="0"/>
                  <a:pt x="63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76"/>
          <p:cNvSpPr/>
          <p:nvPr/>
        </p:nvSpPr>
        <p:spPr>
          <a:xfrm>
            <a:off x="3137950" y="3801601"/>
            <a:ext cx="219821" cy="374678"/>
          </a:xfrm>
          <a:custGeom>
            <a:avLst/>
            <a:gdLst/>
            <a:ahLst/>
            <a:cxnLst/>
            <a:rect l="l" t="t" r="r" b="b"/>
            <a:pathLst>
              <a:path w="7468" h="12729" extrusionOk="0">
                <a:moveTo>
                  <a:pt x="3715" y="5763"/>
                </a:moveTo>
                <a:cubicBezTo>
                  <a:pt x="3853" y="5763"/>
                  <a:pt x="3994" y="5833"/>
                  <a:pt x="4096" y="5955"/>
                </a:cubicBezTo>
                <a:cubicBezTo>
                  <a:pt x="4285" y="6239"/>
                  <a:pt x="4096" y="6585"/>
                  <a:pt x="3718" y="6585"/>
                </a:cubicBezTo>
                <a:cubicBezTo>
                  <a:pt x="3561" y="6585"/>
                  <a:pt x="3466" y="6491"/>
                  <a:pt x="3372" y="6396"/>
                </a:cubicBezTo>
                <a:cubicBezTo>
                  <a:pt x="3246" y="6239"/>
                  <a:pt x="3309" y="5955"/>
                  <a:pt x="3498" y="5829"/>
                </a:cubicBezTo>
                <a:cubicBezTo>
                  <a:pt x="3565" y="5784"/>
                  <a:pt x="3639" y="5763"/>
                  <a:pt x="3715" y="5763"/>
                </a:cubicBezTo>
                <a:close/>
                <a:moveTo>
                  <a:pt x="4128" y="1922"/>
                </a:moveTo>
                <a:lnTo>
                  <a:pt x="6554" y="6176"/>
                </a:lnTo>
                <a:lnTo>
                  <a:pt x="5104" y="9074"/>
                </a:lnTo>
                <a:lnTo>
                  <a:pt x="2300" y="9074"/>
                </a:lnTo>
                <a:cubicBezTo>
                  <a:pt x="1954" y="8349"/>
                  <a:pt x="977" y="6333"/>
                  <a:pt x="851" y="6176"/>
                </a:cubicBezTo>
                <a:lnTo>
                  <a:pt x="3309" y="1922"/>
                </a:lnTo>
                <a:lnTo>
                  <a:pt x="3309" y="5010"/>
                </a:lnTo>
                <a:cubicBezTo>
                  <a:pt x="2836" y="5167"/>
                  <a:pt x="2458" y="5640"/>
                  <a:pt x="2458" y="6176"/>
                </a:cubicBezTo>
                <a:cubicBezTo>
                  <a:pt x="2458" y="6837"/>
                  <a:pt x="3025" y="7436"/>
                  <a:pt x="3718" y="7436"/>
                </a:cubicBezTo>
                <a:cubicBezTo>
                  <a:pt x="4411" y="7436"/>
                  <a:pt x="4978" y="6900"/>
                  <a:pt x="4947" y="6176"/>
                </a:cubicBezTo>
                <a:cubicBezTo>
                  <a:pt x="4947" y="5640"/>
                  <a:pt x="4600" y="5199"/>
                  <a:pt x="4128" y="5010"/>
                </a:cubicBezTo>
                <a:lnTo>
                  <a:pt x="4128" y="1922"/>
                </a:lnTo>
                <a:close/>
                <a:moveTo>
                  <a:pt x="4947" y="9893"/>
                </a:moveTo>
                <a:lnTo>
                  <a:pt x="4947" y="11815"/>
                </a:lnTo>
                <a:lnTo>
                  <a:pt x="2458" y="11815"/>
                </a:lnTo>
                <a:lnTo>
                  <a:pt x="2458" y="9893"/>
                </a:lnTo>
                <a:close/>
                <a:moveTo>
                  <a:pt x="3592" y="1"/>
                </a:moveTo>
                <a:cubicBezTo>
                  <a:pt x="3529" y="32"/>
                  <a:pt x="3466" y="95"/>
                  <a:pt x="3435" y="127"/>
                </a:cubicBezTo>
                <a:cubicBezTo>
                  <a:pt x="3435" y="127"/>
                  <a:pt x="3435" y="158"/>
                  <a:pt x="3372" y="158"/>
                </a:cubicBezTo>
                <a:lnTo>
                  <a:pt x="3372" y="190"/>
                </a:lnTo>
                <a:lnTo>
                  <a:pt x="64" y="5987"/>
                </a:lnTo>
                <a:cubicBezTo>
                  <a:pt x="1" y="6113"/>
                  <a:pt x="1" y="6270"/>
                  <a:pt x="64" y="6396"/>
                </a:cubicBezTo>
                <a:lnTo>
                  <a:pt x="1670" y="9610"/>
                </a:lnTo>
                <a:lnTo>
                  <a:pt x="1670" y="12288"/>
                </a:lnTo>
                <a:cubicBezTo>
                  <a:pt x="1670" y="12540"/>
                  <a:pt x="1891" y="12729"/>
                  <a:pt x="2080" y="12729"/>
                </a:cubicBezTo>
                <a:lnTo>
                  <a:pt x="5388" y="12729"/>
                </a:lnTo>
                <a:cubicBezTo>
                  <a:pt x="5608" y="12729"/>
                  <a:pt x="5829" y="12540"/>
                  <a:pt x="5829" y="12288"/>
                </a:cubicBezTo>
                <a:lnTo>
                  <a:pt x="5829" y="9610"/>
                </a:lnTo>
                <a:lnTo>
                  <a:pt x="7436" y="6396"/>
                </a:lnTo>
                <a:cubicBezTo>
                  <a:pt x="7467" y="6239"/>
                  <a:pt x="7436" y="6113"/>
                  <a:pt x="7404" y="5987"/>
                </a:cubicBezTo>
                <a:lnTo>
                  <a:pt x="4096" y="190"/>
                </a:lnTo>
                <a:lnTo>
                  <a:pt x="4096" y="158"/>
                </a:lnTo>
                <a:cubicBezTo>
                  <a:pt x="4096" y="158"/>
                  <a:pt x="4096" y="127"/>
                  <a:pt x="4033" y="127"/>
                </a:cubicBezTo>
                <a:cubicBezTo>
                  <a:pt x="4002" y="95"/>
                  <a:pt x="3970" y="32"/>
                  <a:pt x="38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12" name="Google Shape;9312;p76"/>
          <p:cNvGrpSpPr/>
          <p:nvPr/>
        </p:nvGrpSpPr>
        <p:grpSpPr>
          <a:xfrm>
            <a:off x="2173841" y="4274426"/>
            <a:ext cx="382096" cy="371911"/>
            <a:chOff x="-37190575" y="1951325"/>
            <a:chExt cx="324525" cy="315875"/>
          </a:xfrm>
        </p:grpSpPr>
        <p:sp>
          <p:nvSpPr>
            <p:cNvPr id="9313" name="Google Shape;9313;p76"/>
            <p:cNvSpPr/>
            <p:nvPr/>
          </p:nvSpPr>
          <p:spPr>
            <a:xfrm>
              <a:off x="-37190575" y="1951325"/>
              <a:ext cx="324525" cy="315875"/>
            </a:xfrm>
            <a:custGeom>
              <a:avLst/>
              <a:gdLst/>
              <a:ahLst/>
              <a:cxnLst/>
              <a:rect l="l" t="t" r="r" b="b"/>
              <a:pathLst>
                <a:path w="12981" h="12635" extrusionOk="0">
                  <a:moveTo>
                    <a:pt x="6693" y="790"/>
                  </a:moveTo>
                  <a:cubicBezTo>
                    <a:pt x="8301" y="790"/>
                    <a:pt x="9913" y="1489"/>
                    <a:pt x="11028" y="2868"/>
                  </a:cubicBezTo>
                  <a:cubicBezTo>
                    <a:pt x="11752" y="3813"/>
                    <a:pt x="12193" y="5010"/>
                    <a:pt x="12193" y="6270"/>
                  </a:cubicBezTo>
                  <a:cubicBezTo>
                    <a:pt x="12162" y="7058"/>
                    <a:pt x="11563" y="7593"/>
                    <a:pt x="10870" y="7593"/>
                  </a:cubicBezTo>
                  <a:lnTo>
                    <a:pt x="10019" y="7593"/>
                  </a:lnTo>
                  <a:cubicBezTo>
                    <a:pt x="8854" y="7593"/>
                    <a:pt x="7940" y="8539"/>
                    <a:pt x="7940" y="9704"/>
                  </a:cubicBezTo>
                  <a:lnTo>
                    <a:pt x="7940" y="10523"/>
                  </a:lnTo>
                  <a:cubicBezTo>
                    <a:pt x="7940" y="11216"/>
                    <a:pt x="7404" y="11784"/>
                    <a:pt x="6680" y="11815"/>
                  </a:cubicBezTo>
                  <a:cubicBezTo>
                    <a:pt x="6239" y="11815"/>
                    <a:pt x="5892" y="11784"/>
                    <a:pt x="5420" y="11658"/>
                  </a:cubicBezTo>
                  <a:cubicBezTo>
                    <a:pt x="3844" y="11311"/>
                    <a:pt x="2490" y="10208"/>
                    <a:pt x="1765" y="8791"/>
                  </a:cubicBezTo>
                  <a:cubicBezTo>
                    <a:pt x="536" y="6428"/>
                    <a:pt x="1261" y="3340"/>
                    <a:pt x="3624" y="1733"/>
                  </a:cubicBezTo>
                  <a:cubicBezTo>
                    <a:pt x="4545" y="1102"/>
                    <a:pt x="5618" y="790"/>
                    <a:pt x="6693" y="790"/>
                  </a:cubicBezTo>
                  <a:close/>
                  <a:moveTo>
                    <a:pt x="6648" y="1"/>
                  </a:moveTo>
                  <a:cubicBezTo>
                    <a:pt x="4474" y="1"/>
                    <a:pt x="2553" y="1103"/>
                    <a:pt x="1419" y="2805"/>
                  </a:cubicBezTo>
                  <a:cubicBezTo>
                    <a:pt x="95" y="4726"/>
                    <a:pt x="1" y="7215"/>
                    <a:pt x="1009" y="9169"/>
                  </a:cubicBezTo>
                  <a:cubicBezTo>
                    <a:pt x="2080" y="11216"/>
                    <a:pt x="4191" y="12634"/>
                    <a:pt x="6680" y="12634"/>
                  </a:cubicBezTo>
                  <a:cubicBezTo>
                    <a:pt x="7814" y="12634"/>
                    <a:pt x="8791" y="11689"/>
                    <a:pt x="8791" y="10523"/>
                  </a:cubicBezTo>
                  <a:lnTo>
                    <a:pt x="8791" y="9704"/>
                  </a:lnTo>
                  <a:cubicBezTo>
                    <a:pt x="8791" y="8980"/>
                    <a:pt x="9358" y="8444"/>
                    <a:pt x="10019" y="8444"/>
                  </a:cubicBezTo>
                  <a:lnTo>
                    <a:pt x="10870" y="8444"/>
                  </a:lnTo>
                  <a:cubicBezTo>
                    <a:pt x="12004" y="8444"/>
                    <a:pt x="12981" y="7499"/>
                    <a:pt x="12981" y="6333"/>
                  </a:cubicBezTo>
                  <a:cubicBezTo>
                    <a:pt x="12981" y="2962"/>
                    <a:pt x="10240"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76"/>
            <p:cNvSpPr/>
            <p:nvPr/>
          </p:nvSpPr>
          <p:spPr>
            <a:xfrm>
              <a:off x="-37081875" y="2162600"/>
              <a:ext cx="72475" cy="63100"/>
            </a:xfrm>
            <a:custGeom>
              <a:avLst/>
              <a:gdLst/>
              <a:ahLst/>
              <a:cxnLst/>
              <a:rect l="l" t="t" r="r" b="b"/>
              <a:pathLst>
                <a:path w="2899" h="2524" extrusionOk="0">
                  <a:moveTo>
                    <a:pt x="1418" y="812"/>
                  </a:moveTo>
                  <a:cubicBezTo>
                    <a:pt x="1670" y="812"/>
                    <a:pt x="1859" y="1001"/>
                    <a:pt x="1859" y="1253"/>
                  </a:cubicBezTo>
                  <a:cubicBezTo>
                    <a:pt x="1859" y="1474"/>
                    <a:pt x="1670" y="1663"/>
                    <a:pt x="1418" y="1663"/>
                  </a:cubicBezTo>
                  <a:cubicBezTo>
                    <a:pt x="1198" y="1663"/>
                    <a:pt x="1009" y="1474"/>
                    <a:pt x="1009" y="1253"/>
                  </a:cubicBezTo>
                  <a:cubicBezTo>
                    <a:pt x="1009" y="1001"/>
                    <a:pt x="1198" y="812"/>
                    <a:pt x="1418" y="812"/>
                  </a:cubicBezTo>
                  <a:close/>
                  <a:moveTo>
                    <a:pt x="1405" y="0"/>
                  </a:moveTo>
                  <a:cubicBezTo>
                    <a:pt x="1250" y="0"/>
                    <a:pt x="1094" y="28"/>
                    <a:pt x="946" y="88"/>
                  </a:cubicBezTo>
                  <a:cubicBezTo>
                    <a:pt x="316" y="371"/>
                    <a:pt x="0" y="1127"/>
                    <a:pt x="284" y="1757"/>
                  </a:cubicBezTo>
                  <a:cubicBezTo>
                    <a:pt x="496" y="2229"/>
                    <a:pt x="973" y="2524"/>
                    <a:pt x="1463" y="2524"/>
                  </a:cubicBezTo>
                  <a:cubicBezTo>
                    <a:pt x="1628" y="2524"/>
                    <a:pt x="1795" y="2490"/>
                    <a:pt x="1954" y="2419"/>
                  </a:cubicBezTo>
                  <a:cubicBezTo>
                    <a:pt x="2584" y="2135"/>
                    <a:pt x="2899" y="1379"/>
                    <a:pt x="2615" y="749"/>
                  </a:cubicBezTo>
                  <a:cubicBezTo>
                    <a:pt x="2399" y="292"/>
                    <a:pt x="1907"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76"/>
            <p:cNvSpPr/>
            <p:nvPr/>
          </p:nvSpPr>
          <p:spPr>
            <a:xfrm>
              <a:off x="-37144875" y="2099025"/>
              <a:ext cx="72475" cy="62875"/>
            </a:xfrm>
            <a:custGeom>
              <a:avLst/>
              <a:gdLst/>
              <a:ahLst/>
              <a:cxnLst/>
              <a:rect l="l" t="t" r="r" b="b"/>
              <a:pathLst>
                <a:path w="2899" h="2515" extrusionOk="0">
                  <a:moveTo>
                    <a:pt x="1418" y="835"/>
                  </a:moveTo>
                  <a:cubicBezTo>
                    <a:pt x="1670" y="835"/>
                    <a:pt x="1859" y="1024"/>
                    <a:pt x="1859" y="1276"/>
                  </a:cubicBezTo>
                  <a:cubicBezTo>
                    <a:pt x="1859" y="1496"/>
                    <a:pt x="1670" y="1685"/>
                    <a:pt x="1418" y="1685"/>
                  </a:cubicBezTo>
                  <a:cubicBezTo>
                    <a:pt x="1197" y="1685"/>
                    <a:pt x="1008" y="1496"/>
                    <a:pt x="1008" y="1276"/>
                  </a:cubicBezTo>
                  <a:cubicBezTo>
                    <a:pt x="1008" y="1024"/>
                    <a:pt x="1197" y="835"/>
                    <a:pt x="1418" y="835"/>
                  </a:cubicBezTo>
                  <a:close/>
                  <a:moveTo>
                    <a:pt x="1411" y="0"/>
                  </a:moveTo>
                  <a:cubicBezTo>
                    <a:pt x="1254" y="0"/>
                    <a:pt x="1096" y="26"/>
                    <a:pt x="945" y="79"/>
                  </a:cubicBezTo>
                  <a:cubicBezTo>
                    <a:pt x="315" y="362"/>
                    <a:pt x="0" y="1118"/>
                    <a:pt x="284" y="1748"/>
                  </a:cubicBezTo>
                  <a:cubicBezTo>
                    <a:pt x="496" y="2220"/>
                    <a:pt x="972" y="2515"/>
                    <a:pt x="1463" y="2515"/>
                  </a:cubicBezTo>
                  <a:cubicBezTo>
                    <a:pt x="1628" y="2515"/>
                    <a:pt x="1795" y="2481"/>
                    <a:pt x="1953" y="2410"/>
                  </a:cubicBezTo>
                  <a:cubicBezTo>
                    <a:pt x="2583" y="2126"/>
                    <a:pt x="2899" y="1370"/>
                    <a:pt x="2615" y="740"/>
                  </a:cubicBezTo>
                  <a:cubicBezTo>
                    <a:pt x="2399" y="261"/>
                    <a:pt x="1910" y="0"/>
                    <a:pt x="1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76"/>
            <p:cNvSpPr/>
            <p:nvPr/>
          </p:nvSpPr>
          <p:spPr>
            <a:xfrm>
              <a:off x="-37123625" y="2014875"/>
              <a:ext cx="71700" cy="62775"/>
            </a:xfrm>
            <a:custGeom>
              <a:avLst/>
              <a:gdLst/>
              <a:ahLst/>
              <a:cxnLst/>
              <a:rect l="l" t="t" r="r" b="b"/>
              <a:pathLst>
                <a:path w="2868" h="2511" extrusionOk="0">
                  <a:moveTo>
                    <a:pt x="1418" y="798"/>
                  </a:moveTo>
                  <a:cubicBezTo>
                    <a:pt x="1639" y="798"/>
                    <a:pt x="1828" y="1019"/>
                    <a:pt x="1828" y="1239"/>
                  </a:cubicBezTo>
                  <a:cubicBezTo>
                    <a:pt x="1828" y="1460"/>
                    <a:pt x="1639" y="1680"/>
                    <a:pt x="1418" y="1680"/>
                  </a:cubicBezTo>
                  <a:cubicBezTo>
                    <a:pt x="1166" y="1680"/>
                    <a:pt x="977" y="1460"/>
                    <a:pt x="977" y="1239"/>
                  </a:cubicBezTo>
                  <a:cubicBezTo>
                    <a:pt x="1009" y="1019"/>
                    <a:pt x="1166" y="798"/>
                    <a:pt x="1418" y="798"/>
                  </a:cubicBezTo>
                  <a:close/>
                  <a:moveTo>
                    <a:pt x="1431" y="0"/>
                  </a:moveTo>
                  <a:cubicBezTo>
                    <a:pt x="1269" y="0"/>
                    <a:pt x="1105" y="34"/>
                    <a:pt x="946" y="105"/>
                  </a:cubicBezTo>
                  <a:cubicBezTo>
                    <a:pt x="316" y="389"/>
                    <a:pt x="1" y="1113"/>
                    <a:pt x="253" y="1743"/>
                  </a:cubicBezTo>
                  <a:cubicBezTo>
                    <a:pt x="472" y="2231"/>
                    <a:pt x="974" y="2511"/>
                    <a:pt x="1481" y="2511"/>
                  </a:cubicBezTo>
                  <a:cubicBezTo>
                    <a:pt x="1630" y="2511"/>
                    <a:pt x="1780" y="2487"/>
                    <a:pt x="1923" y="2436"/>
                  </a:cubicBezTo>
                  <a:cubicBezTo>
                    <a:pt x="2553" y="2153"/>
                    <a:pt x="2868" y="1397"/>
                    <a:pt x="2584" y="767"/>
                  </a:cubicBezTo>
                  <a:cubicBezTo>
                    <a:pt x="2372" y="295"/>
                    <a:pt x="1913" y="0"/>
                    <a:pt x="14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76"/>
            <p:cNvSpPr/>
            <p:nvPr/>
          </p:nvSpPr>
          <p:spPr>
            <a:xfrm>
              <a:off x="-37039350" y="1993250"/>
              <a:ext cx="71700" cy="63125"/>
            </a:xfrm>
            <a:custGeom>
              <a:avLst/>
              <a:gdLst/>
              <a:ahLst/>
              <a:cxnLst/>
              <a:rect l="l" t="t" r="r" b="b"/>
              <a:pathLst>
                <a:path w="2868" h="2525" extrusionOk="0">
                  <a:moveTo>
                    <a:pt x="1418" y="844"/>
                  </a:moveTo>
                  <a:cubicBezTo>
                    <a:pt x="1671" y="844"/>
                    <a:pt x="1860" y="1033"/>
                    <a:pt x="1860" y="1285"/>
                  </a:cubicBezTo>
                  <a:cubicBezTo>
                    <a:pt x="1860" y="1506"/>
                    <a:pt x="1671" y="1726"/>
                    <a:pt x="1418" y="1726"/>
                  </a:cubicBezTo>
                  <a:cubicBezTo>
                    <a:pt x="1198" y="1726"/>
                    <a:pt x="977" y="1506"/>
                    <a:pt x="977" y="1285"/>
                  </a:cubicBezTo>
                  <a:cubicBezTo>
                    <a:pt x="977" y="1033"/>
                    <a:pt x="1198" y="844"/>
                    <a:pt x="1418" y="844"/>
                  </a:cubicBezTo>
                  <a:close/>
                  <a:moveTo>
                    <a:pt x="1402" y="1"/>
                  </a:moveTo>
                  <a:cubicBezTo>
                    <a:pt x="1248" y="1"/>
                    <a:pt x="1094" y="29"/>
                    <a:pt x="946" y="88"/>
                  </a:cubicBezTo>
                  <a:cubicBezTo>
                    <a:pt x="316" y="372"/>
                    <a:pt x="1" y="1128"/>
                    <a:pt x="284" y="1758"/>
                  </a:cubicBezTo>
                  <a:cubicBezTo>
                    <a:pt x="496" y="2229"/>
                    <a:pt x="955" y="2524"/>
                    <a:pt x="1437" y="2524"/>
                  </a:cubicBezTo>
                  <a:cubicBezTo>
                    <a:pt x="1599" y="2524"/>
                    <a:pt x="1764" y="2491"/>
                    <a:pt x="1923" y="2419"/>
                  </a:cubicBezTo>
                  <a:cubicBezTo>
                    <a:pt x="2553" y="2136"/>
                    <a:pt x="2868" y="1411"/>
                    <a:pt x="2616" y="781"/>
                  </a:cubicBezTo>
                  <a:cubicBezTo>
                    <a:pt x="2399" y="299"/>
                    <a:pt x="1905" y="1"/>
                    <a:pt x="14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18" name="Google Shape;9318;p76"/>
          <p:cNvSpPr/>
          <p:nvPr/>
        </p:nvSpPr>
        <p:spPr>
          <a:xfrm>
            <a:off x="2541596" y="1531475"/>
            <a:ext cx="378387" cy="373736"/>
          </a:xfrm>
          <a:custGeom>
            <a:avLst/>
            <a:gdLst/>
            <a:ahLst/>
            <a:cxnLst/>
            <a:rect l="l" t="t" r="r" b="b"/>
            <a:pathLst>
              <a:path w="12855" h="12697" extrusionOk="0">
                <a:moveTo>
                  <a:pt x="8035" y="1032"/>
                </a:moveTo>
                <a:lnTo>
                  <a:pt x="11847" y="4844"/>
                </a:lnTo>
                <a:lnTo>
                  <a:pt x="7468" y="9223"/>
                </a:lnTo>
                <a:lnTo>
                  <a:pt x="3655" y="5380"/>
                </a:lnTo>
                <a:lnTo>
                  <a:pt x="8035" y="1032"/>
                </a:lnTo>
                <a:close/>
                <a:moveTo>
                  <a:pt x="3057" y="5978"/>
                </a:moveTo>
                <a:lnTo>
                  <a:pt x="6869" y="9790"/>
                </a:lnTo>
                <a:lnTo>
                  <a:pt x="4916" y="11775"/>
                </a:lnTo>
                <a:cubicBezTo>
                  <a:pt x="4837" y="11854"/>
                  <a:pt x="4727" y="11893"/>
                  <a:pt x="4616" y="11893"/>
                </a:cubicBezTo>
                <a:cubicBezTo>
                  <a:pt x="4506" y="11893"/>
                  <a:pt x="4396" y="11854"/>
                  <a:pt x="4317" y="11775"/>
                </a:cubicBezTo>
                <a:lnTo>
                  <a:pt x="1104" y="8530"/>
                </a:lnTo>
                <a:cubicBezTo>
                  <a:pt x="946" y="8372"/>
                  <a:pt x="946" y="8120"/>
                  <a:pt x="1104" y="7963"/>
                </a:cubicBezTo>
                <a:lnTo>
                  <a:pt x="3057" y="5978"/>
                </a:lnTo>
                <a:close/>
                <a:moveTo>
                  <a:pt x="7987" y="0"/>
                </a:moveTo>
                <a:cubicBezTo>
                  <a:pt x="7877" y="0"/>
                  <a:pt x="7767" y="39"/>
                  <a:pt x="7688" y="118"/>
                </a:cubicBezTo>
                <a:lnTo>
                  <a:pt x="442" y="7364"/>
                </a:lnTo>
                <a:cubicBezTo>
                  <a:pt x="1" y="7837"/>
                  <a:pt x="1" y="8625"/>
                  <a:pt x="442" y="9129"/>
                </a:cubicBezTo>
                <a:lnTo>
                  <a:pt x="3687" y="12342"/>
                </a:lnTo>
                <a:cubicBezTo>
                  <a:pt x="3923" y="12578"/>
                  <a:pt x="4238" y="12697"/>
                  <a:pt x="4557" y="12697"/>
                </a:cubicBezTo>
                <a:cubicBezTo>
                  <a:pt x="4876" y="12697"/>
                  <a:pt x="5199" y="12578"/>
                  <a:pt x="5451" y="12342"/>
                </a:cubicBezTo>
                <a:lnTo>
                  <a:pt x="12697" y="5096"/>
                </a:lnTo>
                <a:cubicBezTo>
                  <a:pt x="12855" y="4970"/>
                  <a:pt x="12855" y="4686"/>
                  <a:pt x="12697" y="4529"/>
                </a:cubicBezTo>
                <a:lnTo>
                  <a:pt x="8287" y="118"/>
                </a:lnTo>
                <a:cubicBezTo>
                  <a:pt x="8208" y="39"/>
                  <a:pt x="8098" y="0"/>
                  <a:pt x="79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19" name="Google Shape;9319;p76"/>
          <p:cNvGrpSpPr/>
          <p:nvPr/>
        </p:nvGrpSpPr>
        <p:grpSpPr>
          <a:xfrm>
            <a:off x="2574144" y="2060577"/>
            <a:ext cx="373736" cy="293055"/>
            <a:chOff x="-41694200" y="2382950"/>
            <a:chExt cx="317425" cy="248900"/>
          </a:xfrm>
        </p:grpSpPr>
        <p:sp>
          <p:nvSpPr>
            <p:cNvPr id="9320" name="Google Shape;9320;p76"/>
            <p:cNvSpPr/>
            <p:nvPr/>
          </p:nvSpPr>
          <p:spPr>
            <a:xfrm>
              <a:off x="-41694200" y="2382950"/>
              <a:ext cx="317425" cy="248900"/>
            </a:xfrm>
            <a:custGeom>
              <a:avLst/>
              <a:gdLst/>
              <a:ahLst/>
              <a:cxnLst/>
              <a:rect l="l" t="t" r="r" b="b"/>
              <a:pathLst>
                <a:path w="12697" h="9956" extrusionOk="0">
                  <a:moveTo>
                    <a:pt x="10555" y="851"/>
                  </a:moveTo>
                  <a:cubicBezTo>
                    <a:pt x="10807" y="851"/>
                    <a:pt x="10964" y="1040"/>
                    <a:pt x="10964" y="1292"/>
                  </a:cubicBezTo>
                  <a:lnTo>
                    <a:pt x="10964" y="7499"/>
                  </a:lnTo>
                  <a:lnTo>
                    <a:pt x="1576" y="7499"/>
                  </a:lnTo>
                  <a:lnTo>
                    <a:pt x="1576" y="1292"/>
                  </a:lnTo>
                  <a:lnTo>
                    <a:pt x="1607" y="1292"/>
                  </a:lnTo>
                  <a:cubicBezTo>
                    <a:pt x="1607" y="1040"/>
                    <a:pt x="1828" y="882"/>
                    <a:pt x="2017" y="851"/>
                  </a:cubicBezTo>
                  <a:close/>
                  <a:moveTo>
                    <a:pt x="8507" y="8286"/>
                  </a:moveTo>
                  <a:lnTo>
                    <a:pt x="8507" y="8727"/>
                  </a:lnTo>
                  <a:cubicBezTo>
                    <a:pt x="8507" y="8918"/>
                    <a:pt x="8633" y="9073"/>
                    <a:pt x="8777" y="9137"/>
                  </a:cubicBezTo>
                  <a:lnTo>
                    <a:pt x="1198" y="9137"/>
                  </a:lnTo>
                  <a:cubicBezTo>
                    <a:pt x="1009" y="9137"/>
                    <a:pt x="851" y="9011"/>
                    <a:pt x="788" y="8853"/>
                  </a:cubicBezTo>
                  <a:cubicBezTo>
                    <a:pt x="757" y="8759"/>
                    <a:pt x="788" y="8759"/>
                    <a:pt x="788" y="8286"/>
                  </a:cubicBezTo>
                  <a:close/>
                  <a:moveTo>
                    <a:pt x="10145" y="8286"/>
                  </a:moveTo>
                  <a:lnTo>
                    <a:pt x="10145" y="8727"/>
                  </a:lnTo>
                  <a:cubicBezTo>
                    <a:pt x="10145" y="8918"/>
                    <a:pt x="10254" y="9073"/>
                    <a:pt x="10402" y="9137"/>
                  </a:cubicBezTo>
                  <a:lnTo>
                    <a:pt x="9051" y="9137"/>
                  </a:lnTo>
                  <a:cubicBezTo>
                    <a:pt x="9186" y="9073"/>
                    <a:pt x="9294" y="8918"/>
                    <a:pt x="9294" y="8727"/>
                  </a:cubicBezTo>
                  <a:lnTo>
                    <a:pt x="9294" y="8286"/>
                  </a:lnTo>
                  <a:close/>
                  <a:moveTo>
                    <a:pt x="11783" y="8286"/>
                  </a:moveTo>
                  <a:lnTo>
                    <a:pt x="11783" y="8727"/>
                  </a:lnTo>
                  <a:cubicBezTo>
                    <a:pt x="11815" y="8979"/>
                    <a:pt x="11626" y="9137"/>
                    <a:pt x="11374" y="9137"/>
                  </a:cubicBezTo>
                  <a:lnTo>
                    <a:pt x="10720" y="9137"/>
                  </a:lnTo>
                  <a:cubicBezTo>
                    <a:pt x="10874" y="9073"/>
                    <a:pt x="10964" y="8918"/>
                    <a:pt x="10964" y="8727"/>
                  </a:cubicBezTo>
                  <a:lnTo>
                    <a:pt x="10964" y="8286"/>
                  </a:lnTo>
                  <a:close/>
                  <a:moveTo>
                    <a:pt x="2048" y="0"/>
                  </a:moveTo>
                  <a:cubicBezTo>
                    <a:pt x="1387" y="0"/>
                    <a:pt x="788" y="536"/>
                    <a:pt x="820" y="1261"/>
                  </a:cubicBezTo>
                  <a:lnTo>
                    <a:pt x="820" y="7467"/>
                  </a:lnTo>
                  <a:lnTo>
                    <a:pt x="347" y="7467"/>
                  </a:lnTo>
                  <a:cubicBezTo>
                    <a:pt x="158" y="7467"/>
                    <a:pt x="0" y="7625"/>
                    <a:pt x="0" y="7814"/>
                  </a:cubicBezTo>
                  <a:lnTo>
                    <a:pt x="0" y="8696"/>
                  </a:lnTo>
                  <a:cubicBezTo>
                    <a:pt x="0" y="9357"/>
                    <a:pt x="568" y="9956"/>
                    <a:pt x="1229" y="9956"/>
                  </a:cubicBezTo>
                  <a:lnTo>
                    <a:pt x="11437" y="9956"/>
                  </a:lnTo>
                  <a:cubicBezTo>
                    <a:pt x="12098" y="9956"/>
                    <a:pt x="12697" y="9389"/>
                    <a:pt x="12697" y="8696"/>
                  </a:cubicBezTo>
                  <a:lnTo>
                    <a:pt x="12697" y="7877"/>
                  </a:lnTo>
                  <a:cubicBezTo>
                    <a:pt x="12634" y="7656"/>
                    <a:pt x="12445" y="7467"/>
                    <a:pt x="12224" y="7467"/>
                  </a:cubicBezTo>
                  <a:lnTo>
                    <a:pt x="11815" y="7467"/>
                  </a:lnTo>
                  <a:lnTo>
                    <a:pt x="11815" y="1261"/>
                  </a:lnTo>
                  <a:cubicBezTo>
                    <a:pt x="11815" y="567"/>
                    <a:pt x="11279"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76"/>
            <p:cNvSpPr/>
            <p:nvPr/>
          </p:nvSpPr>
          <p:spPr>
            <a:xfrm>
              <a:off x="-41586600" y="2425550"/>
              <a:ext cx="107450" cy="102925"/>
            </a:xfrm>
            <a:custGeom>
              <a:avLst/>
              <a:gdLst/>
              <a:ahLst/>
              <a:cxnLst/>
              <a:rect l="l" t="t" r="r" b="b"/>
              <a:pathLst>
                <a:path w="4298" h="4117" extrusionOk="0">
                  <a:moveTo>
                    <a:pt x="1147" y="1037"/>
                  </a:moveTo>
                  <a:lnTo>
                    <a:pt x="2218" y="1384"/>
                  </a:lnTo>
                  <a:lnTo>
                    <a:pt x="1493" y="2108"/>
                  </a:lnTo>
                  <a:lnTo>
                    <a:pt x="1147" y="1037"/>
                  </a:lnTo>
                  <a:close/>
                  <a:moveTo>
                    <a:pt x="466" y="1"/>
                  </a:moveTo>
                  <a:cubicBezTo>
                    <a:pt x="209" y="1"/>
                    <a:pt x="1" y="267"/>
                    <a:pt x="107" y="533"/>
                  </a:cubicBezTo>
                  <a:lnTo>
                    <a:pt x="926" y="3022"/>
                  </a:lnTo>
                  <a:cubicBezTo>
                    <a:pt x="987" y="3184"/>
                    <a:pt x="1164" y="3293"/>
                    <a:pt x="1341" y="3293"/>
                  </a:cubicBezTo>
                  <a:cubicBezTo>
                    <a:pt x="1441" y="3293"/>
                    <a:pt x="1540" y="3259"/>
                    <a:pt x="1619" y="3180"/>
                  </a:cubicBezTo>
                  <a:lnTo>
                    <a:pt x="2155" y="2613"/>
                  </a:lnTo>
                  <a:lnTo>
                    <a:pt x="3541" y="3999"/>
                  </a:lnTo>
                  <a:cubicBezTo>
                    <a:pt x="3620" y="4077"/>
                    <a:pt x="3730" y="4117"/>
                    <a:pt x="3840" y="4117"/>
                  </a:cubicBezTo>
                  <a:cubicBezTo>
                    <a:pt x="3951" y="4117"/>
                    <a:pt x="4061" y="4077"/>
                    <a:pt x="4140" y="3999"/>
                  </a:cubicBezTo>
                  <a:cubicBezTo>
                    <a:pt x="4297" y="3841"/>
                    <a:pt x="4297" y="3558"/>
                    <a:pt x="4140" y="3400"/>
                  </a:cubicBezTo>
                  <a:lnTo>
                    <a:pt x="2722" y="2077"/>
                  </a:lnTo>
                  <a:lnTo>
                    <a:pt x="3258" y="1510"/>
                  </a:lnTo>
                  <a:cubicBezTo>
                    <a:pt x="3510" y="1289"/>
                    <a:pt x="3384" y="911"/>
                    <a:pt x="3100" y="848"/>
                  </a:cubicBezTo>
                  <a:lnTo>
                    <a:pt x="611" y="29"/>
                  </a:lnTo>
                  <a:cubicBezTo>
                    <a:pt x="562" y="10"/>
                    <a:pt x="514" y="1"/>
                    <a:pt x="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76"/>
          <p:cNvGrpSpPr/>
          <p:nvPr/>
        </p:nvGrpSpPr>
        <p:grpSpPr>
          <a:xfrm>
            <a:off x="2570967" y="2413885"/>
            <a:ext cx="375591" cy="373766"/>
            <a:chOff x="-41695775" y="2683025"/>
            <a:chExt cx="319000" cy="317450"/>
          </a:xfrm>
        </p:grpSpPr>
        <p:sp>
          <p:nvSpPr>
            <p:cNvPr id="9323" name="Google Shape;9323;p76"/>
            <p:cNvSpPr/>
            <p:nvPr/>
          </p:nvSpPr>
          <p:spPr>
            <a:xfrm>
              <a:off x="-41695775" y="2683025"/>
              <a:ext cx="319000" cy="317450"/>
            </a:xfrm>
            <a:custGeom>
              <a:avLst/>
              <a:gdLst/>
              <a:ahLst/>
              <a:cxnLst/>
              <a:rect l="l" t="t" r="r" b="b"/>
              <a:pathLst>
                <a:path w="12760" h="12698" extrusionOk="0">
                  <a:moveTo>
                    <a:pt x="6238" y="2521"/>
                  </a:moveTo>
                  <a:lnTo>
                    <a:pt x="10240" y="5199"/>
                  </a:lnTo>
                  <a:lnTo>
                    <a:pt x="10240" y="11815"/>
                  </a:lnTo>
                  <a:lnTo>
                    <a:pt x="2521" y="11815"/>
                  </a:lnTo>
                  <a:lnTo>
                    <a:pt x="2521" y="5199"/>
                  </a:lnTo>
                  <a:lnTo>
                    <a:pt x="6238" y="2521"/>
                  </a:lnTo>
                  <a:close/>
                  <a:moveTo>
                    <a:pt x="6270" y="1"/>
                  </a:moveTo>
                  <a:cubicBezTo>
                    <a:pt x="6049" y="1"/>
                    <a:pt x="5860" y="190"/>
                    <a:pt x="5860" y="379"/>
                  </a:cubicBezTo>
                  <a:lnTo>
                    <a:pt x="5860" y="1859"/>
                  </a:lnTo>
                  <a:lnTo>
                    <a:pt x="1891" y="4695"/>
                  </a:lnTo>
                  <a:lnTo>
                    <a:pt x="221" y="5861"/>
                  </a:lnTo>
                  <a:cubicBezTo>
                    <a:pt x="32" y="5987"/>
                    <a:pt x="0" y="6270"/>
                    <a:pt x="158" y="6459"/>
                  </a:cubicBezTo>
                  <a:cubicBezTo>
                    <a:pt x="229" y="6566"/>
                    <a:pt x="342" y="6623"/>
                    <a:pt x="466" y="6623"/>
                  </a:cubicBezTo>
                  <a:cubicBezTo>
                    <a:pt x="560" y="6623"/>
                    <a:pt x="661" y="6590"/>
                    <a:pt x="757" y="6522"/>
                  </a:cubicBezTo>
                  <a:lnTo>
                    <a:pt x="1733" y="5829"/>
                  </a:lnTo>
                  <a:lnTo>
                    <a:pt x="1733" y="12288"/>
                  </a:lnTo>
                  <a:cubicBezTo>
                    <a:pt x="1733" y="12508"/>
                    <a:pt x="1922" y="12697"/>
                    <a:pt x="2111" y="12697"/>
                  </a:cubicBezTo>
                  <a:lnTo>
                    <a:pt x="10649" y="12697"/>
                  </a:lnTo>
                  <a:cubicBezTo>
                    <a:pt x="10901" y="12697"/>
                    <a:pt x="11059" y="12508"/>
                    <a:pt x="11059" y="12288"/>
                  </a:cubicBezTo>
                  <a:lnTo>
                    <a:pt x="11059" y="5798"/>
                  </a:lnTo>
                  <a:lnTo>
                    <a:pt x="12035" y="6491"/>
                  </a:lnTo>
                  <a:cubicBezTo>
                    <a:pt x="12114" y="6543"/>
                    <a:pt x="12204" y="6568"/>
                    <a:pt x="12294" y="6568"/>
                  </a:cubicBezTo>
                  <a:cubicBezTo>
                    <a:pt x="12418" y="6568"/>
                    <a:pt x="12542" y="6519"/>
                    <a:pt x="12634" y="6428"/>
                  </a:cubicBezTo>
                  <a:cubicBezTo>
                    <a:pt x="12760" y="6207"/>
                    <a:pt x="12697" y="5987"/>
                    <a:pt x="12571" y="5829"/>
                  </a:cubicBezTo>
                  <a:lnTo>
                    <a:pt x="10901" y="4632"/>
                  </a:lnTo>
                  <a:cubicBezTo>
                    <a:pt x="10901" y="4632"/>
                    <a:pt x="6679" y="1796"/>
                    <a:pt x="6648" y="1796"/>
                  </a:cubicBezTo>
                  <a:lnTo>
                    <a:pt x="6648" y="379"/>
                  </a:lnTo>
                  <a:cubicBezTo>
                    <a:pt x="6648" y="158"/>
                    <a:pt x="6459" y="1"/>
                    <a:pt x="62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76"/>
            <p:cNvSpPr/>
            <p:nvPr/>
          </p:nvSpPr>
          <p:spPr>
            <a:xfrm>
              <a:off x="-41615450" y="2813750"/>
              <a:ext cx="152050" cy="144975"/>
            </a:xfrm>
            <a:custGeom>
              <a:avLst/>
              <a:gdLst/>
              <a:ahLst/>
              <a:cxnLst/>
              <a:rect l="l" t="t" r="r" b="b"/>
              <a:pathLst>
                <a:path w="6082" h="5799" extrusionOk="0">
                  <a:moveTo>
                    <a:pt x="3050" y="782"/>
                  </a:moveTo>
                  <a:cubicBezTo>
                    <a:pt x="3325" y="782"/>
                    <a:pt x="3606" y="835"/>
                    <a:pt x="3876" y="947"/>
                  </a:cubicBezTo>
                  <a:cubicBezTo>
                    <a:pt x="4853" y="1419"/>
                    <a:pt x="5357" y="2616"/>
                    <a:pt x="4916" y="3656"/>
                  </a:cubicBezTo>
                  <a:cubicBezTo>
                    <a:pt x="4601" y="4412"/>
                    <a:pt x="3908" y="4916"/>
                    <a:pt x="3025" y="4916"/>
                  </a:cubicBezTo>
                  <a:cubicBezTo>
                    <a:pt x="1545" y="4916"/>
                    <a:pt x="568" y="3436"/>
                    <a:pt x="1135" y="2049"/>
                  </a:cubicBezTo>
                  <a:cubicBezTo>
                    <a:pt x="1465" y="1248"/>
                    <a:pt x="2235" y="782"/>
                    <a:pt x="3050" y="782"/>
                  </a:cubicBezTo>
                  <a:close/>
                  <a:moveTo>
                    <a:pt x="2968" y="0"/>
                  </a:moveTo>
                  <a:cubicBezTo>
                    <a:pt x="1995" y="0"/>
                    <a:pt x="1120" y="497"/>
                    <a:pt x="631" y="1262"/>
                  </a:cubicBezTo>
                  <a:cubicBezTo>
                    <a:pt x="95" y="2081"/>
                    <a:pt x="1" y="3152"/>
                    <a:pt x="347" y="4034"/>
                  </a:cubicBezTo>
                  <a:cubicBezTo>
                    <a:pt x="789" y="5074"/>
                    <a:pt x="1860" y="5798"/>
                    <a:pt x="3057" y="5798"/>
                  </a:cubicBezTo>
                  <a:cubicBezTo>
                    <a:pt x="4034" y="5798"/>
                    <a:pt x="4884" y="5326"/>
                    <a:pt x="5451" y="4538"/>
                  </a:cubicBezTo>
                  <a:cubicBezTo>
                    <a:pt x="5987" y="3719"/>
                    <a:pt x="6081" y="2648"/>
                    <a:pt x="5735" y="1766"/>
                  </a:cubicBezTo>
                  <a:cubicBezTo>
                    <a:pt x="5294" y="726"/>
                    <a:pt x="4223" y="1"/>
                    <a:pt x="3057" y="1"/>
                  </a:cubicBezTo>
                  <a:cubicBezTo>
                    <a:pt x="3027" y="1"/>
                    <a:pt x="2997" y="0"/>
                    <a:pt x="29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76"/>
            <p:cNvSpPr/>
            <p:nvPr/>
          </p:nvSpPr>
          <p:spPr>
            <a:xfrm>
              <a:off x="-41550075" y="2853950"/>
              <a:ext cx="40200" cy="42550"/>
            </a:xfrm>
            <a:custGeom>
              <a:avLst/>
              <a:gdLst/>
              <a:ahLst/>
              <a:cxnLst/>
              <a:rect l="l" t="t" r="r" b="b"/>
              <a:pathLst>
                <a:path w="1608" h="1702" extrusionOk="0">
                  <a:moveTo>
                    <a:pt x="379" y="0"/>
                  </a:moveTo>
                  <a:cubicBezTo>
                    <a:pt x="190" y="0"/>
                    <a:pt x="1" y="221"/>
                    <a:pt x="1" y="441"/>
                  </a:cubicBezTo>
                  <a:lnTo>
                    <a:pt x="1" y="1260"/>
                  </a:lnTo>
                  <a:cubicBezTo>
                    <a:pt x="1" y="1512"/>
                    <a:pt x="190" y="1701"/>
                    <a:pt x="379" y="1701"/>
                  </a:cubicBezTo>
                  <a:lnTo>
                    <a:pt x="1230" y="1701"/>
                  </a:lnTo>
                  <a:cubicBezTo>
                    <a:pt x="1450" y="1701"/>
                    <a:pt x="1608" y="1512"/>
                    <a:pt x="1608" y="1260"/>
                  </a:cubicBezTo>
                  <a:cubicBezTo>
                    <a:pt x="1608" y="1040"/>
                    <a:pt x="1419" y="851"/>
                    <a:pt x="1230" y="851"/>
                  </a:cubicBezTo>
                  <a:lnTo>
                    <a:pt x="788" y="851"/>
                  </a:lnTo>
                  <a:lnTo>
                    <a:pt x="788" y="410"/>
                  </a:lnTo>
                  <a:cubicBezTo>
                    <a:pt x="788"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6" name="Google Shape;9326;p76"/>
          <p:cNvGrpSpPr/>
          <p:nvPr/>
        </p:nvGrpSpPr>
        <p:grpSpPr>
          <a:xfrm>
            <a:off x="1313266" y="2906655"/>
            <a:ext cx="342211" cy="375620"/>
            <a:chOff x="-39792875" y="1971800"/>
            <a:chExt cx="290650" cy="319025"/>
          </a:xfrm>
        </p:grpSpPr>
        <p:sp>
          <p:nvSpPr>
            <p:cNvPr id="9327" name="Google Shape;9327;p76"/>
            <p:cNvSpPr/>
            <p:nvPr/>
          </p:nvSpPr>
          <p:spPr>
            <a:xfrm>
              <a:off x="-39667650" y="2145075"/>
              <a:ext cx="40975" cy="41775"/>
            </a:xfrm>
            <a:custGeom>
              <a:avLst/>
              <a:gdLst/>
              <a:ahLst/>
              <a:cxnLst/>
              <a:rect l="l" t="t" r="r" b="b"/>
              <a:pathLst>
                <a:path w="1639" h="1671" extrusionOk="0">
                  <a:moveTo>
                    <a:pt x="820" y="1"/>
                  </a:moveTo>
                  <a:cubicBezTo>
                    <a:pt x="379" y="1"/>
                    <a:pt x="1" y="379"/>
                    <a:pt x="1" y="852"/>
                  </a:cubicBezTo>
                  <a:cubicBezTo>
                    <a:pt x="1" y="1293"/>
                    <a:pt x="379" y="1671"/>
                    <a:pt x="820" y="1671"/>
                  </a:cubicBezTo>
                  <a:cubicBezTo>
                    <a:pt x="1261" y="1671"/>
                    <a:pt x="1639" y="1293"/>
                    <a:pt x="1639" y="852"/>
                  </a:cubicBezTo>
                  <a:cubicBezTo>
                    <a:pt x="1639" y="379"/>
                    <a:pt x="1261"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76"/>
            <p:cNvSpPr/>
            <p:nvPr/>
          </p:nvSpPr>
          <p:spPr>
            <a:xfrm>
              <a:off x="-39792875" y="1971800"/>
              <a:ext cx="290650" cy="319025"/>
            </a:xfrm>
            <a:custGeom>
              <a:avLst/>
              <a:gdLst/>
              <a:ahLst/>
              <a:cxnLst/>
              <a:rect l="l" t="t" r="r" b="b"/>
              <a:pathLst>
                <a:path w="11626" h="12761" extrusionOk="0">
                  <a:moveTo>
                    <a:pt x="6207" y="3687"/>
                  </a:moveTo>
                  <a:cubicBezTo>
                    <a:pt x="6900" y="3687"/>
                    <a:pt x="7436" y="4222"/>
                    <a:pt x="7436" y="4884"/>
                  </a:cubicBezTo>
                  <a:lnTo>
                    <a:pt x="7436" y="11910"/>
                  </a:lnTo>
                  <a:lnTo>
                    <a:pt x="4159" y="11910"/>
                  </a:lnTo>
                  <a:lnTo>
                    <a:pt x="4159" y="4884"/>
                  </a:lnTo>
                  <a:cubicBezTo>
                    <a:pt x="4159" y="4222"/>
                    <a:pt x="4726" y="3687"/>
                    <a:pt x="5388" y="3687"/>
                  </a:cubicBezTo>
                  <a:close/>
                  <a:moveTo>
                    <a:pt x="10744" y="914"/>
                  </a:moveTo>
                  <a:lnTo>
                    <a:pt x="10744" y="3939"/>
                  </a:lnTo>
                  <a:cubicBezTo>
                    <a:pt x="9767" y="4412"/>
                    <a:pt x="9105" y="5420"/>
                    <a:pt x="9105" y="6554"/>
                  </a:cubicBezTo>
                  <a:cubicBezTo>
                    <a:pt x="9105" y="7688"/>
                    <a:pt x="9767" y="8665"/>
                    <a:pt x="10744" y="9137"/>
                  </a:cubicBezTo>
                  <a:cubicBezTo>
                    <a:pt x="10775" y="10145"/>
                    <a:pt x="10775" y="11280"/>
                    <a:pt x="10775" y="11910"/>
                  </a:cubicBezTo>
                  <a:lnTo>
                    <a:pt x="8318" y="11910"/>
                  </a:lnTo>
                  <a:lnTo>
                    <a:pt x="8318" y="4884"/>
                  </a:lnTo>
                  <a:cubicBezTo>
                    <a:pt x="8318" y="3750"/>
                    <a:pt x="7373" y="2805"/>
                    <a:pt x="6207" y="2805"/>
                  </a:cubicBezTo>
                  <a:lnTo>
                    <a:pt x="5388" y="2805"/>
                  </a:lnTo>
                  <a:cubicBezTo>
                    <a:pt x="4254" y="2805"/>
                    <a:pt x="3308" y="3750"/>
                    <a:pt x="3308" y="4884"/>
                  </a:cubicBezTo>
                  <a:lnTo>
                    <a:pt x="3308" y="11910"/>
                  </a:lnTo>
                  <a:lnTo>
                    <a:pt x="820" y="11910"/>
                  </a:lnTo>
                  <a:lnTo>
                    <a:pt x="820" y="9137"/>
                  </a:lnTo>
                  <a:cubicBezTo>
                    <a:pt x="2174" y="8507"/>
                    <a:pt x="2804" y="7026"/>
                    <a:pt x="2332" y="5640"/>
                  </a:cubicBezTo>
                  <a:cubicBezTo>
                    <a:pt x="2080" y="4884"/>
                    <a:pt x="1544" y="4254"/>
                    <a:pt x="820" y="3939"/>
                  </a:cubicBezTo>
                  <a:lnTo>
                    <a:pt x="820" y="914"/>
                  </a:lnTo>
                  <a:close/>
                  <a:moveTo>
                    <a:pt x="441" y="1"/>
                  </a:moveTo>
                  <a:cubicBezTo>
                    <a:pt x="189" y="1"/>
                    <a:pt x="0" y="221"/>
                    <a:pt x="0" y="442"/>
                  </a:cubicBezTo>
                  <a:lnTo>
                    <a:pt x="0" y="4191"/>
                  </a:lnTo>
                  <a:cubicBezTo>
                    <a:pt x="0" y="4349"/>
                    <a:pt x="126" y="4506"/>
                    <a:pt x="284" y="4569"/>
                  </a:cubicBezTo>
                  <a:cubicBezTo>
                    <a:pt x="1072" y="4853"/>
                    <a:pt x="1639" y="5609"/>
                    <a:pt x="1639" y="6522"/>
                  </a:cubicBezTo>
                  <a:cubicBezTo>
                    <a:pt x="1639" y="7404"/>
                    <a:pt x="1072" y="8161"/>
                    <a:pt x="284" y="8476"/>
                  </a:cubicBezTo>
                  <a:cubicBezTo>
                    <a:pt x="126" y="8507"/>
                    <a:pt x="0" y="8665"/>
                    <a:pt x="0" y="8885"/>
                  </a:cubicBezTo>
                  <a:lnTo>
                    <a:pt x="0" y="12351"/>
                  </a:lnTo>
                  <a:cubicBezTo>
                    <a:pt x="0" y="12571"/>
                    <a:pt x="189" y="12760"/>
                    <a:pt x="441" y="12760"/>
                  </a:cubicBezTo>
                  <a:lnTo>
                    <a:pt x="11185" y="12760"/>
                  </a:lnTo>
                  <a:cubicBezTo>
                    <a:pt x="11405" y="12760"/>
                    <a:pt x="11563" y="12571"/>
                    <a:pt x="11626" y="12382"/>
                  </a:cubicBezTo>
                  <a:lnTo>
                    <a:pt x="11626" y="8885"/>
                  </a:lnTo>
                  <a:cubicBezTo>
                    <a:pt x="11626" y="8696"/>
                    <a:pt x="11500" y="8539"/>
                    <a:pt x="11342" y="8476"/>
                  </a:cubicBezTo>
                  <a:cubicBezTo>
                    <a:pt x="10555" y="8192"/>
                    <a:pt x="9956" y="7404"/>
                    <a:pt x="9956" y="6522"/>
                  </a:cubicBezTo>
                  <a:cubicBezTo>
                    <a:pt x="9956" y="5609"/>
                    <a:pt x="10555" y="4853"/>
                    <a:pt x="11342" y="4569"/>
                  </a:cubicBezTo>
                  <a:cubicBezTo>
                    <a:pt x="11500" y="4538"/>
                    <a:pt x="11626" y="4380"/>
                    <a:pt x="11626" y="4191"/>
                  </a:cubicBezTo>
                  <a:lnTo>
                    <a:pt x="11626" y="442"/>
                  </a:lnTo>
                  <a:cubicBezTo>
                    <a:pt x="11626" y="221"/>
                    <a:pt x="11405" y="1"/>
                    <a:pt x="111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9" name="Google Shape;9329;p76"/>
          <p:cNvGrpSpPr/>
          <p:nvPr/>
        </p:nvGrpSpPr>
        <p:grpSpPr>
          <a:xfrm>
            <a:off x="1322068" y="3337731"/>
            <a:ext cx="324609" cy="374825"/>
            <a:chOff x="-39783425" y="2337925"/>
            <a:chExt cx="275700" cy="318350"/>
          </a:xfrm>
        </p:grpSpPr>
        <p:sp>
          <p:nvSpPr>
            <p:cNvPr id="9330" name="Google Shape;9330;p76"/>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1" name="Google Shape;9331;p76"/>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32" name="Google Shape;9332;p76"/>
          <p:cNvSpPr/>
          <p:nvPr/>
        </p:nvSpPr>
        <p:spPr>
          <a:xfrm>
            <a:off x="1296433" y="3802308"/>
            <a:ext cx="371911" cy="373265"/>
          </a:xfrm>
          <a:custGeom>
            <a:avLst/>
            <a:gdLst/>
            <a:ahLst/>
            <a:cxnLst/>
            <a:rect l="l" t="t" r="r" b="b"/>
            <a:pathLst>
              <a:path w="12635" h="12681" extrusionOk="0">
                <a:moveTo>
                  <a:pt x="2017" y="865"/>
                </a:moveTo>
                <a:lnTo>
                  <a:pt x="3624" y="1275"/>
                </a:lnTo>
                <a:cubicBezTo>
                  <a:pt x="3655" y="1370"/>
                  <a:pt x="2679" y="4961"/>
                  <a:pt x="2679" y="4961"/>
                </a:cubicBezTo>
                <a:lnTo>
                  <a:pt x="2553" y="5339"/>
                </a:lnTo>
                <a:lnTo>
                  <a:pt x="946" y="4898"/>
                </a:lnTo>
                <a:lnTo>
                  <a:pt x="2017" y="865"/>
                </a:lnTo>
                <a:close/>
                <a:moveTo>
                  <a:pt x="10460" y="4867"/>
                </a:moveTo>
                <a:lnTo>
                  <a:pt x="11689" y="5182"/>
                </a:lnTo>
                <a:lnTo>
                  <a:pt x="11469" y="6001"/>
                </a:lnTo>
                <a:lnTo>
                  <a:pt x="10240" y="5686"/>
                </a:lnTo>
                <a:lnTo>
                  <a:pt x="10460" y="4867"/>
                </a:lnTo>
                <a:close/>
                <a:moveTo>
                  <a:pt x="4159" y="2346"/>
                </a:moveTo>
                <a:lnTo>
                  <a:pt x="9799" y="3858"/>
                </a:lnTo>
                <a:lnTo>
                  <a:pt x="9200" y="6284"/>
                </a:lnTo>
                <a:lnTo>
                  <a:pt x="8381" y="6064"/>
                </a:lnTo>
                <a:cubicBezTo>
                  <a:pt x="8413" y="5465"/>
                  <a:pt x="8161" y="4867"/>
                  <a:pt x="7625" y="4552"/>
                </a:cubicBezTo>
                <a:cubicBezTo>
                  <a:pt x="7341" y="4366"/>
                  <a:pt x="7014" y="4275"/>
                  <a:pt x="6691" y="4275"/>
                </a:cubicBezTo>
                <a:cubicBezTo>
                  <a:pt x="6084" y="4275"/>
                  <a:pt x="5487" y="4596"/>
                  <a:pt x="5199" y="5213"/>
                </a:cubicBezTo>
                <a:cubicBezTo>
                  <a:pt x="4601" y="5056"/>
                  <a:pt x="3529" y="4804"/>
                  <a:pt x="3529" y="4804"/>
                </a:cubicBezTo>
                <a:cubicBezTo>
                  <a:pt x="3624" y="4552"/>
                  <a:pt x="4128" y="2630"/>
                  <a:pt x="4159" y="2346"/>
                </a:cubicBezTo>
                <a:close/>
                <a:moveTo>
                  <a:pt x="6746" y="5106"/>
                </a:moveTo>
                <a:cubicBezTo>
                  <a:pt x="7102" y="5106"/>
                  <a:pt x="7435" y="5355"/>
                  <a:pt x="7562" y="5686"/>
                </a:cubicBezTo>
                <a:cubicBezTo>
                  <a:pt x="7594" y="5906"/>
                  <a:pt x="7594" y="6095"/>
                  <a:pt x="7531" y="6284"/>
                </a:cubicBezTo>
                <a:cubicBezTo>
                  <a:pt x="7368" y="6610"/>
                  <a:pt x="7067" y="6798"/>
                  <a:pt x="6756" y="6798"/>
                </a:cubicBezTo>
                <a:cubicBezTo>
                  <a:pt x="6646" y="6798"/>
                  <a:pt x="6535" y="6775"/>
                  <a:pt x="6428" y="6725"/>
                </a:cubicBezTo>
                <a:cubicBezTo>
                  <a:pt x="6176" y="6631"/>
                  <a:pt x="6018" y="6442"/>
                  <a:pt x="5955" y="6221"/>
                </a:cubicBezTo>
                <a:cubicBezTo>
                  <a:pt x="5798" y="5749"/>
                  <a:pt x="6050" y="5276"/>
                  <a:pt x="6491" y="5150"/>
                </a:cubicBezTo>
                <a:cubicBezTo>
                  <a:pt x="6575" y="5120"/>
                  <a:pt x="6661" y="5106"/>
                  <a:pt x="6746" y="5106"/>
                </a:cubicBezTo>
                <a:close/>
                <a:moveTo>
                  <a:pt x="7531" y="7387"/>
                </a:moveTo>
                <a:lnTo>
                  <a:pt x="8476" y="9277"/>
                </a:lnTo>
                <a:lnTo>
                  <a:pt x="4947" y="9277"/>
                </a:lnTo>
                <a:lnTo>
                  <a:pt x="5955" y="7387"/>
                </a:lnTo>
                <a:cubicBezTo>
                  <a:pt x="6192" y="7529"/>
                  <a:pt x="6451" y="7600"/>
                  <a:pt x="6719" y="7600"/>
                </a:cubicBezTo>
                <a:cubicBezTo>
                  <a:pt x="6987" y="7600"/>
                  <a:pt x="7263" y="7529"/>
                  <a:pt x="7531" y="7387"/>
                </a:cubicBezTo>
                <a:close/>
                <a:moveTo>
                  <a:pt x="1791" y="1"/>
                </a:moveTo>
                <a:cubicBezTo>
                  <a:pt x="1607" y="1"/>
                  <a:pt x="1440" y="138"/>
                  <a:pt x="1387" y="298"/>
                </a:cubicBezTo>
                <a:lnTo>
                  <a:pt x="95" y="5150"/>
                </a:lnTo>
                <a:cubicBezTo>
                  <a:pt x="1" y="5371"/>
                  <a:pt x="158" y="5591"/>
                  <a:pt x="347" y="5654"/>
                </a:cubicBezTo>
                <a:lnTo>
                  <a:pt x="2742" y="6284"/>
                </a:lnTo>
                <a:cubicBezTo>
                  <a:pt x="2773" y="6288"/>
                  <a:pt x="2804" y="6290"/>
                  <a:pt x="2833" y="6290"/>
                </a:cubicBezTo>
                <a:cubicBezTo>
                  <a:pt x="3040" y="6290"/>
                  <a:pt x="3195" y="6194"/>
                  <a:pt x="3277" y="6001"/>
                </a:cubicBezTo>
                <a:lnTo>
                  <a:pt x="3403" y="5623"/>
                </a:lnTo>
                <a:lnTo>
                  <a:pt x="5073" y="6095"/>
                </a:lnTo>
                <a:cubicBezTo>
                  <a:pt x="5073" y="6379"/>
                  <a:pt x="5199" y="6631"/>
                  <a:pt x="5325" y="6883"/>
                </a:cubicBezTo>
                <a:lnTo>
                  <a:pt x="2616" y="12081"/>
                </a:lnTo>
                <a:cubicBezTo>
                  <a:pt x="2490" y="12270"/>
                  <a:pt x="2553" y="12522"/>
                  <a:pt x="2773" y="12617"/>
                </a:cubicBezTo>
                <a:cubicBezTo>
                  <a:pt x="2838" y="12660"/>
                  <a:pt x="2907" y="12681"/>
                  <a:pt x="2974" y="12681"/>
                </a:cubicBezTo>
                <a:cubicBezTo>
                  <a:pt x="3103" y="12681"/>
                  <a:pt x="3226" y="12604"/>
                  <a:pt x="3309" y="12459"/>
                </a:cubicBezTo>
                <a:lnTo>
                  <a:pt x="4538" y="10191"/>
                </a:lnTo>
                <a:cubicBezTo>
                  <a:pt x="4559" y="10201"/>
                  <a:pt x="4538" y="10205"/>
                  <a:pt x="4668" y="10205"/>
                </a:cubicBezTo>
                <a:cubicBezTo>
                  <a:pt x="4930" y="10205"/>
                  <a:pt x="5798" y="10191"/>
                  <a:pt x="8822" y="10191"/>
                </a:cubicBezTo>
                <a:lnTo>
                  <a:pt x="8917" y="10191"/>
                </a:lnTo>
                <a:lnTo>
                  <a:pt x="10082" y="12459"/>
                </a:lnTo>
                <a:cubicBezTo>
                  <a:pt x="10165" y="12604"/>
                  <a:pt x="10289" y="12681"/>
                  <a:pt x="10426" y="12681"/>
                </a:cubicBezTo>
                <a:cubicBezTo>
                  <a:pt x="10498" y="12681"/>
                  <a:pt x="10574" y="12660"/>
                  <a:pt x="10650" y="12617"/>
                </a:cubicBezTo>
                <a:cubicBezTo>
                  <a:pt x="10839" y="12522"/>
                  <a:pt x="10902" y="12270"/>
                  <a:pt x="10807" y="12081"/>
                </a:cubicBezTo>
                <a:lnTo>
                  <a:pt x="8129" y="6914"/>
                </a:lnTo>
                <a:lnTo>
                  <a:pt x="9389" y="7261"/>
                </a:lnTo>
                <a:cubicBezTo>
                  <a:pt x="9428" y="7272"/>
                  <a:pt x="9466" y="7277"/>
                  <a:pt x="9503" y="7277"/>
                </a:cubicBezTo>
                <a:cubicBezTo>
                  <a:pt x="9674" y="7277"/>
                  <a:pt x="9816" y="7164"/>
                  <a:pt x="9893" y="7009"/>
                </a:cubicBezTo>
                <a:lnTo>
                  <a:pt x="10019" y="6599"/>
                </a:lnTo>
                <a:lnTo>
                  <a:pt x="11626" y="7040"/>
                </a:lnTo>
                <a:cubicBezTo>
                  <a:pt x="11660" y="7050"/>
                  <a:pt x="11694" y="7055"/>
                  <a:pt x="11727" y="7055"/>
                </a:cubicBezTo>
                <a:cubicBezTo>
                  <a:pt x="11910" y="7055"/>
                  <a:pt x="12077" y="6917"/>
                  <a:pt x="12130" y="6757"/>
                </a:cubicBezTo>
                <a:lnTo>
                  <a:pt x="12571" y="5150"/>
                </a:lnTo>
                <a:cubicBezTo>
                  <a:pt x="12634" y="4804"/>
                  <a:pt x="12508" y="4583"/>
                  <a:pt x="12288" y="4520"/>
                </a:cubicBezTo>
                <a:lnTo>
                  <a:pt x="10681" y="4079"/>
                </a:lnTo>
                <a:lnTo>
                  <a:pt x="10776" y="3701"/>
                </a:lnTo>
                <a:cubicBezTo>
                  <a:pt x="10839" y="3449"/>
                  <a:pt x="10713" y="3260"/>
                  <a:pt x="10523" y="3165"/>
                </a:cubicBezTo>
                <a:lnTo>
                  <a:pt x="4443" y="1559"/>
                </a:lnTo>
                <a:lnTo>
                  <a:pt x="4569" y="1181"/>
                </a:lnTo>
                <a:cubicBezTo>
                  <a:pt x="4601" y="928"/>
                  <a:pt x="4506" y="739"/>
                  <a:pt x="4285" y="645"/>
                </a:cubicBezTo>
                <a:lnTo>
                  <a:pt x="1891" y="15"/>
                </a:lnTo>
                <a:cubicBezTo>
                  <a:pt x="1857" y="5"/>
                  <a:pt x="1824" y="1"/>
                  <a:pt x="17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3" name="Google Shape;9333;p76"/>
          <p:cNvGrpSpPr/>
          <p:nvPr/>
        </p:nvGrpSpPr>
        <p:grpSpPr>
          <a:xfrm>
            <a:off x="3490328" y="2878839"/>
            <a:ext cx="383950" cy="372618"/>
            <a:chOff x="-37956150" y="1948175"/>
            <a:chExt cx="326100" cy="316475"/>
          </a:xfrm>
        </p:grpSpPr>
        <p:sp>
          <p:nvSpPr>
            <p:cNvPr id="9334" name="Google Shape;9334;p76"/>
            <p:cNvSpPr/>
            <p:nvPr/>
          </p:nvSpPr>
          <p:spPr>
            <a:xfrm>
              <a:off x="-37956150" y="1948175"/>
              <a:ext cx="326100" cy="316475"/>
            </a:xfrm>
            <a:custGeom>
              <a:avLst/>
              <a:gdLst/>
              <a:ahLst/>
              <a:cxnLst/>
              <a:rect l="l" t="t" r="r" b="b"/>
              <a:pathLst>
                <a:path w="13044" h="12659" extrusionOk="0">
                  <a:moveTo>
                    <a:pt x="11627" y="844"/>
                  </a:moveTo>
                  <a:cubicBezTo>
                    <a:pt x="11847" y="844"/>
                    <a:pt x="12067" y="993"/>
                    <a:pt x="12067" y="1229"/>
                  </a:cubicBezTo>
                  <a:cubicBezTo>
                    <a:pt x="12067" y="1355"/>
                    <a:pt x="12036" y="1418"/>
                    <a:pt x="11941" y="1513"/>
                  </a:cubicBezTo>
                  <a:lnTo>
                    <a:pt x="9106" y="4254"/>
                  </a:lnTo>
                  <a:cubicBezTo>
                    <a:pt x="8948" y="4065"/>
                    <a:pt x="8759" y="3876"/>
                    <a:pt x="8507" y="3687"/>
                  </a:cubicBezTo>
                  <a:cubicBezTo>
                    <a:pt x="9358" y="2899"/>
                    <a:pt x="11343" y="946"/>
                    <a:pt x="11343" y="946"/>
                  </a:cubicBezTo>
                  <a:cubicBezTo>
                    <a:pt x="11423" y="876"/>
                    <a:pt x="11525" y="844"/>
                    <a:pt x="11627" y="844"/>
                  </a:cubicBezTo>
                  <a:close/>
                  <a:moveTo>
                    <a:pt x="3845" y="10712"/>
                  </a:moveTo>
                  <a:lnTo>
                    <a:pt x="4412" y="11311"/>
                  </a:lnTo>
                  <a:lnTo>
                    <a:pt x="4065" y="11657"/>
                  </a:lnTo>
                  <a:cubicBezTo>
                    <a:pt x="3986" y="11736"/>
                    <a:pt x="3876" y="11776"/>
                    <a:pt x="3766" y="11776"/>
                  </a:cubicBezTo>
                  <a:cubicBezTo>
                    <a:pt x="3656" y="11776"/>
                    <a:pt x="3545" y="11736"/>
                    <a:pt x="3467" y="11657"/>
                  </a:cubicBezTo>
                  <a:cubicBezTo>
                    <a:pt x="3309" y="11500"/>
                    <a:pt x="3309" y="11248"/>
                    <a:pt x="3467" y="11090"/>
                  </a:cubicBezTo>
                  <a:lnTo>
                    <a:pt x="3845" y="10712"/>
                  </a:lnTo>
                  <a:close/>
                  <a:moveTo>
                    <a:pt x="6222" y="3658"/>
                  </a:moveTo>
                  <a:cubicBezTo>
                    <a:pt x="6719" y="3658"/>
                    <a:pt x="7224" y="3789"/>
                    <a:pt x="7688" y="4065"/>
                  </a:cubicBezTo>
                  <a:cubicBezTo>
                    <a:pt x="8035" y="4254"/>
                    <a:pt x="8350" y="4569"/>
                    <a:pt x="8602" y="4884"/>
                  </a:cubicBezTo>
                  <a:cubicBezTo>
                    <a:pt x="9389" y="6207"/>
                    <a:pt x="9106" y="7782"/>
                    <a:pt x="8129" y="8759"/>
                  </a:cubicBezTo>
                  <a:lnTo>
                    <a:pt x="7027" y="9862"/>
                  </a:lnTo>
                  <a:cubicBezTo>
                    <a:pt x="6838" y="10051"/>
                    <a:pt x="6712" y="10334"/>
                    <a:pt x="6680" y="10649"/>
                  </a:cubicBezTo>
                  <a:cubicBezTo>
                    <a:pt x="6680" y="11027"/>
                    <a:pt x="6554" y="11468"/>
                    <a:pt x="6270" y="11752"/>
                  </a:cubicBezTo>
                  <a:cubicBezTo>
                    <a:pt x="6255" y="11768"/>
                    <a:pt x="6215" y="11776"/>
                    <a:pt x="6176" y="11776"/>
                  </a:cubicBezTo>
                  <a:cubicBezTo>
                    <a:pt x="6137" y="11776"/>
                    <a:pt x="6097" y="11768"/>
                    <a:pt x="6081" y="11752"/>
                  </a:cubicBezTo>
                  <a:cubicBezTo>
                    <a:pt x="726" y="6396"/>
                    <a:pt x="1009" y="6680"/>
                    <a:pt x="1009" y="6617"/>
                  </a:cubicBezTo>
                  <a:lnTo>
                    <a:pt x="1009" y="6522"/>
                  </a:lnTo>
                  <a:cubicBezTo>
                    <a:pt x="1009" y="6459"/>
                    <a:pt x="1041" y="6459"/>
                    <a:pt x="1041" y="6459"/>
                  </a:cubicBezTo>
                  <a:cubicBezTo>
                    <a:pt x="1198" y="6302"/>
                    <a:pt x="1419" y="6207"/>
                    <a:pt x="1671" y="6113"/>
                  </a:cubicBezTo>
                  <a:cubicBezTo>
                    <a:pt x="2049" y="5987"/>
                    <a:pt x="2269" y="6081"/>
                    <a:pt x="2616" y="5955"/>
                  </a:cubicBezTo>
                  <a:cubicBezTo>
                    <a:pt x="2773" y="5892"/>
                    <a:pt x="2899" y="5798"/>
                    <a:pt x="2994" y="5672"/>
                  </a:cubicBezTo>
                  <a:lnTo>
                    <a:pt x="4191" y="4506"/>
                  </a:lnTo>
                  <a:cubicBezTo>
                    <a:pt x="4741" y="3956"/>
                    <a:pt x="5473" y="3658"/>
                    <a:pt x="6222" y="3658"/>
                  </a:cubicBezTo>
                  <a:close/>
                  <a:moveTo>
                    <a:pt x="11637" y="1"/>
                  </a:moveTo>
                  <a:cubicBezTo>
                    <a:pt x="11322" y="1"/>
                    <a:pt x="11007" y="127"/>
                    <a:pt x="10776" y="379"/>
                  </a:cubicBezTo>
                  <a:lnTo>
                    <a:pt x="7814" y="3277"/>
                  </a:lnTo>
                  <a:cubicBezTo>
                    <a:pt x="7301" y="3032"/>
                    <a:pt x="6741" y="2908"/>
                    <a:pt x="6181" y="2908"/>
                  </a:cubicBezTo>
                  <a:cubicBezTo>
                    <a:pt x="5227" y="2908"/>
                    <a:pt x="4275" y="3268"/>
                    <a:pt x="3561" y="4002"/>
                  </a:cubicBezTo>
                  <a:lnTo>
                    <a:pt x="2364" y="5167"/>
                  </a:lnTo>
                  <a:cubicBezTo>
                    <a:pt x="2301" y="5262"/>
                    <a:pt x="2175" y="5294"/>
                    <a:pt x="2049" y="5294"/>
                  </a:cubicBezTo>
                  <a:cubicBezTo>
                    <a:pt x="915" y="5325"/>
                    <a:pt x="474" y="5924"/>
                    <a:pt x="411" y="5955"/>
                  </a:cubicBezTo>
                  <a:cubicBezTo>
                    <a:pt x="1" y="6365"/>
                    <a:pt x="64" y="6932"/>
                    <a:pt x="411" y="7341"/>
                  </a:cubicBezTo>
                  <a:lnTo>
                    <a:pt x="3246" y="10177"/>
                  </a:lnTo>
                  <a:lnTo>
                    <a:pt x="2836" y="10555"/>
                  </a:lnTo>
                  <a:cubicBezTo>
                    <a:pt x="2206" y="11185"/>
                    <a:pt x="2458" y="12256"/>
                    <a:pt x="3246" y="12571"/>
                  </a:cubicBezTo>
                  <a:cubicBezTo>
                    <a:pt x="3395" y="12631"/>
                    <a:pt x="3547" y="12659"/>
                    <a:pt x="3696" y="12659"/>
                  </a:cubicBezTo>
                  <a:cubicBezTo>
                    <a:pt x="4020" y="12659"/>
                    <a:pt x="4332" y="12525"/>
                    <a:pt x="4569" y="12288"/>
                  </a:cubicBezTo>
                  <a:lnTo>
                    <a:pt x="4979" y="11910"/>
                  </a:lnTo>
                  <a:lnTo>
                    <a:pt x="5451" y="12382"/>
                  </a:lnTo>
                  <a:cubicBezTo>
                    <a:pt x="5636" y="12567"/>
                    <a:pt x="5874" y="12654"/>
                    <a:pt x="6116" y="12654"/>
                  </a:cubicBezTo>
                  <a:cubicBezTo>
                    <a:pt x="6370" y="12654"/>
                    <a:pt x="6628" y="12559"/>
                    <a:pt x="6838" y="12382"/>
                  </a:cubicBezTo>
                  <a:cubicBezTo>
                    <a:pt x="7247" y="11941"/>
                    <a:pt x="7468" y="11342"/>
                    <a:pt x="7499" y="10712"/>
                  </a:cubicBezTo>
                  <a:cubicBezTo>
                    <a:pt x="7499" y="10649"/>
                    <a:pt x="7531" y="10523"/>
                    <a:pt x="7625" y="10460"/>
                  </a:cubicBezTo>
                  <a:lnTo>
                    <a:pt x="8728" y="9358"/>
                  </a:lnTo>
                  <a:cubicBezTo>
                    <a:pt x="9862" y="8192"/>
                    <a:pt x="10209" y="6428"/>
                    <a:pt x="9547" y="5010"/>
                  </a:cubicBezTo>
                  <a:lnTo>
                    <a:pt x="12540" y="2112"/>
                  </a:lnTo>
                  <a:cubicBezTo>
                    <a:pt x="12666" y="1986"/>
                    <a:pt x="12729" y="1828"/>
                    <a:pt x="12823" y="1670"/>
                  </a:cubicBezTo>
                  <a:cubicBezTo>
                    <a:pt x="13044" y="1072"/>
                    <a:pt x="12729" y="379"/>
                    <a:pt x="12099" y="95"/>
                  </a:cubicBezTo>
                  <a:cubicBezTo>
                    <a:pt x="11952" y="32"/>
                    <a:pt x="11794" y="1"/>
                    <a:pt x="11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5" name="Google Shape;9335;p76"/>
            <p:cNvSpPr/>
            <p:nvPr/>
          </p:nvSpPr>
          <p:spPr>
            <a:xfrm>
              <a:off x="-37729300" y="20545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76"/>
            <p:cNvSpPr/>
            <p:nvPr/>
          </p:nvSpPr>
          <p:spPr>
            <a:xfrm>
              <a:off x="-37839575" y="2058625"/>
              <a:ext cx="81950" cy="34300"/>
            </a:xfrm>
            <a:custGeom>
              <a:avLst/>
              <a:gdLst/>
              <a:ahLst/>
              <a:cxnLst/>
              <a:rect l="l" t="t" r="r" b="b"/>
              <a:pathLst>
                <a:path w="3278" h="1372" extrusionOk="0">
                  <a:moveTo>
                    <a:pt x="1497" y="0"/>
                  </a:moveTo>
                  <a:cubicBezTo>
                    <a:pt x="1030" y="0"/>
                    <a:pt x="577" y="150"/>
                    <a:pt x="221" y="434"/>
                  </a:cubicBezTo>
                  <a:cubicBezTo>
                    <a:pt x="32" y="623"/>
                    <a:pt x="1" y="876"/>
                    <a:pt x="158" y="1065"/>
                  </a:cubicBezTo>
                  <a:cubicBezTo>
                    <a:pt x="245" y="1151"/>
                    <a:pt x="350" y="1200"/>
                    <a:pt x="465" y="1200"/>
                  </a:cubicBezTo>
                  <a:cubicBezTo>
                    <a:pt x="558" y="1200"/>
                    <a:pt x="657" y="1167"/>
                    <a:pt x="757" y="1096"/>
                  </a:cubicBezTo>
                  <a:cubicBezTo>
                    <a:pt x="968" y="927"/>
                    <a:pt x="1241" y="840"/>
                    <a:pt x="1524" y="840"/>
                  </a:cubicBezTo>
                  <a:cubicBezTo>
                    <a:pt x="1876" y="840"/>
                    <a:pt x="2242" y="974"/>
                    <a:pt x="2521" y="1254"/>
                  </a:cubicBezTo>
                  <a:cubicBezTo>
                    <a:pt x="2600" y="1332"/>
                    <a:pt x="2710" y="1372"/>
                    <a:pt x="2820" y="1372"/>
                  </a:cubicBezTo>
                  <a:cubicBezTo>
                    <a:pt x="2931" y="1372"/>
                    <a:pt x="3041" y="1332"/>
                    <a:pt x="3120" y="1254"/>
                  </a:cubicBezTo>
                  <a:cubicBezTo>
                    <a:pt x="3277" y="1096"/>
                    <a:pt x="3277" y="844"/>
                    <a:pt x="3120" y="686"/>
                  </a:cubicBezTo>
                  <a:cubicBezTo>
                    <a:pt x="2653" y="220"/>
                    <a:pt x="2064" y="0"/>
                    <a:pt x="14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76"/>
          <p:cNvGrpSpPr/>
          <p:nvPr/>
        </p:nvGrpSpPr>
        <p:grpSpPr>
          <a:xfrm>
            <a:off x="3497847" y="3386092"/>
            <a:ext cx="375620" cy="243015"/>
            <a:chOff x="-37953000" y="2379000"/>
            <a:chExt cx="319025" cy="206400"/>
          </a:xfrm>
        </p:grpSpPr>
        <p:sp>
          <p:nvSpPr>
            <p:cNvPr id="9338" name="Google Shape;9338;p76"/>
            <p:cNvSpPr/>
            <p:nvPr/>
          </p:nvSpPr>
          <p:spPr>
            <a:xfrm>
              <a:off x="-37953000" y="2379000"/>
              <a:ext cx="319025" cy="206400"/>
            </a:xfrm>
            <a:custGeom>
              <a:avLst/>
              <a:gdLst/>
              <a:ahLst/>
              <a:cxnLst/>
              <a:rect l="l" t="t" r="r" b="b"/>
              <a:pathLst>
                <a:path w="12761" h="8256" extrusionOk="0">
                  <a:moveTo>
                    <a:pt x="11469" y="788"/>
                  </a:moveTo>
                  <a:cubicBezTo>
                    <a:pt x="11721" y="788"/>
                    <a:pt x="11878" y="977"/>
                    <a:pt x="11910" y="1198"/>
                  </a:cubicBezTo>
                  <a:lnTo>
                    <a:pt x="11910" y="6207"/>
                  </a:lnTo>
                  <a:lnTo>
                    <a:pt x="11847" y="6207"/>
                  </a:lnTo>
                  <a:cubicBezTo>
                    <a:pt x="11847" y="6396"/>
                    <a:pt x="11752" y="6554"/>
                    <a:pt x="11595" y="6617"/>
                  </a:cubicBezTo>
                  <a:cubicBezTo>
                    <a:pt x="11563" y="6627"/>
                    <a:pt x="11612" y="6631"/>
                    <a:pt x="11289" y="6631"/>
                  </a:cubicBezTo>
                  <a:cubicBezTo>
                    <a:pt x="10643" y="6631"/>
                    <a:pt x="8507" y="6617"/>
                    <a:pt x="1261" y="6617"/>
                  </a:cubicBezTo>
                  <a:cubicBezTo>
                    <a:pt x="1041" y="6617"/>
                    <a:pt x="883" y="6396"/>
                    <a:pt x="852" y="6176"/>
                  </a:cubicBezTo>
                  <a:lnTo>
                    <a:pt x="852" y="1198"/>
                  </a:lnTo>
                  <a:cubicBezTo>
                    <a:pt x="852" y="977"/>
                    <a:pt x="1041" y="820"/>
                    <a:pt x="1261" y="788"/>
                  </a:cubicBezTo>
                  <a:close/>
                  <a:moveTo>
                    <a:pt x="1261" y="1"/>
                  </a:moveTo>
                  <a:cubicBezTo>
                    <a:pt x="600" y="1"/>
                    <a:pt x="1" y="536"/>
                    <a:pt x="1" y="1198"/>
                  </a:cubicBezTo>
                  <a:lnTo>
                    <a:pt x="1" y="6176"/>
                  </a:lnTo>
                  <a:cubicBezTo>
                    <a:pt x="1" y="6711"/>
                    <a:pt x="348" y="7152"/>
                    <a:pt x="820" y="7341"/>
                  </a:cubicBezTo>
                  <a:lnTo>
                    <a:pt x="820" y="7814"/>
                  </a:lnTo>
                  <a:cubicBezTo>
                    <a:pt x="820" y="8066"/>
                    <a:pt x="1041" y="8255"/>
                    <a:pt x="1261" y="8255"/>
                  </a:cubicBezTo>
                  <a:lnTo>
                    <a:pt x="2931" y="8255"/>
                  </a:lnTo>
                  <a:cubicBezTo>
                    <a:pt x="3151" y="8255"/>
                    <a:pt x="3341" y="8066"/>
                    <a:pt x="3341" y="7814"/>
                  </a:cubicBezTo>
                  <a:lnTo>
                    <a:pt x="3341" y="7404"/>
                  </a:lnTo>
                  <a:lnTo>
                    <a:pt x="9421" y="7404"/>
                  </a:lnTo>
                  <a:lnTo>
                    <a:pt x="9421" y="7814"/>
                  </a:lnTo>
                  <a:cubicBezTo>
                    <a:pt x="9421" y="8066"/>
                    <a:pt x="9610" y="8255"/>
                    <a:pt x="9862" y="8255"/>
                  </a:cubicBezTo>
                  <a:lnTo>
                    <a:pt x="11500" y="8255"/>
                  </a:lnTo>
                  <a:cubicBezTo>
                    <a:pt x="11752" y="8255"/>
                    <a:pt x="11941" y="8066"/>
                    <a:pt x="11941" y="7814"/>
                  </a:cubicBezTo>
                  <a:lnTo>
                    <a:pt x="11941" y="7341"/>
                  </a:lnTo>
                  <a:cubicBezTo>
                    <a:pt x="12445" y="7184"/>
                    <a:pt x="12760" y="6711"/>
                    <a:pt x="12760" y="6176"/>
                  </a:cubicBezTo>
                  <a:lnTo>
                    <a:pt x="12760" y="1198"/>
                  </a:lnTo>
                  <a:cubicBezTo>
                    <a:pt x="12697" y="536"/>
                    <a:pt x="12130" y="1"/>
                    <a:pt x="114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76"/>
            <p:cNvSpPr/>
            <p:nvPr/>
          </p:nvSpPr>
          <p:spPr>
            <a:xfrm>
              <a:off x="-37780500" y="2419975"/>
              <a:ext cx="110300" cy="104075"/>
            </a:xfrm>
            <a:custGeom>
              <a:avLst/>
              <a:gdLst/>
              <a:ahLst/>
              <a:cxnLst/>
              <a:rect l="l" t="t" r="r" b="b"/>
              <a:pathLst>
                <a:path w="4412" h="4163" extrusionOk="0">
                  <a:moveTo>
                    <a:pt x="2043" y="804"/>
                  </a:moveTo>
                  <a:cubicBezTo>
                    <a:pt x="2447" y="804"/>
                    <a:pt x="2859" y="1006"/>
                    <a:pt x="3120" y="1386"/>
                  </a:cubicBezTo>
                  <a:cubicBezTo>
                    <a:pt x="3466" y="1922"/>
                    <a:pt x="3340" y="2709"/>
                    <a:pt x="2742" y="3119"/>
                  </a:cubicBezTo>
                  <a:cubicBezTo>
                    <a:pt x="2544" y="3259"/>
                    <a:pt x="2312" y="3325"/>
                    <a:pt x="2077" y="3325"/>
                  </a:cubicBezTo>
                  <a:cubicBezTo>
                    <a:pt x="1676" y="3325"/>
                    <a:pt x="1267" y="3130"/>
                    <a:pt x="1009" y="2773"/>
                  </a:cubicBezTo>
                  <a:cubicBezTo>
                    <a:pt x="631" y="2205"/>
                    <a:pt x="788" y="1418"/>
                    <a:pt x="1387" y="1008"/>
                  </a:cubicBezTo>
                  <a:cubicBezTo>
                    <a:pt x="1582" y="870"/>
                    <a:pt x="1811" y="804"/>
                    <a:pt x="2043" y="804"/>
                  </a:cubicBezTo>
                  <a:close/>
                  <a:moveTo>
                    <a:pt x="2080" y="0"/>
                  </a:moveTo>
                  <a:cubicBezTo>
                    <a:pt x="946" y="0"/>
                    <a:pt x="1" y="945"/>
                    <a:pt x="1" y="2079"/>
                  </a:cubicBezTo>
                  <a:cubicBezTo>
                    <a:pt x="1" y="2993"/>
                    <a:pt x="599" y="3781"/>
                    <a:pt x="1450" y="4064"/>
                  </a:cubicBezTo>
                  <a:cubicBezTo>
                    <a:pt x="1647" y="4130"/>
                    <a:pt x="1849" y="4163"/>
                    <a:pt x="2050" y="4163"/>
                  </a:cubicBezTo>
                  <a:cubicBezTo>
                    <a:pt x="2332" y="4163"/>
                    <a:pt x="2610" y="4098"/>
                    <a:pt x="2868" y="3970"/>
                  </a:cubicBezTo>
                  <a:cubicBezTo>
                    <a:pt x="3939" y="3560"/>
                    <a:pt x="4411" y="2331"/>
                    <a:pt x="3970" y="1260"/>
                  </a:cubicBezTo>
                  <a:cubicBezTo>
                    <a:pt x="3655" y="504"/>
                    <a:pt x="2899"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0" name="Google Shape;9340;p76"/>
            <p:cNvSpPr/>
            <p:nvPr/>
          </p:nvSpPr>
          <p:spPr>
            <a:xfrm>
              <a:off x="-37910450" y="2419975"/>
              <a:ext cx="103200" cy="21275"/>
            </a:xfrm>
            <a:custGeom>
              <a:avLst/>
              <a:gdLst/>
              <a:ahLst/>
              <a:cxnLst/>
              <a:rect l="l" t="t" r="r" b="b"/>
              <a:pathLst>
                <a:path w="4128" h="851" extrusionOk="0">
                  <a:moveTo>
                    <a:pt x="378" y="0"/>
                  </a:moveTo>
                  <a:cubicBezTo>
                    <a:pt x="158" y="0"/>
                    <a:pt x="0" y="189"/>
                    <a:pt x="0" y="441"/>
                  </a:cubicBezTo>
                  <a:cubicBezTo>
                    <a:pt x="0" y="662"/>
                    <a:pt x="189" y="851"/>
                    <a:pt x="378" y="851"/>
                  </a:cubicBezTo>
                  <a:lnTo>
                    <a:pt x="3686" y="851"/>
                  </a:lnTo>
                  <a:cubicBezTo>
                    <a:pt x="3938" y="851"/>
                    <a:pt x="4127" y="662"/>
                    <a:pt x="4127" y="441"/>
                  </a:cubicBezTo>
                  <a:cubicBezTo>
                    <a:pt x="4096" y="189"/>
                    <a:pt x="3907" y="0"/>
                    <a:pt x="36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1" name="Google Shape;9341;p76"/>
            <p:cNvSpPr/>
            <p:nvPr/>
          </p:nvSpPr>
          <p:spPr>
            <a:xfrm>
              <a:off x="-37910450" y="2461700"/>
              <a:ext cx="103200" cy="21300"/>
            </a:xfrm>
            <a:custGeom>
              <a:avLst/>
              <a:gdLst/>
              <a:ahLst/>
              <a:cxnLst/>
              <a:rect l="l" t="t" r="r" b="b"/>
              <a:pathLst>
                <a:path w="4128" h="852" extrusionOk="0">
                  <a:moveTo>
                    <a:pt x="378" y="1"/>
                  </a:moveTo>
                  <a:cubicBezTo>
                    <a:pt x="158" y="1"/>
                    <a:pt x="0" y="190"/>
                    <a:pt x="0" y="410"/>
                  </a:cubicBezTo>
                  <a:cubicBezTo>
                    <a:pt x="0" y="662"/>
                    <a:pt x="189" y="851"/>
                    <a:pt x="378" y="851"/>
                  </a:cubicBezTo>
                  <a:lnTo>
                    <a:pt x="3686" y="851"/>
                  </a:lnTo>
                  <a:cubicBezTo>
                    <a:pt x="3938" y="851"/>
                    <a:pt x="4127" y="662"/>
                    <a:pt x="4127" y="410"/>
                  </a:cubicBezTo>
                  <a:cubicBezTo>
                    <a:pt x="4127" y="190"/>
                    <a:pt x="3907" y="1"/>
                    <a:pt x="36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76"/>
            <p:cNvSpPr/>
            <p:nvPr/>
          </p:nvSpPr>
          <p:spPr>
            <a:xfrm>
              <a:off x="-37910450" y="2502675"/>
              <a:ext cx="103200" cy="22075"/>
            </a:xfrm>
            <a:custGeom>
              <a:avLst/>
              <a:gdLst/>
              <a:ahLst/>
              <a:cxnLst/>
              <a:rect l="l" t="t" r="r" b="b"/>
              <a:pathLst>
                <a:path w="4128" h="883" extrusionOk="0">
                  <a:moveTo>
                    <a:pt x="378" y="0"/>
                  </a:moveTo>
                  <a:cubicBezTo>
                    <a:pt x="158" y="0"/>
                    <a:pt x="0" y="189"/>
                    <a:pt x="0" y="441"/>
                  </a:cubicBezTo>
                  <a:cubicBezTo>
                    <a:pt x="0" y="662"/>
                    <a:pt x="189" y="882"/>
                    <a:pt x="378" y="882"/>
                  </a:cubicBezTo>
                  <a:lnTo>
                    <a:pt x="3686" y="882"/>
                  </a:lnTo>
                  <a:cubicBezTo>
                    <a:pt x="3938" y="882"/>
                    <a:pt x="4127" y="662"/>
                    <a:pt x="4127" y="441"/>
                  </a:cubicBezTo>
                  <a:cubicBezTo>
                    <a:pt x="4127" y="189"/>
                    <a:pt x="3907" y="0"/>
                    <a:pt x="36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43" name="Google Shape;9343;p76"/>
          <p:cNvSpPr/>
          <p:nvPr/>
        </p:nvSpPr>
        <p:spPr>
          <a:xfrm>
            <a:off x="3490950" y="3801601"/>
            <a:ext cx="385805" cy="374678"/>
          </a:xfrm>
          <a:custGeom>
            <a:avLst/>
            <a:gdLst/>
            <a:ahLst/>
            <a:cxnLst/>
            <a:rect l="l" t="t" r="r" b="b"/>
            <a:pathLst>
              <a:path w="13107" h="12729" extrusionOk="0">
                <a:moveTo>
                  <a:pt x="10240" y="838"/>
                </a:moveTo>
                <a:cubicBezTo>
                  <a:pt x="10457" y="838"/>
                  <a:pt x="10681" y="882"/>
                  <a:pt x="10902" y="977"/>
                </a:cubicBezTo>
                <a:cubicBezTo>
                  <a:pt x="11752" y="1323"/>
                  <a:pt x="12130" y="2332"/>
                  <a:pt x="11784" y="3151"/>
                </a:cubicBezTo>
                <a:cubicBezTo>
                  <a:pt x="11505" y="3793"/>
                  <a:pt x="10877" y="4159"/>
                  <a:pt x="10226" y="4159"/>
                </a:cubicBezTo>
                <a:cubicBezTo>
                  <a:pt x="9920" y="4159"/>
                  <a:pt x="9609" y="4078"/>
                  <a:pt x="9326" y="3907"/>
                </a:cubicBezTo>
                <a:cubicBezTo>
                  <a:pt x="8917" y="3592"/>
                  <a:pt x="8602" y="3056"/>
                  <a:pt x="8602" y="2521"/>
                </a:cubicBezTo>
                <a:cubicBezTo>
                  <a:pt x="8627" y="1538"/>
                  <a:pt x="9377" y="838"/>
                  <a:pt x="10240" y="838"/>
                </a:cubicBezTo>
                <a:close/>
                <a:moveTo>
                  <a:pt x="11059" y="4852"/>
                </a:moveTo>
                <a:lnTo>
                  <a:pt x="11059" y="5990"/>
                </a:lnTo>
                <a:lnTo>
                  <a:pt x="10555" y="5514"/>
                </a:lnTo>
                <a:cubicBezTo>
                  <a:pt x="10476" y="5435"/>
                  <a:pt x="10366" y="5395"/>
                  <a:pt x="10256" y="5395"/>
                </a:cubicBezTo>
                <a:cubicBezTo>
                  <a:pt x="10146" y="5395"/>
                  <a:pt x="10035" y="5435"/>
                  <a:pt x="9957" y="5514"/>
                </a:cubicBezTo>
                <a:lnTo>
                  <a:pt x="9421" y="6049"/>
                </a:lnTo>
                <a:lnTo>
                  <a:pt x="9421" y="4852"/>
                </a:lnTo>
                <a:cubicBezTo>
                  <a:pt x="9673" y="4946"/>
                  <a:pt x="9949" y="4994"/>
                  <a:pt x="10228" y="4994"/>
                </a:cubicBezTo>
                <a:cubicBezTo>
                  <a:pt x="10508" y="4994"/>
                  <a:pt x="10791" y="4946"/>
                  <a:pt x="11059" y="4852"/>
                </a:cubicBezTo>
                <a:close/>
                <a:moveTo>
                  <a:pt x="11847" y="11027"/>
                </a:moveTo>
                <a:cubicBezTo>
                  <a:pt x="11658" y="11531"/>
                  <a:pt x="11217" y="11846"/>
                  <a:pt x="10681" y="11846"/>
                </a:cubicBezTo>
                <a:lnTo>
                  <a:pt x="3782" y="11846"/>
                </a:lnTo>
                <a:cubicBezTo>
                  <a:pt x="3971" y="11625"/>
                  <a:pt x="4097" y="11342"/>
                  <a:pt x="4128" y="11027"/>
                </a:cubicBezTo>
                <a:close/>
                <a:moveTo>
                  <a:pt x="8444" y="851"/>
                </a:moveTo>
                <a:cubicBezTo>
                  <a:pt x="7531" y="1890"/>
                  <a:pt x="7594" y="3466"/>
                  <a:pt x="8633" y="4379"/>
                </a:cubicBezTo>
                <a:lnTo>
                  <a:pt x="8633" y="7089"/>
                </a:lnTo>
                <a:cubicBezTo>
                  <a:pt x="8633" y="7246"/>
                  <a:pt x="8759" y="7404"/>
                  <a:pt x="8854" y="7467"/>
                </a:cubicBezTo>
                <a:cubicBezTo>
                  <a:pt x="8916" y="7504"/>
                  <a:pt x="8978" y="7522"/>
                  <a:pt x="9038" y="7522"/>
                </a:cubicBezTo>
                <a:cubicBezTo>
                  <a:pt x="9131" y="7522"/>
                  <a:pt x="9219" y="7480"/>
                  <a:pt x="9295" y="7404"/>
                </a:cubicBezTo>
                <a:lnTo>
                  <a:pt x="10240" y="6459"/>
                </a:lnTo>
                <a:lnTo>
                  <a:pt x="10240" y="10271"/>
                </a:lnTo>
                <a:lnTo>
                  <a:pt x="3782" y="10271"/>
                </a:lnTo>
                <a:cubicBezTo>
                  <a:pt x="3752" y="10262"/>
                  <a:pt x="3724" y="10258"/>
                  <a:pt x="3697" y="10258"/>
                </a:cubicBezTo>
                <a:cubicBezTo>
                  <a:pt x="3522" y="10258"/>
                  <a:pt x="3404" y="10426"/>
                  <a:pt x="3404" y="10617"/>
                </a:cubicBezTo>
                <a:cubicBezTo>
                  <a:pt x="3404" y="11331"/>
                  <a:pt x="2805" y="11880"/>
                  <a:pt x="2143" y="11880"/>
                </a:cubicBezTo>
                <a:cubicBezTo>
                  <a:pt x="1987" y="11880"/>
                  <a:pt x="1827" y="11849"/>
                  <a:pt x="1671" y="11783"/>
                </a:cubicBezTo>
                <a:cubicBezTo>
                  <a:pt x="1293" y="11625"/>
                  <a:pt x="1072" y="11342"/>
                  <a:pt x="946" y="10995"/>
                </a:cubicBezTo>
                <a:cubicBezTo>
                  <a:pt x="883" y="10743"/>
                  <a:pt x="915" y="10617"/>
                  <a:pt x="915" y="10302"/>
                </a:cubicBezTo>
                <a:lnTo>
                  <a:pt x="915" y="851"/>
                </a:lnTo>
                <a:close/>
                <a:moveTo>
                  <a:pt x="442" y="0"/>
                </a:moveTo>
                <a:cubicBezTo>
                  <a:pt x="190" y="0"/>
                  <a:pt x="1" y="189"/>
                  <a:pt x="1" y="441"/>
                </a:cubicBezTo>
                <a:lnTo>
                  <a:pt x="1" y="10617"/>
                </a:lnTo>
                <a:cubicBezTo>
                  <a:pt x="1" y="11783"/>
                  <a:pt x="946" y="12728"/>
                  <a:pt x="2080" y="12728"/>
                </a:cubicBezTo>
                <a:lnTo>
                  <a:pt x="10650" y="12728"/>
                </a:lnTo>
                <a:cubicBezTo>
                  <a:pt x="11784" y="12728"/>
                  <a:pt x="12729" y="11783"/>
                  <a:pt x="12729" y="10617"/>
                </a:cubicBezTo>
                <a:cubicBezTo>
                  <a:pt x="12760" y="10397"/>
                  <a:pt x="12571" y="10208"/>
                  <a:pt x="12319" y="10208"/>
                </a:cubicBezTo>
                <a:lnTo>
                  <a:pt x="11122" y="10208"/>
                </a:lnTo>
                <a:lnTo>
                  <a:pt x="11122" y="7215"/>
                </a:lnTo>
                <a:lnTo>
                  <a:pt x="11217" y="7309"/>
                </a:lnTo>
                <a:cubicBezTo>
                  <a:pt x="11301" y="7393"/>
                  <a:pt x="11413" y="7435"/>
                  <a:pt x="11515" y="7435"/>
                </a:cubicBezTo>
                <a:cubicBezTo>
                  <a:pt x="11567" y="7435"/>
                  <a:pt x="11616" y="7425"/>
                  <a:pt x="11658" y="7404"/>
                </a:cubicBezTo>
                <a:cubicBezTo>
                  <a:pt x="11815" y="7309"/>
                  <a:pt x="11910" y="7215"/>
                  <a:pt x="11910" y="6994"/>
                </a:cubicBezTo>
                <a:lnTo>
                  <a:pt x="11910" y="4285"/>
                </a:lnTo>
                <a:cubicBezTo>
                  <a:pt x="13107" y="3214"/>
                  <a:pt x="12950" y="1292"/>
                  <a:pt x="11626" y="378"/>
                </a:cubicBezTo>
                <a:cubicBezTo>
                  <a:pt x="11437" y="221"/>
                  <a:pt x="11154" y="126"/>
                  <a:pt x="10902" y="63"/>
                </a:cubicBezTo>
                <a:cubicBezTo>
                  <a:pt x="10839" y="0"/>
                  <a:pt x="10744" y="0"/>
                  <a:pt x="106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4" name="Google Shape;9344;p76"/>
          <p:cNvSpPr/>
          <p:nvPr/>
        </p:nvSpPr>
        <p:spPr>
          <a:xfrm>
            <a:off x="2669201" y="4273482"/>
            <a:ext cx="268977" cy="373766"/>
          </a:xfrm>
          <a:custGeom>
            <a:avLst/>
            <a:gdLst/>
            <a:ahLst/>
            <a:cxnLst/>
            <a:rect l="l" t="t" r="r" b="b"/>
            <a:pathLst>
              <a:path w="9138" h="12698" extrusionOk="0">
                <a:moveTo>
                  <a:pt x="7467" y="851"/>
                </a:moveTo>
                <a:lnTo>
                  <a:pt x="7467" y="1765"/>
                </a:lnTo>
                <a:cubicBezTo>
                  <a:pt x="7467" y="2363"/>
                  <a:pt x="7373" y="2931"/>
                  <a:pt x="7152" y="3466"/>
                </a:cubicBezTo>
                <a:cubicBezTo>
                  <a:pt x="6849" y="3390"/>
                  <a:pt x="6530" y="3352"/>
                  <a:pt x="6209" y="3352"/>
                </a:cubicBezTo>
                <a:cubicBezTo>
                  <a:pt x="5595" y="3352"/>
                  <a:pt x="4969" y="3492"/>
                  <a:pt x="4411" y="3781"/>
                </a:cubicBezTo>
                <a:cubicBezTo>
                  <a:pt x="3936" y="4019"/>
                  <a:pt x="3406" y="4131"/>
                  <a:pt x="2877" y="4131"/>
                </a:cubicBezTo>
                <a:cubicBezTo>
                  <a:pt x="2705" y="4131"/>
                  <a:pt x="2533" y="4119"/>
                  <a:pt x="2364" y="4096"/>
                </a:cubicBezTo>
                <a:cubicBezTo>
                  <a:pt x="1891" y="3403"/>
                  <a:pt x="1702" y="2584"/>
                  <a:pt x="1702" y="1765"/>
                </a:cubicBezTo>
                <a:lnTo>
                  <a:pt x="1702" y="851"/>
                </a:lnTo>
                <a:close/>
                <a:moveTo>
                  <a:pt x="6278" y="4137"/>
                </a:moveTo>
                <a:cubicBezTo>
                  <a:pt x="6425" y="4137"/>
                  <a:pt x="6570" y="4145"/>
                  <a:pt x="6711" y="4159"/>
                </a:cubicBezTo>
                <a:cubicBezTo>
                  <a:pt x="6428" y="4506"/>
                  <a:pt x="6081" y="4789"/>
                  <a:pt x="5672" y="4978"/>
                </a:cubicBezTo>
                <a:cubicBezTo>
                  <a:pt x="5168" y="5230"/>
                  <a:pt x="4916" y="5829"/>
                  <a:pt x="4947" y="6365"/>
                </a:cubicBezTo>
                <a:lnTo>
                  <a:pt x="4569" y="7152"/>
                </a:lnTo>
                <a:lnTo>
                  <a:pt x="4159" y="6365"/>
                </a:lnTo>
                <a:cubicBezTo>
                  <a:pt x="4222" y="5829"/>
                  <a:pt x="3970" y="5230"/>
                  <a:pt x="3466" y="4978"/>
                </a:cubicBezTo>
                <a:cubicBezTo>
                  <a:pt x="3372" y="4978"/>
                  <a:pt x="3340" y="4947"/>
                  <a:pt x="3277" y="4915"/>
                </a:cubicBezTo>
                <a:cubicBezTo>
                  <a:pt x="3781" y="4884"/>
                  <a:pt x="4285" y="4726"/>
                  <a:pt x="4758" y="4474"/>
                </a:cubicBezTo>
                <a:cubicBezTo>
                  <a:pt x="5246" y="4230"/>
                  <a:pt x="5773" y="4137"/>
                  <a:pt x="6278" y="4137"/>
                </a:cubicBezTo>
                <a:close/>
                <a:moveTo>
                  <a:pt x="5388" y="7436"/>
                </a:moveTo>
                <a:cubicBezTo>
                  <a:pt x="5483" y="7499"/>
                  <a:pt x="5577" y="7593"/>
                  <a:pt x="5703" y="7656"/>
                </a:cubicBezTo>
                <a:cubicBezTo>
                  <a:pt x="6932" y="8255"/>
                  <a:pt x="7499" y="9610"/>
                  <a:pt x="7499" y="10933"/>
                </a:cubicBezTo>
                <a:lnTo>
                  <a:pt x="7499" y="11437"/>
                </a:lnTo>
                <a:lnTo>
                  <a:pt x="7467" y="11437"/>
                </a:lnTo>
                <a:lnTo>
                  <a:pt x="4853" y="9484"/>
                </a:lnTo>
                <a:cubicBezTo>
                  <a:pt x="4774" y="9421"/>
                  <a:pt x="4679" y="9389"/>
                  <a:pt x="4585" y="9389"/>
                </a:cubicBezTo>
                <a:cubicBezTo>
                  <a:pt x="4490" y="9389"/>
                  <a:pt x="4396" y="9421"/>
                  <a:pt x="4317" y="9484"/>
                </a:cubicBezTo>
                <a:lnTo>
                  <a:pt x="1702" y="11437"/>
                </a:lnTo>
                <a:lnTo>
                  <a:pt x="1702" y="10933"/>
                </a:lnTo>
                <a:cubicBezTo>
                  <a:pt x="1702" y="9547"/>
                  <a:pt x="2269" y="8255"/>
                  <a:pt x="3466" y="7656"/>
                </a:cubicBezTo>
                <a:cubicBezTo>
                  <a:pt x="3592" y="7625"/>
                  <a:pt x="3655" y="7530"/>
                  <a:pt x="3781" y="7436"/>
                </a:cubicBezTo>
                <a:lnTo>
                  <a:pt x="4222" y="8286"/>
                </a:lnTo>
                <a:cubicBezTo>
                  <a:pt x="4301" y="8444"/>
                  <a:pt x="4443" y="8523"/>
                  <a:pt x="4585" y="8523"/>
                </a:cubicBezTo>
                <a:cubicBezTo>
                  <a:pt x="4726" y="8523"/>
                  <a:pt x="4868" y="8444"/>
                  <a:pt x="4947" y="8286"/>
                </a:cubicBezTo>
                <a:lnTo>
                  <a:pt x="5388" y="7436"/>
                </a:lnTo>
                <a:close/>
                <a:moveTo>
                  <a:pt x="4600" y="10303"/>
                </a:moveTo>
                <a:lnTo>
                  <a:pt x="6711" y="11846"/>
                </a:lnTo>
                <a:lnTo>
                  <a:pt x="2521" y="11846"/>
                </a:lnTo>
                <a:lnTo>
                  <a:pt x="4600" y="10303"/>
                </a:lnTo>
                <a:close/>
                <a:moveTo>
                  <a:pt x="442" y="1"/>
                </a:moveTo>
                <a:cubicBezTo>
                  <a:pt x="190" y="1"/>
                  <a:pt x="1" y="190"/>
                  <a:pt x="1" y="410"/>
                </a:cubicBezTo>
                <a:cubicBezTo>
                  <a:pt x="1" y="662"/>
                  <a:pt x="190" y="851"/>
                  <a:pt x="442" y="851"/>
                </a:cubicBezTo>
                <a:lnTo>
                  <a:pt x="851" y="851"/>
                </a:lnTo>
                <a:lnTo>
                  <a:pt x="851" y="1765"/>
                </a:lnTo>
                <a:cubicBezTo>
                  <a:pt x="851" y="3466"/>
                  <a:pt x="1607" y="5041"/>
                  <a:pt x="3120" y="5766"/>
                </a:cubicBezTo>
                <a:cubicBezTo>
                  <a:pt x="3309" y="5860"/>
                  <a:pt x="3340" y="6144"/>
                  <a:pt x="3340" y="6365"/>
                </a:cubicBezTo>
                <a:cubicBezTo>
                  <a:pt x="3340" y="6396"/>
                  <a:pt x="3309" y="6491"/>
                  <a:pt x="3340" y="6522"/>
                </a:cubicBezTo>
                <a:cubicBezTo>
                  <a:pt x="3309" y="6680"/>
                  <a:pt x="3214" y="6869"/>
                  <a:pt x="3120" y="6932"/>
                </a:cubicBezTo>
                <a:cubicBezTo>
                  <a:pt x="1607" y="7656"/>
                  <a:pt x="851" y="9232"/>
                  <a:pt x="851" y="10933"/>
                </a:cubicBezTo>
                <a:lnTo>
                  <a:pt x="851" y="11846"/>
                </a:lnTo>
                <a:lnTo>
                  <a:pt x="442" y="11846"/>
                </a:lnTo>
                <a:cubicBezTo>
                  <a:pt x="190" y="11846"/>
                  <a:pt x="1" y="12035"/>
                  <a:pt x="1" y="12287"/>
                </a:cubicBezTo>
                <a:cubicBezTo>
                  <a:pt x="1" y="12508"/>
                  <a:pt x="190" y="12697"/>
                  <a:pt x="442" y="12697"/>
                </a:cubicBezTo>
                <a:lnTo>
                  <a:pt x="8696" y="12697"/>
                </a:lnTo>
                <a:cubicBezTo>
                  <a:pt x="8948" y="12697"/>
                  <a:pt x="9137" y="12508"/>
                  <a:pt x="9137" y="12287"/>
                </a:cubicBezTo>
                <a:cubicBezTo>
                  <a:pt x="9137" y="12035"/>
                  <a:pt x="8948" y="11846"/>
                  <a:pt x="8696" y="11846"/>
                </a:cubicBezTo>
                <a:lnTo>
                  <a:pt x="8255" y="11846"/>
                </a:lnTo>
                <a:lnTo>
                  <a:pt x="8255" y="10933"/>
                </a:lnTo>
                <a:cubicBezTo>
                  <a:pt x="8255" y="9232"/>
                  <a:pt x="7530" y="7656"/>
                  <a:pt x="6018" y="6932"/>
                </a:cubicBezTo>
                <a:cubicBezTo>
                  <a:pt x="5892" y="6837"/>
                  <a:pt x="5829" y="6680"/>
                  <a:pt x="5798" y="6522"/>
                </a:cubicBezTo>
                <a:lnTo>
                  <a:pt x="5798" y="6365"/>
                </a:lnTo>
                <a:cubicBezTo>
                  <a:pt x="5798" y="6144"/>
                  <a:pt x="5861" y="5860"/>
                  <a:pt x="6018" y="5766"/>
                </a:cubicBezTo>
                <a:cubicBezTo>
                  <a:pt x="7530" y="5041"/>
                  <a:pt x="8255" y="3435"/>
                  <a:pt x="8255" y="1765"/>
                </a:cubicBezTo>
                <a:lnTo>
                  <a:pt x="8255" y="851"/>
                </a:lnTo>
                <a:lnTo>
                  <a:pt x="8696" y="851"/>
                </a:lnTo>
                <a:cubicBezTo>
                  <a:pt x="8948" y="851"/>
                  <a:pt x="9137" y="662"/>
                  <a:pt x="9137" y="410"/>
                </a:cubicBezTo>
                <a:cubicBezTo>
                  <a:pt x="9137" y="190"/>
                  <a:pt x="8948"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76"/>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9346" name="Google Shape;9346;p76"/>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sp>
        <p:nvSpPr>
          <p:cNvPr id="9347" name="Google Shape;9347;p76"/>
          <p:cNvSpPr/>
          <p:nvPr/>
        </p:nvSpPr>
        <p:spPr>
          <a:xfrm>
            <a:off x="4866545" y="1581240"/>
            <a:ext cx="353180" cy="314589"/>
          </a:xfrm>
          <a:custGeom>
            <a:avLst/>
            <a:gdLst/>
            <a:ahLst/>
            <a:cxnLst/>
            <a:rect l="l" t="t" r="r" b="b"/>
            <a:pathLst>
              <a:path w="11815" h="10524" extrusionOk="0">
                <a:moveTo>
                  <a:pt x="8664" y="726"/>
                </a:moveTo>
                <a:cubicBezTo>
                  <a:pt x="9326" y="726"/>
                  <a:pt x="9956" y="1009"/>
                  <a:pt x="10428" y="1482"/>
                </a:cubicBezTo>
                <a:cubicBezTo>
                  <a:pt x="10869" y="1954"/>
                  <a:pt x="11090" y="2616"/>
                  <a:pt x="11090" y="3309"/>
                </a:cubicBezTo>
                <a:cubicBezTo>
                  <a:pt x="11090" y="4191"/>
                  <a:pt x="10712" y="4853"/>
                  <a:pt x="10082" y="5577"/>
                </a:cubicBezTo>
                <a:lnTo>
                  <a:pt x="7435" y="5577"/>
                </a:lnTo>
                <a:cubicBezTo>
                  <a:pt x="7309" y="5577"/>
                  <a:pt x="7215" y="5640"/>
                  <a:pt x="7120" y="5735"/>
                </a:cubicBezTo>
                <a:lnTo>
                  <a:pt x="6648" y="6522"/>
                </a:lnTo>
                <a:lnTo>
                  <a:pt x="5545" y="3687"/>
                </a:lnTo>
                <a:cubicBezTo>
                  <a:pt x="5514" y="3561"/>
                  <a:pt x="5388" y="3435"/>
                  <a:pt x="5230" y="3435"/>
                </a:cubicBezTo>
                <a:cubicBezTo>
                  <a:pt x="5073" y="3435"/>
                  <a:pt x="4947" y="3529"/>
                  <a:pt x="4915" y="3624"/>
                </a:cubicBezTo>
                <a:lnTo>
                  <a:pt x="4096" y="5514"/>
                </a:lnTo>
                <a:lnTo>
                  <a:pt x="1702" y="5514"/>
                </a:lnTo>
                <a:cubicBezTo>
                  <a:pt x="1103" y="4853"/>
                  <a:pt x="693" y="4191"/>
                  <a:pt x="693" y="3309"/>
                </a:cubicBezTo>
                <a:cubicBezTo>
                  <a:pt x="693" y="2616"/>
                  <a:pt x="945" y="1986"/>
                  <a:pt x="1355" y="1482"/>
                </a:cubicBezTo>
                <a:cubicBezTo>
                  <a:pt x="1796" y="1009"/>
                  <a:pt x="2426" y="726"/>
                  <a:pt x="3151" y="726"/>
                </a:cubicBezTo>
                <a:cubicBezTo>
                  <a:pt x="4096" y="726"/>
                  <a:pt x="4726" y="1293"/>
                  <a:pt x="5073" y="1797"/>
                </a:cubicBezTo>
                <a:cubicBezTo>
                  <a:pt x="5388" y="2206"/>
                  <a:pt x="5545" y="2647"/>
                  <a:pt x="5577" y="2836"/>
                </a:cubicBezTo>
                <a:cubicBezTo>
                  <a:pt x="5608" y="2994"/>
                  <a:pt x="5766" y="3088"/>
                  <a:pt x="5892" y="3088"/>
                </a:cubicBezTo>
                <a:cubicBezTo>
                  <a:pt x="6049" y="3088"/>
                  <a:pt x="6175" y="2994"/>
                  <a:pt x="6207" y="2836"/>
                </a:cubicBezTo>
                <a:cubicBezTo>
                  <a:pt x="6238" y="2679"/>
                  <a:pt x="6459" y="2206"/>
                  <a:pt x="6742" y="1797"/>
                </a:cubicBezTo>
                <a:cubicBezTo>
                  <a:pt x="7089" y="1293"/>
                  <a:pt x="7687" y="726"/>
                  <a:pt x="8664" y="726"/>
                </a:cubicBezTo>
                <a:close/>
                <a:moveTo>
                  <a:pt x="5293" y="4790"/>
                </a:moveTo>
                <a:lnTo>
                  <a:pt x="6364" y="7468"/>
                </a:lnTo>
                <a:cubicBezTo>
                  <a:pt x="6396" y="7562"/>
                  <a:pt x="6522" y="7657"/>
                  <a:pt x="6648" y="7688"/>
                </a:cubicBezTo>
                <a:lnTo>
                  <a:pt x="6679" y="7688"/>
                </a:lnTo>
                <a:cubicBezTo>
                  <a:pt x="6805" y="7688"/>
                  <a:pt x="6931" y="7625"/>
                  <a:pt x="6994" y="7531"/>
                </a:cubicBezTo>
                <a:lnTo>
                  <a:pt x="7750" y="6302"/>
                </a:lnTo>
                <a:lnTo>
                  <a:pt x="9483" y="6302"/>
                </a:lnTo>
                <a:cubicBezTo>
                  <a:pt x="9168" y="6459"/>
                  <a:pt x="8916" y="6711"/>
                  <a:pt x="8664" y="6932"/>
                </a:cubicBezTo>
                <a:cubicBezTo>
                  <a:pt x="7813" y="7688"/>
                  <a:pt x="6868" y="8507"/>
                  <a:pt x="5923" y="9610"/>
                </a:cubicBezTo>
                <a:cubicBezTo>
                  <a:pt x="4978" y="8507"/>
                  <a:pt x="4033" y="7688"/>
                  <a:pt x="3214" y="6932"/>
                </a:cubicBezTo>
                <a:cubicBezTo>
                  <a:pt x="2930" y="6711"/>
                  <a:pt x="2710" y="6459"/>
                  <a:pt x="2458" y="6270"/>
                </a:cubicBezTo>
                <a:lnTo>
                  <a:pt x="4411" y="6270"/>
                </a:lnTo>
                <a:cubicBezTo>
                  <a:pt x="4505" y="6270"/>
                  <a:pt x="4663" y="6207"/>
                  <a:pt x="4726" y="6081"/>
                </a:cubicBezTo>
                <a:lnTo>
                  <a:pt x="5293" y="4790"/>
                </a:lnTo>
                <a:close/>
                <a:moveTo>
                  <a:pt x="3151" y="1"/>
                </a:moveTo>
                <a:cubicBezTo>
                  <a:pt x="2269" y="1"/>
                  <a:pt x="1449" y="379"/>
                  <a:pt x="851" y="1009"/>
                </a:cubicBezTo>
                <a:cubicBezTo>
                  <a:pt x="315" y="1576"/>
                  <a:pt x="0" y="2427"/>
                  <a:pt x="0" y="3309"/>
                </a:cubicBezTo>
                <a:cubicBezTo>
                  <a:pt x="0" y="4097"/>
                  <a:pt x="252" y="4821"/>
                  <a:pt x="819" y="5514"/>
                </a:cubicBezTo>
                <a:lnTo>
                  <a:pt x="819" y="5577"/>
                </a:lnTo>
                <a:lnTo>
                  <a:pt x="347" y="5577"/>
                </a:lnTo>
                <a:cubicBezTo>
                  <a:pt x="158" y="5577"/>
                  <a:pt x="0" y="5735"/>
                  <a:pt x="0" y="5924"/>
                </a:cubicBezTo>
                <a:cubicBezTo>
                  <a:pt x="0" y="6113"/>
                  <a:pt x="158" y="6270"/>
                  <a:pt x="347" y="6270"/>
                </a:cubicBezTo>
                <a:lnTo>
                  <a:pt x="1418" y="6270"/>
                </a:lnTo>
                <a:cubicBezTo>
                  <a:pt x="1796" y="6680"/>
                  <a:pt x="2237" y="7058"/>
                  <a:pt x="2710" y="7468"/>
                </a:cubicBezTo>
                <a:cubicBezTo>
                  <a:pt x="3623" y="8255"/>
                  <a:pt x="4600" y="9137"/>
                  <a:pt x="5640" y="10366"/>
                </a:cubicBezTo>
                <a:lnTo>
                  <a:pt x="5640" y="10397"/>
                </a:lnTo>
                <a:cubicBezTo>
                  <a:pt x="5703" y="10492"/>
                  <a:pt x="5797" y="10524"/>
                  <a:pt x="5892" y="10524"/>
                </a:cubicBezTo>
                <a:cubicBezTo>
                  <a:pt x="6018" y="10524"/>
                  <a:pt x="6081" y="10492"/>
                  <a:pt x="6175" y="10397"/>
                </a:cubicBezTo>
                <a:lnTo>
                  <a:pt x="6175" y="10366"/>
                </a:lnTo>
                <a:cubicBezTo>
                  <a:pt x="7152" y="9137"/>
                  <a:pt x="8192" y="8287"/>
                  <a:pt x="9074" y="7468"/>
                </a:cubicBezTo>
                <a:cubicBezTo>
                  <a:pt x="9546" y="7026"/>
                  <a:pt x="9987" y="6617"/>
                  <a:pt x="10397" y="6270"/>
                </a:cubicBezTo>
                <a:lnTo>
                  <a:pt x="11437" y="6270"/>
                </a:lnTo>
                <a:cubicBezTo>
                  <a:pt x="11657" y="6270"/>
                  <a:pt x="11815" y="6113"/>
                  <a:pt x="11815" y="5924"/>
                </a:cubicBezTo>
                <a:cubicBezTo>
                  <a:pt x="11815" y="5735"/>
                  <a:pt x="11657" y="5577"/>
                  <a:pt x="11437" y="5577"/>
                </a:cubicBezTo>
                <a:lnTo>
                  <a:pt x="10964" y="5577"/>
                </a:lnTo>
                <a:lnTo>
                  <a:pt x="10964" y="5514"/>
                </a:lnTo>
                <a:cubicBezTo>
                  <a:pt x="11531" y="4821"/>
                  <a:pt x="11815" y="4097"/>
                  <a:pt x="11815" y="3309"/>
                </a:cubicBezTo>
                <a:cubicBezTo>
                  <a:pt x="11815" y="2458"/>
                  <a:pt x="11500" y="1639"/>
                  <a:pt x="10932" y="1009"/>
                </a:cubicBezTo>
                <a:cubicBezTo>
                  <a:pt x="10365" y="379"/>
                  <a:pt x="9578" y="1"/>
                  <a:pt x="8664" y="1"/>
                </a:cubicBezTo>
                <a:cubicBezTo>
                  <a:pt x="7404" y="1"/>
                  <a:pt x="6616" y="757"/>
                  <a:pt x="6175" y="1387"/>
                </a:cubicBezTo>
                <a:cubicBezTo>
                  <a:pt x="6049" y="1545"/>
                  <a:pt x="5986" y="1702"/>
                  <a:pt x="5892" y="1860"/>
                </a:cubicBezTo>
                <a:cubicBezTo>
                  <a:pt x="5829" y="1702"/>
                  <a:pt x="5703" y="1545"/>
                  <a:pt x="5640" y="1387"/>
                </a:cubicBezTo>
                <a:cubicBezTo>
                  <a:pt x="5199" y="757"/>
                  <a:pt x="4411"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48" name="Google Shape;9348;p76"/>
          <p:cNvGrpSpPr/>
          <p:nvPr/>
        </p:nvGrpSpPr>
        <p:grpSpPr>
          <a:xfrm>
            <a:off x="4865594" y="2008353"/>
            <a:ext cx="354107" cy="355063"/>
            <a:chOff x="-28467625" y="2331750"/>
            <a:chExt cx="296150" cy="296950"/>
          </a:xfrm>
        </p:grpSpPr>
        <p:sp>
          <p:nvSpPr>
            <p:cNvPr id="9349" name="Google Shape;9349;p76"/>
            <p:cNvSpPr/>
            <p:nvPr/>
          </p:nvSpPr>
          <p:spPr>
            <a:xfrm>
              <a:off x="-28467625" y="2331750"/>
              <a:ext cx="296150" cy="296950"/>
            </a:xfrm>
            <a:custGeom>
              <a:avLst/>
              <a:gdLst/>
              <a:ahLst/>
              <a:cxnLst/>
              <a:rect l="l" t="t" r="r" b="b"/>
              <a:pathLst>
                <a:path w="11846" h="11878" extrusionOk="0">
                  <a:moveTo>
                    <a:pt x="1733" y="3466"/>
                  </a:moveTo>
                  <a:cubicBezTo>
                    <a:pt x="1922" y="3466"/>
                    <a:pt x="2080" y="3624"/>
                    <a:pt x="2080" y="3813"/>
                  </a:cubicBezTo>
                  <a:cubicBezTo>
                    <a:pt x="2080" y="4002"/>
                    <a:pt x="1922" y="4159"/>
                    <a:pt x="1733" y="4159"/>
                  </a:cubicBezTo>
                  <a:lnTo>
                    <a:pt x="693" y="4159"/>
                  </a:lnTo>
                  <a:lnTo>
                    <a:pt x="693" y="3466"/>
                  </a:lnTo>
                  <a:close/>
                  <a:moveTo>
                    <a:pt x="1418" y="4821"/>
                  </a:moveTo>
                  <a:lnTo>
                    <a:pt x="1418" y="6963"/>
                  </a:lnTo>
                  <a:lnTo>
                    <a:pt x="693" y="6963"/>
                  </a:lnTo>
                  <a:lnTo>
                    <a:pt x="693" y="4821"/>
                  </a:lnTo>
                  <a:close/>
                  <a:moveTo>
                    <a:pt x="1733" y="7656"/>
                  </a:moveTo>
                  <a:cubicBezTo>
                    <a:pt x="1922" y="7656"/>
                    <a:pt x="2080" y="7814"/>
                    <a:pt x="2080" y="8034"/>
                  </a:cubicBezTo>
                  <a:cubicBezTo>
                    <a:pt x="2080" y="8223"/>
                    <a:pt x="1922" y="8381"/>
                    <a:pt x="1733" y="8381"/>
                  </a:cubicBezTo>
                  <a:lnTo>
                    <a:pt x="693" y="8381"/>
                  </a:lnTo>
                  <a:lnTo>
                    <a:pt x="693" y="7656"/>
                  </a:lnTo>
                  <a:close/>
                  <a:moveTo>
                    <a:pt x="9389" y="2080"/>
                  </a:moveTo>
                  <a:cubicBezTo>
                    <a:pt x="9609" y="2080"/>
                    <a:pt x="9767" y="2237"/>
                    <a:pt x="9767" y="2426"/>
                  </a:cubicBezTo>
                  <a:lnTo>
                    <a:pt x="9767" y="9389"/>
                  </a:lnTo>
                  <a:cubicBezTo>
                    <a:pt x="9767" y="9610"/>
                    <a:pt x="9609" y="9767"/>
                    <a:pt x="9389" y="9767"/>
                  </a:cubicBezTo>
                  <a:lnTo>
                    <a:pt x="2426" y="9767"/>
                  </a:lnTo>
                  <a:cubicBezTo>
                    <a:pt x="2237" y="9767"/>
                    <a:pt x="2080" y="9610"/>
                    <a:pt x="2080" y="9389"/>
                  </a:cubicBezTo>
                  <a:lnTo>
                    <a:pt x="2080" y="9011"/>
                  </a:lnTo>
                  <a:cubicBezTo>
                    <a:pt x="2458" y="8853"/>
                    <a:pt x="2773" y="8507"/>
                    <a:pt x="2773" y="8034"/>
                  </a:cubicBezTo>
                  <a:cubicBezTo>
                    <a:pt x="2773" y="7562"/>
                    <a:pt x="2521" y="7184"/>
                    <a:pt x="2080" y="7026"/>
                  </a:cubicBezTo>
                  <a:lnTo>
                    <a:pt x="2080" y="4789"/>
                  </a:lnTo>
                  <a:cubicBezTo>
                    <a:pt x="2458" y="4632"/>
                    <a:pt x="2773" y="4285"/>
                    <a:pt x="2773" y="3813"/>
                  </a:cubicBezTo>
                  <a:cubicBezTo>
                    <a:pt x="2773" y="3340"/>
                    <a:pt x="2521" y="2994"/>
                    <a:pt x="2080" y="2836"/>
                  </a:cubicBezTo>
                  <a:lnTo>
                    <a:pt x="2080" y="2426"/>
                  </a:lnTo>
                  <a:cubicBezTo>
                    <a:pt x="2080" y="2237"/>
                    <a:pt x="2237" y="2080"/>
                    <a:pt x="2426" y="2080"/>
                  </a:cubicBezTo>
                  <a:close/>
                  <a:moveTo>
                    <a:pt x="9389" y="694"/>
                  </a:moveTo>
                  <a:cubicBezTo>
                    <a:pt x="10334" y="694"/>
                    <a:pt x="11121" y="1481"/>
                    <a:pt x="11121" y="2426"/>
                  </a:cubicBezTo>
                  <a:lnTo>
                    <a:pt x="11121" y="9389"/>
                  </a:lnTo>
                  <a:cubicBezTo>
                    <a:pt x="11121" y="10334"/>
                    <a:pt x="10334" y="11122"/>
                    <a:pt x="9389" y="11122"/>
                  </a:cubicBezTo>
                  <a:lnTo>
                    <a:pt x="2426" y="11122"/>
                  </a:lnTo>
                  <a:cubicBezTo>
                    <a:pt x="1481" y="11122"/>
                    <a:pt x="693" y="10334"/>
                    <a:pt x="693" y="9389"/>
                  </a:cubicBezTo>
                  <a:lnTo>
                    <a:pt x="693" y="9042"/>
                  </a:lnTo>
                  <a:lnTo>
                    <a:pt x="1418" y="9042"/>
                  </a:lnTo>
                  <a:lnTo>
                    <a:pt x="1418" y="9389"/>
                  </a:lnTo>
                  <a:cubicBezTo>
                    <a:pt x="1418" y="9988"/>
                    <a:pt x="1891" y="10429"/>
                    <a:pt x="2426" y="10429"/>
                  </a:cubicBezTo>
                  <a:lnTo>
                    <a:pt x="9389" y="10429"/>
                  </a:lnTo>
                  <a:cubicBezTo>
                    <a:pt x="9987" y="10429"/>
                    <a:pt x="10428" y="9956"/>
                    <a:pt x="10428" y="9389"/>
                  </a:cubicBezTo>
                  <a:lnTo>
                    <a:pt x="10428" y="2426"/>
                  </a:lnTo>
                  <a:cubicBezTo>
                    <a:pt x="10428" y="1828"/>
                    <a:pt x="9956" y="1418"/>
                    <a:pt x="9389" y="1418"/>
                  </a:cubicBezTo>
                  <a:lnTo>
                    <a:pt x="2426" y="1418"/>
                  </a:lnTo>
                  <a:cubicBezTo>
                    <a:pt x="1828" y="1418"/>
                    <a:pt x="1418" y="1891"/>
                    <a:pt x="1418" y="2426"/>
                  </a:cubicBezTo>
                  <a:lnTo>
                    <a:pt x="1418" y="2773"/>
                  </a:lnTo>
                  <a:lnTo>
                    <a:pt x="693" y="2773"/>
                  </a:lnTo>
                  <a:lnTo>
                    <a:pt x="693" y="2426"/>
                  </a:lnTo>
                  <a:cubicBezTo>
                    <a:pt x="693" y="1481"/>
                    <a:pt x="1481" y="694"/>
                    <a:pt x="2426" y="694"/>
                  </a:cubicBezTo>
                  <a:close/>
                  <a:moveTo>
                    <a:pt x="2426" y="1"/>
                  </a:moveTo>
                  <a:cubicBezTo>
                    <a:pt x="1103" y="1"/>
                    <a:pt x="0" y="1103"/>
                    <a:pt x="0" y="2426"/>
                  </a:cubicBezTo>
                  <a:lnTo>
                    <a:pt x="0" y="3151"/>
                  </a:lnTo>
                  <a:lnTo>
                    <a:pt x="0" y="4506"/>
                  </a:lnTo>
                  <a:lnTo>
                    <a:pt x="0" y="7341"/>
                  </a:lnTo>
                  <a:lnTo>
                    <a:pt x="0" y="8727"/>
                  </a:lnTo>
                  <a:lnTo>
                    <a:pt x="0" y="9452"/>
                  </a:lnTo>
                  <a:cubicBezTo>
                    <a:pt x="0" y="10775"/>
                    <a:pt x="1103" y="11878"/>
                    <a:pt x="2426" y="11878"/>
                  </a:cubicBezTo>
                  <a:lnTo>
                    <a:pt x="9389" y="11878"/>
                  </a:lnTo>
                  <a:cubicBezTo>
                    <a:pt x="10743" y="11878"/>
                    <a:pt x="11846" y="10775"/>
                    <a:pt x="11846" y="9452"/>
                  </a:cubicBezTo>
                  <a:lnTo>
                    <a:pt x="11846" y="2458"/>
                  </a:lnTo>
                  <a:cubicBezTo>
                    <a:pt x="11846" y="1103"/>
                    <a:pt x="10743" y="1"/>
                    <a:pt x="93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76"/>
            <p:cNvSpPr/>
            <p:nvPr/>
          </p:nvSpPr>
          <p:spPr>
            <a:xfrm>
              <a:off x="-28371550" y="2419175"/>
              <a:ext cx="121325" cy="121325"/>
            </a:xfrm>
            <a:custGeom>
              <a:avLst/>
              <a:gdLst/>
              <a:ahLst/>
              <a:cxnLst/>
              <a:rect l="l" t="t" r="r" b="b"/>
              <a:pathLst>
                <a:path w="4853" h="4853" extrusionOk="0">
                  <a:moveTo>
                    <a:pt x="2773" y="662"/>
                  </a:moveTo>
                  <a:lnTo>
                    <a:pt x="2773" y="1670"/>
                  </a:lnTo>
                  <a:cubicBezTo>
                    <a:pt x="2773" y="1891"/>
                    <a:pt x="2931" y="2048"/>
                    <a:pt x="3120" y="2048"/>
                  </a:cubicBezTo>
                  <a:lnTo>
                    <a:pt x="4159" y="2048"/>
                  </a:lnTo>
                  <a:lnTo>
                    <a:pt x="4159" y="2741"/>
                  </a:lnTo>
                  <a:lnTo>
                    <a:pt x="3120" y="2741"/>
                  </a:lnTo>
                  <a:cubicBezTo>
                    <a:pt x="2931" y="2741"/>
                    <a:pt x="2773" y="2899"/>
                    <a:pt x="2773" y="3120"/>
                  </a:cubicBezTo>
                  <a:lnTo>
                    <a:pt x="2773" y="4128"/>
                  </a:lnTo>
                  <a:lnTo>
                    <a:pt x="2049" y="4128"/>
                  </a:lnTo>
                  <a:lnTo>
                    <a:pt x="2049" y="3120"/>
                  </a:lnTo>
                  <a:cubicBezTo>
                    <a:pt x="2049" y="2899"/>
                    <a:pt x="1891" y="2741"/>
                    <a:pt x="1702" y="2741"/>
                  </a:cubicBezTo>
                  <a:lnTo>
                    <a:pt x="662" y="2741"/>
                  </a:lnTo>
                  <a:lnTo>
                    <a:pt x="662" y="2048"/>
                  </a:lnTo>
                  <a:lnTo>
                    <a:pt x="1702" y="2048"/>
                  </a:lnTo>
                  <a:cubicBezTo>
                    <a:pt x="1891" y="2048"/>
                    <a:pt x="2049" y="1891"/>
                    <a:pt x="2049" y="1670"/>
                  </a:cubicBezTo>
                  <a:lnTo>
                    <a:pt x="2049" y="662"/>
                  </a:lnTo>
                  <a:close/>
                  <a:moveTo>
                    <a:pt x="1734" y="1"/>
                  </a:moveTo>
                  <a:cubicBezTo>
                    <a:pt x="1545" y="1"/>
                    <a:pt x="1387" y="158"/>
                    <a:pt x="1387" y="347"/>
                  </a:cubicBezTo>
                  <a:lnTo>
                    <a:pt x="1387" y="1387"/>
                  </a:lnTo>
                  <a:lnTo>
                    <a:pt x="347" y="1387"/>
                  </a:lnTo>
                  <a:cubicBezTo>
                    <a:pt x="158" y="1387"/>
                    <a:pt x="1" y="1544"/>
                    <a:pt x="1" y="1733"/>
                  </a:cubicBezTo>
                  <a:lnTo>
                    <a:pt x="1" y="3120"/>
                  </a:lnTo>
                  <a:cubicBezTo>
                    <a:pt x="1" y="3309"/>
                    <a:pt x="158" y="3466"/>
                    <a:pt x="347" y="3466"/>
                  </a:cubicBezTo>
                  <a:lnTo>
                    <a:pt x="1387" y="3466"/>
                  </a:lnTo>
                  <a:lnTo>
                    <a:pt x="1387" y="4474"/>
                  </a:lnTo>
                  <a:cubicBezTo>
                    <a:pt x="1387" y="4695"/>
                    <a:pt x="1545" y="4852"/>
                    <a:pt x="1734" y="4852"/>
                  </a:cubicBezTo>
                  <a:lnTo>
                    <a:pt x="3120" y="4852"/>
                  </a:lnTo>
                  <a:cubicBezTo>
                    <a:pt x="3309" y="4852"/>
                    <a:pt x="3466" y="4695"/>
                    <a:pt x="3466" y="4474"/>
                  </a:cubicBezTo>
                  <a:lnTo>
                    <a:pt x="3466" y="3466"/>
                  </a:lnTo>
                  <a:lnTo>
                    <a:pt x="4506" y="3466"/>
                  </a:lnTo>
                  <a:cubicBezTo>
                    <a:pt x="4695" y="3466"/>
                    <a:pt x="4853" y="3309"/>
                    <a:pt x="4853" y="3120"/>
                  </a:cubicBezTo>
                  <a:lnTo>
                    <a:pt x="4853" y="1733"/>
                  </a:lnTo>
                  <a:cubicBezTo>
                    <a:pt x="4853" y="1544"/>
                    <a:pt x="4695" y="1387"/>
                    <a:pt x="4506" y="1387"/>
                  </a:cubicBezTo>
                  <a:lnTo>
                    <a:pt x="3466" y="1387"/>
                  </a:lnTo>
                  <a:lnTo>
                    <a:pt x="3466" y="347"/>
                  </a:lnTo>
                  <a:cubicBezTo>
                    <a:pt x="3466" y="158"/>
                    <a:pt x="3309"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1" name="Google Shape;9351;p76"/>
          <p:cNvGrpSpPr/>
          <p:nvPr/>
        </p:nvGrpSpPr>
        <p:grpSpPr>
          <a:xfrm>
            <a:off x="4879719" y="2451434"/>
            <a:ext cx="325858" cy="351327"/>
            <a:chOff x="-28461325" y="2701925"/>
            <a:chExt cx="272525" cy="293825"/>
          </a:xfrm>
        </p:grpSpPr>
        <p:sp>
          <p:nvSpPr>
            <p:cNvPr id="9352" name="Google Shape;9352;p76"/>
            <p:cNvSpPr/>
            <p:nvPr/>
          </p:nvSpPr>
          <p:spPr>
            <a:xfrm>
              <a:off x="-28427475" y="2789200"/>
              <a:ext cx="54375" cy="80525"/>
            </a:xfrm>
            <a:custGeom>
              <a:avLst/>
              <a:gdLst/>
              <a:ahLst/>
              <a:cxnLst/>
              <a:rect l="l" t="t" r="r" b="b"/>
              <a:pathLst>
                <a:path w="2175" h="3221" extrusionOk="0">
                  <a:moveTo>
                    <a:pt x="1805" y="1"/>
                  </a:moveTo>
                  <a:cubicBezTo>
                    <a:pt x="1782" y="1"/>
                    <a:pt x="1758" y="3"/>
                    <a:pt x="1734" y="7"/>
                  </a:cubicBezTo>
                  <a:cubicBezTo>
                    <a:pt x="946" y="164"/>
                    <a:pt x="285" y="826"/>
                    <a:pt x="127" y="1645"/>
                  </a:cubicBezTo>
                  <a:cubicBezTo>
                    <a:pt x="1" y="2275"/>
                    <a:pt x="190" y="2811"/>
                    <a:pt x="348" y="3063"/>
                  </a:cubicBezTo>
                  <a:cubicBezTo>
                    <a:pt x="442" y="3189"/>
                    <a:pt x="537" y="3220"/>
                    <a:pt x="663" y="3220"/>
                  </a:cubicBezTo>
                  <a:cubicBezTo>
                    <a:pt x="694" y="3220"/>
                    <a:pt x="789" y="3220"/>
                    <a:pt x="820" y="3189"/>
                  </a:cubicBezTo>
                  <a:cubicBezTo>
                    <a:pt x="978" y="3126"/>
                    <a:pt x="1072" y="2874"/>
                    <a:pt x="946" y="2716"/>
                  </a:cubicBezTo>
                  <a:cubicBezTo>
                    <a:pt x="820" y="2527"/>
                    <a:pt x="726" y="2181"/>
                    <a:pt x="789" y="1740"/>
                  </a:cubicBezTo>
                  <a:cubicBezTo>
                    <a:pt x="883" y="1173"/>
                    <a:pt x="1356" y="763"/>
                    <a:pt x="1860" y="637"/>
                  </a:cubicBezTo>
                  <a:cubicBezTo>
                    <a:pt x="2049" y="605"/>
                    <a:pt x="2175" y="448"/>
                    <a:pt x="2112" y="227"/>
                  </a:cubicBezTo>
                  <a:cubicBezTo>
                    <a:pt x="2084" y="90"/>
                    <a:pt x="1961" y="1"/>
                    <a:pt x="1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76"/>
            <p:cNvSpPr/>
            <p:nvPr/>
          </p:nvSpPr>
          <p:spPr>
            <a:xfrm>
              <a:off x="-28362875" y="2824025"/>
              <a:ext cx="124475" cy="103200"/>
            </a:xfrm>
            <a:custGeom>
              <a:avLst/>
              <a:gdLst/>
              <a:ahLst/>
              <a:cxnLst/>
              <a:rect l="l" t="t" r="r" b="b"/>
              <a:pathLst>
                <a:path w="4979" h="4128" extrusionOk="0">
                  <a:moveTo>
                    <a:pt x="3434" y="693"/>
                  </a:moveTo>
                  <a:cubicBezTo>
                    <a:pt x="3844" y="693"/>
                    <a:pt x="4159" y="1008"/>
                    <a:pt x="4159" y="1418"/>
                  </a:cubicBezTo>
                  <a:cubicBezTo>
                    <a:pt x="4159" y="1922"/>
                    <a:pt x="3592" y="2394"/>
                    <a:pt x="2741" y="3056"/>
                  </a:cubicBezTo>
                  <a:cubicBezTo>
                    <a:pt x="2615" y="3151"/>
                    <a:pt x="2521" y="3214"/>
                    <a:pt x="2426" y="3340"/>
                  </a:cubicBezTo>
                  <a:cubicBezTo>
                    <a:pt x="2300" y="3245"/>
                    <a:pt x="2174" y="3182"/>
                    <a:pt x="2111" y="3056"/>
                  </a:cubicBezTo>
                  <a:cubicBezTo>
                    <a:pt x="1229" y="2394"/>
                    <a:pt x="694" y="1922"/>
                    <a:pt x="694" y="1418"/>
                  </a:cubicBezTo>
                  <a:cubicBezTo>
                    <a:pt x="694" y="977"/>
                    <a:pt x="1009" y="693"/>
                    <a:pt x="1387" y="693"/>
                  </a:cubicBezTo>
                  <a:cubicBezTo>
                    <a:pt x="1891" y="693"/>
                    <a:pt x="2111" y="1260"/>
                    <a:pt x="2111" y="1292"/>
                  </a:cubicBezTo>
                  <a:cubicBezTo>
                    <a:pt x="2143" y="1449"/>
                    <a:pt x="2269" y="1512"/>
                    <a:pt x="2426" y="1512"/>
                  </a:cubicBezTo>
                  <a:cubicBezTo>
                    <a:pt x="2584" y="1512"/>
                    <a:pt x="2678" y="1418"/>
                    <a:pt x="2741" y="1292"/>
                  </a:cubicBezTo>
                  <a:cubicBezTo>
                    <a:pt x="2741" y="1260"/>
                    <a:pt x="2930" y="693"/>
                    <a:pt x="3434" y="693"/>
                  </a:cubicBezTo>
                  <a:close/>
                  <a:moveTo>
                    <a:pt x="1387" y="0"/>
                  </a:moveTo>
                  <a:cubicBezTo>
                    <a:pt x="599" y="0"/>
                    <a:pt x="0" y="630"/>
                    <a:pt x="0" y="1418"/>
                  </a:cubicBezTo>
                  <a:cubicBezTo>
                    <a:pt x="0" y="2268"/>
                    <a:pt x="725" y="2835"/>
                    <a:pt x="1702" y="3623"/>
                  </a:cubicBezTo>
                  <a:cubicBezTo>
                    <a:pt x="1859" y="3718"/>
                    <a:pt x="2048" y="3875"/>
                    <a:pt x="2269" y="4033"/>
                  </a:cubicBezTo>
                  <a:cubicBezTo>
                    <a:pt x="2332" y="4064"/>
                    <a:pt x="2426" y="4127"/>
                    <a:pt x="2489" y="4127"/>
                  </a:cubicBezTo>
                  <a:cubicBezTo>
                    <a:pt x="2584" y="4127"/>
                    <a:pt x="2647" y="4064"/>
                    <a:pt x="2741" y="4033"/>
                  </a:cubicBezTo>
                  <a:cubicBezTo>
                    <a:pt x="2930" y="3875"/>
                    <a:pt x="3088" y="3718"/>
                    <a:pt x="3277" y="3623"/>
                  </a:cubicBezTo>
                  <a:cubicBezTo>
                    <a:pt x="4254" y="2835"/>
                    <a:pt x="4978" y="2268"/>
                    <a:pt x="4978" y="1418"/>
                  </a:cubicBezTo>
                  <a:cubicBezTo>
                    <a:pt x="4852" y="630"/>
                    <a:pt x="4222" y="0"/>
                    <a:pt x="3434" y="0"/>
                  </a:cubicBezTo>
                  <a:cubicBezTo>
                    <a:pt x="3056" y="0"/>
                    <a:pt x="2647" y="158"/>
                    <a:pt x="2426" y="504"/>
                  </a:cubicBezTo>
                  <a:cubicBezTo>
                    <a:pt x="2143" y="189"/>
                    <a:pt x="1796"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76"/>
            <p:cNvSpPr/>
            <p:nvPr/>
          </p:nvSpPr>
          <p:spPr>
            <a:xfrm>
              <a:off x="-28461325" y="2701925"/>
              <a:ext cx="272525" cy="293825"/>
            </a:xfrm>
            <a:custGeom>
              <a:avLst/>
              <a:gdLst/>
              <a:ahLst/>
              <a:cxnLst/>
              <a:rect l="l" t="t" r="r" b="b"/>
              <a:pathLst>
                <a:path w="10901" h="11753" extrusionOk="0">
                  <a:moveTo>
                    <a:pt x="7845" y="2647"/>
                  </a:moveTo>
                  <a:cubicBezTo>
                    <a:pt x="9168" y="2647"/>
                    <a:pt x="10208" y="3781"/>
                    <a:pt x="10208" y="5136"/>
                  </a:cubicBezTo>
                  <a:cubicBezTo>
                    <a:pt x="10208" y="5577"/>
                    <a:pt x="10145" y="5924"/>
                    <a:pt x="9987" y="6239"/>
                  </a:cubicBezTo>
                  <a:lnTo>
                    <a:pt x="8034" y="10303"/>
                  </a:lnTo>
                  <a:cubicBezTo>
                    <a:pt x="7814" y="10807"/>
                    <a:pt x="7341" y="11090"/>
                    <a:pt x="6837" y="11090"/>
                  </a:cubicBezTo>
                  <a:cubicBezTo>
                    <a:pt x="6396" y="11090"/>
                    <a:pt x="6049" y="10901"/>
                    <a:pt x="5766" y="10555"/>
                  </a:cubicBezTo>
                  <a:cubicBezTo>
                    <a:pt x="5703" y="10460"/>
                    <a:pt x="5608" y="10429"/>
                    <a:pt x="5482" y="10429"/>
                  </a:cubicBezTo>
                  <a:cubicBezTo>
                    <a:pt x="5388" y="10429"/>
                    <a:pt x="5293" y="10460"/>
                    <a:pt x="5230" y="10555"/>
                  </a:cubicBezTo>
                  <a:cubicBezTo>
                    <a:pt x="4947" y="10901"/>
                    <a:pt x="4537" y="11090"/>
                    <a:pt x="4159" y="11090"/>
                  </a:cubicBezTo>
                  <a:cubicBezTo>
                    <a:pt x="3655" y="11090"/>
                    <a:pt x="3182" y="10775"/>
                    <a:pt x="2930" y="10303"/>
                  </a:cubicBezTo>
                  <a:lnTo>
                    <a:pt x="1008" y="6239"/>
                  </a:lnTo>
                  <a:cubicBezTo>
                    <a:pt x="851" y="5892"/>
                    <a:pt x="756" y="5546"/>
                    <a:pt x="756" y="5136"/>
                  </a:cubicBezTo>
                  <a:cubicBezTo>
                    <a:pt x="756" y="3781"/>
                    <a:pt x="1828" y="2647"/>
                    <a:pt x="3119" y="2647"/>
                  </a:cubicBezTo>
                  <a:cubicBezTo>
                    <a:pt x="3970" y="2647"/>
                    <a:pt x="4758" y="3120"/>
                    <a:pt x="5167" y="3876"/>
                  </a:cubicBezTo>
                  <a:cubicBezTo>
                    <a:pt x="5262" y="4002"/>
                    <a:pt x="5325" y="4033"/>
                    <a:pt x="5482" y="4033"/>
                  </a:cubicBezTo>
                  <a:cubicBezTo>
                    <a:pt x="5640" y="4033"/>
                    <a:pt x="5734" y="3970"/>
                    <a:pt x="5797" y="3876"/>
                  </a:cubicBezTo>
                  <a:cubicBezTo>
                    <a:pt x="6238" y="3120"/>
                    <a:pt x="7026" y="2647"/>
                    <a:pt x="7845" y="2647"/>
                  </a:cubicBezTo>
                  <a:close/>
                  <a:moveTo>
                    <a:pt x="6774" y="1"/>
                  </a:moveTo>
                  <a:cubicBezTo>
                    <a:pt x="5829" y="1"/>
                    <a:pt x="5104" y="788"/>
                    <a:pt x="5104" y="1734"/>
                  </a:cubicBezTo>
                  <a:lnTo>
                    <a:pt x="5104" y="2773"/>
                  </a:lnTo>
                  <a:cubicBezTo>
                    <a:pt x="4537" y="2301"/>
                    <a:pt x="3844" y="1986"/>
                    <a:pt x="3088" y="1986"/>
                  </a:cubicBezTo>
                  <a:cubicBezTo>
                    <a:pt x="1386" y="1986"/>
                    <a:pt x="0" y="3403"/>
                    <a:pt x="0" y="5136"/>
                  </a:cubicBezTo>
                  <a:cubicBezTo>
                    <a:pt x="0" y="5609"/>
                    <a:pt x="126" y="6081"/>
                    <a:pt x="315" y="6522"/>
                  </a:cubicBezTo>
                  <a:lnTo>
                    <a:pt x="2269" y="10586"/>
                  </a:lnTo>
                  <a:cubicBezTo>
                    <a:pt x="2615" y="11343"/>
                    <a:pt x="3308" y="11752"/>
                    <a:pt x="4096" y="11752"/>
                  </a:cubicBezTo>
                  <a:cubicBezTo>
                    <a:pt x="4632" y="11752"/>
                    <a:pt x="5104" y="11563"/>
                    <a:pt x="5451" y="11248"/>
                  </a:cubicBezTo>
                  <a:cubicBezTo>
                    <a:pt x="5797" y="11563"/>
                    <a:pt x="6270" y="11752"/>
                    <a:pt x="6774" y="11752"/>
                  </a:cubicBezTo>
                  <a:cubicBezTo>
                    <a:pt x="7561" y="11752"/>
                    <a:pt x="8286" y="11280"/>
                    <a:pt x="8633" y="10586"/>
                  </a:cubicBezTo>
                  <a:lnTo>
                    <a:pt x="10554" y="6522"/>
                  </a:lnTo>
                  <a:cubicBezTo>
                    <a:pt x="10775" y="6081"/>
                    <a:pt x="10901" y="5609"/>
                    <a:pt x="10901" y="5136"/>
                  </a:cubicBezTo>
                  <a:cubicBezTo>
                    <a:pt x="10869" y="3466"/>
                    <a:pt x="9515" y="1986"/>
                    <a:pt x="7814" y="1986"/>
                  </a:cubicBezTo>
                  <a:cubicBezTo>
                    <a:pt x="7057" y="1986"/>
                    <a:pt x="6364" y="2269"/>
                    <a:pt x="5797" y="2773"/>
                  </a:cubicBezTo>
                  <a:lnTo>
                    <a:pt x="5797" y="1734"/>
                  </a:lnTo>
                  <a:cubicBezTo>
                    <a:pt x="5797" y="1135"/>
                    <a:pt x="6238" y="694"/>
                    <a:pt x="6774" y="694"/>
                  </a:cubicBezTo>
                  <a:cubicBezTo>
                    <a:pt x="6994" y="694"/>
                    <a:pt x="7152" y="536"/>
                    <a:pt x="7152" y="347"/>
                  </a:cubicBezTo>
                  <a:cubicBezTo>
                    <a:pt x="7152" y="158"/>
                    <a:pt x="6994" y="1"/>
                    <a:pt x="67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5" name="Google Shape;9355;p76"/>
          <p:cNvGrpSpPr/>
          <p:nvPr/>
        </p:nvGrpSpPr>
        <p:grpSpPr>
          <a:xfrm>
            <a:off x="7103910" y="1625071"/>
            <a:ext cx="354107" cy="226974"/>
            <a:chOff x="-26585200" y="2025375"/>
            <a:chExt cx="296150" cy="189825"/>
          </a:xfrm>
        </p:grpSpPr>
        <p:sp>
          <p:nvSpPr>
            <p:cNvPr id="9356" name="Google Shape;9356;p76"/>
            <p:cNvSpPr/>
            <p:nvPr/>
          </p:nvSpPr>
          <p:spPr>
            <a:xfrm>
              <a:off x="-26340250" y="2127750"/>
              <a:ext cx="51200" cy="70125"/>
            </a:xfrm>
            <a:custGeom>
              <a:avLst/>
              <a:gdLst/>
              <a:ahLst/>
              <a:cxnLst/>
              <a:rect l="l" t="t" r="r" b="b"/>
              <a:pathLst>
                <a:path w="2048" h="2805" extrusionOk="0">
                  <a:moveTo>
                    <a:pt x="1008" y="977"/>
                  </a:moveTo>
                  <a:cubicBezTo>
                    <a:pt x="1229" y="1324"/>
                    <a:pt x="1386" y="1608"/>
                    <a:pt x="1386" y="1734"/>
                  </a:cubicBezTo>
                  <a:cubicBezTo>
                    <a:pt x="1323" y="1923"/>
                    <a:pt x="1166" y="2080"/>
                    <a:pt x="1008" y="2080"/>
                  </a:cubicBezTo>
                  <a:cubicBezTo>
                    <a:pt x="819" y="2080"/>
                    <a:pt x="662" y="1923"/>
                    <a:pt x="662" y="1734"/>
                  </a:cubicBezTo>
                  <a:cubicBezTo>
                    <a:pt x="662" y="1608"/>
                    <a:pt x="819" y="1324"/>
                    <a:pt x="1008" y="977"/>
                  </a:cubicBezTo>
                  <a:close/>
                  <a:moveTo>
                    <a:pt x="1008" y="1"/>
                  </a:moveTo>
                  <a:cubicBezTo>
                    <a:pt x="914" y="1"/>
                    <a:pt x="788" y="32"/>
                    <a:pt x="756" y="158"/>
                  </a:cubicBezTo>
                  <a:cubicBezTo>
                    <a:pt x="756" y="158"/>
                    <a:pt x="536" y="442"/>
                    <a:pt x="378" y="757"/>
                  </a:cubicBezTo>
                  <a:cubicBezTo>
                    <a:pt x="32" y="1324"/>
                    <a:pt x="0" y="1608"/>
                    <a:pt x="0" y="1765"/>
                  </a:cubicBezTo>
                  <a:cubicBezTo>
                    <a:pt x="0" y="2364"/>
                    <a:pt x="473" y="2805"/>
                    <a:pt x="1008" y="2805"/>
                  </a:cubicBezTo>
                  <a:cubicBezTo>
                    <a:pt x="1607" y="2805"/>
                    <a:pt x="2048" y="2332"/>
                    <a:pt x="2048" y="1765"/>
                  </a:cubicBezTo>
                  <a:cubicBezTo>
                    <a:pt x="2048" y="1608"/>
                    <a:pt x="2016" y="1387"/>
                    <a:pt x="1638" y="757"/>
                  </a:cubicBezTo>
                  <a:cubicBezTo>
                    <a:pt x="1449" y="442"/>
                    <a:pt x="1292" y="158"/>
                    <a:pt x="1292" y="158"/>
                  </a:cubicBezTo>
                  <a:cubicBezTo>
                    <a:pt x="1229" y="64"/>
                    <a:pt x="1134"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76"/>
            <p:cNvSpPr/>
            <p:nvPr/>
          </p:nvSpPr>
          <p:spPr>
            <a:xfrm>
              <a:off x="-26585200" y="2025375"/>
              <a:ext cx="295375" cy="189825"/>
            </a:xfrm>
            <a:custGeom>
              <a:avLst/>
              <a:gdLst/>
              <a:ahLst/>
              <a:cxnLst/>
              <a:rect l="l" t="t" r="r" b="b"/>
              <a:pathLst>
                <a:path w="11815" h="7593" extrusionOk="0">
                  <a:moveTo>
                    <a:pt x="10775" y="2016"/>
                  </a:moveTo>
                  <a:cubicBezTo>
                    <a:pt x="10964" y="2016"/>
                    <a:pt x="11121" y="2174"/>
                    <a:pt x="11121" y="2363"/>
                  </a:cubicBezTo>
                  <a:cubicBezTo>
                    <a:pt x="11121" y="2552"/>
                    <a:pt x="10964" y="2710"/>
                    <a:pt x="10775" y="2710"/>
                  </a:cubicBezTo>
                  <a:lnTo>
                    <a:pt x="9830" y="2710"/>
                  </a:lnTo>
                  <a:lnTo>
                    <a:pt x="9987" y="2016"/>
                  </a:lnTo>
                  <a:close/>
                  <a:moveTo>
                    <a:pt x="6238" y="693"/>
                  </a:moveTo>
                  <a:cubicBezTo>
                    <a:pt x="6081" y="1103"/>
                    <a:pt x="5734" y="1418"/>
                    <a:pt x="5261" y="1418"/>
                  </a:cubicBezTo>
                  <a:lnTo>
                    <a:pt x="3875" y="1418"/>
                  </a:lnTo>
                  <a:cubicBezTo>
                    <a:pt x="3686" y="1418"/>
                    <a:pt x="3529" y="1575"/>
                    <a:pt x="3529" y="1764"/>
                  </a:cubicBezTo>
                  <a:cubicBezTo>
                    <a:pt x="3529" y="1953"/>
                    <a:pt x="3686" y="2111"/>
                    <a:pt x="3875" y="2111"/>
                  </a:cubicBezTo>
                  <a:lnTo>
                    <a:pt x="9326" y="2111"/>
                  </a:lnTo>
                  <a:lnTo>
                    <a:pt x="9168" y="2836"/>
                  </a:lnTo>
                  <a:lnTo>
                    <a:pt x="5923" y="2836"/>
                  </a:lnTo>
                  <a:lnTo>
                    <a:pt x="5923" y="2710"/>
                  </a:lnTo>
                  <a:cubicBezTo>
                    <a:pt x="5734" y="2710"/>
                    <a:pt x="5576" y="2867"/>
                    <a:pt x="5576" y="3056"/>
                  </a:cubicBezTo>
                  <a:cubicBezTo>
                    <a:pt x="5576" y="3277"/>
                    <a:pt x="5734" y="3434"/>
                    <a:pt x="5923" y="3434"/>
                  </a:cubicBezTo>
                  <a:lnTo>
                    <a:pt x="8034" y="3434"/>
                  </a:lnTo>
                  <a:cubicBezTo>
                    <a:pt x="8223" y="3434"/>
                    <a:pt x="8380" y="3592"/>
                    <a:pt x="8380" y="3781"/>
                  </a:cubicBezTo>
                  <a:cubicBezTo>
                    <a:pt x="8380" y="3970"/>
                    <a:pt x="8223" y="4127"/>
                    <a:pt x="8034" y="4127"/>
                  </a:cubicBezTo>
                  <a:lnTo>
                    <a:pt x="5923" y="4127"/>
                  </a:lnTo>
                  <a:cubicBezTo>
                    <a:pt x="5734" y="4127"/>
                    <a:pt x="5576" y="4285"/>
                    <a:pt x="5576" y="4474"/>
                  </a:cubicBezTo>
                  <a:cubicBezTo>
                    <a:pt x="5576" y="4694"/>
                    <a:pt x="5734" y="4852"/>
                    <a:pt x="5923" y="4852"/>
                  </a:cubicBezTo>
                  <a:lnTo>
                    <a:pt x="7309" y="4852"/>
                  </a:lnTo>
                  <a:cubicBezTo>
                    <a:pt x="7498" y="4852"/>
                    <a:pt x="7656" y="5009"/>
                    <a:pt x="7656" y="5198"/>
                  </a:cubicBezTo>
                  <a:cubicBezTo>
                    <a:pt x="7656" y="5388"/>
                    <a:pt x="7498" y="5545"/>
                    <a:pt x="7309" y="5545"/>
                  </a:cubicBezTo>
                  <a:lnTo>
                    <a:pt x="5923" y="5545"/>
                  </a:lnTo>
                  <a:cubicBezTo>
                    <a:pt x="5734" y="5545"/>
                    <a:pt x="5576" y="5703"/>
                    <a:pt x="5576" y="5892"/>
                  </a:cubicBezTo>
                  <a:cubicBezTo>
                    <a:pt x="5576" y="6112"/>
                    <a:pt x="5734" y="6270"/>
                    <a:pt x="5923" y="6270"/>
                  </a:cubicBezTo>
                  <a:lnTo>
                    <a:pt x="6648" y="6270"/>
                  </a:lnTo>
                  <a:cubicBezTo>
                    <a:pt x="6837" y="6270"/>
                    <a:pt x="6994" y="6427"/>
                    <a:pt x="6994" y="6616"/>
                  </a:cubicBezTo>
                  <a:cubicBezTo>
                    <a:pt x="6994" y="6805"/>
                    <a:pt x="6837" y="6963"/>
                    <a:pt x="6648" y="6963"/>
                  </a:cubicBezTo>
                  <a:lnTo>
                    <a:pt x="3151" y="6963"/>
                  </a:lnTo>
                  <a:cubicBezTo>
                    <a:pt x="1796" y="6963"/>
                    <a:pt x="693" y="5860"/>
                    <a:pt x="693" y="4537"/>
                  </a:cubicBezTo>
                  <a:lnTo>
                    <a:pt x="693" y="3151"/>
                  </a:lnTo>
                  <a:cubicBezTo>
                    <a:pt x="693" y="1796"/>
                    <a:pt x="1796" y="693"/>
                    <a:pt x="3151" y="693"/>
                  </a:cubicBezTo>
                  <a:close/>
                  <a:moveTo>
                    <a:pt x="3088" y="0"/>
                  </a:moveTo>
                  <a:cubicBezTo>
                    <a:pt x="1355" y="0"/>
                    <a:pt x="0" y="1418"/>
                    <a:pt x="0" y="3119"/>
                  </a:cubicBezTo>
                  <a:lnTo>
                    <a:pt x="0" y="4474"/>
                  </a:lnTo>
                  <a:cubicBezTo>
                    <a:pt x="0" y="6207"/>
                    <a:pt x="1418" y="7593"/>
                    <a:pt x="3088" y="7593"/>
                  </a:cubicBezTo>
                  <a:lnTo>
                    <a:pt x="6616" y="7593"/>
                  </a:lnTo>
                  <a:cubicBezTo>
                    <a:pt x="7183" y="7593"/>
                    <a:pt x="7624" y="7120"/>
                    <a:pt x="7624" y="6585"/>
                  </a:cubicBezTo>
                  <a:cubicBezTo>
                    <a:pt x="7624" y="6459"/>
                    <a:pt x="7593" y="6301"/>
                    <a:pt x="7561" y="6175"/>
                  </a:cubicBezTo>
                  <a:cubicBezTo>
                    <a:pt x="7971" y="6049"/>
                    <a:pt x="8317" y="5671"/>
                    <a:pt x="8317" y="5198"/>
                  </a:cubicBezTo>
                  <a:cubicBezTo>
                    <a:pt x="8317" y="5072"/>
                    <a:pt x="8254" y="4915"/>
                    <a:pt x="8223" y="4789"/>
                  </a:cubicBezTo>
                  <a:cubicBezTo>
                    <a:pt x="8664" y="4694"/>
                    <a:pt x="8979" y="4285"/>
                    <a:pt x="8979" y="3812"/>
                  </a:cubicBezTo>
                  <a:cubicBezTo>
                    <a:pt x="8979" y="3686"/>
                    <a:pt x="8948" y="3592"/>
                    <a:pt x="8884" y="3466"/>
                  </a:cubicBezTo>
                  <a:lnTo>
                    <a:pt x="9389" y="3403"/>
                  </a:lnTo>
                  <a:lnTo>
                    <a:pt x="10775" y="3403"/>
                  </a:lnTo>
                  <a:cubicBezTo>
                    <a:pt x="11373" y="3403"/>
                    <a:pt x="11814" y="2930"/>
                    <a:pt x="11814" y="2395"/>
                  </a:cubicBezTo>
                  <a:cubicBezTo>
                    <a:pt x="11814" y="1796"/>
                    <a:pt x="11342" y="1386"/>
                    <a:pt x="10775" y="1386"/>
                  </a:cubicBezTo>
                  <a:lnTo>
                    <a:pt x="6616" y="1386"/>
                  </a:lnTo>
                  <a:cubicBezTo>
                    <a:pt x="6837" y="1103"/>
                    <a:pt x="6963" y="693"/>
                    <a:pt x="6963" y="347"/>
                  </a:cubicBezTo>
                  <a:cubicBezTo>
                    <a:pt x="6963" y="158"/>
                    <a:pt x="6805" y="0"/>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76"/>
            <p:cNvSpPr/>
            <p:nvPr/>
          </p:nvSpPr>
          <p:spPr>
            <a:xfrm>
              <a:off x="-26480450" y="2093100"/>
              <a:ext cx="18125" cy="18150"/>
            </a:xfrm>
            <a:custGeom>
              <a:avLst/>
              <a:gdLst/>
              <a:ahLst/>
              <a:cxnLst/>
              <a:rect l="l" t="t" r="r" b="b"/>
              <a:pathLst>
                <a:path w="725" h="726" extrusionOk="0">
                  <a:moveTo>
                    <a:pt x="378" y="1"/>
                  </a:moveTo>
                  <a:cubicBezTo>
                    <a:pt x="158" y="1"/>
                    <a:pt x="0" y="158"/>
                    <a:pt x="0" y="347"/>
                  </a:cubicBezTo>
                  <a:cubicBezTo>
                    <a:pt x="0" y="568"/>
                    <a:pt x="158" y="725"/>
                    <a:pt x="378" y="725"/>
                  </a:cubicBezTo>
                  <a:cubicBezTo>
                    <a:pt x="567" y="725"/>
                    <a:pt x="725" y="568"/>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9" name="Google Shape;9359;p76"/>
            <p:cNvSpPr/>
            <p:nvPr/>
          </p:nvSpPr>
          <p:spPr>
            <a:xfrm>
              <a:off x="-26480450" y="212775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0" name="Google Shape;9360;p76"/>
            <p:cNvSpPr/>
            <p:nvPr/>
          </p:nvSpPr>
          <p:spPr>
            <a:xfrm>
              <a:off x="-26480450" y="21624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61" name="Google Shape;9361;p76"/>
          <p:cNvGrpSpPr/>
          <p:nvPr/>
        </p:nvGrpSpPr>
        <p:grpSpPr>
          <a:xfrm>
            <a:off x="7104373" y="2009294"/>
            <a:ext cx="353180" cy="353180"/>
            <a:chOff x="-26584425" y="2340425"/>
            <a:chExt cx="295375" cy="295375"/>
          </a:xfrm>
        </p:grpSpPr>
        <p:sp>
          <p:nvSpPr>
            <p:cNvPr id="9362" name="Google Shape;9362;p76"/>
            <p:cNvSpPr/>
            <p:nvPr/>
          </p:nvSpPr>
          <p:spPr>
            <a:xfrm>
              <a:off x="-26462350" y="2463275"/>
              <a:ext cx="51225" cy="51225"/>
            </a:xfrm>
            <a:custGeom>
              <a:avLst/>
              <a:gdLst/>
              <a:ahLst/>
              <a:cxnLst/>
              <a:rect l="l" t="t" r="r" b="b"/>
              <a:pathLst>
                <a:path w="2049" h="2049" extrusionOk="0">
                  <a:moveTo>
                    <a:pt x="1009" y="631"/>
                  </a:moveTo>
                  <a:cubicBezTo>
                    <a:pt x="1230" y="631"/>
                    <a:pt x="1387" y="788"/>
                    <a:pt x="1387" y="977"/>
                  </a:cubicBezTo>
                  <a:cubicBezTo>
                    <a:pt x="1324" y="1230"/>
                    <a:pt x="1167" y="1356"/>
                    <a:pt x="1009" y="1356"/>
                  </a:cubicBezTo>
                  <a:cubicBezTo>
                    <a:pt x="820" y="1356"/>
                    <a:pt x="662" y="1198"/>
                    <a:pt x="662" y="977"/>
                  </a:cubicBezTo>
                  <a:cubicBezTo>
                    <a:pt x="662" y="788"/>
                    <a:pt x="820" y="631"/>
                    <a:pt x="1009" y="631"/>
                  </a:cubicBezTo>
                  <a:close/>
                  <a:moveTo>
                    <a:pt x="1009" y="1"/>
                  </a:moveTo>
                  <a:cubicBezTo>
                    <a:pt x="442" y="1"/>
                    <a:pt x="1" y="473"/>
                    <a:pt x="1" y="1041"/>
                  </a:cubicBezTo>
                  <a:cubicBezTo>
                    <a:pt x="1" y="1608"/>
                    <a:pt x="473" y="2049"/>
                    <a:pt x="1009" y="2049"/>
                  </a:cubicBezTo>
                  <a:cubicBezTo>
                    <a:pt x="1576" y="2049"/>
                    <a:pt x="2049" y="1576"/>
                    <a:pt x="2049" y="1041"/>
                  </a:cubicBezTo>
                  <a:cubicBezTo>
                    <a:pt x="2049" y="442"/>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76"/>
            <p:cNvSpPr/>
            <p:nvPr/>
          </p:nvSpPr>
          <p:spPr>
            <a:xfrm>
              <a:off x="-26500150" y="2376650"/>
              <a:ext cx="121325" cy="75175"/>
            </a:xfrm>
            <a:custGeom>
              <a:avLst/>
              <a:gdLst/>
              <a:ahLst/>
              <a:cxnLst/>
              <a:rect l="l" t="t" r="r" b="b"/>
              <a:pathLst>
                <a:path w="4853" h="3007" extrusionOk="0">
                  <a:moveTo>
                    <a:pt x="2521" y="662"/>
                  </a:moveTo>
                  <a:cubicBezTo>
                    <a:pt x="3088" y="662"/>
                    <a:pt x="3592" y="788"/>
                    <a:pt x="4065" y="977"/>
                  </a:cubicBezTo>
                  <a:lnTo>
                    <a:pt x="3403" y="2206"/>
                  </a:lnTo>
                  <a:cubicBezTo>
                    <a:pt x="3120" y="2080"/>
                    <a:pt x="2836" y="2048"/>
                    <a:pt x="2553" y="2048"/>
                  </a:cubicBezTo>
                  <a:cubicBezTo>
                    <a:pt x="2206" y="2048"/>
                    <a:pt x="1954" y="2080"/>
                    <a:pt x="1670" y="2206"/>
                  </a:cubicBezTo>
                  <a:lnTo>
                    <a:pt x="1009" y="977"/>
                  </a:lnTo>
                  <a:cubicBezTo>
                    <a:pt x="1481" y="788"/>
                    <a:pt x="1985" y="662"/>
                    <a:pt x="2521" y="662"/>
                  </a:cubicBezTo>
                  <a:close/>
                  <a:moveTo>
                    <a:pt x="2458" y="0"/>
                  </a:moveTo>
                  <a:cubicBezTo>
                    <a:pt x="1702" y="0"/>
                    <a:pt x="914" y="189"/>
                    <a:pt x="253" y="567"/>
                  </a:cubicBezTo>
                  <a:cubicBezTo>
                    <a:pt x="95" y="630"/>
                    <a:pt x="1" y="882"/>
                    <a:pt x="127" y="1040"/>
                  </a:cubicBezTo>
                  <a:lnTo>
                    <a:pt x="1198" y="2836"/>
                  </a:lnTo>
                  <a:cubicBezTo>
                    <a:pt x="1229" y="2930"/>
                    <a:pt x="1324" y="2993"/>
                    <a:pt x="1387" y="2993"/>
                  </a:cubicBezTo>
                  <a:cubicBezTo>
                    <a:pt x="1415" y="3003"/>
                    <a:pt x="1442" y="3006"/>
                    <a:pt x="1470" y="3006"/>
                  </a:cubicBezTo>
                  <a:cubicBezTo>
                    <a:pt x="1537" y="3006"/>
                    <a:pt x="1604" y="2984"/>
                    <a:pt x="1670" y="2962"/>
                  </a:cubicBezTo>
                  <a:cubicBezTo>
                    <a:pt x="1891" y="2804"/>
                    <a:pt x="2206" y="2710"/>
                    <a:pt x="2490" y="2710"/>
                  </a:cubicBezTo>
                  <a:cubicBezTo>
                    <a:pt x="2773" y="2710"/>
                    <a:pt x="3088" y="2804"/>
                    <a:pt x="3309" y="2962"/>
                  </a:cubicBezTo>
                  <a:cubicBezTo>
                    <a:pt x="3372" y="2993"/>
                    <a:pt x="3435" y="2993"/>
                    <a:pt x="3466" y="2993"/>
                  </a:cubicBezTo>
                  <a:lnTo>
                    <a:pt x="3561" y="2993"/>
                  </a:lnTo>
                  <a:cubicBezTo>
                    <a:pt x="3624" y="2962"/>
                    <a:pt x="3718" y="2930"/>
                    <a:pt x="3750" y="2836"/>
                  </a:cubicBezTo>
                  <a:lnTo>
                    <a:pt x="4789" y="1040"/>
                  </a:lnTo>
                  <a:cubicBezTo>
                    <a:pt x="4852" y="882"/>
                    <a:pt x="4821" y="630"/>
                    <a:pt x="4663" y="567"/>
                  </a:cubicBezTo>
                  <a:cubicBezTo>
                    <a:pt x="4002" y="189"/>
                    <a:pt x="3246"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76"/>
            <p:cNvSpPr/>
            <p:nvPr/>
          </p:nvSpPr>
          <p:spPr>
            <a:xfrm>
              <a:off x="-26549775" y="2480750"/>
              <a:ext cx="95325" cy="105425"/>
            </a:xfrm>
            <a:custGeom>
              <a:avLst/>
              <a:gdLst/>
              <a:ahLst/>
              <a:cxnLst/>
              <a:rect l="l" t="t" r="r" b="b"/>
              <a:pathLst>
                <a:path w="3813" h="4217" extrusionOk="0">
                  <a:moveTo>
                    <a:pt x="2080" y="688"/>
                  </a:moveTo>
                  <a:cubicBezTo>
                    <a:pt x="2143" y="1287"/>
                    <a:pt x="2458" y="1791"/>
                    <a:pt x="2931" y="2169"/>
                  </a:cubicBezTo>
                  <a:lnTo>
                    <a:pt x="2238" y="3397"/>
                  </a:lnTo>
                  <a:cubicBezTo>
                    <a:pt x="1387" y="2767"/>
                    <a:pt x="820" y="1791"/>
                    <a:pt x="694" y="720"/>
                  </a:cubicBezTo>
                  <a:lnTo>
                    <a:pt x="2080" y="688"/>
                  </a:lnTo>
                  <a:close/>
                  <a:moveTo>
                    <a:pt x="2503" y="0"/>
                  </a:moveTo>
                  <a:cubicBezTo>
                    <a:pt x="2479" y="0"/>
                    <a:pt x="2454" y="8"/>
                    <a:pt x="2427" y="26"/>
                  </a:cubicBezTo>
                  <a:lnTo>
                    <a:pt x="347" y="58"/>
                  </a:lnTo>
                  <a:cubicBezTo>
                    <a:pt x="158" y="58"/>
                    <a:pt x="1" y="215"/>
                    <a:pt x="1" y="405"/>
                  </a:cubicBezTo>
                  <a:cubicBezTo>
                    <a:pt x="1" y="1192"/>
                    <a:pt x="221" y="1948"/>
                    <a:pt x="631" y="2610"/>
                  </a:cubicBezTo>
                  <a:cubicBezTo>
                    <a:pt x="1009" y="3240"/>
                    <a:pt x="1513" y="3807"/>
                    <a:pt x="2206" y="4185"/>
                  </a:cubicBezTo>
                  <a:cubicBezTo>
                    <a:pt x="2238" y="4217"/>
                    <a:pt x="2301" y="4217"/>
                    <a:pt x="2395" y="4217"/>
                  </a:cubicBezTo>
                  <a:lnTo>
                    <a:pt x="2458" y="4217"/>
                  </a:lnTo>
                  <a:cubicBezTo>
                    <a:pt x="2553" y="4185"/>
                    <a:pt x="2616" y="4154"/>
                    <a:pt x="2679" y="4059"/>
                  </a:cubicBezTo>
                  <a:lnTo>
                    <a:pt x="3718" y="2295"/>
                  </a:lnTo>
                  <a:cubicBezTo>
                    <a:pt x="3813" y="2106"/>
                    <a:pt x="3781" y="1917"/>
                    <a:pt x="3624" y="1791"/>
                  </a:cubicBezTo>
                  <a:cubicBezTo>
                    <a:pt x="3088" y="1476"/>
                    <a:pt x="2773" y="909"/>
                    <a:pt x="2773" y="342"/>
                  </a:cubicBezTo>
                  <a:cubicBezTo>
                    <a:pt x="2773" y="247"/>
                    <a:pt x="2742" y="121"/>
                    <a:pt x="2679" y="89"/>
                  </a:cubicBezTo>
                  <a:cubicBezTo>
                    <a:pt x="2612" y="45"/>
                    <a:pt x="2561" y="0"/>
                    <a:pt x="25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76"/>
            <p:cNvSpPr/>
            <p:nvPr/>
          </p:nvSpPr>
          <p:spPr>
            <a:xfrm>
              <a:off x="-26421375" y="2481400"/>
              <a:ext cx="96900" cy="104000"/>
            </a:xfrm>
            <a:custGeom>
              <a:avLst/>
              <a:gdLst/>
              <a:ahLst/>
              <a:cxnLst/>
              <a:rect l="l" t="t" r="r" b="b"/>
              <a:pathLst>
                <a:path w="3876" h="4160" extrusionOk="0">
                  <a:moveTo>
                    <a:pt x="1796" y="694"/>
                  </a:moveTo>
                  <a:lnTo>
                    <a:pt x="3151" y="725"/>
                  </a:lnTo>
                  <a:cubicBezTo>
                    <a:pt x="3056" y="1765"/>
                    <a:pt x="2489" y="2741"/>
                    <a:pt x="1638" y="3371"/>
                  </a:cubicBezTo>
                  <a:lnTo>
                    <a:pt x="914" y="2206"/>
                  </a:lnTo>
                  <a:cubicBezTo>
                    <a:pt x="1386" y="1796"/>
                    <a:pt x="1701" y="1292"/>
                    <a:pt x="1796" y="694"/>
                  </a:cubicBezTo>
                  <a:close/>
                  <a:moveTo>
                    <a:pt x="1418" y="0"/>
                  </a:moveTo>
                  <a:cubicBezTo>
                    <a:pt x="1355" y="0"/>
                    <a:pt x="1229" y="32"/>
                    <a:pt x="1197" y="63"/>
                  </a:cubicBezTo>
                  <a:cubicBezTo>
                    <a:pt x="1103" y="158"/>
                    <a:pt x="1071" y="221"/>
                    <a:pt x="1071" y="316"/>
                  </a:cubicBezTo>
                  <a:cubicBezTo>
                    <a:pt x="1071" y="883"/>
                    <a:pt x="756" y="1450"/>
                    <a:pt x="252" y="1765"/>
                  </a:cubicBezTo>
                  <a:cubicBezTo>
                    <a:pt x="95" y="1891"/>
                    <a:pt x="0" y="2080"/>
                    <a:pt x="126" y="2237"/>
                  </a:cubicBezTo>
                  <a:lnTo>
                    <a:pt x="1197" y="4002"/>
                  </a:lnTo>
                  <a:cubicBezTo>
                    <a:pt x="1229" y="4065"/>
                    <a:pt x="1323" y="4128"/>
                    <a:pt x="1386" y="4159"/>
                  </a:cubicBezTo>
                  <a:lnTo>
                    <a:pt x="1481" y="4159"/>
                  </a:lnTo>
                  <a:cubicBezTo>
                    <a:pt x="1544" y="4159"/>
                    <a:pt x="1575" y="4159"/>
                    <a:pt x="1670" y="4128"/>
                  </a:cubicBezTo>
                  <a:cubicBezTo>
                    <a:pt x="2300" y="3718"/>
                    <a:pt x="2836" y="3182"/>
                    <a:pt x="3245" y="2552"/>
                  </a:cubicBezTo>
                  <a:cubicBezTo>
                    <a:pt x="3623" y="1891"/>
                    <a:pt x="3844" y="1135"/>
                    <a:pt x="3875" y="347"/>
                  </a:cubicBezTo>
                  <a:cubicBezTo>
                    <a:pt x="3875" y="189"/>
                    <a:pt x="3718" y="32"/>
                    <a:pt x="3529" y="32"/>
                  </a:cubicBez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76"/>
            <p:cNvSpPr/>
            <p:nvPr/>
          </p:nvSpPr>
          <p:spPr>
            <a:xfrm>
              <a:off x="-26584425" y="2340425"/>
              <a:ext cx="295375" cy="295375"/>
            </a:xfrm>
            <a:custGeom>
              <a:avLst/>
              <a:gdLst/>
              <a:ahLst/>
              <a:cxnLst/>
              <a:rect l="l" t="t" r="r" b="b"/>
              <a:pathLst>
                <a:path w="11815" h="11815" extrusionOk="0">
                  <a:moveTo>
                    <a:pt x="5861" y="693"/>
                  </a:moveTo>
                  <a:cubicBezTo>
                    <a:pt x="7247" y="693"/>
                    <a:pt x="8570" y="1260"/>
                    <a:pt x="9578" y="2237"/>
                  </a:cubicBezTo>
                  <a:cubicBezTo>
                    <a:pt x="10555" y="3214"/>
                    <a:pt x="11090" y="4537"/>
                    <a:pt x="11090" y="5955"/>
                  </a:cubicBezTo>
                  <a:cubicBezTo>
                    <a:pt x="11090" y="7309"/>
                    <a:pt x="10586" y="8632"/>
                    <a:pt x="9578" y="9641"/>
                  </a:cubicBezTo>
                  <a:cubicBezTo>
                    <a:pt x="8570" y="10617"/>
                    <a:pt x="7278" y="11184"/>
                    <a:pt x="5861" y="11184"/>
                  </a:cubicBezTo>
                  <a:cubicBezTo>
                    <a:pt x="4474" y="11184"/>
                    <a:pt x="3151" y="10617"/>
                    <a:pt x="2174" y="9641"/>
                  </a:cubicBezTo>
                  <a:cubicBezTo>
                    <a:pt x="1166" y="8664"/>
                    <a:pt x="631" y="7372"/>
                    <a:pt x="631" y="5955"/>
                  </a:cubicBezTo>
                  <a:cubicBezTo>
                    <a:pt x="631" y="4568"/>
                    <a:pt x="1166" y="3214"/>
                    <a:pt x="2174" y="2237"/>
                  </a:cubicBezTo>
                  <a:cubicBezTo>
                    <a:pt x="3151" y="1260"/>
                    <a:pt x="4443" y="693"/>
                    <a:pt x="5861" y="693"/>
                  </a:cubicBezTo>
                  <a:close/>
                  <a:moveTo>
                    <a:pt x="5892" y="0"/>
                  </a:moveTo>
                  <a:cubicBezTo>
                    <a:pt x="4317" y="0"/>
                    <a:pt x="2836" y="630"/>
                    <a:pt x="1733" y="1733"/>
                  </a:cubicBezTo>
                  <a:cubicBezTo>
                    <a:pt x="631" y="2836"/>
                    <a:pt x="1" y="4316"/>
                    <a:pt x="1" y="5891"/>
                  </a:cubicBezTo>
                  <a:cubicBezTo>
                    <a:pt x="1" y="7467"/>
                    <a:pt x="631" y="8979"/>
                    <a:pt x="1733" y="10082"/>
                  </a:cubicBezTo>
                  <a:cubicBezTo>
                    <a:pt x="2836" y="11184"/>
                    <a:pt x="4317" y="11814"/>
                    <a:pt x="5892" y="11814"/>
                  </a:cubicBezTo>
                  <a:cubicBezTo>
                    <a:pt x="7467" y="11814"/>
                    <a:pt x="8980" y="11184"/>
                    <a:pt x="10082" y="10082"/>
                  </a:cubicBezTo>
                  <a:cubicBezTo>
                    <a:pt x="11185" y="8979"/>
                    <a:pt x="11815" y="7467"/>
                    <a:pt x="11815" y="5891"/>
                  </a:cubicBezTo>
                  <a:cubicBezTo>
                    <a:pt x="11815" y="4379"/>
                    <a:pt x="11185" y="2867"/>
                    <a:pt x="10082" y="1733"/>
                  </a:cubicBezTo>
                  <a:cubicBezTo>
                    <a:pt x="8980" y="630"/>
                    <a:pt x="7467"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67" name="Google Shape;9367;p76"/>
          <p:cNvGrpSpPr/>
          <p:nvPr/>
        </p:nvGrpSpPr>
        <p:grpSpPr>
          <a:xfrm>
            <a:off x="7099202" y="2450388"/>
            <a:ext cx="363523" cy="353419"/>
            <a:chOff x="-26585200" y="2710400"/>
            <a:chExt cx="304025" cy="295575"/>
          </a:xfrm>
        </p:grpSpPr>
        <p:sp>
          <p:nvSpPr>
            <p:cNvPr id="9368" name="Google Shape;9368;p76"/>
            <p:cNvSpPr/>
            <p:nvPr/>
          </p:nvSpPr>
          <p:spPr>
            <a:xfrm>
              <a:off x="-26585200" y="2710400"/>
              <a:ext cx="304025" cy="295575"/>
            </a:xfrm>
            <a:custGeom>
              <a:avLst/>
              <a:gdLst/>
              <a:ahLst/>
              <a:cxnLst/>
              <a:rect l="l" t="t" r="r" b="b"/>
              <a:pathLst>
                <a:path w="12161" h="11823" extrusionOk="0">
                  <a:moveTo>
                    <a:pt x="8711" y="717"/>
                  </a:moveTo>
                  <a:cubicBezTo>
                    <a:pt x="9333" y="717"/>
                    <a:pt x="9956" y="954"/>
                    <a:pt x="10428" y="1426"/>
                  </a:cubicBezTo>
                  <a:cubicBezTo>
                    <a:pt x="11373" y="2371"/>
                    <a:pt x="11373" y="3915"/>
                    <a:pt x="10428" y="4829"/>
                  </a:cubicBezTo>
                  <a:lnTo>
                    <a:pt x="9830" y="5427"/>
                  </a:lnTo>
                  <a:lnTo>
                    <a:pt x="7404" y="3001"/>
                  </a:lnTo>
                  <a:lnTo>
                    <a:pt x="7971" y="2403"/>
                  </a:lnTo>
                  <a:cubicBezTo>
                    <a:pt x="8191" y="2214"/>
                    <a:pt x="8443" y="2088"/>
                    <a:pt x="8727" y="2088"/>
                  </a:cubicBezTo>
                  <a:cubicBezTo>
                    <a:pt x="9011" y="2088"/>
                    <a:pt x="9294" y="2214"/>
                    <a:pt x="9483" y="2403"/>
                  </a:cubicBezTo>
                  <a:cubicBezTo>
                    <a:pt x="9546" y="2466"/>
                    <a:pt x="9633" y="2497"/>
                    <a:pt x="9719" y="2497"/>
                  </a:cubicBezTo>
                  <a:cubicBezTo>
                    <a:pt x="9806" y="2497"/>
                    <a:pt x="9893" y="2466"/>
                    <a:pt x="9956" y="2403"/>
                  </a:cubicBezTo>
                  <a:cubicBezTo>
                    <a:pt x="10082" y="2277"/>
                    <a:pt x="10082" y="2056"/>
                    <a:pt x="9956" y="1930"/>
                  </a:cubicBezTo>
                  <a:cubicBezTo>
                    <a:pt x="9641" y="1615"/>
                    <a:pt x="9200" y="1426"/>
                    <a:pt x="8727" y="1426"/>
                  </a:cubicBezTo>
                  <a:cubicBezTo>
                    <a:pt x="8254" y="1426"/>
                    <a:pt x="7813" y="1615"/>
                    <a:pt x="7530" y="1930"/>
                  </a:cubicBezTo>
                  <a:lnTo>
                    <a:pt x="6931" y="2529"/>
                  </a:lnTo>
                  <a:lnTo>
                    <a:pt x="6459" y="2056"/>
                  </a:lnTo>
                  <a:lnTo>
                    <a:pt x="6994" y="1426"/>
                  </a:lnTo>
                  <a:cubicBezTo>
                    <a:pt x="7467" y="954"/>
                    <a:pt x="8089" y="717"/>
                    <a:pt x="8711" y="717"/>
                  </a:cubicBezTo>
                  <a:close/>
                  <a:moveTo>
                    <a:pt x="2048" y="6372"/>
                  </a:moveTo>
                  <a:lnTo>
                    <a:pt x="4474" y="8830"/>
                  </a:lnTo>
                  <a:lnTo>
                    <a:pt x="3875" y="9397"/>
                  </a:lnTo>
                  <a:cubicBezTo>
                    <a:pt x="3686" y="9602"/>
                    <a:pt x="3426" y="9704"/>
                    <a:pt x="3162" y="9704"/>
                  </a:cubicBezTo>
                  <a:cubicBezTo>
                    <a:pt x="2899" y="9704"/>
                    <a:pt x="2631" y="9602"/>
                    <a:pt x="2426" y="9397"/>
                  </a:cubicBezTo>
                  <a:cubicBezTo>
                    <a:pt x="2363" y="9350"/>
                    <a:pt x="2276" y="9326"/>
                    <a:pt x="2190" y="9326"/>
                  </a:cubicBezTo>
                  <a:cubicBezTo>
                    <a:pt x="2103" y="9326"/>
                    <a:pt x="2016" y="9350"/>
                    <a:pt x="1953" y="9397"/>
                  </a:cubicBezTo>
                  <a:cubicBezTo>
                    <a:pt x="1827" y="9523"/>
                    <a:pt x="1827" y="9775"/>
                    <a:pt x="1953" y="9869"/>
                  </a:cubicBezTo>
                  <a:cubicBezTo>
                    <a:pt x="2331" y="10247"/>
                    <a:pt x="2741" y="10405"/>
                    <a:pt x="3182" y="10405"/>
                  </a:cubicBezTo>
                  <a:cubicBezTo>
                    <a:pt x="3623" y="10405"/>
                    <a:pt x="4096" y="10247"/>
                    <a:pt x="4411" y="9869"/>
                  </a:cubicBezTo>
                  <a:lnTo>
                    <a:pt x="4978" y="9302"/>
                  </a:lnTo>
                  <a:lnTo>
                    <a:pt x="5450" y="9775"/>
                  </a:lnTo>
                  <a:lnTo>
                    <a:pt x="4820" y="10436"/>
                  </a:lnTo>
                  <a:cubicBezTo>
                    <a:pt x="4348" y="10909"/>
                    <a:pt x="3733" y="11145"/>
                    <a:pt x="3119" y="11145"/>
                  </a:cubicBezTo>
                  <a:cubicBezTo>
                    <a:pt x="2505" y="11145"/>
                    <a:pt x="1890" y="10909"/>
                    <a:pt x="1418" y="10436"/>
                  </a:cubicBezTo>
                  <a:cubicBezTo>
                    <a:pt x="473" y="9491"/>
                    <a:pt x="473" y="7948"/>
                    <a:pt x="1449" y="6971"/>
                  </a:cubicBezTo>
                  <a:lnTo>
                    <a:pt x="2048" y="6372"/>
                  </a:lnTo>
                  <a:close/>
                  <a:moveTo>
                    <a:pt x="3151" y="701"/>
                  </a:moveTo>
                  <a:cubicBezTo>
                    <a:pt x="3781" y="701"/>
                    <a:pt x="4411" y="954"/>
                    <a:pt x="4883" y="1426"/>
                  </a:cubicBezTo>
                  <a:lnTo>
                    <a:pt x="10460" y="7002"/>
                  </a:lnTo>
                  <a:cubicBezTo>
                    <a:pt x="11373" y="7948"/>
                    <a:pt x="11373" y="9491"/>
                    <a:pt x="10428" y="10436"/>
                  </a:cubicBezTo>
                  <a:cubicBezTo>
                    <a:pt x="9956" y="10909"/>
                    <a:pt x="9333" y="11145"/>
                    <a:pt x="8711" y="11145"/>
                  </a:cubicBezTo>
                  <a:cubicBezTo>
                    <a:pt x="8089" y="11145"/>
                    <a:pt x="7467" y="10909"/>
                    <a:pt x="6994" y="10436"/>
                  </a:cubicBezTo>
                  <a:lnTo>
                    <a:pt x="6175" y="9617"/>
                  </a:lnTo>
                  <a:lnTo>
                    <a:pt x="5198" y="8641"/>
                  </a:lnTo>
                  <a:lnTo>
                    <a:pt x="2237" y="5679"/>
                  </a:lnTo>
                  <a:lnTo>
                    <a:pt x="1418" y="4860"/>
                  </a:lnTo>
                  <a:cubicBezTo>
                    <a:pt x="473" y="3915"/>
                    <a:pt x="473" y="2371"/>
                    <a:pt x="1418" y="1426"/>
                  </a:cubicBezTo>
                  <a:cubicBezTo>
                    <a:pt x="1890" y="954"/>
                    <a:pt x="2520" y="701"/>
                    <a:pt x="3151" y="701"/>
                  </a:cubicBezTo>
                  <a:close/>
                  <a:moveTo>
                    <a:pt x="8727" y="0"/>
                  </a:moveTo>
                  <a:cubicBezTo>
                    <a:pt x="7931" y="0"/>
                    <a:pt x="7136" y="308"/>
                    <a:pt x="6522" y="922"/>
                  </a:cubicBezTo>
                  <a:lnTo>
                    <a:pt x="5955" y="1489"/>
                  </a:lnTo>
                  <a:lnTo>
                    <a:pt x="5356" y="922"/>
                  </a:lnTo>
                  <a:cubicBezTo>
                    <a:pt x="4757" y="323"/>
                    <a:pt x="3970" y="8"/>
                    <a:pt x="3151" y="8"/>
                  </a:cubicBezTo>
                  <a:cubicBezTo>
                    <a:pt x="2331" y="8"/>
                    <a:pt x="1544" y="323"/>
                    <a:pt x="945" y="922"/>
                  </a:cubicBezTo>
                  <a:cubicBezTo>
                    <a:pt x="347" y="1489"/>
                    <a:pt x="32" y="2277"/>
                    <a:pt x="32" y="3127"/>
                  </a:cubicBezTo>
                  <a:cubicBezTo>
                    <a:pt x="32" y="3946"/>
                    <a:pt x="347" y="4734"/>
                    <a:pt x="945" y="5333"/>
                  </a:cubicBezTo>
                  <a:lnTo>
                    <a:pt x="1544" y="5900"/>
                  </a:lnTo>
                  <a:lnTo>
                    <a:pt x="945" y="6498"/>
                  </a:lnTo>
                  <a:cubicBezTo>
                    <a:pt x="347" y="7097"/>
                    <a:pt x="32" y="7885"/>
                    <a:pt x="0" y="8704"/>
                  </a:cubicBezTo>
                  <a:cubicBezTo>
                    <a:pt x="0" y="9523"/>
                    <a:pt x="315" y="10310"/>
                    <a:pt x="914" y="10909"/>
                  </a:cubicBezTo>
                  <a:cubicBezTo>
                    <a:pt x="1481" y="11508"/>
                    <a:pt x="2331" y="11823"/>
                    <a:pt x="3119" y="11823"/>
                  </a:cubicBezTo>
                  <a:cubicBezTo>
                    <a:pt x="3907" y="11823"/>
                    <a:pt x="4726" y="11508"/>
                    <a:pt x="5324" y="10909"/>
                  </a:cubicBezTo>
                  <a:lnTo>
                    <a:pt x="5892" y="10310"/>
                  </a:lnTo>
                  <a:lnTo>
                    <a:pt x="6490" y="10909"/>
                  </a:lnTo>
                  <a:cubicBezTo>
                    <a:pt x="7089" y="11508"/>
                    <a:pt x="7876" y="11823"/>
                    <a:pt x="8695" y="11823"/>
                  </a:cubicBezTo>
                  <a:cubicBezTo>
                    <a:pt x="9515" y="11823"/>
                    <a:pt x="10302" y="11508"/>
                    <a:pt x="10901" y="10909"/>
                  </a:cubicBezTo>
                  <a:cubicBezTo>
                    <a:pt x="11499" y="10310"/>
                    <a:pt x="11814" y="9523"/>
                    <a:pt x="11814" y="8704"/>
                  </a:cubicBezTo>
                  <a:cubicBezTo>
                    <a:pt x="11846" y="7885"/>
                    <a:pt x="11531" y="7097"/>
                    <a:pt x="10932" y="6498"/>
                  </a:cubicBezTo>
                  <a:lnTo>
                    <a:pt x="10334" y="5900"/>
                  </a:lnTo>
                  <a:lnTo>
                    <a:pt x="10932" y="5333"/>
                  </a:lnTo>
                  <a:cubicBezTo>
                    <a:pt x="12161" y="4104"/>
                    <a:pt x="12161" y="2119"/>
                    <a:pt x="10932" y="922"/>
                  </a:cubicBezTo>
                  <a:cubicBezTo>
                    <a:pt x="10318" y="308"/>
                    <a:pt x="9522"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76"/>
            <p:cNvSpPr/>
            <p:nvPr/>
          </p:nvSpPr>
          <p:spPr>
            <a:xfrm>
              <a:off x="-26495425" y="2801375"/>
              <a:ext cx="118175" cy="113250"/>
            </a:xfrm>
            <a:custGeom>
              <a:avLst/>
              <a:gdLst/>
              <a:ahLst/>
              <a:cxnLst/>
              <a:rect l="l" t="t" r="r" b="b"/>
              <a:pathLst>
                <a:path w="4727" h="4530" extrusionOk="0">
                  <a:moveTo>
                    <a:pt x="2111" y="749"/>
                  </a:moveTo>
                  <a:cubicBezTo>
                    <a:pt x="2175" y="749"/>
                    <a:pt x="2301" y="780"/>
                    <a:pt x="2364" y="843"/>
                  </a:cubicBezTo>
                  <a:lnTo>
                    <a:pt x="3813" y="2324"/>
                  </a:lnTo>
                  <a:cubicBezTo>
                    <a:pt x="3907" y="2418"/>
                    <a:pt x="3907" y="2639"/>
                    <a:pt x="3813" y="2796"/>
                  </a:cubicBezTo>
                  <a:lnTo>
                    <a:pt x="2805" y="3773"/>
                  </a:lnTo>
                  <a:cubicBezTo>
                    <a:pt x="2757" y="3836"/>
                    <a:pt x="2671" y="3868"/>
                    <a:pt x="2584" y="3868"/>
                  </a:cubicBezTo>
                  <a:cubicBezTo>
                    <a:pt x="2497" y="3868"/>
                    <a:pt x="2411" y="3836"/>
                    <a:pt x="2364" y="3773"/>
                  </a:cubicBezTo>
                  <a:lnTo>
                    <a:pt x="883" y="2324"/>
                  </a:lnTo>
                  <a:cubicBezTo>
                    <a:pt x="788" y="2198"/>
                    <a:pt x="788" y="1946"/>
                    <a:pt x="883" y="1851"/>
                  </a:cubicBezTo>
                  <a:lnTo>
                    <a:pt x="1891" y="843"/>
                  </a:lnTo>
                  <a:cubicBezTo>
                    <a:pt x="1954" y="780"/>
                    <a:pt x="2048" y="749"/>
                    <a:pt x="2111" y="749"/>
                  </a:cubicBezTo>
                  <a:close/>
                  <a:moveTo>
                    <a:pt x="2092" y="0"/>
                  </a:moveTo>
                  <a:cubicBezTo>
                    <a:pt x="1828" y="0"/>
                    <a:pt x="1560" y="103"/>
                    <a:pt x="1355" y="307"/>
                  </a:cubicBezTo>
                  <a:lnTo>
                    <a:pt x="379" y="1284"/>
                  </a:lnTo>
                  <a:cubicBezTo>
                    <a:pt x="1" y="1694"/>
                    <a:pt x="1" y="2355"/>
                    <a:pt x="379" y="2733"/>
                  </a:cubicBezTo>
                  <a:lnTo>
                    <a:pt x="1828" y="4183"/>
                  </a:lnTo>
                  <a:cubicBezTo>
                    <a:pt x="2017" y="4403"/>
                    <a:pt x="2301" y="4529"/>
                    <a:pt x="2584" y="4529"/>
                  </a:cubicBezTo>
                  <a:cubicBezTo>
                    <a:pt x="2868" y="4529"/>
                    <a:pt x="3151" y="4403"/>
                    <a:pt x="3340" y="4183"/>
                  </a:cubicBezTo>
                  <a:lnTo>
                    <a:pt x="4317" y="3206"/>
                  </a:lnTo>
                  <a:cubicBezTo>
                    <a:pt x="4726" y="2828"/>
                    <a:pt x="4726" y="2166"/>
                    <a:pt x="4317" y="1757"/>
                  </a:cubicBezTo>
                  <a:lnTo>
                    <a:pt x="2805" y="307"/>
                  </a:lnTo>
                  <a:cubicBezTo>
                    <a:pt x="2616" y="103"/>
                    <a:pt x="2356"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76"/>
            <p:cNvSpPr/>
            <p:nvPr/>
          </p:nvSpPr>
          <p:spPr>
            <a:xfrm>
              <a:off x="-26375700" y="29563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76"/>
            <p:cNvSpPr/>
            <p:nvPr/>
          </p:nvSpPr>
          <p:spPr>
            <a:xfrm>
              <a:off x="-26339475" y="2920100"/>
              <a:ext cx="18150" cy="18150"/>
            </a:xfrm>
            <a:custGeom>
              <a:avLst/>
              <a:gdLst/>
              <a:ahLst/>
              <a:cxnLst/>
              <a:rect l="l" t="t" r="r" b="b"/>
              <a:pathLst>
                <a:path w="726" h="726" extrusionOk="0">
                  <a:moveTo>
                    <a:pt x="347" y="1"/>
                  </a:moveTo>
                  <a:cubicBezTo>
                    <a:pt x="158" y="1"/>
                    <a:pt x="1" y="158"/>
                    <a:pt x="1" y="347"/>
                  </a:cubicBezTo>
                  <a:cubicBezTo>
                    <a:pt x="1" y="536"/>
                    <a:pt x="158" y="725"/>
                    <a:pt x="347" y="725"/>
                  </a:cubicBezTo>
                  <a:cubicBezTo>
                    <a:pt x="568" y="725"/>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76"/>
            <p:cNvSpPr/>
            <p:nvPr/>
          </p:nvSpPr>
          <p:spPr>
            <a:xfrm>
              <a:off x="-26363900" y="2895675"/>
              <a:ext cx="17350" cy="17375"/>
            </a:xfrm>
            <a:custGeom>
              <a:avLst/>
              <a:gdLst/>
              <a:ahLst/>
              <a:cxnLst/>
              <a:rect l="l" t="t" r="r" b="b"/>
              <a:pathLst>
                <a:path w="694" h="695" extrusionOk="0">
                  <a:moveTo>
                    <a:pt x="348" y="1"/>
                  </a:moveTo>
                  <a:cubicBezTo>
                    <a:pt x="159" y="1"/>
                    <a:pt x="1" y="159"/>
                    <a:pt x="1" y="348"/>
                  </a:cubicBezTo>
                  <a:cubicBezTo>
                    <a:pt x="1" y="537"/>
                    <a:pt x="159" y="694"/>
                    <a:pt x="348" y="694"/>
                  </a:cubicBezTo>
                  <a:cubicBezTo>
                    <a:pt x="537" y="694"/>
                    <a:pt x="694" y="537"/>
                    <a:pt x="694" y="348"/>
                  </a:cubicBezTo>
                  <a:cubicBezTo>
                    <a:pt x="694" y="159"/>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76"/>
            <p:cNvSpPr/>
            <p:nvPr/>
          </p:nvSpPr>
          <p:spPr>
            <a:xfrm>
              <a:off x="-26369400" y="29256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76"/>
            <p:cNvSpPr/>
            <p:nvPr/>
          </p:nvSpPr>
          <p:spPr>
            <a:xfrm>
              <a:off x="-26400125" y="2932125"/>
              <a:ext cx="17350" cy="17150"/>
            </a:xfrm>
            <a:custGeom>
              <a:avLst/>
              <a:gdLst/>
              <a:ahLst/>
              <a:cxnLst/>
              <a:rect l="l" t="t" r="r" b="b"/>
              <a:pathLst>
                <a:path w="694" h="686" extrusionOk="0">
                  <a:moveTo>
                    <a:pt x="343" y="0"/>
                  </a:moveTo>
                  <a:cubicBezTo>
                    <a:pt x="253" y="0"/>
                    <a:pt x="158" y="39"/>
                    <a:pt x="95" y="118"/>
                  </a:cubicBezTo>
                  <a:cubicBezTo>
                    <a:pt x="1" y="244"/>
                    <a:pt x="1" y="465"/>
                    <a:pt x="95" y="591"/>
                  </a:cubicBezTo>
                  <a:cubicBezTo>
                    <a:pt x="158" y="654"/>
                    <a:pt x="253" y="685"/>
                    <a:pt x="343" y="685"/>
                  </a:cubicBezTo>
                  <a:cubicBezTo>
                    <a:pt x="434" y="685"/>
                    <a:pt x="521" y="654"/>
                    <a:pt x="568" y="591"/>
                  </a:cubicBezTo>
                  <a:cubicBezTo>
                    <a:pt x="694" y="465"/>
                    <a:pt x="694" y="244"/>
                    <a:pt x="568" y="118"/>
                  </a:cubicBezTo>
                  <a:cubicBezTo>
                    <a:pt x="521" y="39"/>
                    <a:pt x="434" y="0"/>
                    <a:pt x="3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76"/>
            <p:cNvSpPr/>
            <p:nvPr/>
          </p:nvSpPr>
          <p:spPr>
            <a:xfrm>
              <a:off x="-26528500" y="28043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76"/>
            <p:cNvSpPr/>
            <p:nvPr/>
          </p:nvSpPr>
          <p:spPr>
            <a:xfrm>
              <a:off x="-26490700" y="2768100"/>
              <a:ext cx="17350" cy="17150"/>
            </a:xfrm>
            <a:custGeom>
              <a:avLst/>
              <a:gdLst/>
              <a:ahLst/>
              <a:cxnLst/>
              <a:rect l="l" t="t" r="r" b="b"/>
              <a:pathLst>
                <a:path w="694" h="686" extrusionOk="0">
                  <a:moveTo>
                    <a:pt x="343" y="0"/>
                  </a:moveTo>
                  <a:cubicBezTo>
                    <a:pt x="253" y="0"/>
                    <a:pt x="158" y="32"/>
                    <a:pt x="95" y="95"/>
                  </a:cubicBezTo>
                  <a:cubicBezTo>
                    <a:pt x="1" y="221"/>
                    <a:pt x="1" y="441"/>
                    <a:pt x="95" y="567"/>
                  </a:cubicBezTo>
                  <a:cubicBezTo>
                    <a:pt x="158" y="646"/>
                    <a:pt x="237" y="685"/>
                    <a:pt x="320" y="685"/>
                  </a:cubicBezTo>
                  <a:cubicBezTo>
                    <a:pt x="402" y="685"/>
                    <a:pt x="489" y="646"/>
                    <a:pt x="568" y="567"/>
                  </a:cubicBezTo>
                  <a:cubicBezTo>
                    <a:pt x="694" y="441"/>
                    <a:pt x="694" y="221"/>
                    <a:pt x="568" y="95"/>
                  </a:cubicBezTo>
                  <a:cubicBezTo>
                    <a:pt x="521" y="32"/>
                    <a:pt x="434" y="0"/>
                    <a:pt x="3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76"/>
            <p:cNvSpPr/>
            <p:nvPr/>
          </p:nvSpPr>
          <p:spPr>
            <a:xfrm>
              <a:off x="-26515100" y="2742900"/>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76"/>
            <p:cNvSpPr/>
            <p:nvPr/>
          </p:nvSpPr>
          <p:spPr>
            <a:xfrm>
              <a:off x="-26522200" y="2774400"/>
              <a:ext cx="17350" cy="15975"/>
            </a:xfrm>
            <a:custGeom>
              <a:avLst/>
              <a:gdLst/>
              <a:ahLst/>
              <a:cxnLst/>
              <a:rect l="l" t="t" r="r" b="b"/>
              <a:pathLst>
                <a:path w="694" h="639" extrusionOk="0">
                  <a:moveTo>
                    <a:pt x="355" y="0"/>
                  </a:moveTo>
                  <a:cubicBezTo>
                    <a:pt x="268" y="0"/>
                    <a:pt x="174" y="32"/>
                    <a:pt x="95" y="95"/>
                  </a:cubicBezTo>
                  <a:cubicBezTo>
                    <a:pt x="0" y="189"/>
                    <a:pt x="0" y="441"/>
                    <a:pt x="95" y="567"/>
                  </a:cubicBezTo>
                  <a:cubicBezTo>
                    <a:pt x="158" y="615"/>
                    <a:pt x="253" y="638"/>
                    <a:pt x="343" y="638"/>
                  </a:cubicBezTo>
                  <a:cubicBezTo>
                    <a:pt x="434" y="638"/>
                    <a:pt x="520" y="615"/>
                    <a:pt x="568" y="567"/>
                  </a:cubicBezTo>
                  <a:cubicBezTo>
                    <a:pt x="694" y="441"/>
                    <a:pt x="694" y="189"/>
                    <a:pt x="568" y="95"/>
                  </a:cubicBezTo>
                  <a:cubicBezTo>
                    <a:pt x="520" y="32"/>
                    <a:pt x="442" y="0"/>
                    <a:pt x="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76"/>
            <p:cNvSpPr/>
            <p:nvPr/>
          </p:nvSpPr>
          <p:spPr>
            <a:xfrm>
              <a:off x="-26552925" y="2779125"/>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0" name="Google Shape;9380;p76"/>
          <p:cNvGrpSpPr/>
          <p:nvPr/>
        </p:nvGrpSpPr>
        <p:grpSpPr>
          <a:xfrm>
            <a:off x="5754337" y="2891866"/>
            <a:ext cx="354136" cy="353210"/>
            <a:chOff x="-24709875" y="1970225"/>
            <a:chExt cx="296175" cy="295400"/>
          </a:xfrm>
        </p:grpSpPr>
        <p:sp>
          <p:nvSpPr>
            <p:cNvPr id="9381" name="Google Shape;9381;p76"/>
            <p:cNvSpPr/>
            <p:nvPr/>
          </p:nvSpPr>
          <p:spPr>
            <a:xfrm>
              <a:off x="-24709875" y="1970225"/>
              <a:ext cx="296175" cy="295400"/>
            </a:xfrm>
            <a:custGeom>
              <a:avLst/>
              <a:gdLst/>
              <a:ahLst/>
              <a:cxnLst/>
              <a:rect l="l" t="t" r="r" b="b"/>
              <a:pathLst>
                <a:path w="11847" h="11816" extrusionOk="0">
                  <a:moveTo>
                    <a:pt x="9767" y="1450"/>
                  </a:moveTo>
                  <a:cubicBezTo>
                    <a:pt x="9956" y="1450"/>
                    <a:pt x="10366" y="1545"/>
                    <a:pt x="10681" y="1734"/>
                  </a:cubicBezTo>
                  <a:cubicBezTo>
                    <a:pt x="11027" y="1923"/>
                    <a:pt x="11153" y="2080"/>
                    <a:pt x="11153" y="2175"/>
                  </a:cubicBezTo>
                  <a:cubicBezTo>
                    <a:pt x="11153" y="2238"/>
                    <a:pt x="11027" y="2395"/>
                    <a:pt x="10681" y="2584"/>
                  </a:cubicBezTo>
                  <a:cubicBezTo>
                    <a:pt x="10334" y="2773"/>
                    <a:pt x="9956" y="2868"/>
                    <a:pt x="9767" y="2868"/>
                  </a:cubicBezTo>
                  <a:cubicBezTo>
                    <a:pt x="9389" y="2868"/>
                    <a:pt x="9042" y="2553"/>
                    <a:pt x="9042" y="2175"/>
                  </a:cubicBezTo>
                  <a:cubicBezTo>
                    <a:pt x="9105" y="1765"/>
                    <a:pt x="9420" y="1450"/>
                    <a:pt x="9767" y="1450"/>
                  </a:cubicBezTo>
                  <a:close/>
                  <a:moveTo>
                    <a:pt x="4915" y="694"/>
                  </a:moveTo>
                  <a:cubicBezTo>
                    <a:pt x="5671" y="694"/>
                    <a:pt x="6301" y="1324"/>
                    <a:pt x="6301" y="2080"/>
                  </a:cubicBezTo>
                  <a:cubicBezTo>
                    <a:pt x="6301" y="2584"/>
                    <a:pt x="6018" y="3025"/>
                    <a:pt x="5577" y="3309"/>
                  </a:cubicBezTo>
                  <a:lnTo>
                    <a:pt x="5577" y="3151"/>
                  </a:lnTo>
                  <a:cubicBezTo>
                    <a:pt x="5577" y="2553"/>
                    <a:pt x="5104" y="2112"/>
                    <a:pt x="4569" y="2112"/>
                  </a:cubicBezTo>
                  <a:lnTo>
                    <a:pt x="1418" y="2112"/>
                  </a:lnTo>
                  <a:cubicBezTo>
                    <a:pt x="1009" y="2112"/>
                    <a:pt x="693" y="1797"/>
                    <a:pt x="693" y="1419"/>
                  </a:cubicBezTo>
                  <a:cubicBezTo>
                    <a:pt x="693" y="1009"/>
                    <a:pt x="1009" y="694"/>
                    <a:pt x="1418" y="694"/>
                  </a:cubicBezTo>
                  <a:close/>
                  <a:moveTo>
                    <a:pt x="725" y="2584"/>
                  </a:moveTo>
                  <a:cubicBezTo>
                    <a:pt x="914" y="2710"/>
                    <a:pt x="1135" y="2805"/>
                    <a:pt x="1418" y="2805"/>
                  </a:cubicBezTo>
                  <a:lnTo>
                    <a:pt x="4569" y="2805"/>
                  </a:lnTo>
                  <a:cubicBezTo>
                    <a:pt x="4758" y="2805"/>
                    <a:pt x="4915" y="2962"/>
                    <a:pt x="4915" y="3151"/>
                  </a:cubicBezTo>
                  <a:lnTo>
                    <a:pt x="4915" y="3498"/>
                  </a:lnTo>
                  <a:lnTo>
                    <a:pt x="2458" y="3498"/>
                  </a:lnTo>
                  <a:cubicBezTo>
                    <a:pt x="1859" y="3498"/>
                    <a:pt x="1418" y="3970"/>
                    <a:pt x="1418" y="4538"/>
                  </a:cubicBezTo>
                  <a:lnTo>
                    <a:pt x="1418" y="6270"/>
                  </a:lnTo>
                  <a:cubicBezTo>
                    <a:pt x="1009" y="6113"/>
                    <a:pt x="725" y="5703"/>
                    <a:pt x="725" y="5262"/>
                  </a:cubicBezTo>
                  <a:lnTo>
                    <a:pt x="725" y="2584"/>
                  </a:lnTo>
                  <a:close/>
                  <a:moveTo>
                    <a:pt x="10460" y="4884"/>
                  </a:moveTo>
                  <a:cubicBezTo>
                    <a:pt x="10870" y="4884"/>
                    <a:pt x="11185" y="5199"/>
                    <a:pt x="11185" y="5577"/>
                  </a:cubicBezTo>
                  <a:cubicBezTo>
                    <a:pt x="11185" y="5987"/>
                    <a:pt x="10870" y="6302"/>
                    <a:pt x="10460" y="6302"/>
                  </a:cubicBezTo>
                  <a:cubicBezTo>
                    <a:pt x="10082" y="6302"/>
                    <a:pt x="9767" y="5987"/>
                    <a:pt x="9767" y="5577"/>
                  </a:cubicBezTo>
                  <a:cubicBezTo>
                    <a:pt x="9767" y="5199"/>
                    <a:pt x="10082" y="4884"/>
                    <a:pt x="10460" y="4884"/>
                  </a:cubicBezTo>
                  <a:close/>
                  <a:moveTo>
                    <a:pt x="6301" y="3655"/>
                  </a:moveTo>
                  <a:lnTo>
                    <a:pt x="6301" y="6648"/>
                  </a:lnTo>
                  <a:cubicBezTo>
                    <a:pt x="6301" y="7247"/>
                    <a:pt x="5829" y="7657"/>
                    <a:pt x="5293" y="7657"/>
                  </a:cubicBezTo>
                  <a:lnTo>
                    <a:pt x="2458" y="7657"/>
                  </a:lnTo>
                  <a:cubicBezTo>
                    <a:pt x="2439" y="7659"/>
                    <a:pt x="2420" y="7661"/>
                    <a:pt x="2402" y="7661"/>
                  </a:cubicBezTo>
                  <a:cubicBezTo>
                    <a:pt x="2211" y="7661"/>
                    <a:pt x="2080" y="7517"/>
                    <a:pt x="2080" y="7373"/>
                  </a:cubicBezTo>
                  <a:lnTo>
                    <a:pt x="2080" y="4538"/>
                  </a:lnTo>
                  <a:cubicBezTo>
                    <a:pt x="2080" y="4317"/>
                    <a:pt x="2237" y="4159"/>
                    <a:pt x="2458" y="4159"/>
                  </a:cubicBezTo>
                  <a:lnTo>
                    <a:pt x="4915" y="4159"/>
                  </a:lnTo>
                  <a:cubicBezTo>
                    <a:pt x="5073" y="4159"/>
                    <a:pt x="5199" y="4159"/>
                    <a:pt x="5325" y="4128"/>
                  </a:cubicBezTo>
                  <a:lnTo>
                    <a:pt x="5356" y="4128"/>
                  </a:lnTo>
                  <a:cubicBezTo>
                    <a:pt x="5703" y="4033"/>
                    <a:pt x="6081" y="3907"/>
                    <a:pt x="6301" y="3655"/>
                  </a:cubicBezTo>
                  <a:close/>
                  <a:moveTo>
                    <a:pt x="1387" y="1"/>
                  </a:moveTo>
                  <a:cubicBezTo>
                    <a:pt x="630" y="1"/>
                    <a:pt x="0" y="631"/>
                    <a:pt x="0" y="1387"/>
                  </a:cubicBezTo>
                  <a:lnTo>
                    <a:pt x="0" y="5231"/>
                  </a:lnTo>
                  <a:cubicBezTo>
                    <a:pt x="0" y="6050"/>
                    <a:pt x="599" y="6774"/>
                    <a:pt x="1387" y="6932"/>
                  </a:cubicBezTo>
                  <a:lnTo>
                    <a:pt x="1387" y="7310"/>
                  </a:lnTo>
                  <a:cubicBezTo>
                    <a:pt x="1387" y="7909"/>
                    <a:pt x="1859" y="8350"/>
                    <a:pt x="2395" y="8350"/>
                  </a:cubicBezTo>
                  <a:lnTo>
                    <a:pt x="3497" y="8350"/>
                  </a:lnTo>
                  <a:cubicBezTo>
                    <a:pt x="3592" y="10271"/>
                    <a:pt x="5199" y="11815"/>
                    <a:pt x="7120" y="11815"/>
                  </a:cubicBezTo>
                  <a:cubicBezTo>
                    <a:pt x="8066" y="11815"/>
                    <a:pt x="9011" y="11311"/>
                    <a:pt x="9735" y="10366"/>
                  </a:cubicBezTo>
                  <a:cubicBezTo>
                    <a:pt x="10397" y="9515"/>
                    <a:pt x="10744" y="8413"/>
                    <a:pt x="10744" y="7467"/>
                  </a:cubicBezTo>
                  <a:lnTo>
                    <a:pt x="10744" y="6932"/>
                  </a:lnTo>
                  <a:cubicBezTo>
                    <a:pt x="11342" y="6774"/>
                    <a:pt x="11783" y="6207"/>
                    <a:pt x="11783" y="5577"/>
                  </a:cubicBezTo>
                  <a:cubicBezTo>
                    <a:pt x="11846" y="4853"/>
                    <a:pt x="11216" y="4222"/>
                    <a:pt x="10460" y="4222"/>
                  </a:cubicBezTo>
                  <a:cubicBezTo>
                    <a:pt x="9735" y="4222"/>
                    <a:pt x="9105" y="4821"/>
                    <a:pt x="9105" y="5577"/>
                  </a:cubicBezTo>
                  <a:cubicBezTo>
                    <a:pt x="9105" y="6207"/>
                    <a:pt x="9515" y="6774"/>
                    <a:pt x="10113" y="6932"/>
                  </a:cubicBezTo>
                  <a:lnTo>
                    <a:pt x="10113" y="7467"/>
                  </a:lnTo>
                  <a:cubicBezTo>
                    <a:pt x="10113" y="8318"/>
                    <a:pt x="9798" y="9200"/>
                    <a:pt x="9200" y="9956"/>
                  </a:cubicBezTo>
                  <a:cubicBezTo>
                    <a:pt x="8633" y="10712"/>
                    <a:pt x="7908" y="11154"/>
                    <a:pt x="7152" y="11154"/>
                  </a:cubicBezTo>
                  <a:cubicBezTo>
                    <a:pt x="5577" y="11154"/>
                    <a:pt x="4317" y="9925"/>
                    <a:pt x="4222" y="8381"/>
                  </a:cubicBezTo>
                  <a:lnTo>
                    <a:pt x="4915" y="8381"/>
                  </a:lnTo>
                  <a:cubicBezTo>
                    <a:pt x="5010" y="8791"/>
                    <a:pt x="5199" y="9106"/>
                    <a:pt x="5514" y="9358"/>
                  </a:cubicBezTo>
                  <a:cubicBezTo>
                    <a:pt x="5829" y="9641"/>
                    <a:pt x="6238" y="9767"/>
                    <a:pt x="6648" y="9767"/>
                  </a:cubicBezTo>
                  <a:cubicBezTo>
                    <a:pt x="6742" y="9767"/>
                    <a:pt x="6837" y="9767"/>
                    <a:pt x="6931" y="9736"/>
                  </a:cubicBezTo>
                  <a:cubicBezTo>
                    <a:pt x="7751" y="9610"/>
                    <a:pt x="8381" y="8822"/>
                    <a:pt x="8381" y="7940"/>
                  </a:cubicBezTo>
                  <a:lnTo>
                    <a:pt x="8381" y="3183"/>
                  </a:lnTo>
                  <a:cubicBezTo>
                    <a:pt x="8381" y="3025"/>
                    <a:pt x="8412" y="2868"/>
                    <a:pt x="8507" y="2710"/>
                  </a:cubicBezTo>
                  <a:cubicBezTo>
                    <a:pt x="8696" y="3183"/>
                    <a:pt x="9200" y="3529"/>
                    <a:pt x="9767" y="3529"/>
                  </a:cubicBezTo>
                  <a:cubicBezTo>
                    <a:pt x="10113" y="3529"/>
                    <a:pt x="10586" y="3435"/>
                    <a:pt x="11027" y="3183"/>
                  </a:cubicBezTo>
                  <a:cubicBezTo>
                    <a:pt x="11563" y="2899"/>
                    <a:pt x="11846" y="2521"/>
                    <a:pt x="11846" y="2175"/>
                  </a:cubicBezTo>
                  <a:cubicBezTo>
                    <a:pt x="11846" y="1765"/>
                    <a:pt x="11531" y="1419"/>
                    <a:pt x="11027" y="1135"/>
                  </a:cubicBezTo>
                  <a:cubicBezTo>
                    <a:pt x="10618" y="946"/>
                    <a:pt x="10113" y="788"/>
                    <a:pt x="9767" y="788"/>
                  </a:cubicBezTo>
                  <a:cubicBezTo>
                    <a:pt x="9137" y="788"/>
                    <a:pt x="8570" y="1198"/>
                    <a:pt x="8412" y="1765"/>
                  </a:cubicBezTo>
                  <a:cubicBezTo>
                    <a:pt x="7940" y="2080"/>
                    <a:pt x="7688" y="2647"/>
                    <a:pt x="7688" y="3183"/>
                  </a:cubicBezTo>
                  <a:lnTo>
                    <a:pt x="7688" y="7940"/>
                  </a:lnTo>
                  <a:cubicBezTo>
                    <a:pt x="7688" y="8507"/>
                    <a:pt x="7310" y="8980"/>
                    <a:pt x="6805" y="9043"/>
                  </a:cubicBezTo>
                  <a:cubicBezTo>
                    <a:pt x="6740" y="9056"/>
                    <a:pt x="6674" y="9062"/>
                    <a:pt x="6609" y="9062"/>
                  </a:cubicBezTo>
                  <a:cubicBezTo>
                    <a:pt x="6363" y="9062"/>
                    <a:pt x="6129" y="8972"/>
                    <a:pt x="5955" y="8822"/>
                  </a:cubicBezTo>
                  <a:cubicBezTo>
                    <a:pt x="5797" y="8696"/>
                    <a:pt x="5671" y="8507"/>
                    <a:pt x="5640" y="8350"/>
                  </a:cubicBezTo>
                  <a:cubicBezTo>
                    <a:pt x="6427" y="8161"/>
                    <a:pt x="6963" y="7467"/>
                    <a:pt x="6963" y="6648"/>
                  </a:cubicBezTo>
                  <a:lnTo>
                    <a:pt x="6963" y="2427"/>
                  </a:lnTo>
                  <a:lnTo>
                    <a:pt x="6963" y="2080"/>
                  </a:lnTo>
                  <a:cubicBezTo>
                    <a:pt x="6963" y="946"/>
                    <a:pt x="6018" y="1"/>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76"/>
            <p:cNvSpPr/>
            <p:nvPr/>
          </p:nvSpPr>
          <p:spPr>
            <a:xfrm>
              <a:off x="-24639775" y="209232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3" name="Google Shape;9383;p76"/>
          <p:cNvGrpSpPr/>
          <p:nvPr/>
        </p:nvGrpSpPr>
        <p:grpSpPr>
          <a:xfrm>
            <a:off x="5786352" y="3338744"/>
            <a:ext cx="290107" cy="354107"/>
            <a:chOff x="-24683100" y="2340425"/>
            <a:chExt cx="242625" cy="296150"/>
          </a:xfrm>
        </p:grpSpPr>
        <p:sp>
          <p:nvSpPr>
            <p:cNvPr id="9384" name="Google Shape;9384;p76"/>
            <p:cNvSpPr/>
            <p:nvPr/>
          </p:nvSpPr>
          <p:spPr>
            <a:xfrm>
              <a:off x="-24683100" y="2392400"/>
              <a:ext cx="104000" cy="244175"/>
            </a:xfrm>
            <a:custGeom>
              <a:avLst/>
              <a:gdLst/>
              <a:ahLst/>
              <a:cxnLst/>
              <a:rect l="l" t="t" r="r" b="b"/>
              <a:pathLst>
                <a:path w="4160" h="9767" extrusionOk="0">
                  <a:moveTo>
                    <a:pt x="2080" y="725"/>
                  </a:moveTo>
                  <a:cubicBezTo>
                    <a:pt x="2836" y="725"/>
                    <a:pt x="3466" y="1324"/>
                    <a:pt x="3466" y="2080"/>
                  </a:cubicBezTo>
                  <a:lnTo>
                    <a:pt x="3466" y="4537"/>
                  </a:lnTo>
                  <a:lnTo>
                    <a:pt x="694" y="4537"/>
                  </a:lnTo>
                  <a:lnTo>
                    <a:pt x="694" y="2080"/>
                  </a:lnTo>
                  <a:cubicBezTo>
                    <a:pt x="694" y="1324"/>
                    <a:pt x="1324" y="725"/>
                    <a:pt x="2080" y="725"/>
                  </a:cubicBezTo>
                  <a:close/>
                  <a:moveTo>
                    <a:pt x="3466" y="5230"/>
                  </a:moveTo>
                  <a:lnTo>
                    <a:pt x="3466" y="7688"/>
                  </a:lnTo>
                  <a:cubicBezTo>
                    <a:pt x="3498" y="8475"/>
                    <a:pt x="2867" y="9074"/>
                    <a:pt x="2080" y="9074"/>
                  </a:cubicBezTo>
                  <a:cubicBezTo>
                    <a:pt x="1324" y="9074"/>
                    <a:pt x="694" y="8444"/>
                    <a:pt x="694" y="7688"/>
                  </a:cubicBezTo>
                  <a:lnTo>
                    <a:pt x="694" y="5230"/>
                  </a:lnTo>
                  <a:close/>
                  <a:moveTo>
                    <a:pt x="2080" y="0"/>
                  </a:moveTo>
                  <a:cubicBezTo>
                    <a:pt x="946" y="0"/>
                    <a:pt x="1" y="946"/>
                    <a:pt x="1" y="2080"/>
                  </a:cubicBezTo>
                  <a:lnTo>
                    <a:pt x="1" y="7688"/>
                  </a:lnTo>
                  <a:cubicBezTo>
                    <a:pt x="1" y="8822"/>
                    <a:pt x="946" y="9767"/>
                    <a:pt x="2080" y="9767"/>
                  </a:cubicBezTo>
                  <a:cubicBezTo>
                    <a:pt x="3214" y="9767"/>
                    <a:pt x="4159" y="8822"/>
                    <a:pt x="4159" y="7688"/>
                  </a:cubicBezTo>
                  <a:lnTo>
                    <a:pt x="4159" y="2080"/>
                  </a:lnTo>
                  <a:cubicBezTo>
                    <a:pt x="4159" y="946"/>
                    <a:pt x="3246"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76"/>
            <p:cNvSpPr/>
            <p:nvPr/>
          </p:nvSpPr>
          <p:spPr>
            <a:xfrm>
              <a:off x="-24649225" y="2541250"/>
              <a:ext cx="26800" cy="60675"/>
            </a:xfrm>
            <a:custGeom>
              <a:avLst/>
              <a:gdLst/>
              <a:ahLst/>
              <a:cxnLst/>
              <a:rect l="l" t="t" r="r" b="b"/>
              <a:pathLst>
                <a:path w="1072" h="2427" extrusionOk="0">
                  <a:moveTo>
                    <a:pt x="378" y="1"/>
                  </a:moveTo>
                  <a:cubicBezTo>
                    <a:pt x="158" y="1"/>
                    <a:pt x="0" y="158"/>
                    <a:pt x="0" y="347"/>
                  </a:cubicBezTo>
                  <a:lnTo>
                    <a:pt x="0" y="1734"/>
                  </a:lnTo>
                  <a:cubicBezTo>
                    <a:pt x="0" y="2112"/>
                    <a:pt x="315" y="2427"/>
                    <a:pt x="725" y="2427"/>
                  </a:cubicBezTo>
                  <a:cubicBezTo>
                    <a:pt x="914" y="2427"/>
                    <a:pt x="1071" y="2269"/>
                    <a:pt x="1071" y="2080"/>
                  </a:cubicBezTo>
                  <a:cubicBezTo>
                    <a:pt x="1071" y="1891"/>
                    <a:pt x="914" y="1734"/>
                    <a:pt x="725" y="1734"/>
                  </a:cubicBezTo>
                  <a:lnTo>
                    <a:pt x="725" y="347"/>
                  </a:ln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76"/>
            <p:cNvSpPr/>
            <p:nvPr/>
          </p:nvSpPr>
          <p:spPr>
            <a:xfrm>
              <a:off x="-24544475" y="2340425"/>
              <a:ext cx="104000" cy="244175"/>
            </a:xfrm>
            <a:custGeom>
              <a:avLst/>
              <a:gdLst/>
              <a:ahLst/>
              <a:cxnLst/>
              <a:rect l="l" t="t" r="r" b="b"/>
              <a:pathLst>
                <a:path w="4160" h="9767" extrusionOk="0">
                  <a:moveTo>
                    <a:pt x="2080" y="693"/>
                  </a:moveTo>
                  <a:cubicBezTo>
                    <a:pt x="2836" y="693"/>
                    <a:pt x="3466" y="1323"/>
                    <a:pt x="3466" y="2079"/>
                  </a:cubicBezTo>
                  <a:lnTo>
                    <a:pt x="3466" y="4537"/>
                  </a:lnTo>
                  <a:lnTo>
                    <a:pt x="694" y="4537"/>
                  </a:lnTo>
                  <a:lnTo>
                    <a:pt x="694" y="2079"/>
                  </a:lnTo>
                  <a:cubicBezTo>
                    <a:pt x="694" y="1323"/>
                    <a:pt x="1324" y="693"/>
                    <a:pt x="2080" y="693"/>
                  </a:cubicBezTo>
                  <a:close/>
                  <a:moveTo>
                    <a:pt x="3466" y="5261"/>
                  </a:moveTo>
                  <a:lnTo>
                    <a:pt x="3466" y="7719"/>
                  </a:lnTo>
                  <a:cubicBezTo>
                    <a:pt x="3497" y="8475"/>
                    <a:pt x="2867" y="9105"/>
                    <a:pt x="2080" y="9105"/>
                  </a:cubicBezTo>
                  <a:cubicBezTo>
                    <a:pt x="1324" y="9105"/>
                    <a:pt x="694" y="8475"/>
                    <a:pt x="694" y="7719"/>
                  </a:cubicBezTo>
                  <a:lnTo>
                    <a:pt x="694" y="5261"/>
                  </a:lnTo>
                  <a:close/>
                  <a:moveTo>
                    <a:pt x="2080" y="0"/>
                  </a:moveTo>
                  <a:cubicBezTo>
                    <a:pt x="946" y="0"/>
                    <a:pt x="0" y="945"/>
                    <a:pt x="0" y="2079"/>
                  </a:cubicBezTo>
                  <a:lnTo>
                    <a:pt x="0" y="7687"/>
                  </a:lnTo>
                  <a:cubicBezTo>
                    <a:pt x="0" y="8821"/>
                    <a:pt x="946" y="9767"/>
                    <a:pt x="2080" y="9767"/>
                  </a:cubicBezTo>
                  <a:cubicBezTo>
                    <a:pt x="3214" y="9767"/>
                    <a:pt x="4159" y="8821"/>
                    <a:pt x="4159" y="7687"/>
                  </a:cubicBezTo>
                  <a:lnTo>
                    <a:pt x="4159" y="2079"/>
                  </a:lnTo>
                  <a:cubicBezTo>
                    <a:pt x="4159" y="945"/>
                    <a:pt x="3277"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76"/>
            <p:cNvSpPr/>
            <p:nvPr/>
          </p:nvSpPr>
          <p:spPr>
            <a:xfrm>
              <a:off x="-24501150" y="2375075"/>
              <a:ext cx="26800" cy="60675"/>
            </a:xfrm>
            <a:custGeom>
              <a:avLst/>
              <a:gdLst/>
              <a:ahLst/>
              <a:cxnLst/>
              <a:rect l="l" t="t" r="r" b="b"/>
              <a:pathLst>
                <a:path w="1072" h="2427" extrusionOk="0">
                  <a:moveTo>
                    <a:pt x="347" y="0"/>
                  </a:moveTo>
                  <a:cubicBezTo>
                    <a:pt x="158" y="0"/>
                    <a:pt x="0" y="158"/>
                    <a:pt x="0" y="347"/>
                  </a:cubicBezTo>
                  <a:cubicBezTo>
                    <a:pt x="32" y="536"/>
                    <a:pt x="189" y="693"/>
                    <a:pt x="347" y="693"/>
                  </a:cubicBezTo>
                  <a:lnTo>
                    <a:pt x="347" y="2080"/>
                  </a:lnTo>
                  <a:cubicBezTo>
                    <a:pt x="347" y="2269"/>
                    <a:pt x="504" y="2426"/>
                    <a:pt x="693" y="2426"/>
                  </a:cubicBezTo>
                  <a:cubicBezTo>
                    <a:pt x="914" y="2426"/>
                    <a:pt x="1071" y="2269"/>
                    <a:pt x="1071" y="2080"/>
                  </a:cubicBezTo>
                  <a:lnTo>
                    <a:pt x="1071" y="693"/>
                  </a:lnTo>
                  <a:cubicBezTo>
                    <a:pt x="1071" y="315"/>
                    <a:pt x="75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88" name="Google Shape;9388;p76"/>
          <p:cNvSpPr/>
          <p:nvPr/>
        </p:nvSpPr>
        <p:spPr>
          <a:xfrm>
            <a:off x="5786789" y="3779910"/>
            <a:ext cx="290077" cy="354136"/>
          </a:xfrm>
          <a:custGeom>
            <a:avLst/>
            <a:gdLst/>
            <a:ahLst/>
            <a:cxnLst/>
            <a:rect l="l" t="t" r="r" b="b"/>
            <a:pathLst>
              <a:path w="9704" h="11847" extrusionOk="0">
                <a:moveTo>
                  <a:pt x="7593" y="693"/>
                </a:moveTo>
                <a:lnTo>
                  <a:pt x="7593" y="1418"/>
                </a:lnTo>
                <a:lnTo>
                  <a:pt x="6900" y="1418"/>
                </a:lnTo>
                <a:lnTo>
                  <a:pt x="6900" y="693"/>
                </a:lnTo>
                <a:close/>
                <a:moveTo>
                  <a:pt x="7939" y="2080"/>
                </a:moveTo>
                <a:cubicBezTo>
                  <a:pt x="8160" y="2080"/>
                  <a:pt x="8317" y="2237"/>
                  <a:pt x="8317" y="2426"/>
                </a:cubicBezTo>
                <a:lnTo>
                  <a:pt x="8317" y="5577"/>
                </a:lnTo>
                <a:lnTo>
                  <a:pt x="6868" y="5577"/>
                </a:lnTo>
                <a:cubicBezTo>
                  <a:pt x="6900" y="5482"/>
                  <a:pt x="6931" y="5356"/>
                  <a:pt x="6931" y="5230"/>
                </a:cubicBezTo>
                <a:cubicBezTo>
                  <a:pt x="6931" y="4789"/>
                  <a:pt x="6648" y="4411"/>
                  <a:pt x="6207" y="4254"/>
                </a:cubicBezTo>
                <a:lnTo>
                  <a:pt x="6207" y="2426"/>
                </a:lnTo>
                <a:cubicBezTo>
                  <a:pt x="6207" y="2237"/>
                  <a:pt x="6364" y="2080"/>
                  <a:pt x="6585" y="2080"/>
                </a:cubicBezTo>
                <a:close/>
                <a:moveTo>
                  <a:pt x="5860" y="4915"/>
                </a:moveTo>
                <a:cubicBezTo>
                  <a:pt x="6049" y="4915"/>
                  <a:pt x="6207" y="5073"/>
                  <a:pt x="6207" y="5262"/>
                </a:cubicBezTo>
                <a:cubicBezTo>
                  <a:pt x="6207" y="5482"/>
                  <a:pt x="6049" y="5640"/>
                  <a:pt x="5860" y="5640"/>
                </a:cubicBezTo>
                <a:cubicBezTo>
                  <a:pt x="5671" y="5640"/>
                  <a:pt x="5513" y="5482"/>
                  <a:pt x="5513" y="5262"/>
                </a:cubicBezTo>
                <a:cubicBezTo>
                  <a:pt x="5545" y="5073"/>
                  <a:pt x="5671" y="4915"/>
                  <a:pt x="5860" y="4915"/>
                </a:cubicBezTo>
                <a:close/>
                <a:moveTo>
                  <a:pt x="8317" y="6270"/>
                </a:moveTo>
                <a:lnTo>
                  <a:pt x="8317" y="6616"/>
                </a:lnTo>
                <a:cubicBezTo>
                  <a:pt x="8317" y="6837"/>
                  <a:pt x="8160" y="6963"/>
                  <a:pt x="7939" y="6963"/>
                </a:cubicBezTo>
                <a:lnTo>
                  <a:pt x="6585" y="6963"/>
                </a:lnTo>
                <a:cubicBezTo>
                  <a:pt x="6364" y="6963"/>
                  <a:pt x="6207" y="6805"/>
                  <a:pt x="6207" y="6616"/>
                </a:cubicBezTo>
                <a:lnTo>
                  <a:pt x="6207" y="6270"/>
                </a:lnTo>
                <a:close/>
                <a:moveTo>
                  <a:pt x="7593" y="7688"/>
                </a:moveTo>
                <a:lnTo>
                  <a:pt x="7593" y="8381"/>
                </a:lnTo>
                <a:lnTo>
                  <a:pt x="6900" y="8381"/>
                </a:lnTo>
                <a:lnTo>
                  <a:pt x="6900" y="7688"/>
                </a:lnTo>
                <a:close/>
                <a:moveTo>
                  <a:pt x="5513" y="3529"/>
                </a:moveTo>
                <a:lnTo>
                  <a:pt x="5513" y="4285"/>
                </a:lnTo>
                <a:cubicBezTo>
                  <a:pt x="5198" y="4411"/>
                  <a:pt x="4946" y="4632"/>
                  <a:pt x="4883" y="4947"/>
                </a:cubicBezTo>
                <a:cubicBezTo>
                  <a:pt x="4064" y="5104"/>
                  <a:pt x="3434" y="5829"/>
                  <a:pt x="3434" y="6648"/>
                </a:cubicBezTo>
                <a:lnTo>
                  <a:pt x="3434" y="10113"/>
                </a:lnTo>
                <a:cubicBezTo>
                  <a:pt x="3434" y="10302"/>
                  <a:pt x="3592" y="10460"/>
                  <a:pt x="3781" y="10460"/>
                </a:cubicBezTo>
                <a:lnTo>
                  <a:pt x="5639" y="10460"/>
                </a:lnTo>
                <a:lnTo>
                  <a:pt x="5986" y="11185"/>
                </a:lnTo>
                <a:lnTo>
                  <a:pt x="2048" y="11185"/>
                </a:lnTo>
                <a:lnTo>
                  <a:pt x="2048" y="11153"/>
                </a:lnTo>
                <a:lnTo>
                  <a:pt x="2048" y="7309"/>
                </a:lnTo>
                <a:cubicBezTo>
                  <a:pt x="2048" y="5356"/>
                  <a:pt x="3592" y="3686"/>
                  <a:pt x="5513" y="3529"/>
                </a:cubicBezTo>
                <a:close/>
                <a:moveTo>
                  <a:pt x="5923" y="0"/>
                </a:moveTo>
                <a:cubicBezTo>
                  <a:pt x="5702" y="0"/>
                  <a:pt x="5545" y="158"/>
                  <a:pt x="5545" y="347"/>
                </a:cubicBezTo>
                <a:cubicBezTo>
                  <a:pt x="5545" y="536"/>
                  <a:pt x="5702" y="693"/>
                  <a:pt x="5923" y="693"/>
                </a:cubicBezTo>
                <a:lnTo>
                  <a:pt x="6270" y="693"/>
                </a:lnTo>
                <a:lnTo>
                  <a:pt x="6270" y="1450"/>
                </a:lnTo>
                <a:cubicBezTo>
                  <a:pt x="5860" y="1607"/>
                  <a:pt x="5545" y="1954"/>
                  <a:pt x="5545" y="2426"/>
                </a:cubicBezTo>
                <a:lnTo>
                  <a:pt x="5545" y="2836"/>
                </a:lnTo>
                <a:cubicBezTo>
                  <a:pt x="3245" y="3025"/>
                  <a:pt x="1386" y="4947"/>
                  <a:pt x="1386" y="7309"/>
                </a:cubicBezTo>
                <a:lnTo>
                  <a:pt x="1386" y="11153"/>
                </a:lnTo>
                <a:lnTo>
                  <a:pt x="347" y="11153"/>
                </a:lnTo>
                <a:cubicBezTo>
                  <a:pt x="158" y="11153"/>
                  <a:pt x="0" y="11311"/>
                  <a:pt x="0" y="11500"/>
                </a:cubicBezTo>
                <a:cubicBezTo>
                  <a:pt x="0" y="11689"/>
                  <a:pt x="158" y="11846"/>
                  <a:pt x="347" y="11846"/>
                </a:cubicBezTo>
                <a:lnTo>
                  <a:pt x="7971" y="11846"/>
                </a:lnTo>
                <a:cubicBezTo>
                  <a:pt x="8160" y="11846"/>
                  <a:pt x="8317" y="11689"/>
                  <a:pt x="8317" y="11500"/>
                </a:cubicBezTo>
                <a:cubicBezTo>
                  <a:pt x="8317" y="11311"/>
                  <a:pt x="8160" y="11153"/>
                  <a:pt x="7971" y="11153"/>
                </a:cubicBezTo>
                <a:lnTo>
                  <a:pt x="6774" y="11153"/>
                </a:lnTo>
                <a:lnTo>
                  <a:pt x="6427" y="10428"/>
                </a:lnTo>
                <a:lnTo>
                  <a:pt x="9326" y="10428"/>
                </a:lnTo>
                <a:cubicBezTo>
                  <a:pt x="9546" y="10428"/>
                  <a:pt x="9704" y="10271"/>
                  <a:pt x="9704" y="10082"/>
                </a:cubicBezTo>
                <a:cubicBezTo>
                  <a:pt x="9672" y="9924"/>
                  <a:pt x="9515" y="9767"/>
                  <a:pt x="9326" y="9767"/>
                </a:cubicBezTo>
                <a:lnTo>
                  <a:pt x="4127" y="9767"/>
                </a:lnTo>
                <a:lnTo>
                  <a:pt x="4127" y="6648"/>
                </a:lnTo>
                <a:cubicBezTo>
                  <a:pt x="4127" y="6175"/>
                  <a:pt x="4442" y="5797"/>
                  <a:pt x="4883" y="5671"/>
                </a:cubicBezTo>
                <a:cubicBezTo>
                  <a:pt x="5009" y="5955"/>
                  <a:pt x="5230" y="6175"/>
                  <a:pt x="5513" y="6270"/>
                </a:cubicBezTo>
                <a:lnTo>
                  <a:pt x="5513" y="6648"/>
                </a:lnTo>
                <a:cubicBezTo>
                  <a:pt x="5513" y="7089"/>
                  <a:pt x="5797" y="7467"/>
                  <a:pt x="6238" y="7625"/>
                </a:cubicBezTo>
                <a:lnTo>
                  <a:pt x="6238" y="8727"/>
                </a:lnTo>
                <a:cubicBezTo>
                  <a:pt x="6238" y="8948"/>
                  <a:pt x="6396" y="9105"/>
                  <a:pt x="6585" y="9105"/>
                </a:cubicBezTo>
                <a:lnTo>
                  <a:pt x="7971" y="9105"/>
                </a:lnTo>
                <a:cubicBezTo>
                  <a:pt x="8160" y="9105"/>
                  <a:pt x="8317" y="8948"/>
                  <a:pt x="8317" y="8727"/>
                </a:cubicBezTo>
                <a:lnTo>
                  <a:pt x="8317" y="7625"/>
                </a:lnTo>
                <a:cubicBezTo>
                  <a:pt x="8695" y="7467"/>
                  <a:pt x="9010" y="7120"/>
                  <a:pt x="9010" y="6648"/>
                </a:cubicBezTo>
                <a:lnTo>
                  <a:pt x="9010" y="2426"/>
                </a:lnTo>
                <a:cubicBezTo>
                  <a:pt x="9010" y="2017"/>
                  <a:pt x="8758" y="1607"/>
                  <a:pt x="8317" y="1450"/>
                </a:cubicBezTo>
                <a:lnTo>
                  <a:pt x="8317" y="693"/>
                </a:lnTo>
                <a:lnTo>
                  <a:pt x="8664" y="693"/>
                </a:lnTo>
                <a:cubicBezTo>
                  <a:pt x="8853" y="693"/>
                  <a:pt x="9010" y="536"/>
                  <a:pt x="9010" y="347"/>
                </a:cubicBezTo>
                <a:cubicBezTo>
                  <a:pt x="9010" y="158"/>
                  <a:pt x="8853" y="0"/>
                  <a:pt x="8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89" name="Google Shape;9389;p76"/>
          <p:cNvGrpSpPr/>
          <p:nvPr/>
        </p:nvGrpSpPr>
        <p:grpSpPr>
          <a:xfrm>
            <a:off x="7992594" y="2891866"/>
            <a:ext cx="360713" cy="353210"/>
            <a:chOff x="-22881800" y="1971800"/>
            <a:chExt cx="301675" cy="295400"/>
          </a:xfrm>
        </p:grpSpPr>
        <p:sp>
          <p:nvSpPr>
            <p:cNvPr id="9390" name="Google Shape;9390;p76"/>
            <p:cNvSpPr/>
            <p:nvPr/>
          </p:nvSpPr>
          <p:spPr>
            <a:xfrm>
              <a:off x="-22773100" y="2041900"/>
              <a:ext cx="86650" cy="86675"/>
            </a:xfrm>
            <a:custGeom>
              <a:avLst/>
              <a:gdLst/>
              <a:ahLst/>
              <a:cxnLst/>
              <a:rect l="l" t="t" r="r" b="b"/>
              <a:pathLst>
                <a:path w="3466" h="3467" extrusionOk="0">
                  <a:moveTo>
                    <a:pt x="1733" y="725"/>
                  </a:moveTo>
                  <a:cubicBezTo>
                    <a:pt x="2268" y="725"/>
                    <a:pt x="2741" y="1198"/>
                    <a:pt x="2741" y="1734"/>
                  </a:cubicBezTo>
                  <a:cubicBezTo>
                    <a:pt x="2741" y="2269"/>
                    <a:pt x="2300" y="2742"/>
                    <a:pt x="1733" y="2742"/>
                  </a:cubicBezTo>
                  <a:cubicBezTo>
                    <a:pt x="1134" y="2742"/>
                    <a:pt x="693" y="2269"/>
                    <a:pt x="693" y="1734"/>
                  </a:cubicBezTo>
                  <a:cubicBezTo>
                    <a:pt x="693" y="1198"/>
                    <a:pt x="1166" y="725"/>
                    <a:pt x="1733" y="725"/>
                  </a:cubicBezTo>
                  <a:close/>
                  <a:moveTo>
                    <a:pt x="1733" y="1"/>
                  </a:moveTo>
                  <a:cubicBezTo>
                    <a:pt x="788" y="1"/>
                    <a:pt x="0" y="788"/>
                    <a:pt x="0" y="1734"/>
                  </a:cubicBezTo>
                  <a:cubicBezTo>
                    <a:pt x="0" y="2679"/>
                    <a:pt x="788" y="3466"/>
                    <a:pt x="1733" y="3466"/>
                  </a:cubicBezTo>
                  <a:cubicBezTo>
                    <a:pt x="2678" y="3466"/>
                    <a:pt x="3466" y="2679"/>
                    <a:pt x="3466" y="1734"/>
                  </a:cubicBezTo>
                  <a:cubicBezTo>
                    <a:pt x="3466" y="757"/>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76"/>
            <p:cNvSpPr/>
            <p:nvPr/>
          </p:nvSpPr>
          <p:spPr>
            <a:xfrm>
              <a:off x="-22737675" y="2145075"/>
              <a:ext cx="51225" cy="51225"/>
            </a:xfrm>
            <a:custGeom>
              <a:avLst/>
              <a:gdLst/>
              <a:ahLst/>
              <a:cxnLst/>
              <a:rect l="l" t="t" r="r" b="b"/>
              <a:pathLst>
                <a:path w="2049" h="2049" extrusionOk="0">
                  <a:moveTo>
                    <a:pt x="1009" y="726"/>
                  </a:moveTo>
                  <a:cubicBezTo>
                    <a:pt x="1198" y="726"/>
                    <a:pt x="1387" y="883"/>
                    <a:pt x="1387" y="1072"/>
                  </a:cubicBezTo>
                  <a:cubicBezTo>
                    <a:pt x="1387" y="1261"/>
                    <a:pt x="1198" y="1419"/>
                    <a:pt x="1009" y="1419"/>
                  </a:cubicBezTo>
                  <a:cubicBezTo>
                    <a:pt x="820" y="1419"/>
                    <a:pt x="662" y="1261"/>
                    <a:pt x="662" y="1072"/>
                  </a:cubicBezTo>
                  <a:cubicBezTo>
                    <a:pt x="662" y="883"/>
                    <a:pt x="820" y="726"/>
                    <a:pt x="1009" y="726"/>
                  </a:cubicBezTo>
                  <a:close/>
                  <a:moveTo>
                    <a:pt x="1009" y="1"/>
                  </a:moveTo>
                  <a:cubicBezTo>
                    <a:pt x="410" y="1"/>
                    <a:pt x="1" y="473"/>
                    <a:pt x="1" y="1041"/>
                  </a:cubicBezTo>
                  <a:cubicBezTo>
                    <a:pt x="1" y="1608"/>
                    <a:pt x="473" y="2049"/>
                    <a:pt x="1009" y="2049"/>
                  </a:cubicBezTo>
                  <a:cubicBezTo>
                    <a:pt x="1576" y="2049"/>
                    <a:pt x="2049" y="1576"/>
                    <a:pt x="2049" y="1041"/>
                  </a:cubicBez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76"/>
            <p:cNvSpPr/>
            <p:nvPr/>
          </p:nvSpPr>
          <p:spPr>
            <a:xfrm>
              <a:off x="-22807775" y="21104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76"/>
            <p:cNvSpPr/>
            <p:nvPr/>
          </p:nvSpPr>
          <p:spPr>
            <a:xfrm>
              <a:off x="-22773100" y="2163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4" name="Google Shape;9394;p76"/>
            <p:cNvSpPr/>
            <p:nvPr/>
          </p:nvSpPr>
          <p:spPr>
            <a:xfrm>
              <a:off x="-22669150" y="21104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662" y="190"/>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5" name="Google Shape;9395;p76"/>
            <p:cNvSpPr/>
            <p:nvPr/>
          </p:nvSpPr>
          <p:spPr>
            <a:xfrm>
              <a:off x="-22881800" y="1971800"/>
              <a:ext cx="301675" cy="295400"/>
            </a:xfrm>
            <a:custGeom>
              <a:avLst/>
              <a:gdLst/>
              <a:ahLst/>
              <a:cxnLst/>
              <a:rect l="l" t="t" r="r" b="b"/>
              <a:pathLst>
                <a:path w="12067" h="11816" extrusionOk="0">
                  <a:moveTo>
                    <a:pt x="6081" y="2112"/>
                  </a:moveTo>
                  <a:cubicBezTo>
                    <a:pt x="6553" y="2112"/>
                    <a:pt x="6963" y="2175"/>
                    <a:pt x="7373" y="2332"/>
                  </a:cubicBezTo>
                  <a:cubicBezTo>
                    <a:pt x="8633" y="2805"/>
                    <a:pt x="9578" y="3907"/>
                    <a:pt x="9798" y="5262"/>
                  </a:cubicBezTo>
                  <a:cubicBezTo>
                    <a:pt x="9861" y="5451"/>
                    <a:pt x="9861" y="5672"/>
                    <a:pt x="9861" y="5924"/>
                  </a:cubicBezTo>
                  <a:cubicBezTo>
                    <a:pt x="9861" y="6144"/>
                    <a:pt x="9861" y="6333"/>
                    <a:pt x="9798" y="6585"/>
                  </a:cubicBezTo>
                  <a:cubicBezTo>
                    <a:pt x="9609" y="7909"/>
                    <a:pt x="8633" y="9043"/>
                    <a:pt x="7373" y="9484"/>
                  </a:cubicBezTo>
                  <a:cubicBezTo>
                    <a:pt x="6963" y="9673"/>
                    <a:pt x="6522" y="9736"/>
                    <a:pt x="6081" y="9736"/>
                  </a:cubicBezTo>
                  <a:cubicBezTo>
                    <a:pt x="5640" y="9736"/>
                    <a:pt x="5167" y="9673"/>
                    <a:pt x="4758" y="9484"/>
                  </a:cubicBezTo>
                  <a:cubicBezTo>
                    <a:pt x="3497" y="9043"/>
                    <a:pt x="2552" y="7909"/>
                    <a:pt x="2332" y="6585"/>
                  </a:cubicBezTo>
                  <a:cubicBezTo>
                    <a:pt x="2300" y="6396"/>
                    <a:pt x="2300" y="6144"/>
                    <a:pt x="2300" y="5924"/>
                  </a:cubicBezTo>
                  <a:cubicBezTo>
                    <a:pt x="2300" y="5672"/>
                    <a:pt x="2300" y="5483"/>
                    <a:pt x="2332" y="5262"/>
                  </a:cubicBezTo>
                  <a:cubicBezTo>
                    <a:pt x="2552" y="3907"/>
                    <a:pt x="3497" y="2805"/>
                    <a:pt x="4758" y="2332"/>
                  </a:cubicBezTo>
                  <a:cubicBezTo>
                    <a:pt x="5167" y="2175"/>
                    <a:pt x="5608" y="2112"/>
                    <a:pt x="6081" y="2112"/>
                  </a:cubicBezTo>
                  <a:close/>
                  <a:moveTo>
                    <a:pt x="5329" y="1"/>
                  </a:moveTo>
                  <a:cubicBezTo>
                    <a:pt x="5238" y="1"/>
                    <a:pt x="5151" y="32"/>
                    <a:pt x="5104" y="95"/>
                  </a:cubicBezTo>
                  <a:cubicBezTo>
                    <a:pt x="4978" y="221"/>
                    <a:pt x="4978" y="442"/>
                    <a:pt x="5104" y="568"/>
                  </a:cubicBezTo>
                  <a:cubicBezTo>
                    <a:pt x="5356" y="851"/>
                    <a:pt x="5577" y="1072"/>
                    <a:pt x="5640" y="1387"/>
                  </a:cubicBezTo>
                  <a:cubicBezTo>
                    <a:pt x="5356" y="1419"/>
                    <a:pt x="5041" y="1482"/>
                    <a:pt x="4789" y="1545"/>
                  </a:cubicBezTo>
                  <a:cubicBezTo>
                    <a:pt x="4506" y="1041"/>
                    <a:pt x="4096" y="851"/>
                    <a:pt x="3592" y="599"/>
                  </a:cubicBezTo>
                  <a:cubicBezTo>
                    <a:pt x="3551" y="583"/>
                    <a:pt x="3506" y="575"/>
                    <a:pt x="3461" y="575"/>
                  </a:cubicBezTo>
                  <a:cubicBezTo>
                    <a:pt x="3329" y="575"/>
                    <a:pt x="3189" y="640"/>
                    <a:pt x="3119" y="757"/>
                  </a:cubicBezTo>
                  <a:cubicBezTo>
                    <a:pt x="3056" y="914"/>
                    <a:pt x="3119" y="1167"/>
                    <a:pt x="3277" y="1230"/>
                  </a:cubicBezTo>
                  <a:cubicBezTo>
                    <a:pt x="3623" y="1387"/>
                    <a:pt x="3907" y="1545"/>
                    <a:pt x="4065" y="1828"/>
                  </a:cubicBezTo>
                  <a:cubicBezTo>
                    <a:pt x="3781" y="1954"/>
                    <a:pt x="3560" y="2112"/>
                    <a:pt x="3308" y="2269"/>
                  </a:cubicBezTo>
                  <a:cubicBezTo>
                    <a:pt x="2899" y="1860"/>
                    <a:pt x="2426" y="1828"/>
                    <a:pt x="1891" y="1734"/>
                  </a:cubicBezTo>
                  <a:cubicBezTo>
                    <a:pt x="1702" y="1734"/>
                    <a:pt x="1544" y="1860"/>
                    <a:pt x="1513" y="2049"/>
                  </a:cubicBezTo>
                  <a:cubicBezTo>
                    <a:pt x="1513" y="2269"/>
                    <a:pt x="1639" y="2427"/>
                    <a:pt x="1828" y="2458"/>
                  </a:cubicBezTo>
                  <a:cubicBezTo>
                    <a:pt x="2206" y="2490"/>
                    <a:pt x="2489" y="2521"/>
                    <a:pt x="2773" y="2742"/>
                  </a:cubicBezTo>
                  <a:cubicBezTo>
                    <a:pt x="2584" y="2931"/>
                    <a:pt x="2363" y="3151"/>
                    <a:pt x="2206" y="3403"/>
                  </a:cubicBezTo>
                  <a:cubicBezTo>
                    <a:pt x="1964" y="3318"/>
                    <a:pt x="1741" y="3284"/>
                    <a:pt x="1524" y="3284"/>
                  </a:cubicBezTo>
                  <a:cubicBezTo>
                    <a:pt x="1259" y="3284"/>
                    <a:pt x="1002" y="3334"/>
                    <a:pt x="725" y="3403"/>
                  </a:cubicBezTo>
                  <a:cubicBezTo>
                    <a:pt x="536" y="3435"/>
                    <a:pt x="441" y="3624"/>
                    <a:pt x="473" y="3844"/>
                  </a:cubicBezTo>
                  <a:cubicBezTo>
                    <a:pt x="526" y="4003"/>
                    <a:pt x="667" y="4073"/>
                    <a:pt x="823" y="4073"/>
                  </a:cubicBezTo>
                  <a:cubicBezTo>
                    <a:pt x="853" y="4073"/>
                    <a:pt x="883" y="4070"/>
                    <a:pt x="914" y="4065"/>
                  </a:cubicBezTo>
                  <a:cubicBezTo>
                    <a:pt x="1162" y="3989"/>
                    <a:pt x="1352" y="3947"/>
                    <a:pt x="1534" y="3947"/>
                  </a:cubicBezTo>
                  <a:cubicBezTo>
                    <a:pt x="1652" y="3947"/>
                    <a:pt x="1766" y="3965"/>
                    <a:pt x="1891" y="4002"/>
                  </a:cubicBezTo>
                  <a:cubicBezTo>
                    <a:pt x="1796" y="4254"/>
                    <a:pt x="1670" y="4538"/>
                    <a:pt x="1639" y="4821"/>
                  </a:cubicBezTo>
                  <a:cubicBezTo>
                    <a:pt x="1040" y="4821"/>
                    <a:pt x="630" y="5042"/>
                    <a:pt x="221" y="5357"/>
                  </a:cubicBezTo>
                  <a:cubicBezTo>
                    <a:pt x="63" y="5483"/>
                    <a:pt x="0" y="5672"/>
                    <a:pt x="126" y="5829"/>
                  </a:cubicBezTo>
                  <a:cubicBezTo>
                    <a:pt x="221" y="5924"/>
                    <a:pt x="284" y="5987"/>
                    <a:pt x="410" y="5987"/>
                  </a:cubicBezTo>
                  <a:cubicBezTo>
                    <a:pt x="473" y="5987"/>
                    <a:pt x="567" y="5955"/>
                    <a:pt x="599" y="5924"/>
                  </a:cubicBezTo>
                  <a:cubicBezTo>
                    <a:pt x="914" y="5672"/>
                    <a:pt x="1198" y="5514"/>
                    <a:pt x="1513" y="5514"/>
                  </a:cubicBezTo>
                  <a:lnTo>
                    <a:pt x="1513" y="5924"/>
                  </a:lnTo>
                  <a:cubicBezTo>
                    <a:pt x="1513" y="6081"/>
                    <a:pt x="1513" y="6239"/>
                    <a:pt x="1544" y="6396"/>
                  </a:cubicBezTo>
                  <a:cubicBezTo>
                    <a:pt x="1009" y="6585"/>
                    <a:pt x="725" y="6932"/>
                    <a:pt x="410" y="7373"/>
                  </a:cubicBezTo>
                  <a:cubicBezTo>
                    <a:pt x="284" y="7531"/>
                    <a:pt x="315" y="7720"/>
                    <a:pt x="473" y="7846"/>
                  </a:cubicBezTo>
                  <a:cubicBezTo>
                    <a:pt x="567" y="7877"/>
                    <a:pt x="599" y="7940"/>
                    <a:pt x="694" y="7940"/>
                  </a:cubicBezTo>
                  <a:cubicBezTo>
                    <a:pt x="788" y="7940"/>
                    <a:pt x="914" y="7877"/>
                    <a:pt x="946" y="7783"/>
                  </a:cubicBezTo>
                  <a:cubicBezTo>
                    <a:pt x="1198" y="7467"/>
                    <a:pt x="1355" y="7215"/>
                    <a:pt x="1670" y="7089"/>
                  </a:cubicBezTo>
                  <a:cubicBezTo>
                    <a:pt x="1733" y="7373"/>
                    <a:pt x="1828" y="7657"/>
                    <a:pt x="1985" y="7940"/>
                  </a:cubicBezTo>
                  <a:cubicBezTo>
                    <a:pt x="1544" y="8287"/>
                    <a:pt x="1387" y="8728"/>
                    <a:pt x="1229" y="9232"/>
                  </a:cubicBezTo>
                  <a:cubicBezTo>
                    <a:pt x="1198" y="9421"/>
                    <a:pt x="1324" y="9610"/>
                    <a:pt x="1481" y="9673"/>
                  </a:cubicBezTo>
                  <a:lnTo>
                    <a:pt x="1544" y="9673"/>
                  </a:lnTo>
                  <a:cubicBezTo>
                    <a:pt x="1702" y="9673"/>
                    <a:pt x="1828" y="9547"/>
                    <a:pt x="1891" y="9389"/>
                  </a:cubicBezTo>
                  <a:cubicBezTo>
                    <a:pt x="2017" y="8980"/>
                    <a:pt x="2111" y="8728"/>
                    <a:pt x="2332" y="8476"/>
                  </a:cubicBezTo>
                  <a:cubicBezTo>
                    <a:pt x="2489" y="8728"/>
                    <a:pt x="2678" y="8948"/>
                    <a:pt x="2899" y="9137"/>
                  </a:cubicBezTo>
                  <a:cubicBezTo>
                    <a:pt x="2584" y="9610"/>
                    <a:pt x="2615" y="10082"/>
                    <a:pt x="2647" y="10649"/>
                  </a:cubicBezTo>
                  <a:cubicBezTo>
                    <a:pt x="2647" y="10839"/>
                    <a:pt x="2804" y="10965"/>
                    <a:pt x="2993" y="10965"/>
                  </a:cubicBezTo>
                  <a:lnTo>
                    <a:pt x="3056" y="10965"/>
                  </a:lnTo>
                  <a:cubicBezTo>
                    <a:pt x="3245" y="10965"/>
                    <a:pt x="3371" y="10775"/>
                    <a:pt x="3371" y="10555"/>
                  </a:cubicBezTo>
                  <a:cubicBezTo>
                    <a:pt x="3308" y="10177"/>
                    <a:pt x="3308" y="9862"/>
                    <a:pt x="3434" y="9578"/>
                  </a:cubicBezTo>
                  <a:cubicBezTo>
                    <a:pt x="3686" y="9736"/>
                    <a:pt x="3907" y="9893"/>
                    <a:pt x="4191" y="10019"/>
                  </a:cubicBezTo>
                  <a:cubicBezTo>
                    <a:pt x="4065" y="10555"/>
                    <a:pt x="4222" y="10996"/>
                    <a:pt x="4474" y="11500"/>
                  </a:cubicBezTo>
                  <a:cubicBezTo>
                    <a:pt x="4506" y="11626"/>
                    <a:pt x="4663" y="11721"/>
                    <a:pt x="4789" y="11721"/>
                  </a:cubicBezTo>
                  <a:cubicBezTo>
                    <a:pt x="4821" y="11721"/>
                    <a:pt x="4884" y="11721"/>
                    <a:pt x="4947" y="11658"/>
                  </a:cubicBezTo>
                  <a:cubicBezTo>
                    <a:pt x="5104" y="11595"/>
                    <a:pt x="5167" y="11406"/>
                    <a:pt x="5104" y="11185"/>
                  </a:cubicBezTo>
                  <a:cubicBezTo>
                    <a:pt x="4947" y="10839"/>
                    <a:pt x="4821" y="10555"/>
                    <a:pt x="4852" y="10240"/>
                  </a:cubicBezTo>
                  <a:lnTo>
                    <a:pt x="4852" y="10240"/>
                  </a:lnTo>
                  <a:cubicBezTo>
                    <a:pt x="5136" y="10334"/>
                    <a:pt x="5419" y="10366"/>
                    <a:pt x="5734" y="10397"/>
                  </a:cubicBezTo>
                  <a:cubicBezTo>
                    <a:pt x="5797" y="10965"/>
                    <a:pt x="6112" y="11311"/>
                    <a:pt x="6522" y="11721"/>
                  </a:cubicBezTo>
                  <a:cubicBezTo>
                    <a:pt x="6585" y="11784"/>
                    <a:pt x="6679" y="11815"/>
                    <a:pt x="6742" y="11815"/>
                  </a:cubicBezTo>
                  <a:cubicBezTo>
                    <a:pt x="6837" y="11815"/>
                    <a:pt x="6931" y="11784"/>
                    <a:pt x="6994" y="11721"/>
                  </a:cubicBezTo>
                  <a:cubicBezTo>
                    <a:pt x="7089" y="11595"/>
                    <a:pt x="7089" y="11343"/>
                    <a:pt x="6994" y="11248"/>
                  </a:cubicBezTo>
                  <a:cubicBezTo>
                    <a:pt x="6711" y="10965"/>
                    <a:pt x="6522" y="10712"/>
                    <a:pt x="6427" y="10397"/>
                  </a:cubicBezTo>
                  <a:cubicBezTo>
                    <a:pt x="6711" y="10366"/>
                    <a:pt x="7026" y="10334"/>
                    <a:pt x="7310" y="10240"/>
                  </a:cubicBezTo>
                  <a:cubicBezTo>
                    <a:pt x="7562" y="10775"/>
                    <a:pt x="7971" y="10965"/>
                    <a:pt x="8475" y="11185"/>
                  </a:cubicBezTo>
                  <a:cubicBezTo>
                    <a:pt x="8507" y="11248"/>
                    <a:pt x="8570" y="11248"/>
                    <a:pt x="8633" y="11248"/>
                  </a:cubicBezTo>
                  <a:cubicBezTo>
                    <a:pt x="8759" y="11248"/>
                    <a:pt x="8885" y="11154"/>
                    <a:pt x="8948" y="11028"/>
                  </a:cubicBezTo>
                  <a:cubicBezTo>
                    <a:pt x="9042" y="10870"/>
                    <a:pt x="8948" y="10649"/>
                    <a:pt x="8790" y="10555"/>
                  </a:cubicBezTo>
                  <a:cubicBezTo>
                    <a:pt x="8444" y="10397"/>
                    <a:pt x="8160" y="10240"/>
                    <a:pt x="8003" y="9988"/>
                  </a:cubicBezTo>
                  <a:cubicBezTo>
                    <a:pt x="8286" y="9862"/>
                    <a:pt x="8507" y="9704"/>
                    <a:pt x="8759" y="9547"/>
                  </a:cubicBezTo>
                  <a:cubicBezTo>
                    <a:pt x="9200" y="9925"/>
                    <a:pt x="9672" y="9988"/>
                    <a:pt x="10176" y="10051"/>
                  </a:cubicBezTo>
                  <a:lnTo>
                    <a:pt x="10208" y="10051"/>
                  </a:lnTo>
                  <a:cubicBezTo>
                    <a:pt x="10397" y="10051"/>
                    <a:pt x="10523" y="9925"/>
                    <a:pt x="10555" y="9736"/>
                  </a:cubicBezTo>
                  <a:cubicBezTo>
                    <a:pt x="10555" y="9547"/>
                    <a:pt x="10460" y="9389"/>
                    <a:pt x="10240" y="9358"/>
                  </a:cubicBezTo>
                  <a:cubicBezTo>
                    <a:pt x="9861" y="9295"/>
                    <a:pt x="9578" y="9263"/>
                    <a:pt x="9294" y="9074"/>
                  </a:cubicBezTo>
                  <a:cubicBezTo>
                    <a:pt x="9515" y="8885"/>
                    <a:pt x="9704" y="8633"/>
                    <a:pt x="9861" y="8413"/>
                  </a:cubicBezTo>
                  <a:cubicBezTo>
                    <a:pt x="10082" y="8476"/>
                    <a:pt x="10303" y="8507"/>
                    <a:pt x="10523" y="8507"/>
                  </a:cubicBezTo>
                  <a:cubicBezTo>
                    <a:pt x="10807" y="8507"/>
                    <a:pt x="11090" y="8444"/>
                    <a:pt x="11405" y="8350"/>
                  </a:cubicBezTo>
                  <a:cubicBezTo>
                    <a:pt x="11594" y="8318"/>
                    <a:pt x="11657" y="8129"/>
                    <a:pt x="11626" y="7940"/>
                  </a:cubicBezTo>
                  <a:cubicBezTo>
                    <a:pt x="11599" y="7754"/>
                    <a:pt x="11461" y="7680"/>
                    <a:pt x="11287" y="7680"/>
                  </a:cubicBezTo>
                  <a:cubicBezTo>
                    <a:pt x="11254" y="7680"/>
                    <a:pt x="11220" y="7683"/>
                    <a:pt x="11185" y="7688"/>
                  </a:cubicBezTo>
                  <a:cubicBezTo>
                    <a:pt x="10933" y="7772"/>
                    <a:pt x="10723" y="7814"/>
                    <a:pt x="10517" y="7814"/>
                  </a:cubicBezTo>
                  <a:cubicBezTo>
                    <a:pt x="10415" y="7814"/>
                    <a:pt x="10313" y="7804"/>
                    <a:pt x="10208" y="7783"/>
                  </a:cubicBezTo>
                  <a:cubicBezTo>
                    <a:pt x="10334" y="7499"/>
                    <a:pt x="10460" y="7215"/>
                    <a:pt x="10492" y="6932"/>
                  </a:cubicBezTo>
                  <a:lnTo>
                    <a:pt x="10523" y="6932"/>
                  </a:lnTo>
                  <a:cubicBezTo>
                    <a:pt x="11090" y="6932"/>
                    <a:pt x="11468" y="6711"/>
                    <a:pt x="11909" y="6396"/>
                  </a:cubicBezTo>
                  <a:cubicBezTo>
                    <a:pt x="12004" y="6333"/>
                    <a:pt x="12067" y="6144"/>
                    <a:pt x="11941" y="5987"/>
                  </a:cubicBezTo>
                  <a:cubicBezTo>
                    <a:pt x="11867" y="5895"/>
                    <a:pt x="11773" y="5846"/>
                    <a:pt x="11675" y="5846"/>
                  </a:cubicBezTo>
                  <a:cubicBezTo>
                    <a:pt x="11605" y="5846"/>
                    <a:pt x="11534" y="5871"/>
                    <a:pt x="11468" y="5924"/>
                  </a:cubicBezTo>
                  <a:cubicBezTo>
                    <a:pt x="11153" y="6144"/>
                    <a:pt x="10870" y="6302"/>
                    <a:pt x="10555" y="6302"/>
                  </a:cubicBezTo>
                  <a:lnTo>
                    <a:pt x="10555" y="5924"/>
                  </a:lnTo>
                  <a:cubicBezTo>
                    <a:pt x="10555" y="5766"/>
                    <a:pt x="10555" y="5609"/>
                    <a:pt x="10523" y="5451"/>
                  </a:cubicBezTo>
                  <a:cubicBezTo>
                    <a:pt x="11090" y="5262"/>
                    <a:pt x="11342" y="4884"/>
                    <a:pt x="11657" y="4475"/>
                  </a:cubicBezTo>
                  <a:cubicBezTo>
                    <a:pt x="11783" y="4317"/>
                    <a:pt x="11752" y="4096"/>
                    <a:pt x="11594" y="4002"/>
                  </a:cubicBezTo>
                  <a:cubicBezTo>
                    <a:pt x="11528" y="3949"/>
                    <a:pt x="11457" y="3924"/>
                    <a:pt x="11387" y="3924"/>
                  </a:cubicBezTo>
                  <a:cubicBezTo>
                    <a:pt x="11290" y="3924"/>
                    <a:pt x="11195" y="3973"/>
                    <a:pt x="11122" y="4065"/>
                  </a:cubicBezTo>
                  <a:cubicBezTo>
                    <a:pt x="10870" y="4380"/>
                    <a:pt x="10712" y="4632"/>
                    <a:pt x="10397" y="4727"/>
                  </a:cubicBezTo>
                  <a:cubicBezTo>
                    <a:pt x="10334" y="4475"/>
                    <a:pt x="10240" y="4191"/>
                    <a:pt x="10082" y="3907"/>
                  </a:cubicBezTo>
                  <a:cubicBezTo>
                    <a:pt x="10523" y="3561"/>
                    <a:pt x="10681" y="3120"/>
                    <a:pt x="10838" y="2616"/>
                  </a:cubicBezTo>
                  <a:cubicBezTo>
                    <a:pt x="10870" y="2427"/>
                    <a:pt x="10775" y="2206"/>
                    <a:pt x="10618" y="2175"/>
                  </a:cubicBezTo>
                  <a:cubicBezTo>
                    <a:pt x="10595" y="2171"/>
                    <a:pt x="10572" y="2170"/>
                    <a:pt x="10550" y="2170"/>
                  </a:cubicBezTo>
                  <a:cubicBezTo>
                    <a:pt x="10359" y="2170"/>
                    <a:pt x="10205" y="2286"/>
                    <a:pt x="10176" y="2427"/>
                  </a:cubicBezTo>
                  <a:cubicBezTo>
                    <a:pt x="10050" y="2805"/>
                    <a:pt x="9987" y="3088"/>
                    <a:pt x="9735" y="3309"/>
                  </a:cubicBezTo>
                  <a:cubicBezTo>
                    <a:pt x="9578" y="3088"/>
                    <a:pt x="9389" y="2836"/>
                    <a:pt x="9200" y="2647"/>
                  </a:cubicBezTo>
                  <a:cubicBezTo>
                    <a:pt x="9515" y="2175"/>
                    <a:pt x="9452" y="1702"/>
                    <a:pt x="9420" y="1167"/>
                  </a:cubicBezTo>
                  <a:cubicBezTo>
                    <a:pt x="9420" y="946"/>
                    <a:pt x="9231" y="851"/>
                    <a:pt x="9042" y="851"/>
                  </a:cubicBezTo>
                  <a:cubicBezTo>
                    <a:pt x="8822" y="851"/>
                    <a:pt x="8727" y="1041"/>
                    <a:pt x="8727" y="1230"/>
                  </a:cubicBezTo>
                  <a:cubicBezTo>
                    <a:pt x="8759" y="1639"/>
                    <a:pt x="8759" y="1954"/>
                    <a:pt x="8633" y="2206"/>
                  </a:cubicBezTo>
                  <a:cubicBezTo>
                    <a:pt x="8412" y="2049"/>
                    <a:pt x="8160" y="1891"/>
                    <a:pt x="7877" y="1797"/>
                  </a:cubicBezTo>
                  <a:cubicBezTo>
                    <a:pt x="8003" y="1230"/>
                    <a:pt x="7845" y="788"/>
                    <a:pt x="7625" y="284"/>
                  </a:cubicBezTo>
                  <a:cubicBezTo>
                    <a:pt x="7554" y="168"/>
                    <a:pt x="7432" y="103"/>
                    <a:pt x="7297" y="103"/>
                  </a:cubicBezTo>
                  <a:cubicBezTo>
                    <a:pt x="7250" y="103"/>
                    <a:pt x="7201" y="111"/>
                    <a:pt x="7152" y="127"/>
                  </a:cubicBezTo>
                  <a:cubicBezTo>
                    <a:pt x="6994" y="221"/>
                    <a:pt x="6900" y="410"/>
                    <a:pt x="6994" y="599"/>
                  </a:cubicBezTo>
                  <a:cubicBezTo>
                    <a:pt x="7152" y="946"/>
                    <a:pt x="7247" y="1230"/>
                    <a:pt x="7215" y="1545"/>
                  </a:cubicBezTo>
                  <a:cubicBezTo>
                    <a:pt x="6931" y="1482"/>
                    <a:pt x="6679" y="1419"/>
                    <a:pt x="6364" y="1387"/>
                  </a:cubicBezTo>
                  <a:cubicBezTo>
                    <a:pt x="6270" y="851"/>
                    <a:pt x="5955" y="473"/>
                    <a:pt x="5577" y="95"/>
                  </a:cubicBezTo>
                  <a:cubicBezTo>
                    <a:pt x="5514" y="32"/>
                    <a:pt x="5419" y="1"/>
                    <a:pt x="53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6" name="Google Shape;9396;p76"/>
          <p:cNvSpPr/>
          <p:nvPr/>
        </p:nvSpPr>
        <p:spPr>
          <a:xfrm>
            <a:off x="5326091" y="1561466"/>
            <a:ext cx="314589" cy="354136"/>
          </a:xfrm>
          <a:custGeom>
            <a:avLst/>
            <a:gdLst/>
            <a:ahLst/>
            <a:cxnLst/>
            <a:rect l="l" t="t" r="r" b="b"/>
            <a:pathLst>
              <a:path w="10524" h="11847" extrusionOk="0">
                <a:moveTo>
                  <a:pt x="7278" y="662"/>
                </a:moveTo>
                <a:cubicBezTo>
                  <a:pt x="7499" y="662"/>
                  <a:pt x="7656" y="820"/>
                  <a:pt x="7656" y="1009"/>
                </a:cubicBezTo>
                <a:lnTo>
                  <a:pt x="7656" y="3151"/>
                </a:lnTo>
                <a:cubicBezTo>
                  <a:pt x="7404" y="3057"/>
                  <a:pt x="7184" y="2994"/>
                  <a:pt x="6932" y="2994"/>
                </a:cubicBezTo>
                <a:lnTo>
                  <a:pt x="6932" y="1009"/>
                </a:lnTo>
                <a:cubicBezTo>
                  <a:pt x="6932" y="820"/>
                  <a:pt x="7089" y="662"/>
                  <a:pt x="7278" y="662"/>
                </a:cubicBezTo>
                <a:close/>
                <a:moveTo>
                  <a:pt x="3120" y="662"/>
                </a:moveTo>
                <a:cubicBezTo>
                  <a:pt x="3309" y="662"/>
                  <a:pt x="3466" y="820"/>
                  <a:pt x="3466" y="1009"/>
                </a:cubicBezTo>
                <a:lnTo>
                  <a:pt x="3466" y="2994"/>
                </a:lnTo>
                <a:cubicBezTo>
                  <a:pt x="3246" y="3025"/>
                  <a:pt x="2994" y="3057"/>
                  <a:pt x="2773" y="3183"/>
                </a:cubicBezTo>
                <a:lnTo>
                  <a:pt x="2773" y="1009"/>
                </a:lnTo>
                <a:cubicBezTo>
                  <a:pt x="2773" y="820"/>
                  <a:pt x="2931" y="662"/>
                  <a:pt x="3120" y="662"/>
                </a:cubicBezTo>
                <a:close/>
                <a:moveTo>
                  <a:pt x="4506" y="1702"/>
                </a:moveTo>
                <a:cubicBezTo>
                  <a:pt x="4695" y="1702"/>
                  <a:pt x="4852" y="1860"/>
                  <a:pt x="4852" y="2049"/>
                </a:cubicBezTo>
                <a:lnTo>
                  <a:pt x="4852" y="3309"/>
                </a:lnTo>
                <a:cubicBezTo>
                  <a:pt x="4663" y="3183"/>
                  <a:pt x="4411" y="3057"/>
                  <a:pt x="4128" y="3025"/>
                </a:cubicBezTo>
                <a:lnTo>
                  <a:pt x="4128" y="2049"/>
                </a:lnTo>
                <a:cubicBezTo>
                  <a:pt x="4128" y="1860"/>
                  <a:pt x="4285" y="1702"/>
                  <a:pt x="4506" y="1702"/>
                </a:cubicBezTo>
                <a:close/>
                <a:moveTo>
                  <a:pt x="5861" y="1702"/>
                </a:moveTo>
                <a:cubicBezTo>
                  <a:pt x="6081" y="1702"/>
                  <a:pt x="6239" y="1860"/>
                  <a:pt x="6239" y="2049"/>
                </a:cubicBezTo>
                <a:lnTo>
                  <a:pt x="6239" y="3025"/>
                </a:lnTo>
                <a:cubicBezTo>
                  <a:pt x="5987" y="3120"/>
                  <a:pt x="5766" y="3183"/>
                  <a:pt x="5514" y="3340"/>
                </a:cubicBezTo>
                <a:lnTo>
                  <a:pt x="5514" y="2049"/>
                </a:lnTo>
                <a:cubicBezTo>
                  <a:pt x="5546" y="1860"/>
                  <a:pt x="5703" y="1702"/>
                  <a:pt x="5861" y="1702"/>
                </a:cubicBezTo>
                <a:close/>
                <a:moveTo>
                  <a:pt x="1733" y="1324"/>
                </a:moveTo>
                <a:cubicBezTo>
                  <a:pt x="1922" y="1324"/>
                  <a:pt x="2080" y="1482"/>
                  <a:pt x="2080" y="1702"/>
                </a:cubicBezTo>
                <a:lnTo>
                  <a:pt x="2080" y="3624"/>
                </a:lnTo>
                <a:cubicBezTo>
                  <a:pt x="2017" y="3687"/>
                  <a:pt x="1922" y="3781"/>
                  <a:pt x="1859" y="3907"/>
                </a:cubicBezTo>
                <a:cubicBezTo>
                  <a:pt x="1733" y="3687"/>
                  <a:pt x="1576" y="3529"/>
                  <a:pt x="1387" y="3435"/>
                </a:cubicBezTo>
                <a:lnTo>
                  <a:pt x="1387" y="1702"/>
                </a:lnTo>
                <a:cubicBezTo>
                  <a:pt x="1387" y="1482"/>
                  <a:pt x="1544" y="1324"/>
                  <a:pt x="1733" y="1324"/>
                </a:cubicBezTo>
                <a:close/>
                <a:moveTo>
                  <a:pt x="8665" y="1324"/>
                </a:moveTo>
                <a:cubicBezTo>
                  <a:pt x="8854" y="1324"/>
                  <a:pt x="9011" y="1482"/>
                  <a:pt x="9011" y="1702"/>
                </a:cubicBezTo>
                <a:lnTo>
                  <a:pt x="9011" y="3466"/>
                </a:lnTo>
                <a:cubicBezTo>
                  <a:pt x="8854" y="3592"/>
                  <a:pt x="8759" y="3750"/>
                  <a:pt x="8633" y="3907"/>
                </a:cubicBezTo>
                <a:cubicBezTo>
                  <a:pt x="8539" y="3781"/>
                  <a:pt x="8476" y="3687"/>
                  <a:pt x="8381" y="3592"/>
                </a:cubicBezTo>
                <a:lnTo>
                  <a:pt x="8349" y="3529"/>
                </a:lnTo>
                <a:lnTo>
                  <a:pt x="8349" y="1702"/>
                </a:lnTo>
                <a:cubicBezTo>
                  <a:pt x="8318" y="1482"/>
                  <a:pt x="8476" y="1324"/>
                  <a:pt x="8665" y="1324"/>
                </a:cubicBezTo>
                <a:close/>
                <a:moveTo>
                  <a:pt x="6774" y="3647"/>
                </a:moveTo>
                <a:cubicBezTo>
                  <a:pt x="7160" y="3647"/>
                  <a:pt x="7546" y="3797"/>
                  <a:pt x="7845" y="4096"/>
                </a:cubicBezTo>
                <a:cubicBezTo>
                  <a:pt x="8318" y="4569"/>
                  <a:pt x="8444" y="5294"/>
                  <a:pt x="8066" y="5892"/>
                </a:cubicBezTo>
                <a:cubicBezTo>
                  <a:pt x="7089" y="6176"/>
                  <a:pt x="6333" y="7058"/>
                  <a:pt x="6239" y="8098"/>
                </a:cubicBezTo>
                <a:lnTo>
                  <a:pt x="5199" y="9043"/>
                </a:lnTo>
                <a:lnTo>
                  <a:pt x="4128" y="8035"/>
                </a:lnTo>
                <a:cubicBezTo>
                  <a:pt x="4065" y="6995"/>
                  <a:pt x="3309" y="6144"/>
                  <a:pt x="2332" y="5892"/>
                </a:cubicBezTo>
                <a:cubicBezTo>
                  <a:pt x="1985" y="5325"/>
                  <a:pt x="2112" y="4569"/>
                  <a:pt x="2553" y="4096"/>
                </a:cubicBezTo>
                <a:cubicBezTo>
                  <a:pt x="2836" y="3813"/>
                  <a:pt x="3246" y="3655"/>
                  <a:pt x="3624" y="3655"/>
                </a:cubicBezTo>
                <a:cubicBezTo>
                  <a:pt x="4033" y="3655"/>
                  <a:pt x="4411" y="3813"/>
                  <a:pt x="4695" y="4096"/>
                </a:cubicBezTo>
                <a:lnTo>
                  <a:pt x="4915" y="4317"/>
                </a:lnTo>
                <a:lnTo>
                  <a:pt x="4978" y="4348"/>
                </a:lnTo>
                <a:cubicBezTo>
                  <a:pt x="5026" y="4411"/>
                  <a:pt x="5112" y="4443"/>
                  <a:pt x="5203" y="4443"/>
                </a:cubicBezTo>
                <a:cubicBezTo>
                  <a:pt x="5294" y="4443"/>
                  <a:pt x="5388" y="4411"/>
                  <a:pt x="5451" y="4348"/>
                </a:cubicBezTo>
                <a:lnTo>
                  <a:pt x="5703" y="4096"/>
                </a:lnTo>
                <a:cubicBezTo>
                  <a:pt x="6002" y="3797"/>
                  <a:pt x="6388" y="3647"/>
                  <a:pt x="6774" y="3647"/>
                </a:cubicBezTo>
                <a:close/>
                <a:moveTo>
                  <a:pt x="662" y="3813"/>
                </a:moveTo>
                <a:cubicBezTo>
                  <a:pt x="1103" y="3970"/>
                  <a:pt x="1418" y="4380"/>
                  <a:pt x="1418" y="4884"/>
                </a:cubicBezTo>
                <a:lnTo>
                  <a:pt x="1418" y="6176"/>
                </a:lnTo>
                <a:cubicBezTo>
                  <a:pt x="1418" y="6365"/>
                  <a:pt x="1576" y="6522"/>
                  <a:pt x="1765" y="6522"/>
                </a:cubicBezTo>
                <a:cubicBezTo>
                  <a:pt x="2679" y="6522"/>
                  <a:pt x="3435" y="7247"/>
                  <a:pt x="3435" y="8161"/>
                </a:cubicBezTo>
                <a:lnTo>
                  <a:pt x="3435" y="8224"/>
                </a:lnTo>
                <a:lnTo>
                  <a:pt x="3435" y="8980"/>
                </a:lnTo>
                <a:cubicBezTo>
                  <a:pt x="3435" y="9169"/>
                  <a:pt x="3592" y="9326"/>
                  <a:pt x="3781" y="9326"/>
                </a:cubicBezTo>
                <a:cubicBezTo>
                  <a:pt x="3970" y="9326"/>
                  <a:pt x="4128" y="9169"/>
                  <a:pt x="4128" y="8980"/>
                </a:cubicBezTo>
                <a:lnTo>
                  <a:pt x="4852" y="9610"/>
                </a:lnTo>
                <a:lnTo>
                  <a:pt x="4852" y="11059"/>
                </a:lnTo>
                <a:lnTo>
                  <a:pt x="2080" y="11059"/>
                </a:lnTo>
                <a:lnTo>
                  <a:pt x="2080" y="9925"/>
                </a:lnTo>
                <a:cubicBezTo>
                  <a:pt x="2080" y="9673"/>
                  <a:pt x="1985" y="9421"/>
                  <a:pt x="1765" y="9200"/>
                </a:cubicBezTo>
                <a:lnTo>
                  <a:pt x="1198" y="8633"/>
                </a:lnTo>
                <a:cubicBezTo>
                  <a:pt x="883" y="8287"/>
                  <a:pt x="662" y="7877"/>
                  <a:pt x="662" y="7404"/>
                </a:cubicBezTo>
                <a:lnTo>
                  <a:pt x="662" y="3813"/>
                </a:lnTo>
                <a:close/>
                <a:moveTo>
                  <a:pt x="9767" y="3844"/>
                </a:moveTo>
                <a:lnTo>
                  <a:pt x="9767" y="7436"/>
                </a:lnTo>
                <a:cubicBezTo>
                  <a:pt x="9767" y="7909"/>
                  <a:pt x="9578" y="8350"/>
                  <a:pt x="9263" y="8665"/>
                </a:cubicBezTo>
                <a:lnTo>
                  <a:pt x="8665" y="9263"/>
                </a:lnTo>
                <a:cubicBezTo>
                  <a:pt x="8476" y="9452"/>
                  <a:pt x="8349" y="9704"/>
                  <a:pt x="8349" y="9988"/>
                </a:cubicBezTo>
                <a:lnTo>
                  <a:pt x="8349" y="11153"/>
                </a:lnTo>
                <a:lnTo>
                  <a:pt x="5514" y="11153"/>
                </a:lnTo>
                <a:lnTo>
                  <a:pt x="5514" y="9736"/>
                </a:lnTo>
                <a:lnTo>
                  <a:pt x="6239" y="9043"/>
                </a:lnTo>
                <a:cubicBezTo>
                  <a:pt x="6270" y="9200"/>
                  <a:pt x="6396" y="9326"/>
                  <a:pt x="6585" y="9326"/>
                </a:cubicBezTo>
                <a:cubicBezTo>
                  <a:pt x="6774" y="9326"/>
                  <a:pt x="6932" y="9169"/>
                  <a:pt x="6932" y="8980"/>
                </a:cubicBezTo>
                <a:lnTo>
                  <a:pt x="6932" y="8255"/>
                </a:lnTo>
                <a:cubicBezTo>
                  <a:pt x="6932" y="7404"/>
                  <a:pt x="7530" y="6711"/>
                  <a:pt x="8349" y="6554"/>
                </a:cubicBezTo>
                <a:lnTo>
                  <a:pt x="8665" y="6554"/>
                </a:lnTo>
                <a:cubicBezTo>
                  <a:pt x="8854" y="6554"/>
                  <a:pt x="9011" y="6396"/>
                  <a:pt x="9011" y="6207"/>
                </a:cubicBezTo>
                <a:lnTo>
                  <a:pt x="9011" y="4916"/>
                </a:lnTo>
                <a:cubicBezTo>
                  <a:pt x="9011" y="4443"/>
                  <a:pt x="9326" y="4002"/>
                  <a:pt x="9767" y="3844"/>
                </a:cubicBezTo>
                <a:close/>
                <a:moveTo>
                  <a:pt x="3120" y="1"/>
                </a:moveTo>
                <a:cubicBezTo>
                  <a:pt x="2647" y="1"/>
                  <a:pt x="2238" y="316"/>
                  <a:pt x="2143" y="757"/>
                </a:cubicBezTo>
                <a:cubicBezTo>
                  <a:pt x="2017" y="694"/>
                  <a:pt x="1891" y="662"/>
                  <a:pt x="1733" y="662"/>
                </a:cubicBezTo>
                <a:cubicBezTo>
                  <a:pt x="1135" y="662"/>
                  <a:pt x="725" y="1135"/>
                  <a:pt x="725" y="1702"/>
                </a:cubicBezTo>
                <a:lnTo>
                  <a:pt x="725" y="3120"/>
                </a:lnTo>
                <a:cubicBezTo>
                  <a:pt x="599" y="3057"/>
                  <a:pt x="473" y="3057"/>
                  <a:pt x="347" y="3057"/>
                </a:cubicBezTo>
                <a:cubicBezTo>
                  <a:pt x="158" y="3057"/>
                  <a:pt x="1" y="3214"/>
                  <a:pt x="1" y="3435"/>
                </a:cubicBezTo>
                <a:lnTo>
                  <a:pt x="1" y="7436"/>
                </a:lnTo>
                <a:cubicBezTo>
                  <a:pt x="1" y="8066"/>
                  <a:pt x="253" y="8696"/>
                  <a:pt x="725" y="9169"/>
                </a:cubicBezTo>
                <a:lnTo>
                  <a:pt x="1292" y="9767"/>
                </a:lnTo>
                <a:cubicBezTo>
                  <a:pt x="1387" y="9830"/>
                  <a:pt x="1418" y="9925"/>
                  <a:pt x="1418" y="9988"/>
                </a:cubicBezTo>
                <a:lnTo>
                  <a:pt x="1418" y="11153"/>
                </a:lnTo>
                <a:lnTo>
                  <a:pt x="1072" y="11153"/>
                </a:lnTo>
                <a:cubicBezTo>
                  <a:pt x="883" y="11153"/>
                  <a:pt x="725" y="11311"/>
                  <a:pt x="725" y="11500"/>
                </a:cubicBezTo>
                <a:cubicBezTo>
                  <a:pt x="725" y="11689"/>
                  <a:pt x="883" y="11847"/>
                  <a:pt x="1072" y="11847"/>
                </a:cubicBezTo>
                <a:lnTo>
                  <a:pt x="9389" y="11847"/>
                </a:lnTo>
                <a:cubicBezTo>
                  <a:pt x="9578" y="11847"/>
                  <a:pt x="9736" y="11689"/>
                  <a:pt x="9736" y="11500"/>
                </a:cubicBezTo>
                <a:cubicBezTo>
                  <a:pt x="9736" y="11311"/>
                  <a:pt x="9578" y="11153"/>
                  <a:pt x="9389" y="11153"/>
                </a:cubicBezTo>
                <a:lnTo>
                  <a:pt x="9106" y="11153"/>
                </a:lnTo>
                <a:lnTo>
                  <a:pt x="9106" y="9988"/>
                </a:lnTo>
                <a:cubicBezTo>
                  <a:pt x="9106" y="9925"/>
                  <a:pt x="9137" y="9799"/>
                  <a:pt x="9232" y="9767"/>
                </a:cubicBezTo>
                <a:lnTo>
                  <a:pt x="9830" y="9169"/>
                </a:lnTo>
                <a:cubicBezTo>
                  <a:pt x="10271" y="8696"/>
                  <a:pt x="10523" y="8098"/>
                  <a:pt x="10523" y="7436"/>
                </a:cubicBezTo>
                <a:lnTo>
                  <a:pt x="10523" y="3466"/>
                </a:lnTo>
                <a:cubicBezTo>
                  <a:pt x="10492" y="3214"/>
                  <a:pt x="10334" y="3057"/>
                  <a:pt x="10114" y="3057"/>
                </a:cubicBezTo>
                <a:cubicBezTo>
                  <a:pt x="9956" y="3057"/>
                  <a:pt x="9862" y="3057"/>
                  <a:pt x="9704" y="3120"/>
                </a:cubicBezTo>
                <a:lnTo>
                  <a:pt x="9704" y="1702"/>
                </a:lnTo>
                <a:cubicBezTo>
                  <a:pt x="9704" y="1103"/>
                  <a:pt x="9232" y="662"/>
                  <a:pt x="8665" y="662"/>
                </a:cubicBezTo>
                <a:cubicBezTo>
                  <a:pt x="8539" y="662"/>
                  <a:pt x="8413" y="694"/>
                  <a:pt x="8286" y="757"/>
                </a:cubicBezTo>
                <a:cubicBezTo>
                  <a:pt x="8160" y="316"/>
                  <a:pt x="7751" y="1"/>
                  <a:pt x="7278" y="1"/>
                </a:cubicBezTo>
                <a:cubicBezTo>
                  <a:pt x="6711" y="1"/>
                  <a:pt x="6270" y="473"/>
                  <a:pt x="6270" y="1009"/>
                </a:cubicBezTo>
                <a:lnTo>
                  <a:pt x="6270" y="1103"/>
                </a:lnTo>
                <a:cubicBezTo>
                  <a:pt x="6144" y="1072"/>
                  <a:pt x="6050" y="1009"/>
                  <a:pt x="5924" y="1009"/>
                </a:cubicBezTo>
                <a:cubicBezTo>
                  <a:pt x="5640" y="1009"/>
                  <a:pt x="5388" y="1135"/>
                  <a:pt x="5199" y="1292"/>
                </a:cubicBezTo>
                <a:cubicBezTo>
                  <a:pt x="5010" y="1135"/>
                  <a:pt x="4758" y="1009"/>
                  <a:pt x="4506" y="1009"/>
                </a:cubicBezTo>
                <a:cubicBezTo>
                  <a:pt x="4380" y="1009"/>
                  <a:pt x="4254" y="1072"/>
                  <a:pt x="4128" y="1103"/>
                </a:cubicBezTo>
                <a:lnTo>
                  <a:pt x="4128" y="1009"/>
                </a:lnTo>
                <a:cubicBezTo>
                  <a:pt x="4128" y="442"/>
                  <a:pt x="3655"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7" name="Google Shape;9397;p76"/>
          <p:cNvSpPr/>
          <p:nvPr/>
        </p:nvSpPr>
        <p:spPr>
          <a:xfrm>
            <a:off x="5304434" y="2008907"/>
            <a:ext cx="357903" cy="353897"/>
          </a:xfrm>
          <a:custGeom>
            <a:avLst/>
            <a:gdLst/>
            <a:ahLst/>
            <a:cxnLst/>
            <a:rect l="l" t="t" r="r" b="b"/>
            <a:pathLst>
              <a:path w="11973" h="11839" extrusionOk="0">
                <a:moveTo>
                  <a:pt x="9322" y="655"/>
                </a:moveTo>
                <a:cubicBezTo>
                  <a:pt x="9413" y="655"/>
                  <a:pt x="9499" y="686"/>
                  <a:pt x="9547" y="749"/>
                </a:cubicBezTo>
                <a:lnTo>
                  <a:pt x="11027" y="2198"/>
                </a:lnTo>
                <a:cubicBezTo>
                  <a:pt x="11122" y="2324"/>
                  <a:pt x="11122" y="2545"/>
                  <a:pt x="11027" y="2671"/>
                </a:cubicBezTo>
                <a:cubicBezTo>
                  <a:pt x="10964" y="2718"/>
                  <a:pt x="10870" y="2742"/>
                  <a:pt x="10779" y="2742"/>
                </a:cubicBezTo>
                <a:cubicBezTo>
                  <a:pt x="10689" y="2742"/>
                  <a:pt x="10602" y="2718"/>
                  <a:pt x="10555" y="2671"/>
                </a:cubicBezTo>
                <a:lnTo>
                  <a:pt x="10303" y="2419"/>
                </a:lnTo>
                <a:lnTo>
                  <a:pt x="9074" y="1190"/>
                </a:lnTo>
                <a:cubicBezTo>
                  <a:pt x="8916" y="1096"/>
                  <a:pt x="8916" y="907"/>
                  <a:pt x="9074" y="749"/>
                </a:cubicBezTo>
                <a:cubicBezTo>
                  <a:pt x="9137" y="686"/>
                  <a:pt x="9232" y="655"/>
                  <a:pt x="9322" y="655"/>
                </a:cubicBezTo>
                <a:close/>
                <a:moveTo>
                  <a:pt x="9106" y="2230"/>
                </a:moveTo>
                <a:lnTo>
                  <a:pt x="9547" y="2702"/>
                </a:lnTo>
                <a:lnTo>
                  <a:pt x="9011" y="3270"/>
                </a:lnTo>
                <a:lnTo>
                  <a:pt x="8538" y="2797"/>
                </a:lnTo>
                <a:lnTo>
                  <a:pt x="9106" y="2230"/>
                </a:lnTo>
                <a:close/>
                <a:moveTo>
                  <a:pt x="6333" y="1694"/>
                </a:moveTo>
                <a:cubicBezTo>
                  <a:pt x="6396" y="1694"/>
                  <a:pt x="6522" y="1726"/>
                  <a:pt x="6554" y="1789"/>
                </a:cubicBezTo>
                <a:lnTo>
                  <a:pt x="8759" y="3994"/>
                </a:lnTo>
                <a:lnTo>
                  <a:pt x="9988" y="5223"/>
                </a:lnTo>
                <a:cubicBezTo>
                  <a:pt x="10082" y="5254"/>
                  <a:pt x="10114" y="5349"/>
                  <a:pt x="10114" y="5475"/>
                </a:cubicBezTo>
                <a:cubicBezTo>
                  <a:pt x="10114" y="5538"/>
                  <a:pt x="10082" y="5664"/>
                  <a:pt x="9988" y="5695"/>
                </a:cubicBezTo>
                <a:cubicBezTo>
                  <a:pt x="9925" y="5727"/>
                  <a:pt x="9830" y="5821"/>
                  <a:pt x="9767" y="5821"/>
                </a:cubicBezTo>
                <a:cubicBezTo>
                  <a:pt x="9673" y="5821"/>
                  <a:pt x="9547" y="5790"/>
                  <a:pt x="9515" y="5695"/>
                </a:cubicBezTo>
                <a:lnTo>
                  <a:pt x="6081" y="2261"/>
                </a:lnTo>
                <a:cubicBezTo>
                  <a:pt x="6018" y="2198"/>
                  <a:pt x="5987" y="2104"/>
                  <a:pt x="5987" y="2041"/>
                </a:cubicBezTo>
                <a:cubicBezTo>
                  <a:pt x="5987" y="1946"/>
                  <a:pt x="6018" y="1852"/>
                  <a:pt x="6081" y="1789"/>
                </a:cubicBezTo>
                <a:cubicBezTo>
                  <a:pt x="6176" y="1726"/>
                  <a:pt x="6239" y="1694"/>
                  <a:pt x="6333" y="1694"/>
                </a:cubicBezTo>
                <a:close/>
                <a:moveTo>
                  <a:pt x="6333" y="3459"/>
                </a:moveTo>
                <a:lnTo>
                  <a:pt x="8286" y="5412"/>
                </a:lnTo>
                <a:lnTo>
                  <a:pt x="7782" y="5947"/>
                </a:lnTo>
                <a:lnTo>
                  <a:pt x="7026" y="5191"/>
                </a:lnTo>
                <a:cubicBezTo>
                  <a:pt x="6979" y="5128"/>
                  <a:pt x="6892" y="5097"/>
                  <a:pt x="6802" y="5097"/>
                </a:cubicBezTo>
                <a:cubicBezTo>
                  <a:pt x="6711" y="5097"/>
                  <a:pt x="6617" y="5128"/>
                  <a:pt x="6554" y="5191"/>
                </a:cubicBezTo>
                <a:cubicBezTo>
                  <a:pt x="6459" y="5317"/>
                  <a:pt x="6459" y="5538"/>
                  <a:pt x="6554" y="5664"/>
                </a:cubicBezTo>
                <a:lnTo>
                  <a:pt x="7310" y="6420"/>
                </a:lnTo>
                <a:lnTo>
                  <a:pt x="6837" y="6893"/>
                </a:lnTo>
                <a:lnTo>
                  <a:pt x="4884" y="4908"/>
                </a:lnTo>
                <a:lnTo>
                  <a:pt x="6333" y="3459"/>
                </a:lnTo>
                <a:close/>
                <a:moveTo>
                  <a:pt x="4348" y="5506"/>
                </a:moveTo>
                <a:lnTo>
                  <a:pt x="6333" y="7460"/>
                </a:lnTo>
                <a:lnTo>
                  <a:pt x="5860" y="7932"/>
                </a:lnTo>
                <a:lnTo>
                  <a:pt x="5388" y="7460"/>
                </a:lnTo>
                <a:cubicBezTo>
                  <a:pt x="5325" y="7412"/>
                  <a:pt x="5238" y="7389"/>
                  <a:pt x="5152" y="7389"/>
                </a:cubicBezTo>
                <a:cubicBezTo>
                  <a:pt x="5065" y="7389"/>
                  <a:pt x="4978" y="7412"/>
                  <a:pt x="4915" y="7460"/>
                </a:cubicBezTo>
                <a:cubicBezTo>
                  <a:pt x="4789" y="7586"/>
                  <a:pt x="4789" y="7838"/>
                  <a:pt x="4915" y="7932"/>
                </a:cubicBezTo>
                <a:lnTo>
                  <a:pt x="5388" y="8405"/>
                </a:lnTo>
                <a:lnTo>
                  <a:pt x="5167" y="8657"/>
                </a:lnTo>
                <a:cubicBezTo>
                  <a:pt x="4915" y="8846"/>
                  <a:pt x="4632" y="8940"/>
                  <a:pt x="4360" y="8940"/>
                </a:cubicBezTo>
                <a:cubicBezTo>
                  <a:pt x="4088" y="8940"/>
                  <a:pt x="3828" y="8846"/>
                  <a:pt x="3624" y="8657"/>
                </a:cubicBezTo>
                <a:lnTo>
                  <a:pt x="3151" y="8184"/>
                </a:lnTo>
                <a:cubicBezTo>
                  <a:pt x="2742" y="7775"/>
                  <a:pt x="2742" y="7113"/>
                  <a:pt x="3151" y="6735"/>
                </a:cubicBezTo>
                <a:lnTo>
                  <a:pt x="4348" y="5506"/>
                </a:lnTo>
                <a:close/>
                <a:moveTo>
                  <a:pt x="2678" y="8657"/>
                </a:moveTo>
                <a:lnTo>
                  <a:pt x="3151" y="9129"/>
                </a:lnTo>
                <a:lnTo>
                  <a:pt x="2899" y="9350"/>
                </a:lnTo>
                <a:cubicBezTo>
                  <a:pt x="2836" y="9413"/>
                  <a:pt x="2749" y="9444"/>
                  <a:pt x="2663" y="9444"/>
                </a:cubicBezTo>
                <a:cubicBezTo>
                  <a:pt x="2576" y="9444"/>
                  <a:pt x="2489" y="9413"/>
                  <a:pt x="2426" y="9350"/>
                </a:cubicBezTo>
                <a:cubicBezTo>
                  <a:pt x="2300" y="9255"/>
                  <a:pt x="2300" y="9003"/>
                  <a:pt x="2426" y="8877"/>
                </a:cubicBezTo>
                <a:lnTo>
                  <a:pt x="2678" y="8657"/>
                </a:lnTo>
                <a:close/>
                <a:moveTo>
                  <a:pt x="9389" y="1"/>
                </a:moveTo>
                <a:cubicBezTo>
                  <a:pt x="9121" y="1"/>
                  <a:pt x="8853" y="103"/>
                  <a:pt x="8664" y="308"/>
                </a:cubicBezTo>
                <a:cubicBezTo>
                  <a:pt x="8255" y="686"/>
                  <a:pt x="8255" y="1379"/>
                  <a:pt x="8664" y="1757"/>
                </a:cubicBezTo>
                <a:lnTo>
                  <a:pt x="8097" y="2324"/>
                </a:lnTo>
                <a:lnTo>
                  <a:pt x="7121" y="1316"/>
                </a:lnTo>
                <a:cubicBezTo>
                  <a:pt x="6932" y="1127"/>
                  <a:pt x="6648" y="1001"/>
                  <a:pt x="6365" y="1001"/>
                </a:cubicBezTo>
                <a:cubicBezTo>
                  <a:pt x="6081" y="1001"/>
                  <a:pt x="5829" y="1127"/>
                  <a:pt x="5608" y="1316"/>
                </a:cubicBezTo>
                <a:cubicBezTo>
                  <a:pt x="5419" y="1537"/>
                  <a:pt x="5293" y="1789"/>
                  <a:pt x="5293" y="2072"/>
                </a:cubicBezTo>
                <a:cubicBezTo>
                  <a:pt x="5293" y="2356"/>
                  <a:pt x="5419" y="2639"/>
                  <a:pt x="5608" y="2828"/>
                </a:cubicBezTo>
                <a:lnTo>
                  <a:pt x="5860" y="3049"/>
                </a:lnTo>
                <a:lnTo>
                  <a:pt x="2678" y="6263"/>
                </a:lnTo>
                <a:cubicBezTo>
                  <a:pt x="2143" y="6767"/>
                  <a:pt x="2048" y="7460"/>
                  <a:pt x="2269" y="8090"/>
                </a:cubicBezTo>
                <a:lnTo>
                  <a:pt x="1922" y="8468"/>
                </a:lnTo>
                <a:cubicBezTo>
                  <a:pt x="1607" y="8783"/>
                  <a:pt x="1513" y="9255"/>
                  <a:pt x="1733" y="9634"/>
                </a:cubicBezTo>
                <a:lnTo>
                  <a:pt x="95" y="11240"/>
                </a:lnTo>
                <a:cubicBezTo>
                  <a:pt x="1" y="11366"/>
                  <a:pt x="1" y="11618"/>
                  <a:pt x="95" y="11713"/>
                </a:cubicBezTo>
                <a:cubicBezTo>
                  <a:pt x="190" y="11807"/>
                  <a:pt x="284" y="11839"/>
                  <a:pt x="347" y="11839"/>
                </a:cubicBezTo>
                <a:cubicBezTo>
                  <a:pt x="410" y="11839"/>
                  <a:pt x="536" y="11807"/>
                  <a:pt x="568" y="11713"/>
                </a:cubicBezTo>
                <a:lnTo>
                  <a:pt x="2206" y="10106"/>
                </a:lnTo>
                <a:cubicBezTo>
                  <a:pt x="2363" y="10201"/>
                  <a:pt x="2458" y="10232"/>
                  <a:pt x="2615" y="10232"/>
                </a:cubicBezTo>
                <a:cubicBezTo>
                  <a:pt x="2899" y="10232"/>
                  <a:pt x="3183" y="10106"/>
                  <a:pt x="3372" y="9917"/>
                </a:cubicBezTo>
                <a:lnTo>
                  <a:pt x="3718" y="9571"/>
                </a:lnTo>
                <a:cubicBezTo>
                  <a:pt x="3939" y="9634"/>
                  <a:pt x="4159" y="9665"/>
                  <a:pt x="4348" y="9665"/>
                </a:cubicBezTo>
                <a:cubicBezTo>
                  <a:pt x="4789" y="9665"/>
                  <a:pt x="5262" y="9508"/>
                  <a:pt x="5577" y="9161"/>
                </a:cubicBezTo>
                <a:lnTo>
                  <a:pt x="8759" y="5979"/>
                </a:lnTo>
                <a:lnTo>
                  <a:pt x="9011" y="6199"/>
                </a:lnTo>
                <a:cubicBezTo>
                  <a:pt x="9200" y="6420"/>
                  <a:pt x="9484" y="6515"/>
                  <a:pt x="9767" y="6515"/>
                </a:cubicBezTo>
                <a:cubicBezTo>
                  <a:pt x="10019" y="6515"/>
                  <a:pt x="10303" y="6420"/>
                  <a:pt x="10492" y="6199"/>
                </a:cubicBezTo>
                <a:cubicBezTo>
                  <a:pt x="10712" y="6010"/>
                  <a:pt x="10807" y="5727"/>
                  <a:pt x="10807" y="5475"/>
                </a:cubicBezTo>
                <a:cubicBezTo>
                  <a:pt x="10807" y="5191"/>
                  <a:pt x="10712" y="4908"/>
                  <a:pt x="10492" y="4719"/>
                </a:cubicBezTo>
                <a:lnTo>
                  <a:pt x="9515" y="3711"/>
                </a:lnTo>
                <a:lnTo>
                  <a:pt x="10082" y="3207"/>
                </a:lnTo>
                <a:cubicBezTo>
                  <a:pt x="10271" y="3427"/>
                  <a:pt x="10555" y="3522"/>
                  <a:pt x="10807" y="3522"/>
                </a:cubicBezTo>
                <a:cubicBezTo>
                  <a:pt x="11090" y="3522"/>
                  <a:pt x="11374" y="3427"/>
                  <a:pt x="11563" y="3207"/>
                </a:cubicBezTo>
                <a:cubicBezTo>
                  <a:pt x="11972" y="2828"/>
                  <a:pt x="11972" y="2167"/>
                  <a:pt x="11563" y="1757"/>
                </a:cubicBezTo>
                <a:lnTo>
                  <a:pt x="10114" y="308"/>
                </a:lnTo>
                <a:cubicBezTo>
                  <a:pt x="9925" y="103"/>
                  <a:pt x="9657" y="1"/>
                  <a:pt x="93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98" name="Google Shape;9398;p76"/>
          <p:cNvGrpSpPr/>
          <p:nvPr/>
        </p:nvGrpSpPr>
        <p:grpSpPr>
          <a:xfrm>
            <a:off x="5368939" y="2450029"/>
            <a:ext cx="227930" cy="354136"/>
            <a:chOff x="-28043900" y="2701925"/>
            <a:chExt cx="190625" cy="296175"/>
          </a:xfrm>
        </p:grpSpPr>
        <p:sp>
          <p:nvSpPr>
            <p:cNvPr id="9399" name="Google Shape;9399;p76"/>
            <p:cNvSpPr/>
            <p:nvPr/>
          </p:nvSpPr>
          <p:spPr>
            <a:xfrm>
              <a:off x="-28043900" y="2701925"/>
              <a:ext cx="190625" cy="296175"/>
            </a:xfrm>
            <a:custGeom>
              <a:avLst/>
              <a:gdLst/>
              <a:ahLst/>
              <a:cxnLst/>
              <a:rect l="l" t="t" r="r" b="b"/>
              <a:pathLst>
                <a:path w="7625" h="11847" extrusionOk="0">
                  <a:moveTo>
                    <a:pt x="5136" y="662"/>
                  </a:moveTo>
                  <a:cubicBezTo>
                    <a:pt x="5325" y="662"/>
                    <a:pt x="5483" y="820"/>
                    <a:pt x="5483" y="1009"/>
                  </a:cubicBezTo>
                  <a:cubicBezTo>
                    <a:pt x="5483" y="1198"/>
                    <a:pt x="5325" y="1356"/>
                    <a:pt x="5136" y="1356"/>
                  </a:cubicBezTo>
                  <a:lnTo>
                    <a:pt x="2364" y="1356"/>
                  </a:lnTo>
                  <a:cubicBezTo>
                    <a:pt x="2175" y="1356"/>
                    <a:pt x="2017" y="1198"/>
                    <a:pt x="2017" y="1009"/>
                  </a:cubicBezTo>
                  <a:cubicBezTo>
                    <a:pt x="2017" y="820"/>
                    <a:pt x="2175" y="662"/>
                    <a:pt x="2364" y="662"/>
                  </a:cubicBezTo>
                  <a:close/>
                  <a:moveTo>
                    <a:pt x="4790" y="2080"/>
                  </a:moveTo>
                  <a:lnTo>
                    <a:pt x="4790" y="4411"/>
                  </a:lnTo>
                  <a:cubicBezTo>
                    <a:pt x="4790" y="4758"/>
                    <a:pt x="4979" y="5105"/>
                    <a:pt x="5294" y="5294"/>
                  </a:cubicBezTo>
                  <a:cubicBezTo>
                    <a:pt x="6113" y="5766"/>
                    <a:pt x="6680" y="6554"/>
                    <a:pt x="6837" y="7499"/>
                  </a:cubicBezTo>
                  <a:cubicBezTo>
                    <a:pt x="6504" y="7632"/>
                    <a:pt x="6166" y="7699"/>
                    <a:pt x="5828" y="7699"/>
                  </a:cubicBezTo>
                  <a:cubicBezTo>
                    <a:pt x="5207" y="7699"/>
                    <a:pt x="4582" y="7475"/>
                    <a:pt x="3971" y="7026"/>
                  </a:cubicBezTo>
                  <a:cubicBezTo>
                    <a:pt x="3372" y="6648"/>
                    <a:pt x="2773" y="6396"/>
                    <a:pt x="2143" y="6333"/>
                  </a:cubicBezTo>
                  <a:cubicBezTo>
                    <a:pt x="1970" y="6318"/>
                    <a:pt x="1805" y="6310"/>
                    <a:pt x="1639" y="6310"/>
                  </a:cubicBezTo>
                  <a:cubicBezTo>
                    <a:pt x="1474" y="6310"/>
                    <a:pt x="1308" y="6318"/>
                    <a:pt x="1135" y="6333"/>
                  </a:cubicBezTo>
                  <a:cubicBezTo>
                    <a:pt x="1387" y="5892"/>
                    <a:pt x="1734" y="5546"/>
                    <a:pt x="2175" y="5294"/>
                  </a:cubicBezTo>
                  <a:cubicBezTo>
                    <a:pt x="2490" y="5105"/>
                    <a:pt x="2679" y="4790"/>
                    <a:pt x="2679" y="4443"/>
                  </a:cubicBezTo>
                  <a:lnTo>
                    <a:pt x="2679" y="2080"/>
                  </a:lnTo>
                  <a:close/>
                  <a:moveTo>
                    <a:pt x="1670" y="6939"/>
                  </a:moveTo>
                  <a:cubicBezTo>
                    <a:pt x="2308" y="6939"/>
                    <a:pt x="2942" y="7156"/>
                    <a:pt x="3561" y="7562"/>
                  </a:cubicBezTo>
                  <a:cubicBezTo>
                    <a:pt x="4160" y="7940"/>
                    <a:pt x="4790" y="8192"/>
                    <a:pt x="5420" y="8255"/>
                  </a:cubicBezTo>
                  <a:cubicBezTo>
                    <a:pt x="5577" y="8255"/>
                    <a:pt x="5672" y="8287"/>
                    <a:pt x="5829" y="8287"/>
                  </a:cubicBezTo>
                  <a:cubicBezTo>
                    <a:pt x="6207" y="8287"/>
                    <a:pt x="6554" y="8255"/>
                    <a:pt x="6869" y="8129"/>
                  </a:cubicBezTo>
                  <a:lnTo>
                    <a:pt x="6869" y="8129"/>
                  </a:lnTo>
                  <a:cubicBezTo>
                    <a:pt x="6869" y="8255"/>
                    <a:pt x="6837" y="8381"/>
                    <a:pt x="6837" y="8507"/>
                  </a:cubicBezTo>
                  <a:cubicBezTo>
                    <a:pt x="6585" y="9799"/>
                    <a:pt x="5640" y="10807"/>
                    <a:pt x="4412" y="11059"/>
                  </a:cubicBezTo>
                  <a:cubicBezTo>
                    <a:pt x="4192" y="11103"/>
                    <a:pt x="3970" y="11125"/>
                    <a:pt x="3750" y="11125"/>
                  </a:cubicBezTo>
                  <a:cubicBezTo>
                    <a:pt x="3027" y="11125"/>
                    <a:pt x="2328" y="10888"/>
                    <a:pt x="1797" y="10429"/>
                  </a:cubicBezTo>
                  <a:cubicBezTo>
                    <a:pt x="1041" y="9830"/>
                    <a:pt x="631" y="8917"/>
                    <a:pt x="631" y="7972"/>
                  </a:cubicBezTo>
                  <a:cubicBezTo>
                    <a:pt x="631" y="7656"/>
                    <a:pt x="694" y="7404"/>
                    <a:pt x="757" y="7089"/>
                  </a:cubicBezTo>
                  <a:cubicBezTo>
                    <a:pt x="1062" y="6988"/>
                    <a:pt x="1366" y="6939"/>
                    <a:pt x="1670" y="6939"/>
                  </a:cubicBezTo>
                  <a:close/>
                  <a:moveTo>
                    <a:pt x="2427" y="1"/>
                  </a:moveTo>
                  <a:cubicBezTo>
                    <a:pt x="1828" y="1"/>
                    <a:pt x="1387" y="473"/>
                    <a:pt x="1387" y="1009"/>
                  </a:cubicBezTo>
                  <a:cubicBezTo>
                    <a:pt x="1387" y="1450"/>
                    <a:pt x="1671" y="1828"/>
                    <a:pt x="2112" y="1986"/>
                  </a:cubicBezTo>
                  <a:lnTo>
                    <a:pt x="2112" y="4443"/>
                  </a:lnTo>
                  <a:cubicBezTo>
                    <a:pt x="2112" y="4569"/>
                    <a:pt x="2017" y="4632"/>
                    <a:pt x="1891" y="4727"/>
                  </a:cubicBezTo>
                  <a:cubicBezTo>
                    <a:pt x="1356" y="5042"/>
                    <a:pt x="883" y="5514"/>
                    <a:pt x="536" y="6081"/>
                  </a:cubicBezTo>
                  <a:cubicBezTo>
                    <a:pt x="410" y="6302"/>
                    <a:pt x="284" y="6522"/>
                    <a:pt x="221" y="6711"/>
                  </a:cubicBezTo>
                  <a:lnTo>
                    <a:pt x="221" y="6743"/>
                  </a:lnTo>
                  <a:cubicBezTo>
                    <a:pt x="64" y="7152"/>
                    <a:pt x="1" y="7593"/>
                    <a:pt x="1" y="8003"/>
                  </a:cubicBezTo>
                  <a:cubicBezTo>
                    <a:pt x="1" y="9169"/>
                    <a:pt x="536" y="10271"/>
                    <a:pt x="1419" y="10964"/>
                  </a:cubicBezTo>
                  <a:cubicBezTo>
                    <a:pt x="2112" y="11532"/>
                    <a:pt x="2962" y="11847"/>
                    <a:pt x="3845" y="11847"/>
                  </a:cubicBezTo>
                  <a:cubicBezTo>
                    <a:pt x="4097" y="11847"/>
                    <a:pt x="4380" y="11784"/>
                    <a:pt x="4664" y="11752"/>
                  </a:cubicBezTo>
                  <a:cubicBezTo>
                    <a:pt x="5420" y="11595"/>
                    <a:pt x="6081" y="11248"/>
                    <a:pt x="6585" y="10681"/>
                  </a:cubicBezTo>
                  <a:cubicBezTo>
                    <a:pt x="7090" y="10145"/>
                    <a:pt x="7468" y="9484"/>
                    <a:pt x="7625" y="8728"/>
                  </a:cubicBezTo>
                  <a:cubicBezTo>
                    <a:pt x="7562" y="8350"/>
                    <a:pt x="7562" y="7972"/>
                    <a:pt x="7531" y="7656"/>
                  </a:cubicBezTo>
                  <a:cubicBezTo>
                    <a:pt x="7499" y="7184"/>
                    <a:pt x="7373" y="6743"/>
                    <a:pt x="7184" y="6333"/>
                  </a:cubicBezTo>
                  <a:cubicBezTo>
                    <a:pt x="6837" y="5609"/>
                    <a:pt x="6302" y="5073"/>
                    <a:pt x="5640" y="4664"/>
                  </a:cubicBezTo>
                  <a:cubicBezTo>
                    <a:pt x="5577" y="4632"/>
                    <a:pt x="5483" y="4506"/>
                    <a:pt x="5483" y="4411"/>
                  </a:cubicBezTo>
                  <a:lnTo>
                    <a:pt x="5483" y="1986"/>
                  </a:lnTo>
                  <a:cubicBezTo>
                    <a:pt x="5892" y="1828"/>
                    <a:pt x="6207" y="1482"/>
                    <a:pt x="6207" y="1009"/>
                  </a:cubicBezTo>
                  <a:cubicBezTo>
                    <a:pt x="6207" y="410"/>
                    <a:pt x="5735" y="1"/>
                    <a:pt x="51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0" name="Google Shape;9400;p76"/>
            <p:cNvSpPr/>
            <p:nvPr/>
          </p:nvSpPr>
          <p:spPr>
            <a:xfrm>
              <a:off x="-27976950" y="29106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1" name="Google Shape;9401;p76"/>
            <p:cNvSpPr/>
            <p:nvPr/>
          </p:nvSpPr>
          <p:spPr>
            <a:xfrm>
              <a:off x="-27924175" y="29279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2" name="Google Shape;9402;p76"/>
            <p:cNvSpPr/>
            <p:nvPr/>
          </p:nvSpPr>
          <p:spPr>
            <a:xfrm>
              <a:off x="-27976950" y="2946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3" name="Google Shape;9403;p76"/>
            <p:cNvSpPr/>
            <p:nvPr/>
          </p:nvSpPr>
          <p:spPr>
            <a:xfrm>
              <a:off x="-28010800" y="2893325"/>
              <a:ext cx="17350" cy="18150"/>
            </a:xfrm>
            <a:custGeom>
              <a:avLst/>
              <a:gdLst/>
              <a:ahLst/>
              <a:cxnLst/>
              <a:rect l="l" t="t" r="r" b="b"/>
              <a:pathLst>
                <a:path w="694" h="726" extrusionOk="0">
                  <a:moveTo>
                    <a:pt x="347" y="0"/>
                  </a:moveTo>
                  <a:cubicBezTo>
                    <a:pt x="158" y="0"/>
                    <a:pt x="0" y="158"/>
                    <a:pt x="0" y="379"/>
                  </a:cubicBezTo>
                  <a:cubicBezTo>
                    <a:pt x="0" y="568"/>
                    <a:pt x="158" y="725"/>
                    <a:pt x="347" y="725"/>
                  </a:cubicBezTo>
                  <a:cubicBezTo>
                    <a:pt x="536" y="725"/>
                    <a:pt x="693" y="568"/>
                    <a:pt x="693" y="379"/>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76"/>
          <p:cNvGrpSpPr/>
          <p:nvPr/>
        </p:nvGrpSpPr>
        <p:grpSpPr>
          <a:xfrm>
            <a:off x="7541805" y="1561968"/>
            <a:ext cx="354136" cy="353180"/>
            <a:chOff x="-26215025" y="1971025"/>
            <a:chExt cx="296175" cy="295375"/>
          </a:xfrm>
        </p:grpSpPr>
        <p:sp>
          <p:nvSpPr>
            <p:cNvPr id="9405" name="Google Shape;9405;p76"/>
            <p:cNvSpPr/>
            <p:nvPr/>
          </p:nvSpPr>
          <p:spPr>
            <a:xfrm>
              <a:off x="-26092950" y="1971025"/>
              <a:ext cx="51225" cy="225275"/>
            </a:xfrm>
            <a:custGeom>
              <a:avLst/>
              <a:gdLst/>
              <a:ahLst/>
              <a:cxnLst/>
              <a:rect l="l" t="t" r="r" b="b"/>
              <a:pathLst>
                <a:path w="2049" h="9011" extrusionOk="0">
                  <a:moveTo>
                    <a:pt x="1009" y="7246"/>
                  </a:moveTo>
                  <a:cubicBezTo>
                    <a:pt x="1198" y="7593"/>
                    <a:pt x="1355" y="7877"/>
                    <a:pt x="1355" y="8003"/>
                  </a:cubicBezTo>
                  <a:cubicBezTo>
                    <a:pt x="1355" y="8192"/>
                    <a:pt x="1198" y="8349"/>
                    <a:pt x="1009" y="8349"/>
                  </a:cubicBezTo>
                  <a:cubicBezTo>
                    <a:pt x="820" y="8349"/>
                    <a:pt x="662" y="8192"/>
                    <a:pt x="662" y="8003"/>
                  </a:cubicBezTo>
                  <a:cubicBezTo>
                    <a:pt x="694" y="7877"/>
                    <a:pt x="820" y="7562"/>
                    <a:pt x="1009" y="7246"/>
                  </a:cubicBezTo>
                  <a:close/>
                  <a:moveTo>
                    <a:pt x="977" y="0"/>
                  </a:moveTo>
                  <a:cubicBezTo>
                    <a:pt x="788" y="0"/>
                    <a:pt x="631" y="158"/>
                    <a:pt x="631" y="347"/>
                  </a:cubicBezTo>
                  <a:lnTo>
                    <a:pt x="631" y="6490"/>
                  </a:lnTo>
                  <a:cubicBezTo>
                    <a:pt x="536" y="6616"/>
                    <a:pt x="410" y="6774"/>
                    <a:pt x="316" y="6963"/>
                  </a:cubicBezTo>
                  <a:cubicBezTo>
                    <a:pt x="32" y="7562"/>
                    <a:pt x="1" y="7845"/>
                    <a:pt x="1" y="8003"/>
                  </a:cubicBezTo>
                  <a:cubicBezTo>
                    <a:pt x="1" y="8601"/>
                    <a:pt x="473" y="9011"/>
                    <a:pt x="1009" y="9011"/>
                  </a:cubicBezTo>
                  <a:cubicBezTo>
                    <a:pt x="1576" y="9011"/>
                    <a:pt x="2048" y="8538"/>
                    <a:pt x="2048" y="8003"/>
                  </a:cubicBezTo>
                  <a:cubicBezTo>
                    <a:pt x="2048" y="7845"/>
                    <a:pt x="1985" y="7593"/>
                    <a:pt x="1639" y="6963"/>
                  </a:cubicBezTo>
                  <a:cubicBezTo>
                    <a:pt x="1513" y="6774"/>
                    <a:pt x="1418" y="6585"/>
                    <a:pt x="1324" y="6490"/>
                  </a:cubicBezTo>
                  <a:lnTo>
                    <a:pt x="1324" y="347"/>
                  </a:lnTo>
                  <a:cubicBezTo>
                    <a:pt x="1324" y="158"/>
                    <a:pt x="1166" y="0"/>
                    <a:pt x="9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6" name="Google Shape;9406;p76"/>
            <p:cNvSpPr/>
            <p:nvPr/>
          </p:nvSpPr>
          <p:spPr>
            <a:xfrm>
              <a:off x="-26179575"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7" name="Google Shape;9407;p76"/>
            <p:cNvSpPr/>
            <p:nvPr/>
          </p:nvSpPr>
          <p:spPr>
            <a:xfrm>
              <a:off x="-26163050" y="2178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8" name="Google Shape;9408;p76"/>
            <p:cNvSpPr/>
            <p:nvPr/>
          </p:nvSpPr>
          <p:spPr>
            <a:xfrm>
              <a:off x="-26145725"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9" name="Google Shape;9409;p76"/>
            <p:cNvSpPr/>
            <p:nvPr/>
          </p:nvSpPr>
          <p:spPr>
            <a:xfrm>
              <a:off x="-25988975" y="217895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662" y="158"/>
                    <a:pt x="50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0" name="Google Shape;9410;p76"/>
            <p:cNvSpPr/>
            <p:nvPr/>
          </p:nvSpPr>
          <p:spPr>
            <a:xfrm>
              <a:off x="-260063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76"/>
            <p:cNvSpPr/>
            <p:nvPr/>
          </p:nvSpPr>
          <p:spPr>
            <a:xfrm>
              <a:off x="-25972450"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76"/>
            <p:cNvSpPr/>
            <p:nvPr/>
          </p:nvSpPr>
          <p:spPr>
            <a:xfrm>
              <a:off x="-26215025" y="2108850"/>
              <a:ext cx="296175" cy="157550"/>
            </a:xfrm>
            <a:custGeom>
              <a:avLst/>
              <a:gdLst/>
              <a:ahLst/>
              <a:cxnLst/>
              <a:rect l="l" t="t" r="r" b="b"/>
              <a:pathLst>
                <a:path w="11847" h="6302" extrusionOk="0">
                  <a:moveTo>
                    <a:pt x="4128" y="725"/>
                  </a:moveTo>
                  <a:cubicBezTo>
                    <a:pt x="3970" y="946"/>
                    <a:pt x="3844" y="1198"/>
                    <a:pt x="3781" y="1418"/>
                  </a:cubicBezTo>
                  <a:cubicBezTo>
                    <a:pt x="3781" y="1450"/>
                    <a:pt x="3749" y="1513"/>
                    <a:pt x="3749" y="1544"/>
                  </a:cubicBezTo>
                  <a:cubicBezTo>
                    <a:pt x="3403" y="1355"/>
                    <a:pt x="2993" y="1261"/>
                    <a:pt x="2615" y="1261"/>
                  </a:cubicBezTo>
                  <a:cubicBezTo>
                    <a:pt x="2111" y="1261"/>
                    <a:pt x="1450" y="1418"/>
                    <a:pt x="1166" y="1891"/>
                  </a:cubicBezTo>
                  <a:cubicBezTo>
                    <a:pt x="1040" y="2080"/>
                    <a:pt x="851" y="2175"/>
                    <a:pt x="694" y="2175"/>
                  </a:cubicBezTo>
                  <a:lnTo>
                    <a:pt x="694" y="1072"/>
                  </a:lnTo>
                  <a:cubicBezTo>
                    <a:pt x="694" y="851"/>
                    <a:pt x="851" y="725"/>
                    <a:pt x="1040" y="725"/>
                  </a:cubicBezTo>
                  <a:close/>
                  <a:moveTo>
                    <a:pt x="10775" y="725"/>
                  </a:moveTo>
                  <a:cubicBezTo>
                    <a:pt x="10964" y="725"/>
                    <a:pt x="11122" y="883"/>
                    <a:pt x="11122" y="1072"/>
                  </a:cubicBezTo>
                  <a:lnTo>
                    <a:pt x="11122" y="2175"/>
                  </a:lnTo>
                  <a:cubicBezTo>
                    <a:pt x="10933" y="2175"/>
                    <a:pt x="10775" y="2080"/>
                    <a:pt x="10649" y="1891"/>
                  </a:cubicBezTo>
                  <a:cubicBezTo>
                    <a:pt x="10429" y="1513"/>
                    <a:pt x="10050" y="1261"/>
                    <a:pt x="9546" y="1261"/>
                  </a:cubicBezTo>
                  <a:cubicBezTo>
                    <a:pt x="9074" y="1261"/>
                    <a:pt x="8696" y="1513"/>
                    <a:pt x="8444" y="1891"/>
                  </a:cubicBezTo>
                  <a:cubicBezTo>
                    <a:pt x="8412" y="1985"/>
                    <a:pt x="8349" y="2049"/>
                    <a:pt x="8286" y="2143"/>
                  </a:cubicBezTo>
                  <a:cubicBezTo>
                    <a:pt x="8255" y="1828"/>
                    <a:pt x="8097" y="1355"/>
                    <a:pt x="7719" y="725"/>
                  </a:cubicBezTo>
                  <a:close/>
                  <a:moveTo>
                    <a:pt x="9609" y="1922"/>
                  </a:moveTo>
                  <a:cubicBezTo>
                    <a:pt x="9830" y="1922"/>
                    <a:pt x="9987" y="2049"/>
                    <a:pt x="10113" y="2206"/>
                  </a:cubicBezTo>
                  <a:cubicBezTo>
                    <a:pt x="10334" y="2616"/>
                    <a:pt x="10744" y="2836"/>
                    <a:pt x="11185" y="2836"/>
                  </a:cubicBezTo>
                  <a:lnTo>
                    <a:pt x="11185" y="5546"/>
                  </a:lnTo>
                  <a:lnTo>
                    <a:pt x="694" y="5546"/>
                  </a:lnTo>
                  <a:lnTo>
                    <a:pt x="694" y="2931"/>
                  </a:lnTo>
                  <a:cubicBezTo>
                    <a:pt x="1135" y="2931"/>
                    <a:pt x="1576" y="2679"/>
                    <a:pt x="1765" y="2301"/>
                  </a:cubicBezTo>
                  <a:cubicBezTo>
                    <a:pt x="1828" y="2143"/>
                    <a:pt x="2143" y="2017"/>
                    <a:pt x="2615" y="2017"/>
                  </a:cubicBezTo>
                  <a:cubicBezTo>
                    <a:pt x="3056" y="2017"/>
                    <a:pt x="3371" y="2175"/>
                    <a:pt x="3497" y="2301"/>
                  </a:cubicBezTo>
                  <a:lnTo>
                    <a:pt x="3529" y="2364"/>
                  </a:lnTo>
                  <a:cubicBezTo>
                    <a:pt x="3529" y="2395"/>
                    <a:pt x="3560" y="2395"/>
                    <a:pt x="3560" y="2395"/>
                  </a:cubicBezTo>
                  <a:cubicBezTo>
                    <a:pt x="3560" y="2868"/>
                    <a:pt x="3686" y="3309"/>
                    <a:pt x="3939" y="3718"/>
                  </a:cubicBezTo>
                  <a:cubicBezTo>
                    <a:pt x="4317" y="4380"/>
                    <a:pt x="4947" y="4758"/>
                    <a:pt x="5671" y="4852"/>
                  </a:cubicBezTo>
                  <a:lnTo>
                    <a:pt x="5923" y="4852"/>
                  </a:lnTo>
                  <a:cubicBezTo>
                    <a:pt x="7121" y="4852"/>
                    <a:pt x="8097" y="4033"/>
                    <a:pt x="8286" y="2868"/>
                  </a:cubicBezTo>
                  <a:cubicBezTo>
                    <a:pt x="8727" y="2773"/>
                    <a:pt x="8916" y="2458"/>
                    <a:pt x="9074" y="2206"/>
                  </a:cubicBezTo>
                  <a:cubicBezTo>
                    <a:pt x="9200" y="2017"/>
                    <a:pt x="9357" y="1922"/>
                    <a:pt x="9609" y="1922"/>
                  </a:cubicBezTo>
                  <a:close/>
                  <a:moveTo>
                    <a:pt x="1040" y="1"/>
                  </a:moveTo>
                  <a:cubicBezTo>
                    <a:pt x="473" y="1"/>
                    <a:pt x="0" y="473"/>
                    <a:pt x="0" y="1072"/>
                  </a:cubicBezTo>
                  <a:lnTo>
                    <a:pt x="0" y="5955"/>
                  </a:lnTo>
                  <a:cubicBezTo>
                    <a:pt x="0" y="6144"/>
                    <a:pt x="158" y="6302"/>
                    <a:pt x="347" y="6302"/>
                  </a:cubicBezTo>
                  <a:lnTo>
                    <a:pt x="11500" y="6302"/>
                  </a:lnTo>
                  <a:cubicBezTo>
                    <a:pt x="11689" y="6302"/>
                    <a:pt x="11846" y="6144"/>
                    <a:pt x="11846" y="5955"/>
                  </a:cubicBezTo>
                  <a:lnTo>
                    <a:pt x="11846" y="1072"/>
                  </a:lnTo>
                  <a:cubicBezTo>
                    <a:pt x="11846" y="505"/>
                    <a:pt x="11374" y="1"/>
                    <a:pt x="10775" y="1"/>
                  </a:cubicBezTo>
                  <a:lnTo>
                    <a:pt x="7089" y="1"/>
                  </a:lnTo>
                  <a:cubicBezTo>
                    <a:pt x="6963" y="1"/>
                    <a:pt x="6837" y="64"/>
                    <a:pt x="6774" y="190"/>
                  </a:cubicBezTo>
                  <a:cubicBezTo>
                    <a:pt x="6679" y="316"/>
                    <a:pt x="6711" y="442"/>
                    <a:pt x="6774" y="568"/>
                  </a:cubicBezTo>
                  <a:lnTo>
                    <a:pt x="6805" y="599"/>
                  </a:lnTo>
                  <a:cubicBezTo>
                    <a:pt x="7341" y="1387"/>
                    <a:pt x="7625" y="2017"/>
                    <a:pt x="7625" y="2490"/>
                  </a:cubicBezTo>
                  <a:cubicBezTo>
                    <a:pt x="7625" y="3435"/>
                    <a:pt x="6868" y="4191"/>
                    <a:pt x="5923" y="4191"/>
                  </a:cubicBezTo>
                  <a:lnTo>
                    <a:pt x="5734" y="4191"/>
                  </a:lnTo>
                  <a:cubicBezTo>
                    <a:pt x="5230" y="4128"/>
                    <a:pt x="4789" y="3813"/>
                    <a:pt x="4506" y="3340"/>
                  </a:cubicBezTo>
                  <a:cubicBezTo>
                    <a:pt x="4191" y="2836"/>
                    <a:pt x="4159" y="2206"/>
                    <a:pt x="4411" y="1702"/>
                  </a:cubicBezTo>
                  <a:cubicBezTo>
                    <a:pt x="4506" y="1387"/>
                    <a:pt x="4758" y="977"/>
                    <a:pt x="5041" y="599"/>
                  </a:cubicBezTo>
                  <a:lnTo>
                    <a:pt x="5073" y="568"/>
                  </a:lnTo>
                  <a:cubicBezTo>
                    <a:pt x="5136" y="442"/>
                    <a:pt x="5136" y="316"/>
                    <a:pt x="5073" y="190"/>
                  </a:cubicBezTo>
                  <a:cubicBezTo>
                    <a:pt x="4978" y="95"/>
                    <a:pt x="4884"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76"/>
          <p:cNvGrpSpPr/>
          <p:nvPr/>
        </p:nvGrpSpPr>
        <p:grpSpPr>
          <a:xfrm>
            <a:off x="7541327" y="2009758"/>
            <a:ext cx="355093" cy="352253"/>
            <a:chOff x="-26215825" y="2341200"/>
            <a:chExt cx="296975" cy="294600"/>
          </a:xfrm>
        </p:grpSpPr>
        <p:sp>
          <p:nvSpPr>
            <p:cNvPr id="9414" name="Google Shape;9414;p76"/>
            <p:cNvSpPr/>
            <p:nvPr/>
          </p:nvSpPr>
          <p:spPr>
            <a:xfrm>
              <a:off x="-26215025" y="2463275"/>
              <a:ext cx="296175" cy="172525"/>
            </a:xfrm>
            <a:custGeom>
              <a:avLst/>
              <a:gdLst/>
              <a:ahLst/>
              <a:cxnLst/>
              <a:rect l="l" t="t" r="r" b="b"/>
              <a:pathLst>
                <a:path w="11847" h="6901" extrusionOk="0">
                  <a:moveTo>
                    <a:pt x="10113" y="725"/>
                  </a:moveTo>
                  <a:cubicBezTo>
                    <a:pt x="10712" y="725"/>
                    <a:pt x="11122" y="1198"/>
                    <a:pt x="11122" y="1734"/>
                  </a:cubicBezTo>
                  <a:cubicBezTo>
                    <a:pt x="11122" y="2332"/>
                    <a:pt x="10649" y="2773"/>
                    <a:pt x="10113" y="2773"/>
                  </a:cubicBezTo>
                  <a:lnTo>
                    <a:pt x="6994" y="2773"/>
                  </a:lnTo>
                  <a:cubicBezTo>
                    <a:pt x="6616" y="2773"/>
                    <a:pt x="6301" y="2458"/>
                    <a:pt x="6301" y="2049"/>
                  </a:cubicBezTo>
                  <a:cubicBezTo>
                    <a:pt x="6301" y="1860"/>
                    <a:pt x="6396" y="1671"/>
                    <a:pt x="6553" y="1545"/>
                  </a:cubicBezTo>
                  <a:cubicBezTo>
                    <a:pt x="6837" y="1891"/>
                    <a:pt x="7247" y="2080"/>
                    <a:pt x="7688" y="2080"/>
                  </a:cubicBezTo>
                  <a:cubicBezTo>
                    <a:pt x="8255" y="2080"/>
                    <a:pt x="8727" y="1671"/>
                    <a:pt x="9137" y="1293"/>
                  </a:cubicBezTo>
                  <a:cubicBezTo>
                    <a:pt x="9452" y="977"/>
                    <a:pt x="9767" y="725"/>
                    <a:pt x="10113" y="725"/>
                  </a:cubicBezTo>
                  <a:close/>
                  <a:moveTo>
                    <a:pt x="7656" y="3466"/>
                  </a:moveTo>
                  <a:lnTo>
                    <a:pt x="7656" y="4853"/>
                  </a:lnTo>
                  <a:lnTo>
                    <a:pt x="6963" y="4853"/>
                  </a:lnTo>
                  <a:lnTo>
                    <a:pt x="6963" y="3466"/>
                  </a:lnTo>
                  <a:close/>
                  <a:moveTo>
                    <a:pt x="9074" y="3466"/>
                  </a:moveTo>
                  <a:lnTo>
                    <a:pt x="9074" y="4853"/>
                  </a:lnTo>
                  <a:lnTo>
                    <a:pt x="8381" y="4853"/>
                  </a:lnTo>
                  <a:lnTo>
                    <a:pt x="8381" y="3466"/>
                  </a:lnTo>
                  <a:close/>
                  <a:moveTo>
                    <a:pt x="10460" y="3435"/>
                  </a:moveTo>
                  <a:lnTo>
                    <a:pt x="10460" y="4853"/>
                  </a:lnTo>
                  <a:lnTo>
                    <a:pt x="9767" y="4853"/>
                  </a:lnTo>
                  <a:lnTo>
                    <a:pt x="9767" y="3466"/>
                  </a:lnTo>
                  <a:lnTo>
                    <a:pt x="10113" y="3466"/>
                  </a:lnTo>
                  <a:cubicBezTo>
                    <a:pt x="10240" y="3466"/>
                    <a:pt x="10334" y="3466"/>
                    <a:pt x="10460" y="3435"/>
                  </a:cubicBezTo>
                  <a:close/>
                  <a:moveTo>
                    <a:pt x="2993" y="4128"/>
                  </a:moveTo>
                  <a:cubicBezTo>
                    <a:pt x="3371" y="4128"/>
                    <a:pt x="3781" y="4254"/>
                    <a:pt x="4128" y="4412"/>
                  </a:cubicBezTo>
                  <a:lnTo>
                    <a:pt x="5829" y="5325"/>
                  </a:lnTo>
                  <a:cubicBezTo>
                    <a:pt x="6049" y="5451"/>
                    <a:pt x="6364" y="5514"/>
                    <a:pt x="6648" y="5514"/>
                  </a:cubicBezTo>
                  <a:lnTo>
                    <a:pt x="10838" y="5514"/>
                  </a:lnTo>
                  <a:cubicBezTo>
                    <a:pt x="11027" y="5514"/>
                    <a:pt x="11185" y="5672"/>
                    <a:pt x="11185" y="5861"/>
                  </a:cubicBezTo>
                  <a:cubicBezTo>
                    <a:pt x="11185" y="6050"/>
                    <a:pt x="10964" y="6239"/>
                    <a:pt x="10775" y="6239"/>
                  </a:cubicBezTo>
                  <a:lnTo>
                    <a:pt x="6616" y="6239"/>
                  </a:lnTo>
                  <a:cubicBezTo>
                    <a:pt x="6459" y="6239"/>
                    <a:pt x="6238" y="6176"/>
                    <a:pt x="6144" y="6113"/>
                  </a:cubicBezTo>
                  <a:lnTo>
                    <a:pt x="4443" y="5199"/>
                  </a:lnTo>
                  <a:cubicBezTo>
                    <a:pt x="4002" y="4979"/>
                    <a:pt x="3497" y="4853"/>
                    <a:pt x="2993" y="4853"/>
                  </a:cubicBezTo>
                  <a:lnTo>
                    <a:pt x="694" y="4853"/>
                  </a:lnTo>
                  <a:lnTo>
                    <a:pt x="694" y="4128"/>
                  </a:lnTo>
                  <a:close/>
                  <a:moveTo>
                    <a:pt x="10113" y="1"/>
                  </a:moveTo>
                  <a:cubicBezTo>
                    <a:pt x="9515" y="1"/>
                    <a:pt x="9042" y="442"/>
                    <a:pt x="8664" y="788"/>
                  </a:cubicBezTo>
                  <a:cubicBezTo>
                    <a:pt x="8349" y="1104"/>
                    <a:pt x="8034" y="1387"/>
                    <a:pt x="7656" y="1387"/>
                  </a:cubicBezTo>
                  <a:cubicBezTo>
                    <a:pt x="7404" y="1387"/>
                    <a:pt x="7121" y="1230"/>
                    <a:pt x="7026" y="946"/>
                  </a:cubicBezTo>
                  <a:cubicBezTo>
                    <a:pt x="6973" y="815"/>
                    <a:pt x="6855" y="749"/>
                    <a:pt x="6708" y="749"/>
                  </a:cubicBezTo>
                  <a:cubicBezTo>
                    <a:pt x="6679" y="749"/>
                    <a:pt x="6648" y="752"/>
                    <a:pt x="6616" y="757"/>
                  </a:cubicBezTo>
                  <a:cubicBezTo>
                    <a:pt x="6018" y="914"/>
                    <a:pt x="5577" y="1450"/>
                    <a:pt x="5577" y="2080"/>
                  </a:cubicBezTo>
                  <a:cubicBezTo>
                    <a:pt x="5577" y="2616"/>
                    <a:pt x="5860" y="3025"/>
                    <a:pt x="6301" y="3277"/>
                  </a:cubicBezTo>
                  <a:lnTo>
                    <a:pt x="6301" y="4758"/>
                  </a:lnTo>
                  <a:cubicBezTo>
                    <a:pt x="6270" y="4758"/>
                    <a:pt x="6207" y="4727"/>
                    <a:pt x="6144" y="4695"/>
                  </a:cubicBezTo>
                  <a:lnTo>
                    <a:pt x="4443" y="3781"/>
                  </a:lnTo>
                  <a:cubicBezTo>
                    <a:pt x="4002" y="3561"/>
                    <a:pt x="3497" y="3435"/>
                    <a:pt x="2993" y="3435"/>
                  </a:cubicBezTo>
                  <a:lnTo>
                    <a:pt x="347" y="3435"/>
                  </a:lnTo>
                  <a:cubicBezTo>
                    <a:pt x="158" y="3435"/>
                    <a:pt x="0" y="3592"/>
                    <a:pt x="0" y="3781"/>
                  </a:cubicBezTo>
                  <a:lnTo>
                    <a:pt x="0" y="5168"/>
                  </a:lnTo>
                  <a:cubicBezTo>
                    <a:pt x="0" y="5357"/>
                    <a:pt x="158" y="5514"/>
                    <a:pt x="347" y="5514"/>
                  </a:cubicBezTo>
                  <a:lnTo>
                    <a:pt x="2993" y="5514"/>
                  </a:lnTo>
                  <a:cubicBezTo>
                    <a:pt x="3371" y="5514"/>
                    <a:pt x="3781" y="5640"/>
                    <a:pt x="4128" y="5798"/>
                  </a:cubicBezTo>
                  <a:lnTo>
                    <a:pt x="5829" y="6711"/>
                  </a:lnTo>
                  <a:cubicBezTo>
                    <a:pt x="6049" y="6806"/>
                    <a:pt x="6364" y="6900"/>
                    <a:pt x="6648" y="6900"/>
                  </a:cubicBezTo>
                  <a:lnTo>
                    <a:pt x="10838" y="6900"/>
                  </a:lnTo>
                  <a:cubicBezTo>
                    <a:pt x="11405" y="6900"/>
                    <a:pt x="11846" y="6428"/>
                    <a:pt x="11846" y="5861"/>
                  </a:cubicBezTo>
                  <a:cubicBezTo>
                    <a:pt x="11846" y="5451"/>
                    <a:pt x="11563" y="5042"/>
                    <a:pt x="11122" y="4884"/>
                  </a:cubicBezTo>
                  <a:lnTo>
                    <a:pt x="11122" y="3088"/>
                  </a:lnTo>
                  <a:cubicBezTo>
                    <a:pt x="11563" y="2805"/>
                    <a:pt x="11846" y="2301"/>
                    <a:pt x="11846" y="1734"/>
                  </a:cubicBezTo>
                  <a:cubicBezTo>
                    <a:pt x="11846" y="788"/>
                    <a:pt x="11059" y="1"/>
                    <a:pt x="10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76"/>
            <p:cNvSpPr/>
            <p:nvPr/>
          </p:nvSpPr>
          <p:spPr>
            <a:xfrm>
              <a:off x="-26215825" y="2341200"/>
              <a:ext cx="296975" cy="119750"/>
            </a:xfrm>
            <a:custGeom>
              <a:avLst/>
              <a:gdLst/>
              <a:ahLst/>
              <a:cxnLst/>
              <a:rect l="l" t="t" r="r" b="b"/>
              <a:pathLst>
                <a:path w="11879" h="4790" extrusionOk="0">
                  <a:moveTo>
                    <a:pt x="10807" y="1702"/>
                  </a:moveTo>
                  <a:cubicBezTo>
                    <a:pt x="10996" y="1702"/>
                    <a:pt x="11154" y="1859"/>
                    <a:pt x="11154" y="2048"/>
                  </a:cubicBezTo>
                  <a:cubicBezTo>
                    <a:pt x="11154" y="2237"/>
                    <a:pt x="10996" y="2395"/>
                    <a:pt x="10807" y="2395"/>
                  </a:cubicBezTo>
                  <a:lnTo>
                    <a:pt x="10461" y="2395"/>
                  </a:lnTo>
                  <a:lnTo>
                    <a:pt x="10461" y="1702"/>
                  </a:lnTo>
                  <a:close/>
                  <a:moveTo>
                    <a:pt x="2112" y="788"/>
                  </a:moveTo>
                  <a:lnTo>
                    <a:pt x="9484" y="1292"/>
                  </a:lnTo>
                  <a:cubicBezTo>
                    <a:pt x="9641" y="1355"/>
                    <a:pt x="9799" y="1450"/>
                    <a:pt x="9799" y="1670"/>
                  </a:cubicBezTo>
                  <a:lnTo>
                    <a:pt x="9799" y="2489"/>
                  </a:lnTo>
                  <a:cubicBezTo>
                    <a:pt x="9799" y="2647"/>
                    <a:pt x="9673" y="2805"/>
                    <a:pt x="9515" y="2836"/>
                  </a:cubicBezTo>
                  <a:lnTo>
                    <a:pt x="2112" y="3907"/>
                  </a:lnTo>
                  <a:lnTo>
                    <a:pt x="2112" y="788"/>
                  </a:lnTo>
                  <a:close/>
                  <a:moveTo>
                    <a:pt x="726" y="725"/>
                  </a:moveTo>
                  <a:lnTo>
                    <a:pt x="1450" y="757"/>
                  </a:lnTo>
                  <a:lnTo>
                    <a:pt x="1450" y="3970"/>
                  </a:lnTo>
                  <a:lnTo>
                    <a:pt x="726" y="4065"/>
                  </a:lnTo>
                  <a:lnTo>
                    <a:pt x="726" y="725"/>
                  </a:lnTo>
                  <a:close/>
                  <a:moveTo>
                    <a:pt x="379" y="1"/>
                  </a:moveTo>
                  <a:cubicBezTo>
                    <a:pt x="316" y="1"/>
                    <a:pt x="190" y="32"/>
                    <a:pt x="95" y="64"/>
                  </a:cubicBezTo>
                  <a:cubicBezTo>
                    <a:pt x="32" y="158"/>
                    <a:pt x="1" y="221"/>
                    <a:pt x="1" y="316"/>
                  </a:cubicBezTo>
                  <a:lnTo>
                    <a:pt x="1" y="4506"/>
                  </a:lnTo>
                  <a:cubicBezTo>
                    <a:pt x="32" y="4569"/>
                    <a:pt x="64" y="4695"/>
                    <a:pt x="127" y="4726"/>
                  </a:cubicBezTo>
                  <a:cubicBezTo>
                    <a:pt x="221" y="4758"/>
                    <a:pt x="284" y="4789"/>
                    <a:pt x="379" y="4789"/>
                  </a:cubicBezTo>
                  <a:lnTo>
                    <a:pt x="410" y="4789"/>
                  </a:lnTo>
                  <a:lnTo>
                    <a:pt x="9578" y="3498"/>
                  </a:lnTo>
                  <a:cubicBezTo>
                    <a:pt x="9862" y="3466"/>
                    <a:pt x="10145" y="3309"/>
                    <a:pt x="10303" y="3057"/>
                  </a:cubicBezTo>
                  <a:lnTo>
                    <a:pt x="10870" y="3057"/>
                  </a:lnTo>
                  <a:cubicBezTo>
                    <a:pt x="11437" y="3057"/>
                    <a:pt x="11878" y="2584"/>
                    <a:pt x="11878" y="2048"/>
                  </a:cubicBezTo>
                  <a:cubicBezTo>
                    <a:pt x="11878" y="1481"/>
                    <a:pt x="11406" y="1009"/>
                    <a:pt x="10870" y="1009"/>
                  </a:cubicBezTo>
                  <a:lnTo>
                    <a:pt x="10272" y="1009"/>
                  </a:lnTo>
                  <a:cubicBezTo>
                    <a:pt x="10114" y="788"/>
                    <a:pt x="9830" y="662"/>
                    <a:pt x="9515" y="631"/>
                  </a:cubicBezTo>
                  <a:lnTo>
                    <a:pt x="37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6" name="Google Shape;9416;p76"/>
          <p:cNvGrpSpPr/>
          <p:nvPr/>
        </p:nvGrpSpPr>
        <p:grpSpPr>
          <a:xfrm>
            <a:off x="7573357" y="2450508"/>
            <a:ext cx="291033" cy="353180"/>
            <a:chOff x="-26179575" y="2710600"/>
            <a:chExt cx="243400" cy="295375"/>
          </a:xfrm>
        </p:grpSpPr>
        <p:sp>
          <p:nvSpPr>
            <p:cNvPr id="9417" name="Google Shape;9417;p76"/>
            <p:cNvSpPr/>
            <p:nvPr/>
          </p:nvSpPr>
          <p:spPr>
            <a:xfrm>
              <a:off x="-26179575" y="2710600"/>
              <a:ext cx="243400" cy="295375"/>
            </a:xfrm>
            <a:custGeom>
              <a:avLst/>
              <a:gdLst/>
              <a:ahLst/>
              <a:cxnLst/>
              <a:rect l="l" t="t" r="r" b="b"/>
              <a:pathLst>
                <a:path w="9736" h="11815" extrusionOk="0">
                  <a:moveTo>
                    <a:pt x="7719" y="693"/>
                  </a:moveTo>
                  <a:cubicBezTo>
                    <a:pt x="7845" y="977"/>
                    <a:pt x="7971" y="1166"/>
                    <a:pt x="8191" y="1418"/>
                  </a:cubicBezTo>
                  <a:lnTo>
                    <a:pt x="1008" y="1418"/>
                  </a:lnTo>
                  <a:cubicBezTo>
                    <a:pt x="819" y="1418"/>
                    <a:pt x="662" y="1261"/>
                    <a:pt x="662" y="1072"/>
                  </a:cubicBezTo>
                  <a:cubicBezTo>
                    <a:pt x="662" y="851"/>
                    <a:pt x="819" y="693"/>
                    <a:pt x="1008" y="693"/>
                  </a:cubicBezTo>
                  <a:close/>
                  <a:moveTo>
                    <a:pt x="8979" y="2080"/>
                  </a:moveTo>
                  <a:lnTo>
                    <a:pt x="8979" y="11153"/>
                  </a:lnTo>
                  <a:lnTo>
                    <a:pt x="2048" y="11153"/>
                  </a:lnTo>
                  <a:lnTo>
                    <a:pt x="2048" y="2080"/>
                  </a:lnTo>
                  <a:close/>
                  <a:moveTo>
                    <a:pt x="662" y="2048"/>
                  </a:moveTo>
                  <a:cubicBezTo>
                    <a:pt x="788" y="2080"/>
                    <a:pt x="882" y="2111"/>
                    <a:pt x="1008" y="2111"/>
                  </a:cubicBezTo>
                  <a:lnTo>
                    <a:pt x="1355" y="2111"/>
                  </a:lnTo>
                  <a:lnTo>
                    <a:pt x="1355" y="11185"/>
                  </a:lnTo>
                  <a:cubicBezTo>
                    <a:pt x="977" y="11153"/>
                    <a:pt x="662" y="10838"/>
                    <a:pt x="662" y="10460"/>
                  </a:cubicBezTo>
                  <a:lnTo>
                    <a:pt x="662" y="2048"/>
                  </a:lnTo>
                  <a:close/>
                  <a:moveTo>
                    <a:pt x="1008" y="0"/>
                  </a:moveTo>
                  <a:cubicBezTo>
                    <a:pt x="410" y="0"/>
                    <a:pt x="0" y="473"/>
                    <a:pt x="0" y="1009"/>
                  </a:cubicBezTo>
                  <a:lnTo>
                    <a:pt x="0" y="10428"/>
                  </a:lnTo>
                  <a:cubicBezTo>
                    <a:pt x="0" y="11185"/>
                    <a:pt x="630" y="11815"/>
                    <a:pt x="1355" y="11815"/>
                  </a:cubicBezTo>
                  <a:lnTo>
                    <a:pt x="9357" y="11815"/>
                  </a:lnTo>
                  <a:cubicBezTo>
                    <a:pt x="9578" y="11815"/>
                    <a:pt x="9735" y="11657"/>
                    <a:pt x="9735" y="11468"/>
                  </a:cubicBezTo>
                  <a:lnTo>
                    <a:pt x="9672" y="1733"/>
                  </a:lnTo>
                  <a:cubicBezTo>
                    <a:pt x="9672" y="1576"/>
                    <a:pt x="9609" y="1450"/>
                    <a:pt x="9452" y="1418"/>
                  </a:cubicBezTo>
                  <a:cubicBezTo>
                    <a:pt x="8885" y="1229"/>
                    <a:pt x="8443" y="788"/>
                    <a:pt x="8254" y="221"/>
                  </a:cubicBezTo>
                  <a:cubicBezTo>
                    <a:pt x="8223" y="63"/>
                    <a:pt x="8065" y="0"/>
                    <a:pt x="7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8" name="Google Shape;9418;p76"/>
            <p:cNvSpPr/>
            <p:nvPr/>
          </p:nvSpPr>
          <p:spPr>
            <a:xfrm>
              <a:off x="-26092950" y="2797225"/>
              <a:ext cx="120525" cy="121325"/>
            </a:xfrm>
            <a:custGeom>
              <a:avLst/>
              <a:gdLst/>
              <a:ahLst/>
              <a:cxnLst/>
              <a:rect l="l" t="t" r="r" b="b"/>
              <a:pathLst>
                <a:path w="4821" h="4853" extrusionOk="0">
                  <a:moveTo>
                    <a:pt x="2742" y="694"/>
                  </a:moveTo>
                  <a:lnTo>
                    <a:pt x="2742" y="1734"/>
                  </a:lnTo>
                  <a:cubicBezTo>
                    <a:pt x="2742" y="1923"/>
                    <a:pt x="2899" y="2080"/>
                    <a:pt x="3088" y="2080"/>
                  </a:cubicBezTo>
                  <a:lnTo>
                    <a:pt x="4128" y="2080"/>
                  </a:lnTo>
                  <a:lnTo>
                    <a:pt x="4128" y="2805"/>
                  </a:lnTo>
                  <a:lnTo>
                    <a:pt x="3088" y="2805"/>
                  </a:lnTo>
                  <a:cubicBezTo>
                    <a:pt x="2899" y="2805"/>
                    <a:pt x="2742" y="2962"/>
                    <a:pt x="2742" y="3151"/>
                  </a:cubicBezTo>
                  <a:lnTo>
                    <a:pt x="2742" y="4160"/>
                  </a:lnTo>
                  <a:lnTo>
                    <a:pt x="2048" y="4160"/>
                  </a:lnTo>
                  <a:lnTo>
                    <a:pt x="2048" y="3151"/>
                  </a:lnTo>
                  <a:cubicBezTo>
                    <a:pt x="2048" y="2962"/>
                    <a:pt x="1891" y="2805"/>
                    <a:pt x="1670" y="2805"/>
                  </a:cubicBezTo>
                  <a:lnTo>
                    <a:pt x="662" y="2805"/>
                  </a:lnTo>
                  <a:lnTo>
                    <a:pt x="662" y="2080"/>
                  </a:lnTo>
                  <a:lnTo>
                    <a:pt x="1670" y="2080"/>
                  </a:lnTo>
                  <a:cubicBezTo>
                    <a:pt x="1891" y="2080"/>
                    <a:pt x="2048" y="1923"/>
                    <a:pt x="2048" y="1734"/>
                  </a:cubicBezTo>
                  <a:lnTo>
                    <a:pt x="2048" y="694"/>
                  </a:lnTo>
                  <a:close/>
                  <a:moveTo>
                    <a:pt x="1733" y="1"/>
                  </a:moveTo>
                  <a:cubicBezTo>
                    <a:pt x="1513" y="1"/>
                    <a:pt x="1355" y="158"/>
                    <a:pt x="1355" y="347"/>
                  </a:cubicBezTo>
                  <a:lnTo>
                    <a:pt x="1355" y="1387"/>
                  </a:lnTo>
                  <a:lnTo>
                    <a:pt x="347" y="1387"/>
                  </a:lnTo>
                  <a:cubicBezTo>
                    <a:pt x="158" y="1387"/>
                    <a:pt x="1" y="1545"/>
                    <a:pt x="1" y="1734"/>
                  </a:cubicBezTo>
                  <a:lnTo>
                    <a:pt x="1" y="3120"/>
                  </a:lnTo>
                  <a:cubicBezTo>
                    <a:pt x="1" y="3309"/>
                    <a:pt x="158" y="3466"/>
                    <a:pt x="347" y="3466"/>
                  </a:cubicBezTo>
                  <a:lnTo>
                    <a:pt x="1355" y="3466"/>
                  </a:lnTo>
                  <a:lnTo>
                    <a:pt x="1355" y="4475"/>
                  </a:lnTo>
                  <a:cubicBezTo>
                    <a:pt x="1355" y="4695"/>
                    <a:pt x="1513" y="4853"/>
                    <a:pt x="1733" y="4853"/>
                  </a:cubicBezTo>
                  <a:lnTo>
                    <a:pt x="3088" y="4853"/>
                  </a:lnTo>
                  <a:cubicBezTo>
                    <a:pt x="3309" y="4853"/>
                    <a:pt x="3466" y="4695"/>
                    <a:pt x="3466" y="4475"/>
                  </a:cubicBezTo>
                  <a:lnTo>
                    <a:pt x="3466" y="3466"/>
                  </a:lnTo>
                  <a:lnTo>
                    <a:pt x="4474" y="3466"/>
                  </a:lnTo>
                  <a:cubicBezTo>
                    <a:pt x="4663" y="3466"/>
                    <a:pt x="4821" y="3309"/>
                    <a:pt x="4821" y="3120"/>
                  </a:cubicBezTo>
                  <a:lnTo>
                    <a:pt x="4821" y="1734"/>
                  </a:lnTo>
                  <a:cubicBezTo>
                    <a:pt x="4821" y="1545"/>
                    <a:pt x="4663" y="1387"/>
                    <a:pt x="4474" y="1387"/>
                  </a:cubicBezTo>
                  <a:lnTo>
                    <a:pt x="3466" y="1387"/>
                  </a:lnTo>
                  <a:lnTo>
                    <a:pt x="3466" y="347"/>
                  </a:lnTo>
                  <a:cubicBezTo>
                    <a:pt x="3466" y="158"/>
                    <a:pt x="3309"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76"/>
            <p:cNvSpPr/>
            <p:nvPr/>
          </p:nvSpPr>
          <p:spPr>
            <a:xfrm>
              <a:off x="-26094525" y="2954750"/>
              <a:ext cx="122100" cy="17350"/>
            </a:xfrm>
            <a:custGeom>
              <a:avLst/>
              <a:gdLst/>
              <a:ahLst/>
              <a:cxnLst/>
              <a:rect l="l" t="t" r="r" b="b"/>
              <a:pathLst>
                <a:path w="4884" h="694" extrusionOk="0">
                  <a:moveTo>
                    <a:pt x="379" y="1"/>
                  </a:moveTo>
                  <a:cubicBezTo>
                    <a:pt x="158" y="1"/>
                    <a:pt x="1" y="158"/>
                    <a:pt x="1" y="347"/>
                  </a:cubicBezTo>
                  <a:cubicBezTo>
                    <a:pt x="1" y="536"/>
                    <a:pt x="158" y="694"/>
                    <a:pt x="379" y="694"/>
                  </a:cubicBezTo>
                  <a:lnTo>
                    <a:pt x="4537" y="694"/>
                  </a:lnTo>
                  <a:cubicBezTo>
                    <a:pt x="4726" y="694"/>
                    <a:pt x="4884" y="536"/>
                    <a:pt x="4884" y="347"/>
                  </a:cubicBezTo>
                  <a:cubicBezTo>
                    <a:pt x="4884" y="158"/>
                    <a:pt x="4726" y="1"/>
                    <a:pt x="45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76"/>
          <p:cNvGrpSpPr/>
          <p:nvPr/>
        </p:nvGrpSpPr>
        <p:grpSpPr>
          <a:xfrm>
            <a:off x="6212417" y="2891881"/>
            <a:ext cx="337187" cy="353180"/>
            <a:chOff x="-24328675" y="1971025"/>
            <a:chExt cx="282000" cy="295375"/>
          </a:xfrm>
        </p:grpSpPr>
        <p:sp>
          <p:nvSpPr>
            <p:cNvPr id="9421" name="Google Shape;9421;p76"/>
            <p:cNvSpPr/>
            <p:nvPr/>
          </p:nvSpPr>
          <p:spPr>
            <a:xfrm>
              <a:off x="-24217625" y="2092325"/>
              <a:ext cx="52025" cy="51200"/>
            </a:xfrm>
            <a:custGeom>
              <a:avLst/>
              <a:gdLst/>
              <a:ahLst/>
              <a:cxnLst/>
              <a:rect l="l" t="t" r="r" b="b"/>
              <a:pathLst>
                <a:path w="2081" h="2048" extrusionOk="0">
                  <a:moveTo>
                    <a:pt x="1009" y="693"/>
                  </a:moveTo>
                  <a:cubicBezTo>
                    <a:pt x="1230" y="693"/>
                    <a:pt x="1387" y="851"/>
                    <a:pt x="1387" y="1071"/>
                  </a:cubicBezTo>
                  <a:cubicBezTo>
                    <a:pt x="1387" y="1260"/>
                    <a:pt x="1230" y="1418"/>
                    <a:pt x="1009" y="1418"/>
                  </a:cubicBezTo>
                  <a:cubicBezTo>
                    <a:pt x="820" y="1418"/>
                    <a:pt x="663" y="1260"/>
                    <a:pt x="663" y="1071"/>
                  </a:cubicBezTo>
                  <a:cubicBezTo>
                    <a:pt x="663" y="851"/>
                    <a:pt x="820" y="693"/>
                    <a:pt x="1009" y="693"/>
                  </a:cubicBezTo>
                  <a:close/>
                  <a:moveTo>
                    <a:pt x="1009" y="0"/>
                  </a:moveTo>
                  <a:cubicBezTo>
                    <a:pt x="442" y="0"/>
                    <a:pt x="1" y="473"/>
                    <a:pt x="1" y="1008"/>
                  </a:cubicBezTo>
                  <a:cubicBezTo>
                    <a:pt x="1" y="1607"/>
                    <a:pt x="474" y="2048"/>
                    <a:pt x="1009" y="2048"/>
                  </a:cubicBezTo>
                  <a:cubicBezTo>
                    <a:pt x="1576" y="2048"/>
                    <a:pt x="2049" y="1575"/>
                    <a:pt x="2049" y="1008"/>
                  </a:cubicBezTo>
                  <a:cubicBezTo>
                    <a:pt x="2080" y="473"/>
                    <a:pt x="1608"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2" name="Google Shape;9422;p76"/>
            <p:cNvSpPr/>
            <p:nvPr/>
          </p:nvSpPr>
          <p:spPr>
            <a:xfrm>
              <a:off x="-24328675" y="1971025"/>
              <a:ext cx="282000" cy="295375"/>
            </a:xfrm>
            <a:custGeom>
              <a:avLst/>
              <a:gdLst/>
              <a:ahLst/>
              <a:cxnLst/>
              <a:rect l="l" t="t" r="r" b="b"/>
              <a:pathLst>
                <a:path w="11280" h="11815" extrusionOk="0">
                  <a:moveTo>
                    <a:pt x="2017" y="2080"/>
                  </a:moveTo>
                  <a:cubicBezTo>
                    <a:pt x="2206" y="2080"/>
                    <a:pt x="2364" y="2237"/>
                    <a:pt x="2364" y="2458"/>
                  </a:cubicBezTo>
                  <a:cubicBezTo>
                    <a:pt x="2364" y="2647"/>
                    <a:pt x="2206" y="2804"/>
                    <a:pt x="2017" y="2804"/>
                  </a:cubicBezTo>
                  <a:cubicBezTo>
                    <a:pt x="1797" y="2804"/>
                    <a:pt x="1639" y="2647"/>
                    <a:pt x="1639" y="2458"/>
                  </a:cubicBezTo>
                  <a:cubicBezTo>
                    <a:pt x="1639" y="2237"/>
                    <a:pt x="1797" y="2080"/>
                    <a:pt x="2017" y="2080"/>
                  </a:cubicBezTo>
                  <a:close/>
                  <a:moveTo>
                    <a:pt x="5451" y="662"/>
                  </a:moveTo>
                  <a:cubicBezTo>
                    <a:pt x="5861" y="662"/>
                    <a:pt x="6302" y="1198"/>
                    <a:pt x="6617" y="2080"/>
                  </a:cubicBezTo>
                  <a:cubicBezTo>
                    <a:pt x="6680" y="2237"/>
                    <a:pt x="6743" y="2458"/>
                    <a:pt x="6806" y="2647"/>
                  </a:cubicBezTo>
                  <a:cubicBezTo>
                    <a:pt x="6365" y="2804"/>
                    <a:pt x="5955" y="2962"/>
                    <a:pt x="5451" y="3151"/>
                  </a:cubicBezTo>
                  <a:cubicBezTo>
                    <a:pt x="5042" y="2962"/>
                    <a:pt x="4569" y="2773"/>
                    <a:pt x="4128" y="2647"/>
                  </a:cubicBezTo>
                  <a:cubicBezTo>
                    <a:pt x="4191" y="2458"/>
                    <a:pt x="4254" y="2237"/>
                    <a:pt x="4317" y="2080"/>
                  </a:cubicBezTo>
                  <a:cubicBezTo>
                    <a:pt x="4632" y="1229"/>
                    <a:pt x="5073" y="662"/>
                    <a:pt x="5451" y="662"/>
                  </a:cubicBezTo>
                  <a:close/>
                  <a:moveTo>
                    <a:pt x="3970" y="3308"/>
                  </a:moveTo>
                  <a:cubicBezTo>
                    <a:pt x="4191" y="3403"/>
                    <a:pt x="4411" y="3466"/>
                    <a:pt x="4632" y="3560"/>
                  </a:cubicBezTo>
                  <a:cubicBezTo>
                    <a:pt x="4506" y="3623"/>
                    <a:pt x="4380" y="3718"/>
                    <a:pt x="4254" y="3781"/>
                  </a:cubicBezTo>
                  <a:cubicBezTo>
                    <a:pt x="4128" y="3875"/>
                    <a:pt x="4002" y="3938"/>
                    <a:pt x="3844" y="4033"/>
                  </a:cubicBezTo>
                  <a:lnTo>
                    <a:pt x="3970" y="3308"/>
                  </a:lnTo>
                  <a:close/>
                  <a:moveTo>
                    <a:pt x="6963" y="3340"/>
                  </a:moveTo>
                  <a:lnTo>
                    <a:pt x="7089" y="4064"/>
                  </a:lnTo>
                  <a:cubicBezTo>
                    <a:pt x="6963" y="3970"/>
                    <a:pt x="6806" y="3907"/>
                    <a:pt x="6680" y="3812"/>
                  </a:cubicBezTo>
                  <a:cubicBezTo>
                    <a:pt x="6554" y="3718"/>
                    <a:pt x="6396" y="3655"/>
                    <a:pt x="6302" y="3592"/>
                  </a:cubicBezTo>
                  <a:cubicBezTo>
                    <a:pt x="6522" y="3497"/>
                    <a:pt x="6774" y="3403"/>
                    <a:pt x="6963" y="3340"/>
                  </a:cubicBezTo>
                  <a:close/>
                  <a:moveTo>
                    <a:pt x="10240" y="4285"/>
                  </a:moveTo>
                  <a:cubicBezTo>
                    <a:pt x="10271" y="4285"/>
                    <a:pt x="10366" y="4285"/>
                    <a:pt x="10397" y="4317"/>
                  </a:cubicBezTo>
                  <a:cubicBezTo>
                    <a:pt x="10460" y="4380"/>
                    <a:pt x="10523" y="4443"/>
                    <a:pt x="10555" y="4537"/>
                  </a:cubicBezTo>
                  <a:cubicBezTo>
                    <a:pt x="10586" y="4600"/>
                    <a:pt x="10555" y="4726"/>
                    <a:pt x="10492" y="4821"/>
                  </a:cubicBezTo>
                  <a:cubicBezTo>
                    <a:pt x="10452" y="4920"/>
                    <a:pt x="10336" y="4982"/>
                    <a:pt x="10225" y="4982"/>
                  </a:cubicBezTo>
                  <a:cubicBezTo>
                    <a:pt x="10160" y="4982"/>
                    <a:pt x="10097" y="4961"/>
                    <a:pt x="10051" y="4915"/>
                  </a:cubicBezTo>
                  <a:cubicBezTo>
                    <a:pt x="9956" y="4884"/>
                    <a:pt x="9925" y="4821"/>
                    <a:pt x="9893" y="4726"/>
                  </a:cubicBezTo>
                  <a:cubicBezTo>
                    <a:pt x="9830" y="4663"/>
                    <a:pt x="9893" y="4537"/>
                    <a:pt x="9925" y="4443"/>
                  </a:cubicBezTo>
                  <a:cubicBezTo>
                    <a:pt x="9988" y="4348"/>
                    <a:pt x="10114" y="4285"/>
                    <a:pt x="10240" y="4285"/>
                  </a:cubicBezTo>
                  <a:close/>
                  <a:moveTo>
                    <a:pt x="8922" y="2925"/>
                  </a:moveTo>
                  <a:cubicBezTo>
                    <a:pt x="9452" y="2925"/>
                    <a:pt x="9823" y="3054"/>
                    <a:pt x="9956" y="3277"/>
                  </a:cubicBezTo>
                  <a:cubicBezTo>
                    <a:pt x="9988" y="3340"/>
                    <a:pt x="10019" y="3466"/>
                    <a:pt x="10019" y="3592"/>
                  </a:cubicBezTo>
                  <a:cubicBezTo>
                    <a:pt x="9704" y="3623"/>
                    <a:pt x="9452" y="3812"/>
                    <a:pt x="9295" y="4096"/>
                  </a:cubicBezTo>
                  <a:cubicBezTo>
                    <a:pt x="9137" y="4317"/>
                    <a:pt x="9137" y="4600"/>
                    <a:pt x="9169" y="4884"/>
                  </a:cubicBezTo>
                  <a:cubicBezTo>
                    <a:pt x="9169" y="4978"/>
                    <a:pt x="9200" y="5010"/>
                    <a:pt x="9232" y="5041"/>
                  </a:cubicBezTo>
                  <a:cubicBezTo>
                    <a:pt x="9169" y="5167"/>
                    <a:pt x="9043" y="5293"/>
                    <a:pt x="8917" y="5388"/>
                  </a:cubicBezTo>
                  <a:cubicBezTo>
                    <a:pt x="8570" y="5073"/>
                    <a:pt x="8224" y="4821"/>
                    <a:pt x="7814" y="4537"/>
                  </a:cubicBezTo>
                  <a:cubicBezTo>
                    <a:pt x="7783" y="4033"/>
                    <a:pt x="7719" y="3560"/>
                    <a:pt x="7625" y="3119"/>
                  </a:cubicBezTo>
                  <a:cubicBezTo>
                    <a:pt x="7814" y="3088"/>
                    <a:pt x="8035" y="3025"/>
                    <a:pt x="8192" y="2993"/>
                  </a:cubicBezTo>
                  <a:cubicBezTo>
                    <a:pt x="8459" y="2947"/>
                    <a:pt x="8704" y="2925"/>
                    <a:pt x="8922" y="2925"/>
                  </a:cubicBezTo>
                  <a:close/>
                  <a:moveTo>
                    <a:pt x="2868" y="3088"/>
                  </a:moveTo>
                  <a:lnTo>
                    <a:pt x="3340" y="3182"/>
                  </a:lnTo>
                  <a:cubicBezTo>
                    <a:pt x="3246" y="3623"/>
                    <a:pt x="3183" y="4096"/>
                    <a:pt x="3151" y="4600"/>
                  </a:cubicBezTo>
                  <a:cubicBezTo>
                    <a:pt x="2742" y="4884"/>
                    <a:pt x="2364" y="5199"/>
                    <a:pt x="2049" y="5482"/>
                  </a:cubicBezTo>
                  <a:cubicBezTo>
                    <a:pt x="1891" y="5325"/>
                    <a:pt x="1765" y="5199"/>
                    <a:pt x="1639" y="5041"/>
                  </a:cubicBezTo>
                  <a:cubicBezTo>
                    <a:pt x="1009" y="4253"/>
                    <a:pt x="788" y="3623"/>
                    <a:pt x="977" y="3308"/>
                  </a:cubicBezTo>
                  <a:cubicBezTo>
                    <a:pt x="1009" y="3245"/>
                    <a:pt x="1103" y="3151"/>
                    <a:pt x="1198" y="3119"/>
                  </a:cubicBezTo>
                  <a:cubicBezTo>
                    <a:pt x="1419" y="3340"/>
                    <a:pt x="1671" y="3497"/>
                    <a:pt x="1986" y="3497"/>
                  </a:cubicBezTo>
                  <a:cubicBezTo>
                    <a:pt x="2364" y="3497"/>
                    <a:pt x="2679" y="3308"/>
                    <a:pt x="2868" y="3088"/>
                  </a:cubicBezTo>
                  <a:close/>
                  <a:moveTo>
                    <a:pt x="3057" y="5451"/>
                  </a:moveTo>
                  <a:lnTo>
                    <a:pt x="3057" y="5923"/>
                  </a:lnTo>
                  <a:lnTo>
                    <a:pt x="3057" y="6364"/>
                  </a:lnTo>
                  <a:cubicBezTo>
                    <a:pt x="2868" y="6207"/>
                    <a:pt x="2679" y="6049"/>
                    <a:pt x="2521" y="5923"/>
                  </a:cubicBezTo>
                  <a:cubicBezTo>
                    <a:pt x="2679" y="5766"/>
                    <a:pt x="2868" y="5577"/>
                    <a:pt x="3057" y="5451"/>
                  </a:cubicBezTo>
                  <a:close/>
                  <a:moveTo>
                    <a:pt x="7909" y="5451"/>
                  </a:moveTo>
                  <a:cubicBezTo>
                    <a:pt x="8098" y="5577"/>
                    <a:pt x="8318" y="5766"/>
                    <a:pt x="8476" y="5923"/>
                  </a:cubicBezTo>
                  <a:cubicBezTo>
                    <a:pt x="8318" y="6081"/>
                    <a:pt x="8098" y="6238"/>
                    <a:pt x="7909" y="6364"/>
                  </a:cubicBezTo>
                  <a:lnTo>
                    <a:pt x="7909" y="5923"/>
                  </a:lnTo>
                  <a:lnTo>
                    <a:pt x="7909" y="5451"/>
                  </a:lnTo>
                  <a:close/>
                  <a:moveTo>
                    <a:pt x="5483" y="3938"/>
                  </a:moveTo>
                  <a:cubicBezTo>
                    <a:pt x="5735" y="4096"/>
                    <a:pt x="6050" y="4253"/>
                    <a:pt x="6333" y="4411"/>
                  </a:cubicBezTo>
                  <a:cubicBezTo>
                    <a:pt x="6617" y="4569"/>
                    <a:pt x="6900" y="4758"/>
                    <a:pt x="7152" y="4915"/>
                  </a:cubicBezTo>
                  <a:cubicBezTo>
                    <a:pt x="7184" y="5230"/>
                    <a:pt x="7184" y="5545"/>
                    <a:pt x="7184" y="5923"/>
                  </a:cubicBezTo>
                  <a:cubicBezTo>
                    <a:pt x="7184" y="6238"/>
                    <a:pt x="7184" y="6585"/>
                    <a:pt x="7152" y="6900"/>
                  </a:cubicBezTo>
                  <a:cubicBezTo>
                    <a:pt x="6932" y="7057"/>
                    <a:pt x="6648" y="7246"/>
                    <a:pt x="6333" y="7404"/>
                  </a:cubicBezTo>
                  <a:cubicBezTo>
                    <a:pt x="6050" y="7562"/>
                    <a:pt x="5735" y="7719"/>
                    <a:pt x="5483" y="7877"/>
                  </a:cubicBezTo>
                  <a:cubicBezTo>
                    <a:pt x="5199" y="7719"/>
                    <a:pt x="4884" y="7562"/>
                    <a:pt x="4601" y="7404"/>
                  </a:cubicBezTo>
                  <a:cubicBezTo>
                    <a:pt x="4317" y="7246"/>
                    <a:pt x="4065" y="7057"/>
                    <a:pt x="3781" y="6900"/>
                  </a:cubicBezTo>
                  <a:cubicBezTo>
                    <a:pt x="3750" y="6585"/>
                    <a:pt x="3750" y="6238"/>
                    <a:pt x="3750" y="5923"/>
                  </a:cubicBezTo>
                  <a:cubicBezTo>
                    <a:pt x="3750" y="5577"/>
                    <a:pt x="3750" y="5230"/>
                    <a:pt x="3781" y="4915"/>
                  </a:cubicBezTo>
                  <a:cubicBezTo>
                    <a:pt x="4065" y="4726"/>
                    <a:pt x="4317" y="4569"/>
                    <a:pt x="4601" y="4411"/>
                  </a:cubicBezTo>
                  <a:cubicBezTo>
                    <a:pt x="4884" y="4253"/>
                    <a:pt x="5199" y="4096"/>
                    <a:pt x="5483" y="3938"/>
                  </a:cubicBezTo>
                  <a:close/>
                  <a:moveTo>
                    <a:pt x="3876" y="7751"/>
                  </a:moveTo>
                  <a:cubicBezTo>
                    <a:pt x="4002" y="7845"/>
                    <a:pt x="4159" y="7908"/>
                    <a:pt x="4285" y="8003"/>
                  </a:cubicBezTo>
                  <a:cubicBezTo>
                    <a:pt x="4411" y="8066"/>
                    <a:pt x="4506" y="8160"/>
                    <a:pt x="4664" y="8223"/>
                  </a:cubicBezTo>
                  <a:cubicBezTo>
                    <a:pt x="4443" y="8318"/>
                    <a:pt x="4191" y="8444"/>
                    <a:pt x="4002" y="8475"/>
                  </a:cubicBezTo>
                  <a:lnTo>
                    <a:pt x="3876" y="7751"/>
                  </a:lnTo>
                  <a:close/>
                  <a:moveTo>
                    <a:pt x="7089" y="7751"/>
                  </a:moveTo>
                  <a:lnTo>
                    <a:pt x="6963" y="8475"/>
                  </a:lnTo>
                  <a:cubicBezTo>
                    <a:pt x="6711" y="8381"/>
                    <a:pt x="6522" y="8318"/>
                    <a:pt x="6302" y="8223"/>
                  </a:cubicBezTo>
                  <a:cubicBezTo>
                    <a:pt x="6396" y="8160"/>
                    <a:pt x="6554" y="8066"/>
                    <a:pt x="6680" y="8003"/>
                  </a:cubicBezTo>
                  <a:cubicBezTo>
                    <a:pt x="6806" y="7908"/>
                    <a:pt x="6963" y="7845"/>
                    <a:pt x="7089" y="7751"/>
                  </a:cubicBezTo>
                  <a:close/>
                  <a:moveTo>
                    <a:pt x="1986" y="6396"/>
                  </a:moveTo>
                  <a:cubicBezTo>
                    <a:pt x="2364" y="6711"/>
                    <a:pt x="2710" y="6963"/>
                    <a:pt x="3088" y="7278"/>
                  </a:cubicBezTo>
                  <a:cubicBezTo>
                    <a:pt x="3151" y="7814"/>
                    <a:pt x="3214" y="8286"/>
                    <a:pt x="3309" y="8696"/>
                  </a:cubicBezTo>
                  <a:cubicBezTo>
                    <a:pt x="3088" y="8727"/>
                    <a:pt x="2931" y="8790"/>
                    <a:pt x="2742" y="8790"/>
                  </a:cubicBezTo>
                  <a:cubicBezTo>
                    <a:pt x="2475" y="8836"/>
                    <a:pt x="2230" y="8858"/>
                    <a:pt x="2011" y="8858"/>
                  </a:cubicBezTo>
                  <a:cubicBezTo>
                    <a:pt x="1482" y="8858"/>
                    <a:pt x="1111" y="8730"/>
                    <a:pt x="977" y="8507"/>
                  </a:cubicBezTo>
                  <a:cubicBezTo>
                    <a:pt x="788" y="8160"/>
                    <a:pt x="1009" y="7530"/>
                    <a:pt x="1608" y="6805"/>
                  </a:cubicBezTo>
                  <a:cubicBezTo>
                    <a:pt x="1734" y="6648"/>
                    <a:pt x="1828" y="6553"/>
                    <a:pt x="1986" y="6396"/>
                  </a:cubicBezTo>
                  <a:close/>
                  <a:moveTo>
                    <a:pt x="8980" y="6364"/>
                  </a:moveTo>
                  <a:cubicBezTo>
                    <a:pt x="9137" y="6553"/>
                    <a:pt x="9232" y="6648"/>
                    <a:pt x="9358" y="6805"/>
                  </a:cubicBezTo>
                  <a:cubicBezTo>
                    <a:pt x="9956" y="7530"/>
                    <a:pt x="10177" y="8160"/>
                    <a:pt x="9988" y="8507"/>
                  </a:cubicBezTo>
                  <a:cubicBezTo>
                    <a:pt x="9858" y="8745"/>
                    <a:pt x="9505" y="8864"/>
                    <a:pt x="9000" y="8864"/>
                  </a:cubicBezTo>
                  <a:cubicBezTo>
                    <a:pt x="8770" y="8864"/>
                    <a:pt x="8509" y="8839"/>
                    <a:pt x="8224" y="8790"/>
                  </a:cubicBezTo>
                  <a:cubicBezTo>
                    <a:pt x="8035" y="8727"/>
                    <a:pt x="7877" y="8696"/>
                    <a:pt x="7656" y="8664"/>
                  </a:cubicBezTo>
                  <a:cubicBezTo>
                    <a:pt x="7751" y="8223"/>
                    <a:pt x="7814" y="7751"/>
                    <a:pt x="7877" y="7246"/>
                  </a:cubicBezTo>
                  <a:cubicBezTo>
                    <a:pt x="8255" y="6963"/>
                    <a:pt x="8665" y="6648"/>
                    <a:pt x="8980" y="6364"/>
                  </a:cubicBezTo>
                  <a:close/>
                  <a:moveTo>
                    <a:pt x="4159" y="10334"/>
                  </a:moveTo>
                  <a:cubicBezTo>
                    <a:pt x="4285" y="10334"/>
                    <a:pt x="4411" y="10397"/>
                    <a:pt x="4474" y="10491"/>
                  </a:cubicBezTo>
                  <a:cubicBezTo>
                    <a:pt x="4537" y="10554"/>
                    <a:pt x="4537" y="10649"/>
                    <a:pt x="4537" y="10743"/>
                  </a:cubicBezTo>
                  <a:cubicBezTo>
                    <a:pt x="4474" y="10838"/>
                    <a:pt x="4443" y="10901"/>
                    <a:pt x="4380" y="10964"/>
                  </a:cubicBezTo>
                  <a:cubicBezTo>
                    <a:pt x="4319" y="10994"/>
                    <a:pt x="4259" y="11008"/>
                    <a:pt x="4200" y="11008"/>
                  </a:cubicBezTo>
                  <a:cubicBezTo>
                    <a:pt x="4076" y="11008"/>
                    <a:pt x="3962" y="10945"/>
                    <a:pt x="3876" y="10838"/>
                  </a:cubicBezTo>
                  <a:cubicBezTo>
                    <a:pt x="3844" y="10743"/>
                    <a:pt x="3844" y="10680"/>
                    <a:pt x="3844" y="10554"/>
                  </a:cubicBezTo>
                  <a:cubicBezTo>
                    <a:pt x="3876" y="10491"/>
                    <a:pt x="3939" y="10397"/>
                    <a:pt x="4002" y="10365"/>
                  </a:cubicBezTo>
                  <a:cubicBezTo>
                    <a:pt x="4033" y="10334"/>
                    <a:pt x="4128" y="10334"/>
                    <a:pt x="4159" y="10334"/>
                  </a:cubicBezTo>
                  <a:close/>
                  <a:moveTo>
                    <a:pt x="5420" y="8664"/>
                  </a:moveTo>
                  <a:cubicBezTo>
                    <a:pt x="5861" y="8853"/>
                    <a:pt x="6333" y="9042"/>
                    <a:pt x="6774" y="9168"/>
                  </a:cubicBezTo>
                  <a:cubicBezTo>
                    <a:pt x="6774" y="9326"/>
                    <a:pt x="6680" y="9515"/>
                    <a:pt x="6617" y="9735"/>
                  </a:cubicBezTo>
                  <a:cubicBezTo>
                    <a:pt x="6302" y="10586"/>
                    <a:pt x="5861" y="11153"/>
                    <a:pt x="5451" y="11153"/>
                  </a:cubicBezTo>
                  <a:cubicBezTo>
                    <a:pt x="5388" y="11153"/>
                    <a:pt x="5262" y="11090"/>
                    <a:pt x="5136" y="11059"/>
                  </a:cubicBezTo>
                  <a:cubicBezTo>
                    <a:pt x="5136" y="11027"/>
                    <a:pt x="5199" y="10996"/>
                    <a:pt x="5199" y="10933"/>
                  </a:cubicBezTo>
                  <a:cubicBezTo>
                    <a:pt x="5262" y="10680"/>
                    <a:pt x="5231" y="10397"/>
                    <a:pt x="5073" y="10145"/>
                  </a:cubicBezTo>
                  <a:cubicBezTo>
                    <a:pt x="4916" y="9830"/>
                    <a:pt x="4601" y="9704"/>
                    <a:pt x="4254" y="9641"/>
                  </a:cubicBezTo>
                  <a:cubicBezTo>
                    <a:pt x="4191" y="9483"/>
                    <a:pt x="4128" y="9326"/>
                    <a:pt x="4096" y="9168"/>
                  </a:cubicBezTo>
                  <a:cubicBezTo>
                    <a:pt x="4506" y="9011"/>
                    <a:pt x="4947" y="8853"/>
                    <a:pt x="5420" y="8664"/>
                  </a:cubicBezTo>
                  <a:close/>
                  <a:moveTo>
                    <a:pt x="5420" y="0"/>
                  </a:moveTo>
                  <a:cubicBezTo>
                    <a:pt x="4727" y="0"/>
                    <a:pt x="4096" y="662"/>
                    <a:pt x="3624" y="1859"/>
                  </a:cubicBezTo>
                  <a:cubicBezTo>
                    <a:pt x="3529" y="2048"/>
                    <a:pt x="3498" y="2237"/>
                    <a:pt x="3403" y="2458"/>
                  </a:cubicBezTo>
                  <a:cubicBezTo>
                    <a:pt x="3246" y="2395"/>
                    <a:pt x="3151" y="2363"/>
                    <a:pt x="2994" y="2363"/>
                  </a:cubicBezTo>
                  <a:cubicBezTo>
                    <a:pt x="2962" y="1828"/>
                    <a:pt x="2521" y="1418"/>
                    <a:pt x="1954" y="1418"/>
                  </a:cubicBezTo>
                  <a:cubicBezTo>
                    <a:pt x="1387" y="1418"/>
                    <a:pt x="946" y="1891"/>
                    <a:pt x="946" y="2426"/>
                  </a:cubicBezTo>
                  <a:cubicBezTo>
                    <a:pt x="662" y="2552"/>
                    <a:pt x="473" y="2710"/>
                    <a:pt x="347" y="2962"/>
                  </a:cubicBezTo>
                  <a:cubicBezTo>
                    <a:pt x="1" y="3592"/>
                    <a:pt x="221" y="4443"/>
                    <a:pt x="1072" y="5419"/>
                  </a:cubicBezTo>
                  <a:cubicBezTo>
                    <a:pt x="1166" y="5577"/>
                    <a:pt x="1324" y="5766"/>
                    <a:pt x="1482" y="5892"/>
                  </a:cubicBezTo>
                  <a:cubicBezTo>
                    <a:pt x="1324" y="6049"/>
                    <a:pt x="1229" y="6207"/>
                    <a:pt x="1072" y="6364"/>
                  </a:cubicBezTo>
                  <a:cubicBezTo>
                    <a:pt x="221" y="7372"/>
                    <a:pt x="1" y="8223"/>
                    <a:pt x="347" y="8853"/>
                  </a:cubicBezTo>
                  <a:cubicBezTo>
                    <a:pt x="631" y="9326"/>
                    <a:pt x="1166" y="9578"/>
                    <a:pt x="2017" y="9578"/>
                  </a:cubicBezTo>
                  <a:cubicBezTo>
                    <a:pt x="2269" y="9578"/>
                    <a:pt x="2553" y="9515"/>
                    <a:pt x="2868" y="9483"/>
                  </a:cubicBezTo>
                  <a:lnTo>
                    <a:pt x="3466" y="9357"/>
                  </a:lnTo>
                  <a:cubicBezTo>
                    <a:pt x="3498" y="9515"/>
                    <a:pt x="3529" y="9704"/>
                    <a:pt x="3624" y="9798"/>
                  </a:cubicBezTo>
                  <a:cubicBezTo>
                    <a:pt x="3403" y="9956"/>
                    <a:pt x="3246" y="10145"/>
                    <a:pt x="3183" y="10397"/>
                  </a:cubicBezTo>
                  <a:cubicBezTo>
                    <a:pt x="3120" y="10680"/>
                    <a:pt x="3151" y="10933"/>
                    <a:pt x="3309" y="11185"/>
                  </a:cubicBezTo>
                  <a:cubicBezTo>
                    <a:pt x="3498" y="11500"/>
                    <a:pt x="3844" y="11689"/>
                    <a:pt x="4222" y="11689"/>
                  </a:cubicBezTo>
                  <a:cubicBezTo>
                    <a:pt x="4380" y="11689"/>
                    <a:pt x="4569" y="11657"/>
                    <a:pt x="4727" y="11531"/>
                  </a:cubicBezTo>
                  <a:cubicBezTo>
                    <a:pt x="4947" y="11689"/>
                    <a:pt x="5199" y="11815"/>
                    <a:pt x="5483" y="11815"/>
                  </a:cubicBezTo>
                  <a:cubicBezTo>
                    <a:pt x="6176" y="11815"/>
                    <a:pt x="6806" y="11153"/>
                    <a:pt x="7278" y="9956"/>
                  </a:cubicBezTo>
                  <a:cubicBezTo>
                    <a:pt x="7373" y="9767"/>
                    <a:pt x="7404" y="9578"/>
                    <a:pt x="7467" y="9357"/>
                  </a:cubicBezTo>
                  <a:cubicBezTo>
                    <a:pt x="7688" y="9420"/>
                    <a:pt x="7909" y="9452"/>
                    <a:pt x="8098" y="9483"/>
                  </a:cubicBezTo>
                  <a:cubicBezTo>
                    <a:pt x="8413" y="9515"/>
                    <a:pt x="8696" y="9578"/>
                    <a:pt x="8980" y="9578"/>
                  </a:cubicBezTo>
                  <a:cubicBezTo>
                    <a:pt x="9767" y="9578"/>
                    <a:pt x="10366" y="9326"/>
                    <a:pt x="10618" y="8853"/>
                  </a:cubicBezTo>
                  <a:cubicBezTo>
                    <a:pt x="10996" y="8223"/>
                    <a:pt x="10744" y="7372"/>
                    <a:pt x="9925" y="6364"/>
                  </a:cubicBezTo>
                  <a:cubicBezTo>
                    <a:pt x="9799" y="6207"/>
                    <a:pt x="9641" y="6049"/>
                    <a:pt x="9484" y="5892"/>
                  </a:cubicBezTo>
                  <a:cubicBezTo>
                    <a:pt x="9610" y="5797"/>
                    <a:pt x="9673" y="5671"/>
                    <a:pt x="9799" y="5577"/>
                  </a:cubicBezTo>
                  <a:cubicBezTo>
                    <a:pt x="9956" y="5671"/>
                    <a:pt x="10114" y="5703"/>
                    <a:pt x="10240" y="5703"/>
                  </a:cubicBezTo>
                  <a:cubicBezTo>
                    <a:pt x="10586" y="5703"/>
                    <a:pt x="10933" y="5514"/>
                    <a:pt x="11154" y="5199"/>
                  </a:cubicBezTo>
                  <a:cubicBezTo>
                    <a:pt x="11248" y="4915"/>
                    <a:pt x="11280" y="4663"/>
                    <a:pt x="11217" y="4380"/>
                  </a:cubicBezTo>
                  <a:cubicBezTo>
                    <a:pt x="11122" y="4096"/>
                    <a:pt x="10965" y="3875"/>
                    <a:pt x="10744" y="3749"/>
                  </a:cubicBezTo>
                  <a:cubicBezTo>
                    <a:pt x="10775" y="3466"/>
                    <a:pt x="10712" y="3182"/>
                    <a:pt x="10586" y="2962"/>
                  </a:cubicBezTo>
                  <a:cubicBezTo>
                    <a:pt x="10325" y="2486"/>
                    <a:pt x="9740" y="2262"/>
                    <a:pt x="8927" y="2262"/>
                  </a:cubicBezTo>
                  <a:cubicBezTo>
                    <a:pt x="8663" y="2262"/>
                    <a:pt x="8375" y="2285"/>
                    <a:pt x="8066" y="2332"/>
                  </a:cubicBezTo>
                  <a:cubicBezTo>
                    <a:pt x="7877" y="2363"/>
                    <a:pt x="7656" y="2395"/>
                    <a:pt x="7436" y="2458"/>
                  </a:cubicBezTo>
                  <a:cubicBezTo>
                    <a:pt x="7341" y="2237"/>
                    <a:pt x="7310" y="2017"/>
                    <a:pt x="7247" y="1859"/>
                  </a:cubicBezTo>
                  <a:cubicBezTo>
                    <a:pt x="6806" y="630"/>
                    <a:pt x="6144" y="0"/>
                    <a:pt x="54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3" name="Google Shape;9423;p76"/>
          <p:cNvGrpSpPr/>
          <p:nvPr/>
        </p:nvGrpSpPr>
        <p:grpSpPr>
          <a:xfrm>
            <a:off x="6214778" y="3339207"/>
            <a:ext cx="332464" cy="353180"/>
            <a:chOff x="-24330250" y="2340425"/>
            <a:chExt cx="278050" cy="295375"/>
          </a:xfrm>
        </p:grpSpPr>
        <p:sp>
          <p:nvSpPr>
            <p:cNvPr id="9424" name="Google Shape;9424;p76"/>
            <p:cNvSpPr/>
            <p:nvPr/>
          </p:nvSpPr>
          <p:spPr>
            <a:xfrm>
              <a:off x="-24330250" y="2340425"/>
              <a:ext cx="278050" cy="295375"/>
            </a:xfrm>
            <a:custGeom>
              <a:avLst/>
              <a:gdLst/>
              <a:ahLst/>
              <a:cxnLst/>
              <a:rect l="l" t="t" r="r" b="b"/>
              <a:pathLst>
                <a:path w="11122" h="11815" extrusionOk="0">
                  <a:moveTo>
                    <a:pt x="5577" y="693"/>
                  </a:moveTo>
                  <a:cubicBezTo>
                    <a:pt x="6711" y="693"/>
                    <a:pt x="7656" y="1638"/>
                    <a:pt x="7656" y="2804"/>
                  </a:cubicBezTo>
                  <a:lnTo>
                    <a:pt x="7656" y="3151"/>
                  </a:lnTo>
                  <a:cubicBezTo>
                    <a:pt x="7656" y="3340"/>
                    <a:pt x="7499" y="3497"/>
                    <a:pt x="7310" y="3497"/>
                  </a:cubicBezTo>
                  <a:lnTo>
                    <a:pt x="5924" y="3497"/>
                  </a:lnTo>
                  <a:lnTo>
                    <a:pt x="5924" y="3151"/>
                  </a:lnTo>
                  <a:cubicBezTo>
                    <a:pt x="5924" y="2962"/>
                    <a:pt x="5766" y="2804"/>
                    <a:pt x="5577" y="2804"/>
                  </a:cubicBezTo>
                  <a:cubicBezTo>
                    <a:pt x="5357" y="2804"/>
                    <a:pt x="5199" y="2962"/>
                    <a:pt x="5199" y="3151"/>
                  </a:cubicBezTo>
                  <a:lnTo>
                    <a:pt x="5199" y="3497"/>
                  </a:lnTo>
                  <a:lnTo>
                    <a:pt x="3844" y="3497"/>
                  </a:lnTo>
                  <a:cubicBezTo>
                    <a:pt x="3624" y="3497"/>
                    <a:pt x="3466" y="3340"/>
                    <a:pt x="3466" y="3151"/>
                  </a:cubicBezTo>
                  <a:lnTo>
                    <a:pt x="3466" y="2804"/>
                  </a:lnTo>
                  <a:cubicBezTo>
                    <a:pt x="3466" y="1638"/>
                    <a:pt x="4411" y="693"/>
                    <a:pt x="5577" y="693"/>
                  </a:cubicBezTo>
                  <a:close/>
                  <a:moveTo>
                    <a:pt x="8318" y="2867"/>
                  </a:moveTo>
                  <a:cubicBezTo>
                    <a:pt x="8728" y="2993"/>
                    <a:pt x="9043" y="3371"/>
                    <a:pt x="9043" y="3844"/>
                  </a:cubicBezTo>
                  <a:lnTo>
                    <a:pt x="9043" y="8727"/>
                  </a:lnTo>
                  <a:cubicBezTo>
                    <a:pt x="9043" y="9326"/>
                    <a:pt x="8570" y="9767"/>
                    <a:pt x="8003" y="9767"/>
                  </a:cubicBezTo>
                  <a:lnTo>
                    <a:pt x="5924" y="9767"/>
                  </a:lnTo>
                  <a:lnTo>
                    <a:pt x="5924" y="7309"/>
                  </a:lnTo>
                  <a:cubicBezTo>
                    <a:pt x="5924" y="7120"/>
                    <a:pt x="5766" y="6963"/>
                    <a:pt x="5577" y="6963"/>
                  </a:cubicBezTo>
                  <a:cubicBezTo>
                    <a:pt x="5357" y="6963"/>
                    <a:pt x="5199" y="7120"/>
                    <a:pt x="5199" y="7309"/>
                  </a:cubicBezTo>
                  <a:lnTo>
                    <a:pt x="5199" y="9767"/>
                  </a:lnTo>
                  <a:lnTo>
                    <a:pt x="3120" y="9767"/>
                  </a:lnTo>
                  <a:cubicBezTo>
                    <a:pt x="2521" y="9767"/>
                    <a:pt x="2112" y="9294"/>
                    <a:pt x="2112" y="8727"/>
                  </a:cubicBezTo>
                  <a:lnTo>
                    <a:pt x="2112" y="3844"/>
                  </a:lnTo>
                  <a:cubicBezTo>
                    <a:pt x="2112" y="3434"/>
                    <a:pt x="2364" y="3025"/>
                    <a:pt x="2805" y="2867"/>
                  </a:cubicBezTo>
                  <a:lnTo>
                    <a:pt x="2805" y="3151"/>
                  </a:lnTo>
                  <a:cubicBezTo>
                    <a:pt x="2805" y="3749"/>
                    <a:pt x="3277" y="4159"/>
                    <a:pt x="3844" y="4159"/>
                  </a:cubicBezTo>
                  <a:lnTo>
                    <a:pt x="7310" y="4159"/>
                  </a:lnTo>
                  <a:cubicBezTo>
                    <a:pt x="7877" y="4159"/>
                    <a:pt x="8318" y="3686"/>
                    <a:pt x="8318" y="3151"/>
                  </a:cubicBezTo>
                  <a:lnTo>
                    <a:pt x="8318" y="2867"/>
                  </a:lnTo>
                  <a:close/>
                  <a:moveTo>
                    <a:pt x="7972" y="693"/>
                  </a:moveTo>
                  <a:cubicBezTo>
                    <a:pt x="9326" y="693"/>
                    <a:pt x="10429" y="1796"/>
                    <a:pt x="10429" y="3151"/>
                  </a:cubicBezTo>
                  <a:lnTo>
                    <a:pt x="10429" y="8727"/>
                  </a:lnTo>
                  <a:lnTo>
                    <a:pt x="10397" y="8727"/>
                  </a:lnTo>
                  <a:cubicBezTo>
                    <a:pt x="10397" y="10082"/>
                    <a:pt x="9295" y="11184"/>
                    <a:pt x="7972" y="11184"/>
                  </a:cubicBezTo>
                  <a:lnTo>
                    <a:pt x="3120" y="11184"/>
                  </a:lnTo>
                  <a:cubicBezTo>
                    <a:pt x="1797" y="11184"/>
                    <a:pt x="694" y="10082"/>
                    <a:pt x="694" y="8727"/>
                  </a:cubicBezTo>
                  <a:lnTo>
                    <a:pt x="694" y="3151"/>
                  </a:lnTo>
                  <a:cubicBezTo>
                    <a:pt x="694" y="1796"/>
                    <a:pt x="1797" y="693"/>
                    <a:pt x="3120" y="693"/>
                  </a:cubicBezTo>
                  <a:lnTo>
                    <a:pt x="3718" y="693"/>
                  </a:lnTo>
                  <a:cubicBezTo>
                    <a:pt x="3277" y="1071"/>
                    <a:pt x="2994" y="1575"/>
                    <a:pt x="2868" y="2111"/>
                  </a:cubicBezTo>
                  <a:cubicBezTo>
                    <a:pt x="2017" y="2237"/>
                    <a:pt x="1387" y="2993"/>
                    <a:pt x="1387" y="3844"/>
                  </a:cubicBezTo>
                  <a:lnTo>
                    <a:pt x="1387" y="8727"/>
                  </a:lnTo>
                  <a:cubicBezTo>
                    <a:pt x="1387" y="9672"/>
                    <a:pt x="2175" y="10460"/>
                    <a:pt x="3120" y="10460"/>
                  </a:cubicBezTo>
                  <a:lnTo>
                    <a:pt x="7972" y="10460"/>
                  </a:lnTo>
                  <a:cubicBezTo>
                    <a:pt x="8917" y="10460"/>
                    <a:pt x="9704" y="9672"/>
                    <a:pt x="9704" y="8727"/>
                  </a:cubicBezTo>
                  <a:lnTo>
                    <a:pt x="9704" y="3844"/>
                  </a:lnTo>
                  <a:cubicBezTo>
                    <a:pt x="9704" y="2993"/>
                    <a:pt x="9074" y="2237"/>
                    <a:pt x="8255" y="2111"/>
                  </a:cubicBezTo>
                  <a:cubicBezTo>
                    <a:pt x="8098" y="1575"/>
                    <a:pt x="7814" y="1071"/>
                    <a:pt x="7373" y="693"/>
                  </a:cubicBezTo>
                  <a:close/>
                  <a:moveTo>
                    <a:pt x="3120" y="0"/>
                  </a:moveTo>
                  <a:cubicBezTo>
                    <a:pt x="1387" y="0"/>
                    <a:pt x="1" y="1418"/>
                    <a:pt x="1" y="3119"/>
                  </a:cubicBezTo>
                  <a:lnTo>
                    <a:pt x="1" y="8695"/>
                  </a:lnTo>
                  <a:cubicBezTo>
                    <a:pt x="1" y="10428"/>
                    <a:pt x="1418" y="11814"/>
                    <a:pt x="3120" y="11814"/>
                  </a:cubicBezTo>
                  <a:lnTo>
                    <a:pt x="7972" y="11814"/>
                  </a:lnTo>
                  <a:cubicBezTo>
                    <a:pt x="9704" y="11814"/>
                    <a:pt x="11091" y="10397"/>
                    <a:pt x="11091" y="8695"/>
                  </a:cubicBezTo>
                  <a:lnTo>
                    <a:pt x="11091" y="3119"/>
                  </a:lnTo>
                  <a:cubicBezTo>
                    <a:pt x="11122" y="1418"/>
                    <a:pt x="9704" y="0"/>
                    <a:pt x="79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5" name="Google Shape;9425;p76"/>
            <p:cNvSpPr/>
            <p:nvPr/>
          </p:nvSpPr>
          <p:spPr>
            <a:xfrm>
              <a:off x="-24225500" y="2375850"/>
              <a:ext cx="68550" cy="34700"/>
            </a:xfrm>
            <a:custGeom>
              <a:avLst/>
              <a:gdLst/>
              <a:ahLst/>
              <a:cxnLst/>
              <a:rect l="l" t="t" r="r" b="b"/>
              <a:pathLst>
                <a:path w="2742" h="1388" extrusionOk="0">
                  <a:moveTo>
                    <a:pt x="1387" y="1"/>
                  </a:moveTo>
                  <a:cubicBezTo>
                    <a:pt x="789" y="1"/>
                    <a:pt x="284" y="347"/>
                    <a:pt x="64" y="914"/>
                  </a:cubicBezTo>
                  <a:cubicBezTo>
                    <a:pt x="1" y="1103"/>
                    <a:pt x="64" y="1293"/>
                    <a:pt x="284" y="1324"/>
                  </a:cubicBezTo>
                  <a:cubicBezTo>
                    <a:pt x="330" y="1347"/>
                    <a:pt x="375" y="1357"/>
                    <a:pt x="418" y="1357"/>
                  </a:cubicBezTo>
                  <a:cubicBezTo>
                    <a:pt x="555" y="1357"/>
                    <a:pt x="670" y="1255"/>
                    <a:pt x="694" y="1135"/>
                  </a:cubicBezTo>
                  <a:cubicBezTo>
                    <a:pt x="789" y="851"/>
                    <a:pt x="1072" y="662"/>
                    <a:pt x="1387" y="662"/>
                  </a:cubicBezTo>
                  <a:cubicBezTo>
                    <a:pt x="1639" y="662"/>
                    <a:pt x="1923" y="851"/>
                    <a:pt x="2049" y="1135"/>
                  </a:cubicBezTo>
                  <a:cubicBezTo>
                    <a:pt x="2080" y="1293"/>
                    <a:pt x="2238" y="1387"/>
                    <a:pt x="2364" y="1387"/>
                  </a:cubicBezTo>
                  <a:cubicBezTo>
                    <a:pt x="2395" y="1387"/>
                    <a:pt x="2427" y="1387"/>
                    <a:pt x="2490" y="1324"/>
                  </a:cubicBezTo>
                  <a:cubicBezTo>
                    <a:pt x="2679" y="1261"/>
                    <a:pt x="2742" y="1072"/>
                    <a:pt x="2679" y="914"/>
                  </a:cubicBezTo>
                  <a:cubicBezTo>
                    <a:pt x="2490" y="347"/>
                    <a:pt x="1954"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76"/>
            <p:cNvSpPr/>
            <p:nvPr/>
          </p:nvSpPr>
          <p:spPr>
            <a:xfrm>
              <a:off x="-24260925" y="2462500"/>
              <a:ext cx="138650" cy="17350"/>
            </a:xfrm>
            <a:custGeom>
              <a:avLst/>
              <a:gdLst/>
              <a:ahLst/>
              <a:cxnLst/>
              <a:rect l="l" t="t" r="r" b="b"/>
              <a:pathLst>
                <a:path w="5546" h="694" extrusionOk="0">
                  <a:moveTo>
                    <a:pt x="347" y="0"/>
                  </a:moveTo>
                  <a:cubicBezTo>
                    <a:pt x="158" y="0"/>
                    <a:pt x="0" y="158"/>
                    <a:pt x="0" y="347"/>
                  </a:cubicBezTo>
                  <a:cubicBezTo>
                    <a:pt x="0" y="536"/>
                    <a:pt x="158" y="693"/>
                    <a:pt x="347" y="693"/>
                  </a:cubicBezTo>
                  <a:lnTo>
                    <a:pt x="5199" y="693"/>
                  </a:lnTo>
                  <a:cubicBezTo>
                    <a:pt x="5388" y="693"/>
                    <a:pt x="5545" y="536"/>
                    <a:pt x="5545" y="347"/>
                  </a:cubicBezTo>
                  <a:cubicBezTo>
                    <a:pt x="5545" y="158"/>
                    <a:pt x="5388" y="0"/>
                    <a:pt x="51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7" name="Google Shape;9427;p76"/>
            <p:cNvSpPr/>
            <p:nvPr/>
          </p:nvSpPr>
          <p:spPr>
            <a:xfrm>
              <a:off x="-24260150" y="2515275"/>
              <a:ext cx="43350" cy="18125"/>
            </a:xfrm>
            <a:custGeom>
              <a:avLst/>
              <a:gdLst/>
              <a:ahLst/>
              <a:cxnLst/>
              <a:rect l="l" t="t" r="r" b="b"/>
              <a:pathLst>
                <a:path w="1734" h="725" extrusionOk="0">
                  <a:moveTo>
                    <a:pt x="347" y="0"/>
                  </a:moveTo>
                  <a:cubicBezTo>
                    <a:pt x="158" y="0"/>
                    <a:pt x="1" y="158"/>
                    <a:pt x="1" y="378"/>
                  </a:cubicBezTo>
                  <a:cubicBezTo>
                    <a:pt x="1" y="567"/>
                    <a:pt x="158" y="725"/>
                    <a:pt x="347" y="725"/>
                  </a:cubicBezTo>
                  <a:lnTo>
                    <a:pt x="1387" y="725"/>
                  </a:lnTo>
                  <a:cubicBezTo>
                    <a:pt x="1576" y="725"/>
                    <a:pt x="1733" y="567"/>
                    <a:pt x="1733" y="378"/>
                  </a:cubicBezTo>
                  <a:cubicBezTo>
                    <a:pt x="1702" y="158"/>
                    <a:pt x="1544"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8" name="Google Shape;9428;p76"/>
            <p:cNvSpPr/>
            <p:nvPr/>
          </p:nvSpPr>
          <p:spPr>
            <a:xfrm>
              <a:off x="-24260925" y="2549925"/>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76"/>
            <p:cNvSpPr/>
            <p:nvPr/>
          </p:nvSpPr>
          <p:spPr>
            <a:xfrm>
              <a:off x="-24165625" y="2515275"/>
              <a:ext cx="43350" cy="18125"/>
            </a:xfrm>
            <a:custGeom>
              <a:avLst/>
              <a:gdLst/>
              <a:ahLst/>
              <a:cxnLst/>
              <a:rect l="l" t="t" r="r" b="b"/>
              <a:pathLst>
                <a:path w="1734" h="725" extrusionOk="0">
                  <a:moveTo>
                    <a:pt x="378" y="0"/>
                  </a:moveTo>
                  <a:cubicBezTo>
                    <a:pt x="158" y="0"/>
                    <a:pt x="0" y="158"/>
                    <a:pt x="0" y="378"/>
                  </a:cubicBezTo>
                  <a:cubicBezTo>
                    <a:pt x="0" y="567"/>
                    <a:pt x="158" y="725"/>
                    <a:pt x="378" y="725"/>
                  </a:cubicBezTo>
                  <a:lnTo>
                    <a:pt x="1387" y="725"/>
                  </a:lnTo>
                  <a:cubicBezTo>
                    <a:pt x="1576" y="725"/>
                    <a:pt x="1733" y="567"/>
                    <a:pt x="1733" y="378"/>
                  </a:cubicBezTo>
                  <a:cubicBezTo>
                    <a:pt x="1733" y="158"/>
                    <a:pt x="1576"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0" name="Google Shape;9430;p76"/>
            <p:cNvSpPr/>
            <p:nvPr/>
          </p:nvSpPr>
          <p:spPr>
            <a:xfrm>
              <a:off x="-24157750" y="25499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1" name="Google Shape;9431;p76"/>
          <p:cNvGrpSpPr/>
          <p:nvPr/>
        </p:nvGrpSpPr>
        <p:grpSpPr>
          <a:xfrm>
            <a:off x="6204420" y="3780420"/>
            <a:ext cx="353180" cy="353180"/>
            <a:chOff x="-24338900" y="2710600"/>
            <a:chExt cx="295375" cy="295375"/>
          </a:xfrm>
        </p:grpSpPr>
        <p:sp>
          <p:nvSpPr>
            <p:cNvPr id="9432" name="Google Shape;9432;p76"/>
            <p:cNvSpPr/>
            <p:nvPr/>
          </p:nvSpPr>
          <p:spPr>
            <a:xfrm>
              <a:off x="-24250700" y="2816925"/>
              <a:ext cx="123675" cy="103200"/>
            </a:xfrm>
            <a:custGeom>
              <a:avLst/>
              <a:gdLst/>
              <a:ahLst/>
              <a:cxnLst/>
              <a:rect l="l" t="t" r="r" b="b"/>
              <a:pathLst>
                <a:path w="4947" h="4128" extrusionOk="0">
                  <a:moveTo>
                    <a:pt x="3403" y="662"/>
                  </a:moveTo>
                  <a:cubicBezTo>
                    <a:pt x="3813" y="662"/>
                    <a:pt x="4128" y="977"/>
                    <a:pt x="4128" y="1387"/>
                  </a:cubicBezTo>
                  <a:cubicBezTo>
                    <a:pt x="4128" y="1922"/>
                    <a:pt x="3561" y="2363"/>
                    <a:pt x="2710" y="3025"/>
                  </a:cubicBezTo>
                  <a:cubicBezTo>
                    <a:pt x="2584" y="3119"/>
                    <a:pt x="2490" y="3182"/>
                    <a:pt x="2395" y="3309"/>
                  </a:cubicBezTo>
                  <a:cubicBezTo>
                    <a:pt x="2269" y="3214"/>
                    <a:pt x="2143" y="3151"/>
                    <a:pt x="2080" y="3025"/>
                  </a:cubicBezTo>
                  <a:cubicBezTo>
                    <a:pt x="1198" y="2363"/>
                    <a:pt x="662" y="1891"/>
                    <a:pt x="662" y="1387"/>
                  </a:cubicBezTo>
                  <a:cubicBezTo>
                    <a:pt x="662" y="946"/>
                    <a:pt x="977" y="662"/>
                    <a:pt x="1355" y="662"/>
                  </a:cubicBezTo>
                  <a:cubicBezTo>
                    <a:pt x="1860" y="662"/>
                    <a:pt x="2080" y="1229"/>
                    <a:pt x="2080" y="1261"/>
                  </a:cubicBezTo>
                  <a:cubicBezTo>
                    <a:pt x="2112" y="1418"/>
                    <a:pt x="2238" y="1481"/>
                    <a:pt x="2395" y="1481"/>
                  </a:cubicBezTo>
                  <a:cubicBezTo>
                    <a:pt x="2553" y="1481"/>
                    <a:pt x="2647" y="1355"/>
                    <a:pt x="2710" y="1261"/>
                  </a:cubicBezTo>
                  <a:cubicBezTo>
                    <a:pt x="2710" y="1229"/>
                    <a:pt x="2899" y="662"/>
                    <a:pt x="3403" y="662"/>
                  </a:cubicBezTo>
                  <a:close/>
                  <a:moveTo>
                    <a:pt x="1355" y="1"/>
                  </a:moveTo>
                  <a:cubicBezTo>
                    <a:pt x="568" y="1"/>
                    <a:pt x="1" y="631"/>
                    <a:pt x="1" y="1418"/>
                  </a:cubicBezTo>
                  <a:cubicBezTo>
                    <a:pt x="1" y="2269"/>
                    <a:pt x="694" y="2836"/>
                    <a:pt x="1671" y="3624"/>
                  </a:cubicBezTo>
                  <a:cubicBezTo>
                    <a:pt x="1828" y="3750"/>
                    <a:pt x="2049" y="3907"/>
                    <a:pt x="2238" y="4065"/>
                  </a:cubicBezTo>
                  <a:cubicBezTo>
                    <a:pt x="2301" y="4096"/>
                    <a:pt x="2395" y="4128"/>
                    <a:pt x="2458" y="4128"/>
                  </a:cubicBezTo>
                  <a:cubicBezTo>
                    <a:pt x="2553" y="4128"/>
                    <a:pt x="2616" y="4096"/>
                    <a:pt x="2710" y="4065"/>
                  </a:cubicBezTo>
                  <a:cubicBezTo>
                    <a:pt x="2899" y="3907"/>
                    <a:pt x="3057" y="3718"/>
                    <a:pt x="3246" y="3624"/>
                  </a:cubicBezTo>
                  <a:cubicBezTo>
                    <a:pt x="4254" y="2836"/>
                    <a:pt x="4947" y="2269"/>
                    <a:pt x="4947" y="1418"/>
                  </a:cubicBezTo>
                  <a:cubicBezTo>
                    <a:pt x="4821" y="599"/>
                    <a:pt x="4191" y="1"/>
                    <a:pt x="3403" y="1"/>
                  </a:cubicBezTo>
                  <a:cubicBezTo>
                    <a:pt x="3025" y="1"/>
                    <a:pt x="2616" y="158"/>
                    <a:pt x="2395" y="505"/>
                  </a:cubicBezTo>
                  <a:cubicBezTo>
                    <a:pt x="2112" y="190"/>
                    <a:pt x="1765"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3" name="Google Shape;9433;p76"/>
            <p:cNvSpPr/>
            <p:nvPr/>
          </p:nvSpPr>
          <p:spPr>
            <a:xfrm>
              <a:off x="-24338900" y="2710600"/>
              <a:ext cx="295375" cy="295375"/>
            </a:xfrm>
            <a:custGeom>
              <a:avLst/>
              <a:gdLst/>
              <a:ahLst/>
              <a:cxnLst/>
              <a:rect l="l" t="t" r="r" b="b"/>
              <a:pathLst>
                <a:path w="11815" h="11815" extrusionOk="0">
                  <a:moveTo>
                    <a:pt x="7341" y="725"/>
                  </a:moveTo>
                  <a:cubicBezTo>
                    <a:pt x="7530" y="725"/>
                    <a:pt x="7687" y="882"/>
                    <a:pt x="7687" y="1103"/>
                  </a:cubicBezTo>
                  <a:lnTo>
                    <a:pt x="7687" y="3844"/>
                  </a:lnTo>
                  <a:cubicBezTo>
                    <a:pt x="7687" y="4033"/>
                    <a:pt x="7845" y="4222"/>
                    <a:pt x="8034" y="4222"/>
                  </a:cubicBezTo>
                  <a:lnTo>
                    <a:pt x="10806" y="4222"/>
                  </a:lnTo>
                  <a:cubicBezTo>
                    <a:pt x="10995" y="4222"/>
                    <a:pt x="11153" y="4380"/>
                    <a:pt x="11153" y="4569"/>
                  </a:cubicBezTo>
                  <a:lnTo>
                    <a:pt x="11153" y="7309"/>
                  </a:lnTo>
                  <a:cubicBezTo>
                    <a:pt x="11153" y="7530"/>
                    <a:pt x="10995" y="7688"/>
                    <a:pt x="10806" y="7688"/>
                  </a:cubicBezTo>
                  <a:lnTo>
                    <a:pt x="8034" y="7688"/>
                  </a:lnTo>
                  <a:cubicBezTo>
                    <a:pt x="7845" y="7688"/>
                    <a:pt x="7687" y="7845"/>
                    <a:pt x="7687" y="8034"/>
                  </a:cubicBezTo>
                  <a:lnTo>
                    <a:pt x="7687" y="10775"/>
                  </a:lnTo>
                  <a:cubicBezTo>
                    <a:pt x="7687" y="10996"/>
                    <a:pt x="7530" y="11153"/>
                    <a:pt x="7341" y="11153"/>
                  </a:cubicBezTo>
                  <a:lnTo>
                    <a:pt x="4568" y="11153"/>
                  </a:lnTo>
                  <a:cubicBezTo>
                    <a:pt x="4379" y="11153"/>
                    <a:pt x="4222" y="10996"/>
                    <a:pt x="4222" y="10775"/>
                  </a:cubicBezTo>
                  <a:lnTo>
                    <a:pt x="4222" y="8034"/>
                  </a:lnTo>
                  <a:cubicBezTo>
                    <a:pt x="4222" y="7845"/>
                    <a:pt x="4064" y="7688"/>
                    <a:pt x="3875" y="7688"/>
                  </a:cubicBezTo>
                  <a:lnTo>
                    <a:pt x="1103" y="7688"/>
                  </a:lnTo>
                  <a:cubicBezTo>
                    <a:pt x="914" y="7688"/>
                    <a:pt x="756" y="7530"/>
                    <a:pt x="756" y="7309"/>
                  </a:cubicBezTo>
                  <a:lnTo>
                    <a:pt x="756" y="4569"/>
                  </a:lnTo>
                  <a:cubicBezTo>
                    <a:pt x="756" y="4380"/>
                    <a:pt x="914" y="4222"/>
                    <a:pt x="1103" y="4222"/>
                  </a:cubicBezTo>
                  <a:lnTo>
                    <a:pt x="3875" y="4222"/>
                  </a:lnTo>
                  <a:cubicBezTo>
                    <a:pt x="4064" y="4222"/>
                    <a:pt x="4222" y="4033"/>
                    <a:pt x="4222" y="3844"/>
                  </a:cubicBezTo>
                  <a:lnTo>
                    <a:pt x="4222" y="1103"/>
                  </a:lnTo>
                  <a:cubicBezTo>
                    <a:pt x="4222" y="882"/>
                    <a:pt x="4379" y="725"/>
                    <a:pt x="4568" y="725"/>
                  </a:cubicBezTo>
                  <a:close/>
                  <a:moveTo>
                    <a:pt x="4537" y="0"/>
                  </a:moveTo>
                  <a:cubicBezTo>
                    <a:pt x="3938" y="0"/>
                    <a:pt x="3466" y="473"/>
                    <a:pt x="3466" y="1072"/>
                  </a:cubicBezTo>
                  <a:lnTo>
                    <a:pt x="3466" y="3466"/>
                  </a:lnTo>
                  <a:lnTo>
                    <a:pt x="1071" y="3466"/>
                  </a:lnTo>
                  <a:cubicBezTo>
                    <a:pt x="473" y="3466"/>
                    <a:pt x="0" y="3938"/>
                    <a:pt x="0" y="4537"/>
                  </a:cubicBezTo>
                  <a:lnTo>
                    <a:pt x="0" y="7278"/>
                  </a:lnTo>
                  <a:cubicBezTo>
                    <a:pt x="0" y="7877"/>
                    <a:pt x="473" y="8349"/>
                    <a:pt x="1071" y="8349"/>
                  </a:cubicBezTo>
                  <a:lnTo>
                    <a:pt x="3466" y="8349"/>
                  </a:lnTo>
                  <a:lnTo>
                    <a:pt x="3466" y="10743"/>
                  </a:lnTo>
                  <a:cubicBezTo>
                    <a:pt x="3466" y="11342"/>
                    <a:pt x="3938" y="11815"/>
                    <a:pt x="4537" y="11815"/>
                  </a:cubicBezTo>
                  <a:lnTo>
                    <a:pt x="7309" y="11815"/>
                  </a:lnTo>
                  <a:cubicBezTo>
                    <a:pt x="7876" y="11815"/>
                    <a:pt x="8349" y="11342"/>
                    <a:pt x="8349" y="10743"/>
                  </a:cubicBezTo>
                  <a:lnTo>
                    <a:pt x="8349" y="8349"/>
                  </a:lnTo>
                  <a:lnTo>
                    <a:pt x="10743" y="8349"/>
                  </a:lnTo>
                  <a:cubicBezTo>
                    <a:pt x="11342" y="8349"/>
                    <a:pt x="11815" y="7877"/>
                    <a:pt x="11815" y="7278"/>
                  </a:cubicBezTo>
                  <a:lnTo>
                    <a:pt x="11815" y="4537"/>
                  </a:lnTo>
                  <a:cubicBezTo>
                    <a:pt x="11815" y="3938"/>
                    <a:pt x="11342" y="3466"/>
                    <a:pt x="10743" y="3466"/>
                  </a:cubicBezTo>
                  <a:lnTo>
                    <a:pt x="8349" y="3466"/>
                  </a:lnTo>
                  <a:lnTo>
                    <a:pt x="8349" y="1072"/>
                  </a:lnTo>
                  <a:cubicBezTo>
                    <a:pt x="8349" y="473"/>
                    <a:pt x="7876" y="0"/>
                    <a:pt x="7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76"/>
          <p:cNvGrpSpPr/>
          <p:nvPr/>
        </p:nvGrpSpPr>
        <p:grpSpPr>
          <a:xfrm>
            <a:off x="7995419" y="3339805"/>
            <a:ext cx="355063" cy="351984"/>
            <a:chOff x="-22859750" y="2335900"/>
            <a:chExt cx="296950" cy="294375"/>
          </a:xfrm>
        </p:grpSpPr>
        <p:sp>
          <p:nvSpPr>
            <p:cNvPr id="9435" name="Google Shape;9435;p76"/>
            <p:cNvSpPr/>
            <p:nvPr/>
          </p:nvSpPr>
          <p:spPr>
            <a:xfrm>
              <a:off x="-22859750" y="2335900"/>
              <a:ext cx="296950" cy="294375"/>
            </a:xfrm>
            <a:custGeom>
              <a:avLst/>
              <a:gdLst/>
              <a:ahLst/>
              <a:cxnLst/>
              <a:rect l="l" t="t" r="r" b="b"/>
              <a:pathLst>
                <a:path w="11878" h="11775" extrusionOk="0">
                  <a:moveTo>
                    <a:pt x="7306" y="663"/>
                  </a:moveTo>
                  <a:cubicBezTo>
                    <a:pt x="7389" y="663"/>
                    <a:pt x="7475" y="671"/>
                    <a:pt x="7562" y="685"/>
                  </a:cubicBezTo>
                  <a:cubicBezTo>
                    <a:pt x="7814" y="780"/>
                    <a:pt x="8034" y="937"/>
                    <a:pt x="8192" y="1126"/>
                  </a:cubicBezTo>
                  <a:cubicBezTo>
                    <a:pt x="7908" y="1189"/>
                    <a:pt x="7656" y="1347"/>
                    <a:pt x="7467" y="1567"/>
                  </a:cubicBezTo>
                  <a:cubicBezTo>
                    <a:pt x="7341" y="1662"/>
                    <a:pt x="7341" y="1914"/>
                    <a:pt x="7467" y="2008"/>
                  </a:cubicBezTo>
                  <a:cubicBezTo>
                    <a:pt x="7530" y="2071"/>
                    <a:pt x="7617" y="2103"/>
                    <a:pt x="7703" y="2103"/>
                  </a:cubicBezTo>
                  <a:cubicBezTo>
                    <a:pt x="7790" y="2103"/>
                    <a:pt x="7877" y="2071"/>
                    <a:pt x="7940" y="2008"/>
                  </a:cubicBezTo>
                  <a:cubicBezTo>
                    <a:pt x="8129" y="1819"/>
                    <a:pt x="8412" y="1693"/>
                    <a:pt x="8696" y="1693"/>
                  </a:cubicBezTo>
                  <a:cubicBezTo>
                    <a:pt x="8979" y="1693"/>
                    <a:pt x="9231" y="1819"/>
                    <a:pt x="9452" y="2008"/>
                  </a:cubicBezTo>
                  <a:cubicBezTo>
                    <a:pt x="9767" y="2355"/>
                    <a:pt x="9830" y="2764"/>
                    <a:pt x="9673" y="3174"/>
                  </a:cubicBezTo>
                  <a:cubicBezTo>
                    <a:pt x="9389" y="3237"/>
                    <a:pt x="9137" y="3395"/>
                    <a:pt x="8885" y="3584"/>
                  </a:cubicBezTo>
                  <a:cubicBezTo>
                    <a:pt x="8759" y="3710"/>
                    <a:pt x="8759" y="3962"/>
                    <a:pt x="8885" y="4056"/>
                  </a:cubicBezTo>
                  <a:cubicBezTo>
                    <a:pt x="8948" y="4119"/>
                    <a:pt x="9035" y="4151"/>
                    <a:pt x="9121" y="4151"/>
                  </a:cubicBezTo>
                  <a:cubicBezTo>
                    <a:pt x="9208" y="4151"/>
                    <a:pt x="9294" y="4119"/>
                    <a:pt x="9358" y="4056"/>
                  </a:cubicBezTo>
                  <a:cubicBezTo>
                    <a:pt x="9547" y="3867"/>
                    <a:pt x="9830" y="3741"/>
                    <a:pt x="10114" y="3741"/>
                  </a:cubicBezTo>
                  <a:cubicBezTo>
                    <a:pt x="10397" y="3741"/>
                    <a:pt x="10649" y="3867"/>
                    <a:pt x="10870" y="4056"/>
                  </a:cubicBezTo>
                  <a:cubicBezTo>
                    <a:pt x="11059" y="4277"/>
                    <a:pt x="11185" y="4529"/>
                    <a:pt x="11185" y="4812"/>
                  </a:cubicBezTo>
                  <a:cubicBezTo>
                    <a:pt x="11185" y="5096"/>
                    <a:pt x="11059" y="5379"/>
                    <a:pt x="10870" y="5568"/>
                  </a:cubicBezTo>
                  <a:cubicBezTo>
                    <a:pt x="10649" y="5757"/>
                    <a:pt x="10397" y="5883"/>
                    <a:pt x="10114" y="5883"/>
                  </a:cubicBezTo>
                  <a:cubicBezTo>
                    <a:pt x="9925" y="5883"/>
                    <a:pt x="9767" y="6041"/>
                    <a:pt x="9767" y="6230"/>
                  </a:cubicBezTo>
                  <a:cubicBezTo>
                    <a:pt x="9767" y="6451"/>
                    <a:pt x="9925" y="6608"/>
                    <a:pt x="10114" y="6608"/>
                  </a:cubicBezTo>
                  <a:cubicBezTo>
                    <a:pt x="10429" y="6608"/>
                    <a:pt x="10712" y="6514"/>
                    <a:pt x="10964" y="6356"/>
                  </a:cubicBezTo>
                  <a:cubicBezTo>
                    <a:pt x="11090" y="6514"/>
                    <a:pt x="11122" y="6703"/>
                    <a:pt x="11122" y="6955"/>
                  </a:cubicBezTo>
                  <a:cubicBezTo>
                    <a:pt x="11122" y="7270"/>
                    <a:pt x="11027" y="7553"/>
                    <a:pt x="10807" y="7742"/>
                  </a:cubicBezTo>
                  <a:cubicBezTo>
                    <a:pt x="10618" y="7931"/>
                    <a:pt x="10366" y="8057"/>
                    <a:pt x="10082" y="8057"/>
                  </a:cubicBezTo>
                  <a:cubicBezTo>
                    <a:pt x="9799" y="8057"/>
                    <a:pt x="9515" y="7931"/>
                    <a:pt x="9326" y="7742"/>
                  </a:cubicBezTo>
                  <a:cubicBezTo>
                    <a:pt x="9137" y="7553"/>
                    <a:pt x="9011" y="7270"/>
                    <a:pt x="9011" y="6986"/>
                  </a:cubicBezTo>
                  <a:cubicBezTo>
                    <a:pt x="9011" y="6703"/>
                    <a:pt x="9137" y="6419"/>
                    <a:pt x="9326" y="6230"/>
                  </a:cubicBezTo>
                  <a:cubicBezTo>
                    <a:pt x="9452" y="6104"/>
                    <a:pt x="9452" y="5883"/>
                    <a:pt x="9326" y="5757"/>
                  </a:cubicBezTo>
                  <a:cubicBezTo>
                    <a:pt x="9263" y="5694"/>
                    <a:pt x="9176" y="5663"/>
                    <a:pt x="9090" y="5663"/>
                  </a:cubicBezTo>
                  <a:cubicBezTo>
                    <a:pt x="9003" y="5663"/>
                    <a:pt x="8916" y="5694"/>
                    <a:pt x="8853" y="5757"/>
                  </a:cubicBezTo>
                  <a:cubicBezTo>
                    <a:pt x="8538" y="6072"/>
                    <a:pt x="8349" y="6514"/>
                    <a:pt x="8349" y="6986"/>
                  </a:cubicBezTo>
                  <a:cubicBezTo>
                    <a:pt x="8349" y="7112"/>
                    <a:pt x="8349" y="7207"/>
                    <a:pt x="8381" y="7333"/>
                  </a:cubicBezTo>
                  <a:cubicBezTo>
                    <a:pt x="7562" y="7459"/>
                    <a:pt x="6932" y="8215"/>
                    <a:pt x="6932" y="9034"/>
                  </a:cubicBezTo>
                  <a:cubicBezTo>
                    <a:pt x="6932" y="9223"/>
                    <a:pt x="7089" y="9381"/>
                    <a:pt x="7278" y="9381"/>
                  </a:cubicBezTo>
                  <a:cubicBezTo>
                    <a:pt x="7467" y="9381"/>
                    <a:pt x="7625" y="9223"/>
                    <a:pt x="7625" y="9034"/>
                  </a:cubicBezTo>
                  <a:cubicBezTo>
                    <a:pt x="7625" y="8435"/>
                    <a:pt x="8097" y="8026"/>
                    <a:pt x="8664" y="8026"/>
                  </a:cubicBezTo>
                  <a:lnTo>
                    <a:pt x="8696" y="8026"/>
                  </a:lnTo>
                  <a:cubicBezTo>
                    <a:pt x="8727" y="8089"/>
                    <a:pt x="8822" y="8120"/>
                    <a:pt x="8853" y="8215"/>
                  </a:cubicBezTo>
                  <a:cubicBezTo>
                    <a:pt x="9074" y="8435"/>
                    <a:pt x="9326" y="8561"/>
                    <a:pt x="9641" y="8656"/>
                  </a:cubicBezTo>
                  <a:cubicBezTo>
                    <a:pt x="9673" y="8750"/>
                    <a:pt x="9704" y="8908"/>
                    <a:pt x="9704" y="9034"/>
                  </a:cubicBezTo>
                  <a:cubicBezTo>
                    <a:pt x="9704" y="9507"/>
                    <a:pt x="9452" y="9853"/>
                    <a:pt x="9011" y="10011"/>
                  </a:cubicBezTo>
                  <a:cubicBezTo>
                    <a:pt x="8979" y="9853"/>
                    <a:pt x="8853" y="9759"/>
                    <a:pt x="8664" y="9759"/>
                  </a:cubicBezTo>
                  <a:cubicBezTo>
                    <a:pt x="8444" y="9759"/>
                    <a:pt x="8286" y="9916"/>
                    <a:pt x="8286" y="10105"/>
                  </a:cubicBezTo>
                  <a:cubicBezTo>
                    <a:pt x="8286" y="10704"/>
                    <a:pt x="7814" y="11113"/>
                    <a:pt x="7278" y="11113"/>
                  </a:cubicBezTo>
                  <a:cubicBezTo>
                    <a:pt x="6711" y="11113"/>
                    <a:pt x="6239" y="10641"/>
                    <a:pt x="6239" y="10105"/>
                  </a:cubicBezTo>
                  <a:lnTo>
                    <a:pt x="6239" y="6640"/>
                  </a:lnTo>
                  <a:cubicBezTo>
                    <a:pt x="6522" y="6860"/>
                    <a:pt x="6932" y="6986"/>
                    <a:pt x="7278" y="6986"/>
                  </a:cubicBezTo>
                  <a:cubicBezTo>
                    <a:pt x="7467" y="6986"/>
                    <a:pt x="7625" y="6829"/>
                    <a:pt x="7625" y="6640"/>
                  </a:cubicBezTo>
                  <a:cubicBezTo>
                    <a:pt x="7625" y="6451"/>
                    <a:pt x="7467" y="6293"/>
                    <a:pt x="7278" y="6293"/>
                  </a:cubicBezTo>
                  <a:cubicBezTo>
                    <a:pt x="6680" y="6293"/>
                    <a:pt x="6239" y="5820"/>
                    <a:pt x="6239" y="5253"/>
                  </a:cubicBezTo>
                  <a:lnTo>
                    <a:pt x="6239" y="1788"/>
                  </a:lnTo>
                  <a:lnTo>
                    <a:pt x="6239" y="1756"/>
                  </a:lnTo>
                  <a:lnTo>
                    <a:pt x="6239" y="1725"/>
                  </a:lnTo>
                  <a:cubicBezTo>
                    <a:pt x="6239" y="1441"/>
                    <a:pt x="6365" y="1158"/>
                    <a:pt x="6554" y="969"/>
                  </a:cubicBezTo>
                  <a:cubicBezTo>
                    <a:pt x="6772" y="750"/>
                    <a:pt x="7027" y="663"/>
                    <a:pt x="7306" y="663"/>
                  </a:cubicBezTo>
                  <a:close/>
                  <a:moveTo>
                    <a:pt x="4492" y="726"/>
                  </a:moveTo>
                  <a:cubicBezTo>
                    <a:pt x="4756" y="726"/>
                    <a:pt x="5012" y="813"/>
                    <a:pt x="5230" y="1032"/>
                  </a:cubicBezTo>
                  <a:cubicBezTo>
                    <a:pt x="5419" y="1221"/>
                    <a:pt x="5545" y="1504"/>
                    <a:pt x="5545" y="1788"/>
                  </a:cubicBezTo>
                  <a:lnTo>
                    <a:pt x="5545" y="1819"/>
                  </a:lnTo>
                  <a:lnTo>
                    <a:pt x="5545" y="5285"/>
                  </a:lnTo>
                  <a:cubicBezTo>
                    <a:pt x="5545" y="5883"/>
                    <a:pt x="5073" y="6325"/>
                    <a:pt x="4506" y="6325"/>
                  </a:cubicBezTo>
                  <a:cubicBezTo>
                    <a:pt x="4317" y="6325"/>
                    <a:pt x="4159" y="6482"/>
                    <a:pt x="4159" y="6671"/>
                  </a:cubicBezTo>
                  <a:cubicBezTo>
                    <a:pt x="4159" y="6860"/>
                    <a:pt x="4317" y="7018"/>
                    <a:pt x="4506" y="7018"/>
                  </a:cubicBezTo>
                  <a:cubicBezTo>
                    <a:pt x="4915" y="7018"/>
                    <a:pt x="5262" y="6892"/>
                    <a:pt x="5545" y="6671"/>
                  </a:cubicBezTo>
                  <a:lnTo>
                    <a:pt x="5545" y="10105"/>
                  </a:lnTo>
                  <a:lnTo>
                    <a:pt x="5545" y="10137"/>
                  </a:lnTo>
                  <a:cubicBezTo>
                    <a:pt x="5545" y="10704"/>
                    <a:pt x="5073" y="11176"/>
                    <a:pt x="4506" y="11176"/>
                  </a:cubicBezTo>
                  <a:cubicBezTo>
                    <a:pt x="3939" y="11176"/>
                    <a:pt x="3498" y="10704"/>
                    <a:pt x="3498" y="10137"/>
                  </a:cubicBezTo>
                  <a:cubicBezTo>
                    <a:pt x="3498" y="9948"/>
                    <a:pt x="3340" y="9790"/>
                    <a:pt x="3151" y="9790"/>
                  </a:cubicBezTo>
                  <a:cubicBezTo>
                    <a:pt x="2994" y="9790"/>
                    <a:pt x="2836" y="9916"/>
                    <a:pt x="2773" y="10074"/>
                  </a:cubicBezTo>
                  <a:cubicBezTo>
                    <a:pt x="2395" y="9916"/>
                    <a:pt x="2080" y="9538"/>
                    <a:pt x="2080" y="9065"/>
                  </a:cubicBezTo>
                  <a:cubicBezTo>
                    <a:pt x="2080" y="8908"/>
                    <a:pt x="2111" y="8813"/>
                    <a:pt x="2143" y="8687"/>
                  </a:cubicBezTo>
                  <a:cubicBezTo>
                    <a:pt x="2426" y="8593"/>
                    <a:pt x="2710" y="8435"/>
                    <a:pt x="2930" y="8246"/>
                  </a:cubicBezTo>
                  <a:cubicBezTo>
                    <a:pt x="2994" y="8215"/>
                    <a:pt x="3057" y="8120"/>
                    <a:pt x="3088" y="8057"/>
                  </a:cubicBezTo>
                  <a:lnTo>
                    <a:pt x="3151" y="8057"/>
                  </a:lnTo>
                  <a:cubicBezTo>
                    <a:pt x="3718" y="8057"/>
                    <a:pt x="4159" y="8530"/>
                    <a:pt x="4159" y="9065"/>
                  </a:cubicBezTo>
                  <a:cubicBezTo>
                    <a:pt x="4159" y="9286"/>
                    <a:pt x="4317" y="9444"/>
                    <a:pt x="4506" y="9444"/>
                  </a:cubicBezTo>
                  <a:cubicBezTo>
                    <a:pt x="4726" y="9444"/>
                    <a:pt x="4884" y="9286"/>
                    <a:pt x="4884" y="9065"/>
                  </a:cubicBezTo>
                  <a:cubicBezTo>
                    <a:pt x="4884" y="8215"/>
                    <a:pt x="4254" y="7490"/>
                    <a:pt x="3403" y="7396"/>
                  </a:cubicBezTo>
                  <a:cubicBezTo>
                    <a:pt x="3466" y="7270"/>
                    <a:pt x="3466" y="7144"/>
                    <a:pt x="3466" y="7018"/>
                  </a:cubicBezTo>
                  <a:cubicBezTo>
                    <a:pt x="3466" y="6545"/>
                    <a:pt x="3246" y="6104"/>
                    <a:pt x="2930" y="5820"/>
                  </a:cubicBezTo>
                  <a:cubicBezTo>
                    <a:pt x="2883" y="5757"/>
                    <a:pt x="2797" y="5726"/>
                    <a:pt x="2706" y="5726"/>
                  </a:cubicBezTo>
                  <a:cubicBezTo>
                    <a:pt x="2615" y="5726"/>
                    <a:pt x="2521" y="5757"/>
                    <a:pt x="2458" y="5820"/>
                  </a:cubicBezTo>
                  <a:cubicBezTo>
                    <a:pt x="2363" y="5915"/>
                    <a:pt x="2363" y="6167"/>
                    <a:pt x="2458" y="6262"/>
                  </a:cubicBezTo>
                  <a:cubicBezTo>
                    <a:pt x="2678" y="6482"/>
                    <a:pt x="2773" y="6734"/>
                    <a:pt x="2773" y="7018"/>
                  </a:cubicBezTo>
                  <a:cubicBezTo>
                    <a:pt x="2773" y="7301"/>
                    <a:pt x="2678" y="7585"/>
                    <a:pt x="2458" y="7774"/>
                  </a:cubicBezTo>
                  <a:cubicBezTo>
                    <a:pt x="2269" y="7963"/>
                    <a:pt x="1985" y="8089"/>
                    <a:pt x="1733" y="8089"/>
                  </a:cubicBezTo>
                  <a:cubicBezTo>
                    <a:pt x="1450" y="8089"/>
                    <a:pt x="1166" y="7963"/>
                    <a:pt x="977" y="7774"/>
                  </a:cubicBezTo>
                  <a:cubicBezTo>
                    <a:pt x="788" y="7585"/>
                    <a:pt x="662" y="7301"/>
                    <a:pt x="662" y="7018"/>
                  </a:cubicBezTo>
                  <a:cubicBezTo>
                    <a:pt x="662" y="6829"/>
                    <a:pt x="725" y="6640"/>
                    <a:pt x="820" y="6419"/>
                  </a:cubicBezTo>
                  <a:cubicBezTo>
                    <a:pt x="1103" y="6608"/>
                    <a:pt x="1355" y="6671"/>
                    <a:pt x="1670" y="6671"/>
                  </a:cubicBezTo>
                  <a:cubicBezTo>
                    <a:pt x="1891" y="6671"/>
                    <a:pt x="2048" y="6514"/>
                    <a:pt x="2048" y="6325"/>
                  </a:cubicBezTo>
                  <a:cubicBezTo>
                    <a:pt x="2048" y="6104"/>
                    <a:pt x="1891" y="5946"/>
                    <a:pt x="1670" y="5946"/>
                  </a:cubicBezTo>
                  <a:cubicBezTo>
                    <a:pt x="1418" y="5946"/>
                    <a:pt x="1135" y="5852"/>
                    <a:pt x="946" y="5631"/>
                  </a:cubicBezTo>
                  <a:cubicBezTo>
                    <a:pt x="725" y="5442"/>
                    <a:pt x="631" y="5159"/>
                    <a:pt x="631" y="4907"/>
                  </a:cubicBezTo>
                  <a:cubicBezTo>
                    <a:pt x="631" y="4623"/>
                    <a:pt x="725" y="4340"/>
                    <a:pt x="946" y="4151"/>
                  </a:cubicBezTo>
                  <a:cubicBezTo>
                    <a:pt x="1135" y="3962"/>
                    <a:pt x="1418" y="3836"/>
                    <a:pt x="1670" y="3836"/>
                  </a:cubicBezTo>
                  <a:cubicBezTo>
                    <a:pt x="1954" y="3836"/>
                    <a:pt x="2237" y="3962"/>
                    <a:pt x="2426" y="4151"/>
                  </a:cubicBezTo>
                  <a:cubicBezTo>
                    <a:pt x="2489" y="4214"/>
                    <a:pt x="2576" y="4245"/>
                    <a:pt x="2663" y="4245"/>
                  </a:cubicBezTo>
                  <a:cubicBezTo>
                    <a:pt x="2749" y="4245"/>
                    <a:pt x="2836" y="4214"/>
                    <a:pt x="2899" y="4151"/>
                  </a:cubicBezTo>
                  <a:cubicBezTo>
                    <a:pt x="3025" y="4025"/>
                    <a:pt x="3025" y="3804"/>
                    <a:pt x="2899" y="3678"/>
                  </a:cubicBezTo>
                  <a:cubicBezTo>
                    <a:pt x="2678" y="3426"/>
                    <a:pt x="2426" y="3332"/>
                    <a:pt x="2111" y="3237"/>
                  </a:cubicBezTo>
                  <a:cubicBezTo>
                    <a:pt x="1954" y="2859"/>
                    <a:pt x="2048" y="2418"/>
                    <a:pt x="2363" y="2103"/>
                  </a:cubicBezTo>
                  <a:cubicBezTo>
                    <a:pt x="2552" y="1914"/>
                    <a:pt x="2836" y="1788"/>
                    <a:pt x="3088" y="1788"/>
                  </a:cubicBezTo>
                  <a:cubicBezTo>
                    <a:pt x="3372" y="1788"/>
                    <a:pt x="3655" y="1914"/>
                    <a:pt x="3844" y="2103"/>
                  </a:cubicBezTo>
                  <a:cubicBezTo>
                    <a:pt x="3907" y="2166"/>
                    <a:pt x="3994" y="2197"/>
                    <a:pt x="4080" y="2197"/>
                  </a:cubicBezTo>
                  <a:cubicBezTo>
                    <a:pt x="4167" y="2197"/>
                    <a:pt x="4254" y="2166"/>
                    <a:pt x="4317" y="2103"/>
                  </a:cubicBezTo>
                  <a:cubicBezTo>
                    <a:pt x="4443" y="1977"/>
                    <a:pt x="4443" y="1756"/>
                    <a:pt x="4317" y="1630"/>
                  </a:cubicBezTo>
                  <a:cubicBezTo>
                    <a:pt x="4128" y="1441"/>
                    <a:pt x="3876" y="1284"/>
                    <a:pt x="3624" y="1189"/>
                  </a:cubicBezTo>
                  <a:cubicBezTo>
                    <a:pt x="3781" y="969"/>
                    <a:pt x="3970" y="811"/>
                    <a:pt x="4254" y="748"/>
                  </a:cubicBezTo>
                  <a:cubicBezTo>
                    <a:pt x="4333" y="734"/>
                    <a:pt x="4413" y="726"/>
                    <a:pt x="4492" y="726"/>
                  </a:cubicBezTo>
                  <a:close/>
                  <a:moveTo>
                    <a:pt x="7254" y="0"/>
                  </a:moveTo>
                  <a:cubicBezTo>
                    <a:pt x="6817" y="0"/>
                    <a:pt x="6387" y="190"/>
                    <a:pt x="6049" y="528"/>
                  </a:cubicBezTo>
                  <a:cubicBezTo>
                    <a:pt x="6018" y="559"/>
                    <a:pt x="5923" y="654"/>
                    <a:pt x="5892" y="717"/>
                  </a:cubicBezTo>
                  <a:cubicBezTo>
                    <a:pt x="5860" y="654"/>
                    <a:pt x="5766" y="622"/>
                    <a:pt x="5734" y="528"/>
                  </a:cubicBezTo>
                  <a:cubicBezTo>
                    <a:pt x="5391" y="185"/>
                    <a:pt x="4972" y="13"/>
                    <a:pt x="4521" y="13"/>
                  </a:cubicBezTo>
                  <a:cubicBezTo>
                    <a:pt x="4392" y="13"/>
                    <a:pt x="4261" y="27"/>
                    <a:pt x="4128" y="55"/>
                  </a:cubicBezTo>
                  <a:cubicBezTo>
                    <a:pt x="3561" y="181"/>
                    <a:pt x="3151" y="559"/>
                    <a:pt x="2899" y="1126"/>
                  </a:cubicBezTo>
                  <a:cubicBezTo>
                    <a:pt x="2552" y="1158"/>
                    <a:pt x="2206" y="1347"/>
                    <a:pt x="1922" y="1599"/>
                  </a:cubicBezTo>
                  <a:cubicBezTo>
                    <a:pt x="1481" y="2040"/>
                    <a:pt x="1324" y="2607"/>
                    <a:pt x="1450" y="3206"/>
                  </a:cubicBezTo>
                  <a:cubicBezTo>
                    <a:pt x="1103" y="3237"/>
                    <a:pt x="788" y="3458"/>
                    <a:pt x="505" y="3678"/>
                  </a:cubicBezTo>
                  <a:cubicBezTo>
                    <a:pt x="190" y="3993"/>
                    <a:pt x="1" y="4434"/>
                    <a:pt x="1" y="4907"/>
                  </a:cubicBezTo>
                  <a:cubicBezTo>
                    <a:pt x="1" y="5285"/>
                    <a:pt x="127" y="5663"/>
                    <a:pt x="347" y="5915"/>
                  </a:cubicBezTo>
                  <a:cubicBezTo>
                    <a:pt x="127" y="6230"/>
                    <a:pt x="1" y="6608"/>
                    <a:pt x="1" y="6955"/>
                  </a:cubicBezTo>
                  <a:cubicBezTo>
                    <a:pt x="1" y="7427"/>
                    <a:pt x="190" y="7868"/>
                    <a:pt x="505" y="8183"/>
                  </a:cubicBezTo>
                  <a:cubicBezTo>
                    <a:pt x="788" y="8435"/>
                    <a:pt x="1103" y="8593"/>
                    <a:pt x="1450" y="8624"/>
                  </a:cubicBezTo>
                  <a:cubicBezTo>
                    <a:pt x="1418" y="8750"/>
                    <a:pt x="1418" y="8876"/>
                    <a:pt x="1418" y="9002"/>
                  </a:cubicBezTo>
                  <a:cubicBezTo>
                    <a:pt x="1418" y="9916"/>
                    <a:pt x="2080" y="10609"/>
                    <a:pt x="2962" y="10735"/>
                  </a:cubicBezTo>
                  <a:cubicBezTo>
                    <a:pt x="3214" y="11365"/>
                    <a:pt x="3813" y="11775"/>
                    <a:pt x="4569" y="11775"/>
                  </a:cubicBezTo>
                  <a:cubicBezTo>
                    <a:pt x="5104" y="11775"/>
                    <a:pt x="5640" y="11523"/>
                    <a:pt x="5955" y="11082"/>
                  </a:cubicBezTo>
                  <a:cubicBezTo>
                    <a:pt x="6270" y="11523"/>
                    <a:pt x="6774" y="11775"/>
                    <a:pt x="7310" y="11775"/>
                  </a:cubicBezTo>
                  <a:cubicBezTo>
                    <a:pt x="8034" y="11775"/>
                    <a:pt x="8664" y="11365"/>
                    <a:pt x="8948" y="10735"/>
                  </a:cubicBezTo>
                  <a:cubicBezTo>
                    <a:pt x="9799" y="10609"/>
                    <a:pt x="10460" y="9916"/>
                    <a:pt x="10460" y="9002"/>
                  </a:cubicBezTo>
                  <a:cubicBezTo>
                    <a:pt x="10460" y="8876"/>
                    <a:pt x="10460" y="8750"/>
                    <a:pt x="10429" y="8624"/>
                  </a:cubicBezTo>
                  <a:cubicBezTo>
                    <a:pt x="10775" y="8593"/>
                    <a:pt x="11090" y="8404"/>
                    <a:pt x="11374" y="8183"/>
                  </a:cubicBezTo>
                  <a:cubicBezTo>
                    <a:pt x="11689" y="7837"/>
                    <a:pt x="11878" y="7427"/>
                    <a:pt x="11878" y="6955"/>
                  </a:cubicBezTo>
                  <a:cubicBezTo>
                    <a:pt x="11878" y="6545"/>
                    <a:pt x="11783" y="6199"/>
                    <a:pt x="11531" y="5915"/>
                  </a:cubicBezTo>
                  <a:cubicBezTo>
                    <a:pt x="11689" y="5663"/>
                    <a:pt x="11815" y="5285"/>
                    <a:pt x="11815" y="4907"/>
                  </a:cubicBezTo>
                  <a:cubicBezTo>
                    <a:pt x="11815" y="4434"/>
                    <a:pt x="11594" y="3993"/>
                    <a:pt x="11279" y="3678"/>
                  </a:cubicBezTo>
                  <a:cubicBezTo>
                    <a:pt x="11027" y="3395"/>
                    <a:pt x="10712" y="3237"/>
                    <a:pt x="10334" y="3206"/>
                  </a:cubicBezTo>
                  <a:cubicBezTo>
                    <a:pt x="10460" y="2670"/>
                    <a:pt x="10303" y="2040"/>
                    <a:pt x="9862" y="1599"/>
                  </a:cubicBezTo>
                  <a:cubicBezTo>
                    <a:pt x="9610" y="1315"/>
                    <a:pt x="9231" y="1158"/>
                    <a:pt x="8885" y="1126"/>
                  </a:cubicBezTo>
                  <a:cubicBezTo>
                    <a:pt x="8664" y="559"/>
                    <a:pt x="8223" y="181"/>
                    <a:pt x="7656" y="55"/>
                  </a:cubicBezTo>
                  <a:cubicBezTo>
                    <a:pt x="7523" y="18"/>
                    <a:pt x="7388" y="0"/>
                    <a:pt x="7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76"/>
            <p:cNvSpPr/>
            <p:nvPr/>
          </p:nvSpPr>
          <p:spPr>
            <a:xfrm>
              <a:off x="-22685675" y="2408150"/>
              <a:ext cx="27575" cy="66175"/>
            </a:xfrm>
            <a:custGeom>
              <a:avLst/>
              <a:gdLst/>
              <a:ahLst/>
              <a:cxnLst/>
              <a:rect l="l" t="t" r="r" b="b"/>
              <a:pathLst>
                <a:path w="1103" h="2647" extrusionOk="0">
                  <a:moveTo>
                    <a:pt x="740" y="1"/>
                  </a:moveTo>
                  <a:cubicBezTo>
                    <a:pt x="654" y="1"/>
                    <a:pt x="567" y="32"/>
                    <a:pt x="504" y="95"/>
                  </a:cubicBezTo>
                  <a:cubicBezTo>
                    <a:pt x="189" y="410"/>
                    <a:pt x="0" y="820"/>
                    <a:pt x="0" y="1292"/>
                  </a:cubicBezTo>
                  <a:cubicBezTo>
                    <a:pt x="0" y="1765"/>
                    <a:pt x="189" y="2206"/>
                    <a:pt x="504" y="2521"/>
                  </a:cubicBezTo>
                  <a:cubicBezTo>
                    <a:pt x="599" y="2584"/>
                    <a:pt x="662" y="2647"/>
                    <a:pt x="756" y="2647"/>
                  </a:cubicBezTo>
                  <a:cubicBezTo>
                    <a:pt x="819" y="2647"/>
                    <a:pt x="945" y="2615"/>
                    <a:pt x="977" y="2521"/>
                  </a:cubicBezTo>
                  <a:cubicBezTo>
                    <a:pt x="1103" y="2395"/>
                    <a:pt x="1103" y="2174"/>
                    <a:pt x="977" y="2048"/>
                  </a:cubicBezTo>
                  <a:cubicBezTo>
                    <a:pt x="788" y="1859"/>
                    <a:pt x="662" y="1576"/>
                    <a:pt x="662" y="1292"/>
                  </a:cubicBezTo>
                  <a:cubicBezTo>
                    <a:pt x="662" y="1040"/>
                    <a:pt x="788" y="757"/>
                    <a:pt x="977" y="536"/>
                  </a:cubicBezTo>
                  <a:cubicBezTo>
                    <a:pt x="1103" y="442"/>
                    <a:pt x="1103" y="253"/>
                    <a:pt x="977" y="95"/>
                  </a:cubicBezTo>
                  <a:cubicBezTo>
                    <a:pt x="914" y="32"/>
                    <a:pt x="827" y="1"/>
                    <a:pt x="7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76"/>
            <p:cNvSpPr/>
            <p:nvPr/>
          </p:nvSpPr>
          <p:spPr>
            <a:xfrm>
              <a:off x="-22766800" y="2408950"/>
              <a:ext cx="27575" cy="66175"/>
            </a:xfrm>
            <a:custGeom>
              <a:avLst/>
              <a:gdLst/>
              <a:ahLst/>
              <a:cxnLst/>
              <a:rect l="l" t="t" r="r" b="b"/>
              <a:pathLst>
                <a:path w="1103" h="2647" extrusionOk="0">
                  <a:moveTo>
                    <a:pt x="362" y="0"/>
                  </a:moveTo>
                  <a:cubicBezTo>
                    <a:pt x="276" y="0"/>
                    <a:pt x="189" y="32"/>
                    <a:pt x="126" y="95"/>
                  </a:cubicBezTo>
                  <a:cubicBezTo>
                    <a:pt x="0" y="221"/>
                    <a:pt x="0" y="441"/>
                    <a:pt x="126" y="567"/>
                  </a:cubicBezTo>
                  <a:cubicBezTo>
                    <a:pt x="315" y="756"/>
                    <a:pt x="441" y="1040"/>
                    <a:pt x="441" y="1323"/>
                  </a:cubicBezTo>
                  <a:cubicBezTo>
                    <a:pt x="441" y="1575"/>
                    <a:pt x="315" y="1859"/>
                    <a:pt x="126" y="2048"/>
                  </a:cubicBezTo>
                  <a:cubicBezTo>
                    <a:pt x="0" y="2174"/>
                    <a:pt x="0" y="2426"/>
                    <a:pt x="126" y="2520"/>
                  </a:cubicBezTo>
                  <a:cubicBezTo>
                    <a:pt x="221" y="2615"/>
                    <a:pt x="284" y="2646"/>
                    <a:pt x="378" y="2646"/>
                  </a:cubicBezTo>
                  <a:cubicBezTo>
                    <a:pt x="441" y="2646"/>
                    <a:pt x="567" y="2615"/>
                    <a:pt x="599" y="2520"/>
                  </a:cubicBezTo>
                  <a:cubicBezTo>
                    <a:pt x="977" y="2174"/>
                    <a:pt x="1103" y="1733"/>
                    <a:pt x="1103" y="1323"/>
                  </a:cubicBezTo>
                  <a:cubicBezTo>
                    <a:pt x="1103" y="851"/>
                    <a:pt x="914" y="410"/>
                    <a:pt x="599" y="95"/>
                  </a:cubicBezTo>
                  <a:cubicBezTo>
                    <a:pt x="536" y="32"/>
                    <a:pt x="449" y="0"/>
                    <a:pt x="3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8" name="Google Shape;9438;p76"/>
          <p:cNvGrpSpPr/>
          <p:nvPr/>
        </p:nvGrpSpPr>
        <p:grpSpPr>
          <a:xfrm>
            <a:off x="5774767" y="1561953"/>
            <a:ext cx="311749" cy="353210"/>
            <a:chOff x="-27710725" y="1959200"/>
            <a:chExt cx="260725" cy="295400"/>
          </a:xfrm>
        </p:grpSpPr>
        <p:sp>
          <p:nvSpPr>
            <p:cNvPr id="9439" name="Google Shape;9439;p76"/>
            <p:cNvSpPr/>
            <p:nvPr/>
          </p:nvSpPr>
          <p:spPr>
            <a:xfrm>
              <a:off x="-27710725" y="1959200"/>
              <a:ext cx="260725" cy="295400"/>
            </a:xfrm>
            <a:custGeom>
              <a:avLst/>
              <a:gdLst/>
              <a:ahLst/>
              <a:cxnLst/>
              <a:rect l="l" t="t" r="r" b="b"/>
              <a:pathLst>
                <a:path w="10429" h="11816" extrusionOk="0">
                  <a:moveTo>
                    <a:pt x="1072" y="3561"/>
                  </a:moveTo>
                  <a:cubicBezTo>
                    <a:pt x="1261" y="3561"/>
                    <a:pt x="1418" y="3718"/>
                    <a:pt x="1418" y="3907"/>
                  </a:cubicBezTo>
                  <a:lnTo>
                    <a:pt x="1418" y="4916"/>
                  </a:lnTo>
                  <a:lnTo>
                    <a:pt x="694" y="4916"/>
                  </a:lnTo>
                  <a:lnTo>
                    <a:pt x="694" y="3907"/>
                  </a:lnTo>
                  <a:cubicBezTo>
                    <a:pt x="694" y="3718"/>
                    <a:pt x="851" y="3561"/>
                    <a:pt x="1072" y="3561"/>
                  </a:cubicBezTo>
                  <a:close/>
                  <a:moveTo>
                    <a:pt x="5230" y="3561"/>
                  </a:moveTo>
                  <a:cubicBezTo>
                    <a:pt x="5419" y="3561"/>
                    <a:pt x="5577" y="3718"/>
                    <a:pt x="5577" y="3907"/>
                  </a:cubicBezTo>
                  <a:lnTo>
                    <a:pt x="5577" y="4916"/>
                  </a:lnTo>
                  <a:lnTo>
                    <a:pt x="4884" y="4916"/>
                  </a:lnTo>
                  <a:lnTo>
                    <a:pt x="4884" y="3907"/>
                  </a:lnTo>
                  <a:cubicBezTo>
                    <a:pt x="4884" y="3718"/>
                    <a:pt x="5041" y="3561"/>
                    <a:pt x="5230" y="3561"/>
                  </a:cubicBezTo>
                  <a:close/>
                  <a:moveTo>
                    <a:pt x="8696" y="4348"/>
                  </a:moveTo>
                  <a:cubicBezTo>
                    <a:pt x="9294" y="4348"/>
                    <a:pt x="9736" y="4821"/>
                    <a:pt x="9736" y="5357"/>
                  </a:cubicBezTo>
                  <a:cubicBezTo>
                    <a:pt x="9736" y="5924"/>
                    <a:pt x="9263" y="6396"/>
                    <a:pt x="8696" y="6396"/>
                  </a:cubicBezTo>
                  <a:cubicBezTo>
                    <a:pt x="8097" y="6396"/>
                    <a:pt x="7688" y="5924"/>
                    <a:pt x="7688" y="5357"/>
                  </a:cubicBezTo>
                  <a:cubicBezTo>
                    <a:pt x="7688" y="4821"/>
                    <a:pt x="8160" y="4348"/>
                    <a:pt x="8696" y="4348"/>
                  </a:cubicBezTo>
                  <a:close/>
                  <a:moveTo>
                    <a:pt x="5482" y="5609"/>
                  </a:moveTo>
                  <a:cubicBezTo>
                    <a:pt x="5388" y="6176"/>
                    <a:pt x="5073" y="6774"/>
                    <a:pt x="4569" y="7121"/>
                  </a:cubicBezTo>
                  <a:cubicBezTo>
                    <a:pt x="4120" y="7475"/>
                    <a:pt x="3582" y="7653"/>
                    <a:pt x="3036" y="7653"/>
                  </a:cubicBezTo>
                  <a:cubicBezTo>
                    <a:pt x="2854" y="7653"/>
                    <a:pt x="2671" y="7633"/>
                    <a:pt x="2489" y="7593"/>
                  </a:cubicBezTo>
                  <a:cubicBezTo>
                    <a:pt x="1639" y="7404"/>
                    <a:pt x="946" y="6617"/>
                    <a:pt x="757" y="5640"/>
                  </a:cubicBezTo>
                  <a:lnTo>
                    <a:pt x="1418" y="5640"/>
                  </a:lnTo>
                  <a:cubicBezTo>
                    <a:pt x="1481" y="5955"/>
                    <a:pt x="1639" y="6270"/>
                    <a:pt x="1891" y="6491"/>
                  </a:cubicBezTo>
                  <a:cubicBezTo>
                    <a:pt x="2206" y="6806"/>
                    <a:pt x="2647" y="7026"/>
                    <a:pt x="3119" y="7026"/>
                  </a:cubicBezTo>
                  <a:cubicBezTo>
                    <a:pt x="3183" y="7026"/>
                    <a:pt x="3309" y="7026"/>
                    <a:pt x="3372" y="6963"/>
                  </a:cubicBezTo>
                  <a:cubicBezTo>
                    <a:pt x="4096" y="6837"/>
                    <a:pt x="4600" y="6302"/>
                    <a:pt x="4758" y="5609"/>
                  </a:cubicBezTo>
                  <a:close/>
                  <a:moveTo>
                    <a:pt x="2426" y="1"/>
                  </a:moveTo>
                  <a:cubicBezTo>
                    <a:pt x="2237" y="1"/>
                    <a:pt x="2080" y="158"/>
                    <a:pt x="2080" y="347"/>
                  </a:cubicBezTo>
                  <a:lnTo>
                    <a:pt x="2080" y="725"/>
                  </a:lnTo>
                  <a:lnTo>
                    <a:pt x="1733" y="725"/>
                  </a:lnTo>
                  <a:cubicBezTo>
                    <a:pt x="1135" y="725"/>
                    <a:pt x="694" y="1198"/>
                    <a:pt x="694" y="1734"/>
                  </a:cubicBezTo>
                  <a:lnTo>
                    <a:pt x="694" y="2836"/>
                  </a:lnTo>
                  <a:cubicBezTo>
                    <a:pt x="316" y="2994"/>
                    <a:pt x="1" y="3340"/>
                    <a:pt x="1" y="3813"/>
                  </a:cubicBezTo>
                  <a:lnTo>
                    <a:pt x="1" y="5073"/>
                  </a:lnTo>
                  <a:lnTo>
                    <a:pt x="1" y="5231"/>
                  </a:lnTo>
                  <a:cubicBezTo>
                    <a:pt x="32" y="5924"/>
                    <a:pt x="284" y="6554"/>
                    <a:pt x="662" y="7058"/>
                  </a:cubicBezTo>
                  <a:cubicBezTo>
                    <a:pt x="1103" y="7656"/>
                    <a:pt x="1702" y="8035"/>
                    <a:pt x="2395" y="8224"/>
                  </a:cubicBezTo>
                  <a:cubicBezTo>
                    <a:pt x="2521" y="8287"/>
                    <a:pt x="2678" y="8287"/>
                    <a:pt x="2804" y="8318"/>
                  </a:cubicBezTo>
                  <a:lnTo>
                    <a:pt x="2804" y="8696"/>
                  </a:lnTo>
                  <a:cubicBezTo>
                    <a:pt x="2804" y="10429"/>
                    <a:pt x="4222" y="11815"/>
                    <a:pt x="5892" y="11815"/>
                  </a:cubicBezTo>
                  <a:cubicBezTo>
                    <a:pt x="7625" y="11815"/>
                    <a:pt x="9011" y="10397"/>
                    <a:pt x="9011" y="8696"/>
                  </a:cubicBezTo>
                  <a:lnTo>
                    <a:pt x="9011" y="6932"/>
                  </a:lnTo>
                  <a:cubicBezTo>
                    <a:pt x="9830" y="6837"/>
                    <a:pt x="10429" y="6176"/>
                    <a:pt x="10429" y="5325"/>
                  </a:cubicBezTo>
                  <a:cubicBezTo>
                    <a:pt x="10429" y="4380"/>
                    <a:pt x="9641" y="3592"/>
                    <a:pt x="8696" y="3592"/>
                  </a:cubicBezTo>
                  <a:cubicBezTo>
                    <a:pt x="7751" y="3592"/>
                    <a:pt x="6963" y="4380"/>
                    <a:pt x="6963" y="5325"/>
                  </a:cubicBezTo>
                  <a:cubicBezTo>
                    <a:pt x="6963" y="6144"/>
                    <a:pt x="7562" y="6837"/>
                    <a:pt x="8349" y="7026"/>
                  </a:cubicBezTo>
                  <a:lnTo>
                    <a:pt x="8349" y="8791"/>
                  </a:lnTo>
                  <a:cubicBezTo>
                    <a:pt x="8349" y="10114"/>
                    <a:pt x="7247" y="11216"/>
                    <a:pt x="5892" y="11216"/>
                  </a:cubicBezTo>
                  <a:cubicBezTo>
                    <a:pt x="4569" y="11216"/>
                    <a:pt x="3466" y="10114"/>
                    <a:pt x="3466" y="8791"/>
                  </a:cubicBezTo>
                  <a:lnTo>
                    <a:pt x="3466" y="8350"/>
                  </a:lnTo>
                  <a:cubicBezTo>
                    <a:pt x="4065" y="8287"/>
                    <a:pt x="4600" y="8066"/>
                    <a:pt x="5073" y="7688"/>
                  </a:cubicBezTo>
                  <a:cubicBezTo>
                    <a:pt x="5829" y="7089"/>
                    <a:pt x="6270" y="6176"/>
                    <a:pt x="6270" y="5231"/>
                  </a:cubicBezTo>
                  <a:lnTo>
                    <a:pt x="6270" y="3876"/>
                  </a:lnTo>
                  <a:cubicBezTo>
                    <a:pt x="6270" y="3435"/>
                    <a:pt x="5986" y="3025"/>
                    <a:pt x="5545" y="2868"/>
                  </a:cubicBezTo>
                  <a:lnTo>
                    <a:pt x="5545" y="1765"/>
                  </a:lnTo>
                  <a:cubicBezTo>
                    <a:pt x="5545" y="1198"/>
                    <a:pt x="5073" y="757"/>
                    <a:pt x="4537" y="757"/>
                  </a:cubicBezTo>
                  <a:lnTo>
                    <a:pt x="4159" y="757"/>
                  </a:lnTo>
                  <a:lnTo>
                    <a:pt x="4159" y="410"/>
                  </a:lnTo>
                  <a:cubicBezTo>
                    <a:pt x="4159" y="190"/>
                    <a:pt x="4002" y="32"/>
                    <a:pt x="3813" y="32"/>
                  </a:cubicBezTo>
                  <a:cubicBezTo>
                    <a:pt x="3624" y="32"/>
                    <a:pt x="3466" y="190"/>
                    <a:pt x="3466" y="410"/>
                  </a:cubicBezTo>
                  <a:lnTo>
                    <a:pt x="3466" y="1765"/>
                  </a:lnTo>
                  <a:cubicBezTo>
                    <a:pt x="3466" y="1986"/>
                    <a:pt x="3624" y="2143"/>
                    <a:pt x="3813" y="2143"/>
                  </a:cubicBezTo>
                  <a:cubicBezTo>
                    <a:pt x="4002" y="2143"/>
                    <a:pt x="4159" y="1986"/>
                    <a:pt x="4159" y="1765"/>
                  </a:cubicBezTo>
                  <a:lnTo>
                    <a:pt x="4159" y="1418"/>
                  </a:lnTo>
                  <a:lnTo>
                    <a:pt x="4537" y="1418"/>
                  </a:lnTo>
                  <a:cubicBezTo>
                    <a:pt x="4726" y="1418"/>
                    <a:pt x="4884" y="1576"/>
                    <a:pt x="4884" y="1765"/>
                  </a:cubicBezTo>
                  <a:lnTo>
                    <a:pt x="4884" y="2868"/>
                  </a:lnTo>
                  <a:cubicBezTo>
                    <a:pt x="4474" y="3025"/>
                    <a:pt x="4159" y="3403"/>
                    <a:pt x="4159" y="3876"/>
                  </a:cubicBezTo>
                  <a:lnTo>
                    <a:pt x="4159" y="5168"/>
                  </a:lnTo>
                  <a:cubicBezTo>
                    <a:pt x="4159" y="5703"/>
                    <a:pt x="3813" y="6176"/>
                    <a:pt x="3309" y="6270"/>
                  </a:cubicBezTo>
                  <a:lnTo>
                    <a:pt x="3151" y="6270"/>
                  </a:lnTo>
                  <a:cubicBezTo>
                    <a:pt x="2867" y="6270"/>
                    <a:pt x="2584" y="6144"/>
                    <a:pt x="2395" y="5955"/>
                  </a:cubicBezTo>
                  <a:cubicBezTo>
                    <a:pt x="2206" y="5766"/>
                    <a:pt x="2080" y="5483"/>
                    <a:pt x="2080" y="5199"/>
                  </a:cubicBezTo>
                  <a:lnTo>
                    <a:pt x="2080" y="3813"/>
                  </a:lnTo>
                  <a:cubicBezTo>
                    <a:pt x="2080" y="3403"/>
                    <a:pt x="1796" y="2994"/>
                    <a:pt x="1387" y="2836"/>
                  </a:cubicBezTo>
                  <a:lnTo>
                    <a:pt x="1387" y="1734"/>
                  </a:lnTo>
                  <a:cubicBezTo>
                    <a:pt x="1387" y="1545"/>
                    <a:pt x="1544" y="1387"/>
                    <a:pt x="1733" y="1387"/>
                  </a:cubicBezTo>
                  <a:lnTo>
                    <a:pt x="2080" y="1387"/>
                  </a:lnTo>
                  <a:lnTo>
                    <a:pt x="2080" y="1734"/>
                  </a:lnTo>
                  <a:cubicBezTo>
                    <a:pt x="2080" y="1923"/>
                    <a:pt x="2237" y="2080"/>
                    <a:pt x="2426" y="2080"/>
                  </a:cubicBezTo>
                  <a:cubicBezTo>
                    <a:pt x="2647" y="2080"/>
                    <a:pt x="2804" y="1923"/>
                    <a:pt x="2804" y="1734"/>
                  </a:cubicBezTo>
                  <a:lnTo>
                    <a:pt x="2804" y="347"/>
                  </a:lnTo>
                  <a:cubicBezTo>
                    <a:pt x="2804" y="158"/>
                    <a:pt x="2647"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76"/>
            <p:cNvSpPr/>
            <p:nvPr/>
          </p:nvSpPr>
          <p:spPr>
            <a:xfrm>
              <a:off x="-27502000" y="20844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41" name="Google Shape;9441;p76"/>
          <p:cNvGrpSpPr/>
          <p:nvPr/>
        </p:nvGrpSpPr>
        <p:grpSpPr>
          <a:xfrm>
            <a:off x="5752631" y="2070499"/>
            <a:ext cx="356020" cy="230770"/>
            <a:chOff x="-27728850" y="2382950"/>
            <a:chExt cx="297750" cy="193000"/>
          </a:xfrm>
        </p:grpSpPr>
        <p:sp>
          <p:nvSpPr>
            <p:cNvPr id="9442" name="Google Shape;9442;p76"/>
            <p:cNvSpPr/>
            <p:nvPr/>
          </p:nvSpPr>
          <p:spPr>
            <a:xfrm>
              <a:off x="-27606750" y="2453825"/>
              <a:ext cx="35450" cy="35475"/>
            </a:xfrm>
            <a:custGeom>
              <a:avLst/>
              <a:gdLst/>
              <a:ahLst/>
              <a:cxnLst/>
              <a:rect l="l" t="t" r="r" b="b"/>
              <a:pathLst>
                <a:path w="1418" h="1419" extrusionOk="0">
                  <a:moveTo>
                    <a:pt x="725" y="1"/>
                  </a:moveTo>
                  <a:cubicBezTo>
                    <a:pt x="315" y="1"/>
                    <a:pt x="0" y="316"/>
                    <a:pt x="0" y="694"/>
                  </a:cubicBezTo>
                  <a:cubicBezTo>
                    <a:pt x="0" y="1103"/>
                    <a:pt x="315" y="1419"/>
                    <a:pt x="725" y="1419"/>
                  </a:cubicBezTo>
                  <a:cubicBezTo>
                    <a:pt x="1103" y="1419"/>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3" name="Google Shape;9443;p76"/>
            <p:cNvSpPr/>
            <p:nvPr/>
          </p:nvSpPr>
          <p:spPr>
            <a:xfrm>
              <a:off x="-27728850" y="2382950"/>
              <a:ext cx="297750" cy="193000"/>
            </a:xfrm>
            <a:custGeom>
              <a:avLst/>
              <a:gdLst/>
              <a:ahLst/>
              <a:cxnLst/>
              <a:rect l="l" t="t" r="r" b="b"/>
              <a:pathLst>
                <a:path w="11910" h="7720" extrusionOk="0">
                  <a:moveTo>
                    <a:pt x="5955" y="756"/>
                  </a:moveTo>
                  <a:cubicBezTo>
                    <a:pt x="7405" y="756"/>
                    <a:pt x="8791" y="1670"/>
                    <a:pt x="9673" y="2426"/>
                  </a:cubicBezTo>
                  <a:cubicBezTo>
                    <a:pt x="10335" y="3025"/>
                    <a:pt x="10839" y="3592"/>
                    <a:pt x="11091" y="3938"/>
                  </a:cubicBezTo>
                  <a:cubicBezTo>
                    <a:pt x="10524" y="4632"/>
                    <a:pt x="8413" y="7026"/>
                    <a:pt x="5955" y="7026"/>
                  </a:cubicBezTo>
                  <a:cubicBezTo>
                    <a:pt x="4506" y="7026"/>
                    <a:pt x="3120" y="6144"/>
                    <a:pt x="2269" y="5388"/>
                  </a:cubicBezTo>
                  <a:cubicBezTo>
                    <a:pt x="1576" y="4789"/>
                    <a:pt x="1072" y="4190"/>
                    <a:pt x="852" y="3875"/>
                  </a:cubicBezTo>
                  <a:cubicBezTo>
                    <a:pt x="1419" y="3182"/>
                    <a:pt x="3529" y="788"/>
                    <a:pt x="5955" y="756"/>
                  </a:cubicBezTo>
                  <a:close/>
                  <a:moveTo>
                    <a:pt x="5955" y="0"/>
                  </a:moveTo>
                  <a:cubicBezTo>
                    <a:pt x="5199" y="0"/>
                    <a:pt x="4412" y="189"/>
                    <a:pt x="3624" y="567"/>
                  </a:cubicBezTo>
                  <a:cubicBezTo>
                    <a:pt x="2994" y="882"/>
                    <a:pt x="2364" y="1324"/>
                    <a:pt x="1797" y="1828"/>
                  </a:cubicBezTo>
                  <a:cubicBezTo>
                    <a:pt x="757" y="2741"/>
                    <a:pt x="127" y="3623"/>
                    <a:pt x="95" y="3655"/>
                  </a:cubicBezTo>
                  <a:cubicBezTo>
                    <a:pt x="1" y="3781"/>
                    <a:pt x="1" y="3938"/>
                    <a:pt x="95" y="4033"/>
                  </a:cubicBezTo>
                  <a:cubicBezTo>
                    <a:pt x="127" y="4096"/>
                    <a:pt x="757" y="4978"/>
                    <a:pt x="1797" y="5860"/>
                  </a:cubicBezTo>
                  <a:cubicBezTo>
                    <a:pt x="2427" y="6396"/>
                    <a:pt x="2994" y="6805"/>
                    <a:pt x="3624" y="7120"/>
                  </a:cubicBezTo>
                  <a:cubicBezTo>
                    <a:pt x="4412" y="7499"/>
                    <a:pt x="5199" y="7719"/>
                    <a:pt x="5955" y="7719"/>
                  </a:cubicBezTo>
                  <a:cubicBezTo>
                    <a:pt x="6711" y="7719"/>
                    <a:pt x="7499" y="7499"/>
                    <a:pt x="8287" y="7120"/>
                  </a:cubicBezTo>
                  <a:cubicBezTo>
                    <a:pt x="8917" y="6805"/>
                    <a:pt x="9547" y="6364"/>
                    <a:pt x="10145" y="5860"/>
                  </a:cubicBezTo>
                  <a:cubicBezTo>
                    <a:pt x="11154" y="4947"/>
                    <a:pt x="11784" y="4096"/>
                    <a:pt x="11815" y="4033"/>
                  </a:cubicBezTo>
                  <a:cubicBezTo>
                    <a:pt x="11910" y="3938"/>
                    <a:pt x="11910" y="3781"/>
                    <a:pt x="11815" y="3655"/>
                  </a:cubicBezTo>
                  <a:cubicBezTo>
                    <a:pt x="11784" y="3623"/>
                    <a:pt x="11154" y="2710"/>
                    <a:pt x="10145" y="1828"/>
                  </a:cubicBezTo>
                  <a:cubicBezTo>
                    <a:pt x="9515" y="1292"/>
                    <a:pt x="8917" y="882"/>
                    <a:pt x="8287" y="567"/>
                  </a:cubicBezTo>
                  <a:cubicBezTo>
                    <a:pt x="7499" y="189"/>
                    <a:pt x="6711"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4" name="Google Shape;9444;p76"/>
            <p:cNvSpPr/>
            <p:nvPr/>
          </p:nvSpPr>
          <p:spPr>
            <a:xfrm>
              <a:off x="-27640625" y="2419175"/>
              <a:ext cx="122100" cy="122100"/>
            </a:xfrm>
            <a:custGeom>
              <a:avLst/>
              <a:gdLst/>
              <a:ahLst/>
              <a:cxnLst/>
              <a:rect l="l" t="t" r="r" b="b"/>
              <a:pathLst>
                <a:path w="4884" h="4884" extrusionOk="0">
                  <a:moveTo>
                    <a:pt x="2426" y="694"/>
                  </a:moveTo>
                  <a:cubicBezTo>
                    <a:pt x="3403" y="694"/>
                    <a:pt x="4159" y="1481"/>
                    <a:pt x="4159" y="2426"/>
                  </a:cubicBezTo>
                  <a:cubicBezTo>
                    <a:pt x="4159" y="3372"/>
                    <a:pt x="3371" y="4159"/>
                    <a:pt x="2426" y="4159"/>
                  </a:cubicBezTo>
                  <a:cubicBezTo>
                    <a:pt x="1481" y="4159"/>
                    <a:pt x="694" y="3372"/>
                    <a:pt x="694" y="2426"/>
                  </a:cubicBezTo>
                  <a:cubicBezTo>
                    <a:pt x="694" y="1481"/>
                    <a:pt x="1481" y="694"/>
                    <a:pt x="2426" y="694"/>
                  </a:cubicBezTo>
                  <a:close/>
                  <a:moveTo>
                    <a:pt x="2426" y="1"/>
                  </a:moveTo>
                  <a:cubicBezTo>
                    <a:pt x="1103" y="1"/>
                    <a:pt x="0" y="1103"/>
                    <a:pt x="0" y="2426"/>
                  </a:cubicBezTo>
                  <a:cubicBezTo>
                    <a:pt x="0" y="3781"/>
                    <a:pt x="1103" y="4884"/>
                    <a:pt x="2426" y="4884"/>
                  </a:cubicBezTo>
                  <a:cubicBezTo>
                    <a:pt x="3781" y="4884"/>
                    <a:pt x="4884" y="3781"/>
                    <a:pt x="4884" y="2426"/>
                  </a:cubicBezTo>
                  <a:cubicBezTo>
                    <a:pt x="4884" y="1103"/>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45" name="Google Shape;9445;p76"/>
          <p:cNvSpPr/>
          <p:nvPr/>
        </p:nvSpPr>
        <p:spPr>
          <a:xfrm>
            <a:off x="5753569" y="2456827"/>
            <a:ext cx="355093" cy="340476"/>
          </a:xfrm>
          <a:custGeom>
            <a:avLst/>
            <a:gdLst/>
            <a:ahLst/>
            <a:cxnLst/>
            <a:rect l="l" t="t" r="r" b="b"/>
            <a:pathLst>
              <a:path w="11879" h="11390" extrusionOk="0">
                <a:moveTo>
                  <a:pt x="10047" y="655"/>
                </a:moveTo>
                <a:cubicBezTo>
                  <a:pt x="10369" y="655"/>
                  <a:pt x="10689" y="746"/>
                  <a:pt x="10965" y="930"/>
                </a:cubicBezTo>
                <a:lnTo>
                  <a:pt x="7499" y="4490"/>
                </a:lnTo>
                <a:cubicBezTo>
                  <a:pt x="7468" y="4427"/>
                  <a:pt x="7468" y="4396"/>
                  <a:pt x="7405" y="4364"/>
                </a:cubicBezTo>
                <a:lnTo>
                  <a:pt x="7090" y="4049"/>
                </a:lnTo>
                <a:cubicBezTo>
                  <a:pt x="7058" y="3986"/>
                  <a:pt x="7026" y="3954"/>
                  <a:pt x="6995" y="3954"/>
                </a:cubicBezTo>
                <a:lnTo>
                  <a:pt x="7216" y="3734"/>
                </a:lnTo>
                <a:cubicBezTo>
                  <a:pt x="7405" y="3545"/>
                  <a:pt x="7531" y="3261"/>
                  <a:pt x="7531" y="2978"/>
                </a:cubicBezTo>
                <a:cubicBezTo>
                  <a:pt x="7531" y="2820"/>
                  <a:pt x="7499" y="2663"/>
                  <a:pt x="7405" y="2537"/>
                </a:cubicBezTo>
                <a:lnTo>
                  <a:pt x="8791" y="1182"/>
                </a:lnTo>
                <a:cubicBezTo>
                  <a:pt x="9140" y="833"/>
                  <a:pt x="9596" y="655"/>
                  <a:pt x="10047" y="655"/>
                </a:cubicBezTo>
                <a:close/>
                <a:moveTo>
                  <a:pt x="6365" y="4427"/>
                </a:moveTo>
                <a:cubicBezTo>
                  <a:pt x="6428" y="4427"/>
                  <a:pt x="6554" y="4490"/>
                  <a:pt x="6585" y="4553"/>
                </a:cubicBezTo>
                <a:lnTo>
                  <a:pt x="6900" y="4868"/>
                </a:lnTo>
                <a:cubicBezTo>
                  <a:pt x="7058" y="4994"/>
                  <a:pt x="7058" y="5183"/>
                  <a:pt x="6932" y="5341"/>
                </a:cubicBezTo>
                <a:lnTo>
                  <a:pt x="6365" y="5971"/>
                </a:lnTo>
                <a:lnTo>
                  <a:pt x="5483" y="5120"/>
                </a:lnTo>
                <a:lnTo>
                  <a:pt x="6113" y="4522"/>
                </a:lnTo>
                <a:cubicBezTo>
                  <a:pt x="6207" y="4490"/>
                  <a:pt x="6270" y="4427"/>
                  <a:pt x="6365" y="4427"/>
                </a:cubicBezTo>
                <a:close/>
                <a:moveTo>
                  <a:pt x="4947" y="5624"/>
                </a:moveTo>
                <a:lnTo>
                  <a:pt x="5829" y="6538"/>
                </a:lnTo>
                <a:lnTo>
                  <a:pt x="5388" y="7042"/>
                </a:lnTo>
                <a:lnTo>
                  <a:pt x="5136" y="6790"/>
                </a:lnTo>
                <a:cubicBezTo>
                  <a:pt x="5073" y="6743"/>
                  <a:pt x="4987" y="6719"/>
                  <a:pt x="4900" y="6719"/>
                </a:cubicBezTo>
                <a:cubicBezTo>
                  <a:pt x="4813" y="6719"/>
                  <a:pt x="4727" y="6743"/>
                  <a:pt x="4664" y="6790"/>
                </a:cubicBezTo>
                <a:cubicBezTo>
                  <a:pt x="4538" y="6916"/>
                  <a:pt x="4538" y="7168"/>
                  <a:pt x="4664" y="7262"/>
                </a:cubicBezTo>
                <a:lnTo>
                  <a:pt x="4947" y="7546"/>
                </a:lnTo>
                <a:lnTo>
                  <a:pt x="4475" y="8050"/>
                </a:lnTo>
                <a:lnTo>
                  <a:pt x="4128" y="7704"/>
                </a:lnTo>
                <a:cubicBezTo>
                  <a:pt x="4065" y="7641"/>
                  <a:pt x="3971" y="7609"/>
                  <a:pt x="3880" y="7609"/>
                </a:cubicBezTo>
                <a:cubicBezTo>
                  <a:pt x="3789" y="7609"/>
                  <a:pt x="3703" y="7641"/>
                  <a:pt x="3655" y="7704"/>
                </a:cubicBezTo>
                <a:cubicBezTo>
                  <a:pt x="3529" y="7830"/>
                  <a:pt x="3529" y="8050"/>
                  <a:pt x="3655" y="8176"/>
                </a:cubicBezTo>
                <a:lnTo>
                  <a:pt x="4034" y="8586"/>
                </a:lnTo>
                <a:lnTo>
                  <a:pt x="3561" y="9090"/>
                </a:lnTo>
                <a:lnTo>
                  <a:pt x="3088" y="8617"/>
                </a:lnTo>
                <a:cubicBezTo>
                  <a:pt x="3025" y="8554"/>
                  <a:pt x="2939" y="8523"/>
                  <a:pt x="2852" y="8523"/>
                </a:cubicBezTo>
                <a:cubicBezTo>
                  <a:pt x="2765" y="8523"/>
                  <a:pt x="2679" y="8554"/>
                  <a:pt x="2616" y="8617"/>
                </a:cubicBezTo>
                <a:cubicBezTo>
                  <a:pt x="2490" y="8743"/>
                  <a:pt x="2490" y="8964"/>
                  <a:pt x="2616" y="9090"/>
                </a:cubicBezTo>
                <a:lnTo>
                  <a:pt x="3120" y="9594"/>
                </a:lnTo>
                <a:lnTo>
                  <a:pt x="2647" y="10098"/>
                </a:lnTo>
                <a:lnTo>
                  <a:pt x="2080" y="9531"/>
                </a:lnTo>
                <a:cubicBezTo>
                  <a:pt x="2017" y="9468"/>
                  <a:pt x="1923" y="9436"/>
                  <a:pt x="1832" y="9436"/>
                </a:cubicBezTo>
                <a:cubicBezTo>
                  <a:pt x="1742" y="9436"/>
                  <a:pt x="1655" y="9468"/>
                  <a:pt x="1608" y="9531"/>
                </a:cubicBezTo>
                <a:cubicBezTo>
                  <a:pt x="1482" y="9625"/>
                  <a:pt x="1482" y="9877"/>
                  <a:pt x="1608" y="10003"/>
                </a:cubicBezTo>
                <a:lnTo>
                  <a:pt x="2175" y="10570"/>
                </a:lnTo>
                <a:cubicBezTo>
                  <a:pt x="2017" y="10696"/>
                  <a:pt x="1860" y="10728"/>
                  <a:pt x="1702" y="10728"/>
                </a:cubicBezTo>
                <a:cubicBezTo>
                  <a:pt x="1419" y="10728"/>
                  <a:pt x="1198" y="10665"/>
                  <a:pt x="1009" y="10476"/>
                </a:cubicBezTo>
                <a:cubicBezTo>
                  <a:pt x="789" y="10255"/>
                  <a:pt x="726" y="10035"/>
                  <a:pt x="726" y="9751"/>
                </a:cubicBezTo>
                <a:cubicBezTo>
                  <a:pt x="726" y="9468"/>
                  <a:pt x="852" y="9247"/>
                  <a:pt x="1041" y="9090"/>
                </a:cubicBezTo>
                <a:lnTo>
                  <a:pt x="4947" y="5624"/>
                </a:lnTo>
                <a:close/>
                <a:moveTo>
                  <a:pt x="10035" y="1"/>
                </a:moveTo>
                <a:cubicBezTo>
                  <a:pt x="9413" y="1"/>
                  <a:pt x="8791" y="237"/>
                  <a:pt x="8318" y="709"/>
                </a:cubicBezTo>
                <a:lnTo>
                  <a:pt x="6743" y="2285"/>
                </a:lnTo>
                <a:cubicBezTo>
                  <a:pt x="6680" y="2348"/>
                  <a:pt x="6617" y="2442"/>
                  <a:pt x="6617" y="2505"/>
                </a:cubicBezTo>
                <a:cubicBezTo>
                  <a:pt x="6617" y="2600"/>
                  <a:pt x="6680" y="2694"/>
                  <a:pt x="6743" y="2757"/>
                </a:cubicBezTo>
                <a:cubicBezTo>
                  <a:pt x="6837" y="2820"/>
                  <a:pt x="6869" y="2915"/>
                  <a:pt x="6869" y="2978"/>
                </a:cubicBezTo>
                <a:cubicBezTo>
                  <a:pt x="6869" y="3041"/>
                  <a:pt x="6837" y="3167"/>
                  <a:pt x="6743" y="3198"/>
                </a:cubicBezTo>
                <a:lnTo>
                  <a:pt x="6207" y="3765"/>
                </a:lnTo>
                <a:cubicBezTo>
                  <a:pt x="5987" y="3797"/>
                  <a:pt x="5798" y="3891"/>
                  <a:pt x="5640" y="3986"/>
                </a:cubicBezTo>
                <a:lnTo>
                  <a:pt x="568" y="8523"/>
                </a:lnTo>
                <a:cubicBezTo>
                  <a:pt x="221" y="8838"/>
                  <a:pt x="1" y="9247"/>
                  <a:pt x="1" y="9720"/>
                </a:cubicBezTo>
                <a:cubicBezTo>
                  <a:pt x="1" y="10192"/>
                  <a:pt x="158" y="10633"/>
                  <a:pt x="473" y="10917"/>
                </a:cubicBezTo>
                <a:cubicBezTo>
                  <a:pt x="789" y="11264"/>
                  <a:pt x="1230" y="11390"/>
                  <a:pt x="1671" y="11390"/>
                </a:cubicBezTo>
                <a:lnTo>
                  <a:pt x="1702" y="11390"/>
                </a:lnTo>
                <a:cubicBezTo>
                  <a:pt x="2143" y="11390"/>
                  <a:pt x="2584" y="11169"/>
                  <a:pt x="2899" y="10854"/>
                </a:cubicBezTo>
                <a:lnTo>
                  <a:pt x="7405" y="5782"/>
                </a:lnTo>
                <a:cubicBezTo>
                  <a:pt x="7562" y="5624"/>
                  <a:pt x="7657" y="5404"/>
                  <a:pt x="7657" y="5215"/>
                </a:cubicBezTo>
                <a:lnTo>
                  <a:pt x="11752" y="1119"/>
                </a:lnTo>
                <a:cubicBezTo>
                  <a:pt x="11878" y="1088"/>
                  <a:pt x="11878" y="1025"/>
                  <a:pt x="11878" y="930"/>
                </a:cubicBezTo>
                <a:cubicBezTo>
                  <a:pt x="11878" y="867"/>
                  <a:pt x="11815" y="741"/>
                  <a:pt x="11752" y="709"/>
                </a:cubicBezTo>
                <a:cubicBezTo>
                  <a:pt x="11280" y="237"/>
                  <a:pt x="10657" y="1"/>
                  <a:pt x="10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6" name="Google Shape;9446;p76"/>
          <p:cNvSpPr/>
          <p:nvPr/>
        </p:nvSpPr>
        <p:spPr>
          <a:xfrm>
            <a:off x="7984417" y="1561466"/>
            <a:ext cx="354136" cy="354136"/>
          </a:xfrm>
          <a:custGeom>
            <a:avLst/>
            <a:gdLst/>
            <a:ahLst/>
            <a:cxnLst/>
            <a:rect l="l" t="t" r="r" b="b"/>
            <a:pathLst>
              <a:path w="11847" h="11847" extrusionOk="0">
                <a:moveTo>
                  <a:pt x="5546" y="662"/>
                </a:moveTo>
                <a:lnTo>
                  <a:pt x="5546" y="2741"/>
                </a:lnTo>
                <a:lnTo>
                  <a:pt x="4821" y="2741"/>
                </a:lnTo>
                <a:lnTo>
                  <a:pt x="4821" y="1040"/>
                </a:lnTo>
                <a:cubicBezTo>
                  <a:pt x="4821" y="819"/>
                  <a:pt x="4979" y="662"/>
                  <a:pt x="5199" y="662"/>
                </a:cubicBezTo>
                <a:close/>
                <a:moveTo>
                  <a:pt x="6932" y="662"/>
                </a:moveTo>
                <a:lnTo>
                  <a:pt x="6932" y="2773"/>
                </a:lnTo>
                <a:lnTo>
                  <a:pt x="6207" y="2773"/>
                </a:lnTo>
                <a:lnTo>
                  <a:pt x="6207" y="662"/>
                </a:lnTo>
                <a:close/>
                <a:moveTo>
                  <a:pt x="8350" y="662"/>
                </a:moveTo>
                <a:lnTo>
                  <a:pt x="8350" y="2773"/>
                </a:lnTo>
                <a:lnTo>
                  <a:pt x="7625" y="2773"/>
                </a:lnTo>
                <a:lnTo>
                  <a:pt x="7625" y="662"/>
                </a:lnTo>
                <a:close/>
                <a:moveTo>
                  <a:pt x="9704" y="662"/>
                </a:moveTo>
                <a:lnTo>
                  <a:pt x="9704" y="2773"/>
                </a:lnTo>
                <a:lnTo>
                  <a:pt x="9011" y="2773"/>
                </a:lnTo>
                <a:lnTo>
                  <a:pt x="9011" y="662"/>
                </a:lnTo>
                <a:close/>
                <a:moveTo>
                  <a:pt x="10744" y="662"/>
                </a:moveTo>
                <a:cubicBezTo>
                  <a:pt x="10933" y="662"/>
                  <a:pt x="11090" y="819"/>
                  <a:pt x="11090" y="1040"/>
                </a:cubicBezTo>
                <a:lnTo>
                  <a:pt x="11090" y="2773"/>
                </a:lnTo>
                <a:lnTo>
                  <a:pt x="10397" y="2773"/>
                </a:lnTo>
                <a:lnTo>
                  <a:pt x="10397" y="662"/>
                </a:lnTo>
                <a:close/>
                <a:moveTo>
                  <a:pt x="6270" y="5577"/>
                </a:moveTo>
                <a:lnTo>
                  <a:pt x="6270" y="9074"/>
                </a:lnTo>
                <a:lnTo>
                  <a:pt x="5546" y="9074"/>
                </a:lnTo>
                <a:lnTo>
                  <a:pt x="5546" y="5577"/>
                </a:lnTo>
                <a:close/>
                <a:moveTo>
                  <a:pt x="10397" y="5640"/>
                </a:moveTo>
                <a:lnTo>
                  <a:pt x="10397" y="6270"/>
                </a:lnTo>
                <a:lnTo>
                  <a:pt x="9358" y="6270"/>
                </a:lnTo>
                <a:cubicBezTo>
                  <a:pt x="9169" y="6270"/>
                  <a:pt x="9011" y="6427"/>
                  <a:pt x="9011" y="6616"/>
                </a:cubicBezTo>
                <a:cubicBezTo>
                  <a:pt x="9011" y="6805"/>
                  <a:pt x="9169" y="6963"/>
                  <a:pt x="9358" y="6963"/>
                </a:cubicBezTo>
                <a:lnTo>
                  <a:pt x="10397" y="6963"/>
                </a:lnTo>
                <a:lnTo>
                  <a:pt x="10397" y="7688"/>
                </a:lnTo>
                <a:lnTo>
                  <a:pt x="9358" y="7688"/>
                </a:lnTo>
                <a:cubicBezTo>
                  <a:pt x="9169" y="7688"/>
                  <a:pt x="9011" y="7845"/>
                  <a:pt x="9011" y="8034"/>
                </a:cubicBezTo>
                <a:cubicBezTo>
                  <a:pt x="9011" y="8223"/>
                  <a:pt x="9169" y="8381"/>
                  <a:pt x="9358" y="8381"/>
                </a:cubicBezTo>
                <a:lnTo>
                  <a:pt x="10397" y="8381"/>
                </a:lnTo>
                <a:lnTo>
                  <a:pt x="10397" y="9105"/>
                </a:lnTo>
                <a:lnTo>
                  <a:pt x="8287" y="9105"/>
                </a:lnTo>
                <a:lnTo>
                  <a:pt x="8287" y="5640"/>
                </a:lnTo>
                <a:close/>
                <a:moveTo>
                  <a:pt x="2080" y="7688"/>
                </a:moveTo>
                <a:cubicBezTo>
                  <a:pt x="2301" y="7688"/>
                  <a:pt x="2521" y="7719"/>
                  <a:pt x="2710" y="7845"/>
                </a:cubicBezTo>
                <a:cubicBezTo>
                  <a:pt x="2427" y="7971"/>
                  <a:pt x="2206" y="8129"/>
                  <a:pt x="1954" y="8318"/>
                </a:cubicBezTo>
                <a:lnTo>
                  <a:pt x="1923" y="8349"/>
                </a:lnTo>
                <a:cubicBezTo>
                  <a:pt x="1576" y="8696"/>
                  <a:pt x="1355" y="9200"/>
                  <a:pt x="1355" y="9767"/>
                </a:cubicBezTo>
                <a:cubicBezTo>
                  <a:pt x="1355" y="9956"/>
                  <a:pt x="1418" y="10113"/>
                  <a:pt x="1450" y="10302"/>
                </a:cubicBezTo>
                <a:cubicBezTo>
                  <a:pt x="977" y="10050"/>
                  <a:pt x="694" y="9578"/>
                  <a:pt x="694" y="9074"/>
                </a:cubicBezTo>
                <a:cubicBezTo>
                  <a:pt x="694" y="8318"/>
                  <a:pt x="1324" y="7688"/>
                  <a:pt x="2080" y="7688"/>
                </a:cubicBezTo>
                <a:close/>
                <a:moveTo>
                  <a:pt x="3403" y="8318"/>
                </a:moveTo>
                <a:cubicBezTo>
                  <a:pt x="4191" y="8349"/>
                  <a:pt x="4821" y="8979"/>
                  <a:pt x="4821" y="9735"/>
                </a:cubicBezTo>
                <a:cubicBezTo>
                  <a:pt x="4821" y="9987"/>
                  <a:pt x="4758" y="10239"/>
                  <a:pt x="4600" y="10491"/>
                </a:cubicBezTo>
                <a:lnTo>
                  <a:pt x="2679" y="8538"/>
                </a:lnTo>
                <a:cubicBezTo>
                  <a:pt x="2868" y="8381"/>
                  <a:pt x="3151" y="8318"/>
                  <a:pt x="3403" y="8318"/>
                </a:cubicBezTo>
                <a:close/>
                <a:moveTo>
                  <a:pt x="2238" y="9074"/>
                </a:moveTo>
                <a:lnTo>
                  <a:pt x="4128" y="10964"/>
                </a:lnTo>
                <a:cubicBezTo>
                  <a:pt x="3939" y="11059"/>
                  <a:pt x="3687" y="11122"/>
                  <a:pt x="3466" y="11122"/>
                </a:cubicBezTo>
                <a:cubicBezTo>
                  <a:pt x="3448" y="11122"/>
                  <a:pt x="3430" y="11123"/>
                  <a:pt x="3412" y="11123"/>
                </a:cubicBezTo>
                <a:cubicBezTo>
                  <a:pt x="2680" y="11123"/>
                  <a:pt x="2080" y="10504"/>
                  <a:pt x="2080" y="9735"/>
                </a:cubicBezTo>
                <a:cubicBezTo>
                  <a:pt x="2080" y="9483"/>
                  <a:pt x="2143" y="9263"/>
                  <a:pt x="2238" y="9074"/>
                </a:cubicBezTo>
                <a:close/>
                <a:moveTo>
                  <a:pt x="10334" y="3466"/>
                </a:moveTo>
                <a:lnTo>
                  <a:pt x="10334" y="4884"/>
                </a:lnTo>
                <a:lnTo>
                  <a:pt x="7940" y="4884"/>
                </a:lnTo>
                <a:cubicBezTo>
                  <a:pt x="7751" y="4884"/>
                  <a:pt x="7593" y="5041"/>
                  <a:pt x="7593" y="5230"/>
                </a:cubicBezTo>
                <a:lnTo>
                  <a:pt x="7593" y="9420"/>
                </a:lnTo>
                <a:cubicBezTo>
                  <a:pt x="7593" y="9609"/>
                  <a:pt x="7751" y="9767"/>
                  <a:pt x="7940" y="9767"/>
                </a:cubicBezTo>
                <a:lnTo>
                  <a:pt x="10397" y="9767"/>
                </a:lnTo>
                <a:lnTo>
                  <a:pt x="10397" y="10806"/>
                </a:lnTo>
                <a:cubicBezTo>
                  <a:pt x="10397" y="10996"/>
                  <a:pt x="10240" y="11153"/>
                  <a:pt x="10019" y="11153"/>
                </a:cubicBezTo>
                <a:lnTo>
                  <a:pt x="5861" y="11153"/>
                </a:lnTo>
                <a:cubicBezTo>
                  <a:pt x="5672" y="11153"/>
                  <a:pt x="5514" y="10996"/>
                  <a:pt x="5514" y="10806"/>
                </a:cubicBezTo>
                <a:lnTo>
                  <a:pt x="5514" y="9767"/>
                </a:lnTo>
                <a:lnTo>
                  <a:pt x="6522" y="9767"/>
                </a:lnTo>
                <a:cubicBezTo>
                  <a:pt x="6711" y="9767"/>
                  <a:pt x="6869" y="9609"/>
                  <a:pt x="6869" y="9420"/>
                </a:cubicBezTo>
                <a:lnTo>
                  <a:pt x="6869" y="5230"/>
                </a:lnTo>
                <a:cubicBezTo>
                  <a:pt x="6869" y="5041"/>
                  <a:pt x="6711" y="4884"/>
                  <a:pt x="6522" y="4884"/>
                </a:cubicBezTo>
                <a:lnTo>
                  <a:pt x="5514" y="4884"/>
                </a:lnTo>
                <a:lnTo>
                  <a:pt x="5514" y="3466"/>
                </a:lnTo>
                <a:close/>
                <a:moveTo>
                  <a:pt x="5199" y="0"/>
                </a:moveTo>
                <a:cubicBezTo>
                  <a:pt x="4600" y="0"/>
                  <a:pt x="4159" y="473"/>
                  <a:pt x="4159" y="1040"/>
                </a:cubicBezTo>
                <a:lnTo>
                  <a:pt x="4159" y="3119"/>
                </a:lnTo>
                <a:cubicBezTo>
                  <a:pt x="4159" y="3308"/>
                  <a:pt x="4317" y="3466"/>
                  <a:pt x="4506" y="3466"/>
                </a:cubicBezTo>
                <a:lnTo>
                  <a:pt x="4884" y="3466"/>
                </a:lnTo>
                <a:lnTo>
                  <a:pt x="4884" y="8192"/>
                </a:lnTo>
                <a:cubicBezTo>
                  <a:pt x="4569" y="7908"/>
                  <a:pt x="4128" y="7719"/>
                  <a:pt x="3655" y="7688"/>
                </a:cubicBezTo>
                <a:cubicBezTo>
                  <a:pt x="3277" y="7246"/>
                  <a:pt x="2710" y="6963"/>
                  <a:pt x="2080" y="6963"/>
                </a:cubicBezTo>
                <a:cubicBezTo>
                  <a:pt x="946" y="6963"/>
                  <a:pt x="1" y="7908"/>
                  <a:pt x="1" y="9074"/>
                </a:cubicBezTo>
                <a:cubicBezTo>
                  <a:pt x="1" y="10176"/>
                  <a:pt x="820" y="11027"/>
                  <a:pt x="1923" y="11153"/>
                </a:cubicBezTo>
                <a:cubicBezTo>
                  <a:pt x="2332" y="11594"/>
                  <a:pt x="2868" y="11846"/>
                  <a:pt x="3498" y="11846"/>
                </a:cubicBezTo>
                <a:cubicBezTo>
                  <a:pt x="4065" y="11846"/>
                  <a:pt x="4506" y="11657"/>
                  <a:pt x="4916" y="11311"/>
                </a:cubicBezTo>
                <a:cubicBezTo>
                  <a:pt x="4916" y="11311"/>
                  <a:pt x="4979" y="11279"/>
                  <a:pt x="4979" y="11216"/>
                </a:cubicBezTo>
                <a:cubicBezTo>
                  <a:pt x="5136" y="11594"/>
                  <a:pt x="5514" y="11846"/>
                  <a:pt x="5924" y="11846"/>
                </a:cubicBezTo>
                <a:lnTo>
                  <a:pt x="10114" y="11846"/>
                </a:lnTo>
                <a:cubicBezTo>
                  <a:pt x="10712" y="11846"/>
                  <a:pt x="11122" y="11374"/>
                  <a:pt x="11122" y="10838"/>
                </a:cubicBezTo>
                <a:lnTo>
                  <a:pt x="11122" y="3497"/>
                </a:lnTo>
                <a:lnTo>
                  <a:pt x="11500" y="3497"/>
                </a:lnTo>
                <a:cubicBezTo>
                  <a:pt x="11689" y="3497"/>
                  <a:pt x="11847" y="3340"/>
                  <a:pt x="11847" y="3151"/>
                </a:cubicBezTo>
                <a:lnTo>
                  <a:pt x="11847" y="1072"/>
                </a:lnTo>
                <a:cubicBezTo>
                  <a:pt x="11752" y="441"/>
                  <a:pt x="11343" y="0"/>
                  <a:pt x="10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47" name="Google Shape;9447;p76"/>
          <p:cNvGrpSpPr/>
          <p:nvPr/>
        </p:nvGrpSpPr>
        <p:grpSpPr>
          <a:xfrm>
            <a:off x="7983975" y="2018710"/>
            <a:ext cx="354136" cy="334348"/>
            <a:chOff x="-25844850" y="2357750"/>
            <a:chExt cx="296175" cy="279625"/>
          </a:xfrm>
        </p:grpSpPr>
        <p:sp>
          <p:nvSpPr>
            <p:cNvPr id="9448" name="Google Shape;9448;p76"/>
            <p:cNvSpPr/>
            <p:nvPr/>
          </p:nvSpPr>
          <p:spPr>
            <a:xfrm>
              <a:off x="-25792075" y="2428625"/>
              <a:ext cx="191425" cy="208750"/>
            </a:xfrm>
            <a:custGeom>
              <a:avLst/>
              <a:gdLst/>
              <a:ahLst/>
              <a:cxnLst/>
              <a:rect l="l" t="t" r="r" b="b"/>
              <a:pathLst>
                <a:path w="7657" h="8350" extrusionOk="0">
                  <a:moveTo>
                    <a:pt x="3781" y="2773"/>
                  </a:moveTo>
                  <a:cubicBezTo>
                    <a:pt x="3970" y="2773"/>
                    <a:pt x="4128" y="2931"/>
                    <a:pt x="4128" y="3120"/>
                  </a:cubicBezTo>
                  <a:cubicBezTo>
                    <a:pt x="4128" y="3309"/>
                    <a:pt x="3970" y="3466"/>
                    <a:pt x="3781" y="3466"/>
                  </a:cubicBezTo>
                  <a:cubicBezTo>
                    <a:pt x="3592" y="3466"/>
                    <a:pt x="3435" y="3309"/>
                    <a:pt x="3435" y="3120"/>
                  </a:cubicBezTo>
                  <a:cubicBezTo>
                    <a:pt x="3435" y="2931"/>
                    <a:pt x="3592" y="2773"/>
                    <a:pt x="3781" y="2773"/>
                  </a:cubicBezTo>
                  <a:close/>
                  <a:moveTo>
                    <a:pt x="3813" y="694"/>
                  </a:moveTo>
                  <a:cubicBezTo>
                    <a:pt x="5167" y="694"/>
                    <a:pt x="6270" y="1796"/>
                    <a:pt x="6270" y="3120"/>
                  </a:cubicBezTo>
                  <a:lnTo>
                    <a:pt x="6270" y="6239"/>
                  </a:lnTo>
                  <a:lnTo>
                    <a:pt x="4191" y="6239"/>
                  </a:lnTo>
                  <a:lnTo>
                    <a:pt x="4191" y="4096"/>
                  </a:lnTo>
                  <a:cubicBezTo>
                    <a:pt x="4569" y="3939"/>
                    <a:pt x="4884" y="3592"/>
                    <a:pt x="4884" y="3120"/>
                  </a:cubicBezTo>
                  <a:cubicBezTo>
                    <a:pt x="4884" y="2521"/>
                    <a:pt x="4411" y="2111"/>
                    <a:pt x="3876" y="2111"/>
                  </a:cubicBezTo>
                  <a:cubicBezTo>
                    <a:pt x="3277" y="2111"/>
                    <a:pt x="2836" y="2584"/>
                    <a:pt x="2836" y="3120"/>
                  </a:cubicBezTo>
                  <a:cubicBezTo>
                    <a:pt x="2836" y="3561"/>
                    <a:pt x="3120" y="3939"/>
                    <a:pt x="3561" y="4096"/>
                  </a:cubicBezTo>
                  <a:lnTo>
                    <a:pt x="3561" y="6239"/>
                  </a:lnTo>
                  <a:lnTo>
                    <a:pt x="1450" y="6239"/>
                  </a:lnTo>
                  <a:lnTo>
                    <a:pt x="1450" y="3120"/>
                  </a:lnTo>
                  <a:lnTo>
                    <a:pt x="1387" y="3120"/>
                  </a:lnTo>
                  <a:cubicBezTo>
                    <a:pt x="1387" y="1796"/>
                    <a:pt x="2489" y="694"/>
                    <a:pt x="3813" y="694"/>
                  </a:cubicBezTo>
                  <a:close/>
                  <a:moveTo>
                    <a:pt x="6585" y="6932"/>
                  </a:moveTo>
                  <a:cubicBezTo>
                    <a:pt x="6774" y="6932"/>
                    <a:pt x="6932" y="7089"/>
                    <a:pt x="6932" y="7310"/>
                  </a:cubicBezTo>
                  <a:lnTo>
                    <a:pt x="6932" y="7625"/>
                  </a:lnTo>
                  <a:lnTo>
                    <a:pt x="662" y="7625"/>
                  </a:lnTo>
                  <a:lnTo>
                    <a:pt x="662" y="7310"/>
                  </a:lnTo>
                  <a:cubicBezTo>
                    <a:pt x="662" y="7089"/>
                    <a:pt x="820" y="6932"/>
                    <a:pt x="1040" y="6932"/>
                  </a:cubicBezTo>
                  <a:close/>
                  <a:moveTo>
                    <a:pt x="3813" y="1"/>
                  </a:moveTo>
                  <a:cubicBezTo>
                    <a:pt x="2080" y="1"/>
                    <a:pt x="725" y="1418"/>
                    <a:pt x="725" y="3120"/>
                  </a:cubicBezTo>
                  <a:lnTo>
                    <a:pt x="725" y="6302"/>
                  </a:lnTo>
                  <a:cubicBezTo>
                    <a:pt x="316" y="6459"/>
                    <a:pt x="1" y="6837"/>
                    <a:pt x="1" y="7310"/>
                  </a:cubicBezTo>
                  <a:lnTo>
                    <a:pt x="1" y="8003"/>
                  </a:lnTo>
                  <a:cubicBezTo>
                    <a:pt x="1" y="8192"/>
                    <a:pt x="158" y="8349"/>
                    <a:pt x="347" y="8349"/>
                  </a:cubicBezTo>
                  <a:lnTo>
                    <a:pt x="7278" y="8349"/>
                  </a:lnTo>
                  <a:cubicBezTo>
                    <a:pt x="7499" y="8349"/>
                    <a:pt x="7656" y="8192"/>
                    <a:pt x="7656" y="8003"/>
                  </a:cubicBezTo>
                  <a:lnTo>
                    <a:pt x="7656" y="7310"/>
                  </a:lnTo>
                  <a:cubicBezTo>
                    <a:pt x="7593" y="6837"/>
                    <a:pt x="7341" y="6428"/>
                    <a:pt x="6932" y="6302"/>
                  </a:cubicBezTo>
                  <a:lnTo>
                    <a:pt x="6932" y="3120"/>
                  </a:lnTo>
                  <a:cubicBezTo>
                    <a:pt x="6932" y="1387"/>
                    <a:pt x="551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76"/>
            <p:cNvSpPr/>
            <p:nvPr/>
          </p:nvSpPr>
          <p:spPr>
            <a:xfrm>
              <a:off x="-25602250" y="2497950"/>
              <a:ext cx="53575" cy="17350"/>
            </a:xfrm>
            <a:custGeom>
              <a:avLst/>
              <a:gdLst/>
              <a:ahLst/>
              <a:cxnLst/>
              <a:rect l="l" t="t" r="r" b="b"/>
              <a:pathLst>
                <a:path w="2143" h="694" extrusionOk="0">
                  <a:moveTo>
                    <a:pt x="378" y="0"/>
                  </a:moveTo>
                  <a:cubicBezTo>
                    <a:pt x="158" y="0"/>
                    <a:pt x="0" y="158"/>
                    <a:pt x="0" y="347"/>
                  </a:cubicBezTo>
                  <a:cubicBezTo>
                    <a:pt x="0" y="536"/>
                    <a:pt x="158" y="693"/>
                    <a:pt x="378" y="693"/>
                  </a:cubicBezTo>
                  <a:lnTo>
                    <a:pt x="1796" y="693"/>
                  </a:lnTo>
                  <a:cubicBezTo>
                    <a:pt x="1985" y="693"/>
                    <a:pt x="2143" y="536"/>
                    <a:pt x="2143" y="347"/>
                  </a:cubicBez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76"/>
            <p:cNvSpPr/>
            <p:nvPr/>
          </p:nvSpPr>
          <p:spPr>
            <a:xfrm>
              <a:off x="-25844850" y="2497950"/>
              <a:ext cx="52800" cy="17350"/>
            </a:xfrm>
            <a:custGeom>
              <a:avLst/>
              <a:gdLst/>
              <a:ahLst/>
              <a:cxnLst/>
              <a:rect l="l" t="t" r="r" b="b"/>
              <a:pathLst>
                <a:path w="2112" h="694" extrusionOk="0">
                  <a:moveTo>
                    <a:pt x="347" y="0"/>
                  </a:moveTo>
                  <a:cubicBezTo>
                    <a:pt x="158" y="0"/>
                    <a:pt x="1" y="158"/>
                    <a:pt x="1" y="347"/>
                  </a:cubicBezTo>
                  <a:cubicBezTo>
                    <a:pt x="1" y="536"/>
                    <a:pt x="158" y="693"/>
                    <a:pt x="347" y="693"/>
                  </a:cubicBezTo>
                  <a:lnTo>
                    <a:pt x="1765" y="693"/>
                  </a:lnTo>
                  <a:cubicBezTo>
                    <a:pt x="1954" y="693"/>
                    <a:pt x="2112" y="536"/>
                    <a:pt x="2112" y="347"/>
                  </a:cubicBezTo>
                  <a:cubicBezTo>
                    <a:pt x="2080" y="158"/>
                    <a:pt x="1923"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76"/>
            <p:cNvSpPr/>
            <p:nvPr/>
          </p:nvSpPr>
          <p:spPr>
            <a:xfrm>
              <a:off x="-25706225" y="2357750"/>
              <a:ext cx="17350" cy="53575"/>
            </a:xfrm>
            <a:custGeom>
              <a:avLst/>
              <a:gdLst/>
              <a:ahLst/>
              <a:cxnLst/>
              <a:rect l="l" t="t" r="r" b="b"/>
              <a:pathLst>
                <a:path w="694" h="2143" extrusionOk="0">
                  <a:moveTo>
                    <a:pt x="347" y="0"/>
                  </a:moveTo>
                  <a:cubicBezTo>
                    <a:pt x="158" y="0"/>
                    <a:pt x="1" y="158"/>
                    <a:pt x="1" y="347"/>
                  </a:cubicBezTo>
                  <a:lnTo>
                    <a:pt x="1" y="1764"/>
                  </a:lnTo>
                  <a:cubicBezTo>
                    <a:pt x="1" y="1985"/>
                    <a:pt x="158" y="2143"/>
                    <a:pt x="347" y="2143"/>
                  </a:cubicBezTo>
                  <a:cubicBezTo>
                    <a:pt x="536" y="2143"/>
                    <a:pt x="694" y="1985"/>
                    <a:pt x="694" y="1764"/>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76"/>
            <p:cNvSpPr/>
            <p:nvPr/>
          </p:nvSpPr>
          <p:spPr>
            <a:xfrm>
              <a:off x="-25804675" y="2400275"/>
              <a:ext cx="42550" cy="41775"/>
            </a:xfrm>
            <a:custGeom>
              <a:avLst/>
              <a:gdLst/>
              <a:ahLst/>
              <a:cxnLst/>
              <a:rect l="l" t="t" r="r" b="b"/>
              <a:pathLst>
                <a:path w="1702" h="1671" extrusionOk="0">
                  <a:moveTo>
                    <a:pt x="351" y="0"/>
                  </a:moveTo>
                  <a:cubicBezTo>
                    <a:pt x="260" y="0"/>
                    <a:pt x="174" y="32"/>
                    <a:pt x="127" y="95"/>
                  </a:cubicBezTo>
                  <a:cubicBezTo>
                    <a:pt x="0" y="189"/>
                    <a:pt x="0" y="442"/>
                    <a:pt x="127" y="568"/>
                  </a:cubicBezTo>
                  <a:lnTo>
                    <a:pt x="1103" y="1544"/>
                  </a:lnTo>
                  <a:cubicBezTo>
                    <a:pt x="1166" y="1607"/>
                    <a:pt x="1261" y="1670"/>
                    <a:pt x="1324" y="1670"/>
                  </a:cubicBezTo>
                  <a:cubicBezTo>
                    <a:pt x="1418" y="1670"/>
                    <a:pt x="1544" y="1607"/>
                    <a:pt x="1576" y="1544"/>
                  </a:cubicBezTo>
                  <a:cubicBezTo>
                    <a:pt x="1702" y="1418"/>
                    <a:pt x="1702" y="1198"/>
                    <a:pt x="1576" y="1072"/>
                  </a:cubicBezTo>
                  <a:lnTo>
                    <a:pt x="599" y="95"/>
                  </a:lnTo>
                  <a:cubicBezTo>
                    <a:pt x="536" y="32"/>
                    <a:pt x="442"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76"/>
            <p:cNvSpPr/>
            <p:nvPr/>
          </p:nvSpPr>
          <p:spPr>
            <a:xfrm>
              <a:off x="-25632175" y="2400275"/>
              <a:ext cx="41750" cy="41775"/>
            </a:xfrm>
            <a:custGeom>
              <a:avLst/>
              <a:gdLst/>
              <a:ahLst/>
              <a:cxnLst/>
              <a:rect l="l" t="t" r="r" b="b"/>
              <a:pathLst>
                <a:path w="1670" h="1671" extrusionOk="0">
                  <a:moveTo>
                    <a:pt x="1327" y="0"/>
                  </a:moveTo>
                  <a:cubicBezTo>
                    <a:pt x="1237" y="0"/>
                    <a:pt x="1150" y="32"/>
                    <a:pt x="1103" y="95"/>
                  </a:cubicBezTo>
                  <a:lnTo>
                    <a:pt x="95" y="1072"/>
                  </a:lnTo>
                  <a:cubicBezTo>
                    <a:pt x="0" y="1198"/>
                    <a:pt x="0" y="1418"/>
                    <a:pt x="95" y="1544"/>
                  </a:cubicBezTo>
                  <a:cubicBezTo>
                    <a:pt x="158" y="1607"/>
                    <a:pt x="252" y="1670"/>
                    <a:pt x="347" y="1670"/>
                  </a:cubicBezTo>
                  <a:cubicBezTo>
                    <a:pt x="410" y="1670"/>
                    <a:pt x="536" y="1607"/>
                    <a:pt x="567" y="1544"/>
                  </a:cubicBezTo>
                  <a:lnTo>
                    <a:pt x="1575" y="568"/>
                  </a:lnTo>
                  <a:cubicBezTo>
                    <a:pt x="1670" y="442"/>
                    <a:pt x="1670" y="189"/>
                    <a:pt x="1575" y="95"/>
                  </a:cubicBezTo>
                  <a:cubicBezTo>
                    <a:pt x="1512" y="32"/>
                    <a:pt x="1418" y="0"/>
                    <a:pt x="13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54" name="Google Shape;9454;p76"/>
          <p:cNvSpPr/>
          <p:nvPr/>
        </p:nvSpPr>
        <p:spPr>
          <a:xfrm>
            <a:off x="7982071" y="2450116"/>
            <a:ext cx="358830" cy="353897"/>
          </a:xfrm>
          <a:custGeom>
            <a:avLst/>
            <a:gdLst/>
            <a:ahLst/>
            <a:cxnLst/>
            <a:rect l="l" t="t" r="r" b="b"/>
            <a:pathLst>
              <a:path w="12004" h="11839" extrusionOk="0">
                <a:moveTo>
                  <a:pt x="7435" y="685"/>
                </a:moveTo>
                <a:cubicBezTo>
                  <a:pt x="7530" y="685"/>
                  <a:pt x="7656" y="748"/>
                  <a:pt x="7687" y="811"/>
                </a:cubicBezTo>
                <a:lnTo>
                  <a:pt x="11121" y="4246"/>
                </a:lnTo>
                <a:cubicBezTo>
                  <a:pt x="11279" y="4372"/>
                  <a:pt x="11279" y="4592"/>
                  <a:pt x="11121" y="4718"/>
                </a:cubicBezTo>
                <a:cubicBezTo>
                  <a:pt x="11058" y="4781"/>
                  <a:pt x="10964" y="4813"/>
                  <a:pt x="10873" y="4813"/>
                </a:cubicBezTo>
                <a:cubicBezTo>
                  <a:pt x="10783" y="4813"/>
                  <a:pt x="10696" y="4781"/>
                  <a:pt x="10649" y="4718"/>
                </a:cubicBezTo>
                <a:lnTo>
                  <a:pt x="7215" y="1284"/>
                </a:lnTo>
                <a:cubicBezTo>
                  <a:pt x="7089" y="1158"/>
                  <a:pt x="7089" y="938"/>
                  <a:pt x="7215" y="811"/>
                </a:cubicBezTo>
                <a:cubicBezTo>
                  <a:pt x="7278" y="748"/>
                  <a:pt x="7372" y="685"/>
                  <a:pt x="7435" y="685"/>
                </a:cubicBezTo>
                <a:close/>
                <a:moveTo>
                  <a:pt x="7971" y="2985"/>
                </a:moveTo>
                <a:lnTo>
                  <a:pt x="8948" y="3962"/>
                </a:lnTo>
                <a:lnTo>
                  <a:pt x="7404" y="5506"/>
                </a:lnTo>
                <a:lnTo>
                  <a:pt x="6427" y="4529"/>
                </a:lnTo>
                <a:lnTo>
                  <a:pt x="7971" y="2985"/>
                </a:lnTo>
                <a:close/>
                <a:moveTo>
                  <a:pt x="5923" y="5033"/>
                </a:moveTo>
                <a:lnTo>
                  <a:pt x="6900" y="6010"/>
                </a:lnTo>
                <a:lnTo>
                  <a:pt x="6459" y="6451"/>
                </a:lnTo>
                <a:cubicBezTo>
                  <a:pt x="6135" y="6775"/>
                  <a:pt x="5672" y="6937"/>
                  <a:pt x="5229" y="6937"/>
                </a:cubicBezTo>
                <a:cubicBezTo>
                  <a:pt x="5155" y="6937"/>
                  <a:pt x="5082" y="6932"/>
                  <a:pt x="5010" y="6923"/>
                </a:cubicBezTo>
                <a:cubicBezTo>
                  <a:pt x="4946" y="6356"/>
                  <a:pt x="5136" y="5821"/>
                  <a:pt x="5482" y="5474"/>
                </a:cubicBezTo>
                <a:lnTo>
                  <a:pt x="5923" y="5033"/>
                </a:lnTo>
                <a:close/>
                <a:moveTo>
                  <a:pt x="6931" y="1946"/>
                </a:moveTo>
                <a:lnTo>
                  <a:pt x="7404" y="2418"/>
                </a:lnTo>
                <a:lnTo>
                  <a:pt x="4978" y="4876"/>
                </a:lnTo>
                <a:cubicBezTo>
                  <a:pt x="4379" y="5443"/>
                  <a:pt x="4127" y="6230"/>
                  <a:pt x="4285" y="7081"/>
                </a:cubicBezTo>
                <a:lnTo>
                  <a:pt x="4348" y="7175"/>
                </a:lnTo>
                <a:cubicBezTo>
                  <a:pt x="4379" y="7301"/>
                  <a:pt x="4442" y="7427"/>
                  <a:pt x="4600" y="7459"/>
                </a:cubicBezTo>
                <a:lnTo>
                  <a:pt x="4726" y="7491"/>
                </a:lnTo>
                <a:cubicBezTo>
                  <a:pt x="4883" y="7554"/>
                  <a:pt x="5041" y="7554"/>
                  <a:pt x="5199" y="7554"/>
                </a:cubicBezTo>
                <a:cubicBezTo>
                  <a:pt x="5829" y="7554"/>
                  <a:pt x="6459" y="7301"/>
                  <a:pt x="6931" y="6829"/>
                </a:cubicBezTo>
                <a:lnTo>
                  <a:pt x="9389" y="4403"/>
                </a:lnTo>
                <a:lnTo>
                  <a:pt x="9861" y="4876"/>
                </a:lnTo>
                <a:lnTo>
                  <a:pt x="7687" y="7207"/>
                </a:lnTo>
                <a:cubicBezTo>
                  <a:pt x="6964" y="7905"/>
                  <a:pt x="6050" y="8306"/>
                  <a:pt x="5066" y="8306"/>
                </a:cubicBezTo>
                <a:cubicBezTo>
                  <a:pt x="4851" y="8306"/>
                  <a:pt x="4632" y="8286"/>
                  <a:pt x="4411" y="8247"/>
                </a:cubicBezTo>
                <a:lnTo>
                  <a:pt x="4348" y="8247"/>
                </a:lnTo>
                <a:cubicBezTo>
                  <a:pt x="4222" y="8247"/>
                  <a:pt x="4096" y="8310"/>
                  <a:pt x="4033" y="8341"/>
                </a:cubicBezTo>
                <a:lnTo>
                  <a:pt x="2080" y="10263"/>
                </a:lnTo>
                <a:lnTo>
                  <a:pt x="1607" y="9790"/>
                </a:lnTo>
                <a:lnTo>
                  <a:pt x="3560" y="7869"/>
                </a:lnTo>
                <a:cubicBezTo>
                  <a:pt x="3623" y="7774"/>
                  <a:pt x="3655" y="7680"/>
                  <a:pt x="3623" y="7554"/>
                </a:cubicBezTo>
                <a:lnTo>
                  <a:pt x="3623" y="7459"/>
                </a:lnTo>
                <a:cubicBezTo>
                  <a:pt x="3466" y="6293"/>
                  <a:pt x="3875" y="5065"/>
                  <a:pt x="4694" y="4214"/>
                </a:cubicBezTo>
                <a:lnTo>
                  <a:pt x="6931" y="1946"/>
                </a:lnTo>
                <a:close/>
                <a:moveTo>
                  <a:pt x="1103" y="10357"/>
                </a:moveTo>
                <a:lnTo>
                  <a:pt x="1575" y="10830"/>
                </a:lnTo>
                <a:lnTo>
                  <a:pt x="1355" y="11051"/>
                </a:lnTo>
                <a:cubicBezTo>
                  <a:pt x="1292" y="11114"/>
                  <a:pt x="1213" y="11145"/>
                  <a:pt x="1130" y="11145"/>
                </a:cubicBezTo>
                <a:cubicBezTo>
                  <a:pt x="1048" y="11145"/>
                  <a:pt x="961" y="11114"/>
                  <a:pt x="882" y="11051"/>
                </a:cubicBezTo>
                <a:cubicBezTo>
                  <a:pt x="756" y="10925"/>
                  <a:pt x="756" y="10704"/>
                  <a:pt x="882" y="10578"/>
                </a:cubicBezTo>
                <a:lnTo>
                  <a:pt x="1103" y="10357"/>
                </a:lnTo>
                <a:close/>
                <a:moveTo>
                  <a:pt x="7479" y="0"/>
                </a:moveTo>
                <a:cubicBezTo>
                  <a:pt x="7215" y="0"/>
                  <a:pt x="6947" y="103"/>
                  <a:pt x="6742" y="307"/>
                </a:cubicBezTo>
                <a:cubicBezTo>
                  <a:pt x="6427" y="622"/>
                  <a:pt x="6364" y="1095"/>
                  <a:pt x="6553" y="1473"/>
                </a:cubicBezTo>
                <a:lnTo>
                  <a:pt x="4253" y="3773"/>
                </a:lnTo>
                <a:cubicBezTo>
                  <a:pt x="3277" y="4750"/>
                  <a:pt x="2804" y="6136"/>
                  <a:pt x="2962" y="7522"/>
                </a:cubicBezTo>
                <a:lnTo>
                  <a:pt x="410" y="10074"/>
                </a:lnTo>
                <a:cubicBezTo>
                  <a:pt x="0" y="10452"/>
                  <a:pt x="0" y="11145"/>
                  <a:pt x="410" y="11523"/>
                </a:cubicBezTo>
                <a:cubicBezTo>
                  <a:pt x="599" y="11712"/>
                  <a:pt x="882" y="11838"/>
                  <a:pt x="1134" y="11838"/>
                </a:cubicBezTo>
                <a:cubicBezTo>
                  <a:pt x="1418" y="11838"/>
                  <a:pt x="1701" y="11712"/>
                  <a:pt x="1891" y="11523"/>
                </a:cubicBezTo>
                <a:lnTo>
                  <a:pt x="4442" y="8971"/>
                </a:lnTo>
                <a:cubicBezTo>
                  <a:pt x="4618" y="8991"/>
                  <a:pt x="4793" y="9001"/>
                  <a:pt x="4968" y="9001"/>
                </a:cubicBezTo>
                <a:cubicBezTo>
                  <a:pt x="6173" y="9001"/>
                  <a:pt x="7338" y="8533"/>
                  <a:pt x="8192" y="7680"/>
                </a:cubicBezTo>
                <a:lnTo>
                  <a:pt x="10491" y="5380"/>
                </a:lnTo>
                <a:cubicBezTo>
                  <a:pt x="10649" y="5443"/>
                  <a:pt x="10743" y="5506"/>
                  <a:pt x="10901" y="5506"/>
                </a:cubicBezTo>
                <a:cubicBezTo>
                  <a:pt x="11184" y="5506"/>
                  <a:pt x="11468" y="5380"/>
                  <a:pt x="11657" y="5191"/>
                </a:cubicBezTo>
                <a:cubicBezTo>
                  <a:pt x="12004" y="4781"/>
                  <a:pt x="12004" y="4119"/>
                  <a:pt x="11626" y="3741"/>
                </a:cubicBezTo>
                <a:lnTo>
                  <a:pt x="8192" y="307"/>
                </a:lnTo>
                <a:cubicBezTo>
                  <a:pt x="8002" y="103"/>
                  <a:pt x="7743" y="0"/>
                  <a:pt x="74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55" name="Google Shape;9455;p76"/>
          <p:cNvGrpSpPr/>
          <p:nvPr/>
        </p:nvGrpSpPr>
        <p:grpSpPr>
          <a:xfrm>
            <a:off x="6712883" y="2891866"/>
            <a:ext cx="228887" cy="353210"/>
            <a:chOff x="-23917525" y="1970225"/>
            <a:chExt cx="191425" cy="295400"/>
          </a:xfrm>
        </p:grpSpPr>
        <p:sp>
          <p:nvSpPr>
            <p:cNvPr id="9456" name="Google Shape;9456;p76"/>
            <p:cNvSpPr/>
            <p:nvPr/>
          </p:nvSpPr>
          <p:spPr>
            <a:xfrm>
              <a:off x="-23917525" y="1970225"/>
              <a:ext cx="191425" cy="295400"/>
            </a:xfrm>
            <a:custGeom>
              <a:avLst/>
              <a:gdLst/>
              <a:ahLst/>
              <a:cxnLst/>
              <a:rect l="l" t="t" r="r" b="b"/>
              <a:pathLst>
                <a:path w="7657" h="11816" extrusionOk="0">
                  <a:moveTo>
                    <a:pt x="6616" y="694"/>
                  </a:moveTo>
                  <a:cubicBezTo>
                    <a:pt x="6805" y="694"/>
                    <a:pt x="6963" y="851"/>
                    <a:pt x="6963" y="1072"/>
                  </a:cubicBezTo>
                  <a:lnTo>
                    <a:pt x="6963" y="1450"/>
                  </a:lnTo>
                  <a:lnTo>
                    <a:pt x="725" y="1450"/>
                  </a:lnTo>
                  <a:lnTo>
                    <a:pt x="725" y="1072"/>
                  </a:lnTo>
                  <a:cubicBezTo>
                    <a:pt x="725" y="851"/>
                    <a:pt x="883" y="694"/>
                    <a:pt x="1072" y="694"/>
                  </a:cubicBezTo>
                  <a:close/>
                  <a:moveTo>
                    <a:pt x="6994" y="2175"/>
                  </a:moveTo>
                  <a:lnTo>
                    <a:pt x="6994" y="8413"/>
                  </a:lnTo>
                  <a:lnTo>
                    <a:pt x="725" y="8413"/>
                  </a:lnTo>
                  <a:lnTo>
                    <a:pt x="725" y="2175"/>
                  </a:lnTo>
                  <a:close/>
                  <a:moveTo>
                    <a:pt x="6931" y="9106"/>
                  </a:moveTo>
                  <a:lnTo>
                    <a:pt x="6931" y="10838"/>
                  </a:lnTo>
                  <a:cubicBezTo>
                    <a:pt x="6931" y="11028"/>
                    <a:pt x="6774" y="11185"/>
                    <a:pt x="6585" y="11185"/>
                  </a:cubicBezTo>
                  <a:lnTo>
                    <a:pt x="1040" y="11185"/>
                  </a:lnTo>
                  <a:cubicBezTo>
                    <a:pt x="819" y="11185"/>
                    <a:pt x="662" y="11028"/>
                    <a:pt x="662" y="10838"/>
                  </a:cubicBezTo>
                  <a:lnTo>
                    <a:pt x="662" y="9106"/>
                  </a:lnTo>
                  <a:close/>
                  <a:moveTo>
                    <a:pt x="1040" y="1"/>
                  </a:moveTo>
                  <a:cubicBezTo>
                    <a:pt x="441" y="1"/>
                    <a:pt x="0" y="473"/>
                    <a:pt x="0" y="1009"/>
                  </a:cubicBezTo>
                  <a:lnTo>
                    <a:pt x="0" y="10775"/>
                  </a:lnTo>
                  <a:cubicBezTo>
                    <a:pt x="0" y="11374"/>
                    <a:pt x="473" y="11815"/>
                    <a:pt x="1040" y="11815"/>
                  </a:cubicBezTo>
                  <a:lnTo>
                    <a:pt x="6585" y="11815"/>
                  </a:lnTo>
                  <a:cubicBezTo>
                    <a:pt x="7184" y="11815"/>
                    <a:pt x="7593" y="11343"/>
                    <a:pt x="7593" y="10775"/>
                  </a:cubicBezTo>
                  <a:lnTo>
                    <a:pt x="7593" y="1009"/>
                  </a:lnTo>
                  <a:cubicBezTo>
                    <a:pt x="7656" y="473"/>
                    <a:pt x="7184"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7" name="Google Shape;9457;p76"/>
            <p:cNvSpPr/>
            <p:nvPr/>
          </p:nvSpPr>
          <p:spPr>
            <a:xfrm>
              <a:off x="-23882075" y="2041125"/>
              <a:ext cx="121300" cy="121325"/>
            </a:xfrm>
            <a:custGeom>
              <a:avLst/>
              <a:gdLst/>
              <a:ahLst/>
              <a:cxnLst/>
              <a:rect l="l" t="t" r="r" b="b"/>
              <a:pathLst>
                <a:path w="4852" h="4853" extrusionOk="0">
                  <a:moveTo>
                    <a:pt x="2773" y="662"/>
                  </a:moveTo>
                  <a:lnTo>
                    <a:pt x="2773" y="1702"/>
                  </a:lnTo>
                  <a:cubicBezTo>
                    <a:pt x="2773" y="1891"/>
                    <a:pt x="2930" y="2048"/>
                    <a:pt x="3119" y="2048"/>
                  </a:cubicBezTo>
                  <a:lnTo>
                    <a:pt x="4127" y="2048"/>
                  </a:lnTo>
                  <a:lnTo>
                    <a:pt x="4127" y="2773"/>
                  </a:lnTo>
                  <a:lnTo>
                    <a:pt x="3119" y="2773"/>
                  </a:lnTo>
                  <a:cubicBezTo>
                    <a:pt x="2930" y="2773"/>
                    <a:pt x="2773" y="2962"/>
                    <a:pt x="2773" y="3151"/>
                  </a:cubicBezTo>
                  <a:lnTo>
                    <a:pt x="2773" y="4159"/>
                  </a:lnTo>
                  <a:lnTo>
                    <a:pt x="2048" y="4159"/>
                  </a:lnTo>
                  <a:lnTo>
                    <a:pt x="2048" y="3119"/>
                  </a:lnTo>
                  <a:cubicBezTo>
                    <a:pt x="2048" y="2899"/>
                    <a:pt x="1890" y="2741"/>
                    <a:pt x="1701" y="2741"/>
                  </a:cubicBezTo>
                  <a:lnTo>
                    <a:pt x="662" y="2741"/>
                  </a:lnTo>
                  <a:lnTo>
                    <a:pt x="662" y="2048"/>
                  </a:lnTo>
                  <a:lnTo>
                    <a:pt x="1701" y="2048"/>
                  </a:lnTo>
                  <a:cubicBezTo>
                    <a:pt x="1890" y="2048"/>
                    <a:pt x="2048" y="1891"/>
                    <a:pt x="2048" y="1702"/>
                  </a:cubicBezTo>
                  <a:lnTo>
                    <a:pt x="2048" y="662"/>
                  </a:lnTo>
                  <a:close/>
                  <a:moveTo>
                    <a:pt x="1733" y="0"/>
                  </a:moveTo>
                  <a:cubicBezTo>
                    <a:pt x="1544" y="0"/>
                    <a:pt x="1386" y="158"/>
                    <a:pt x="1386" y="347"/>
                  </a:cubicBezTo>
                  <a:lnTo>
                    <a:pt x="1386" y="1386"/>
                  </a:lnTo>
                  <a:lnTo>
                    <a:pt x="347" y="1386"/>
                  </a:lnTo>
                  <a:cubicBezTo>
                    <a:pt x="158" y="1386"/>
                    <a:pt x="0" y="1544"/>
                    <a:pt x="0" y="1733"/>
                  </a:cubicBezTo>
                  <a:lnTo>
                    <a:pt x="0" y="3119"/>
                  </a:lnTo>
                  <a:cubicBezTo>
                    <a:pt x="0" y="3308"/>
                    <a:pt x="158" y="3466"/>
                    <a:pt x="347" y="3466"/>
                  </a:cubicBezTo>
                  <a:lnTo>
                    <a:pt x="1386" y="3466"/>
                  </a:lnTo>
                  <a:lnTo>
                    <a:pt x="1386" y="4474"/>
                  </a:lnTo>
                  <a:cubicBezTo>
                    <a:pt x="1386" y="4694"/>
                    <a:pt x="1544" y="4852"/>
                    <a:pt x="1733" y="4852"/>
                  </a:cubicBezTo>
                  <a:lnTo>
                    <a:pt x="3119" y="4852"/>
                  </a:lnTo>
                  <a:cubicBezTo>
                    <a:pt x="3308" y="4852"/>
                    <a:pt x="3466" y="4694"/>
                    <a:pt x="3466" y="4474"/>
                  </a:cubicBezTo>
                  <a:lnTo>
                    <a:pt x="3466" y="3466"/>
                  </a:lnTo>
                  <a:lnTo>
                    <a:pt x="4505" y="3466"/>
                  </a:lnTo>
                  <a:cubicBezTo>
                    <a:pt x="4694" y="3466"/>
                    <a:pt x="4852" y="3308"/>
                    <a:pt x="4852" y="3119"/>
                  </a:cubicBezTo>
                  <a:lnTo>
                    <a:pt x="4852" y="1733"/>
                  </a:lnTo>
                  <a:cubicBezTo>
                    <a:pt x="4852" y="1544"/>
                    <a:pt x="4694" y="1386"/>
                    <a:pt x="4505" y="1386"/>
                  </a:cubicBezTo>
                  <a:lnTo>
                    <a:pt x="3466" y="1386"/>
                  </a:lnTo>
                  <a:lnTo>
                    <a:pt x="3466" y="347"/>
                  </a:lnTo>
                  <a:cubicBezTo>
                    <a:pt x="3466" y="158"/>
                    <a:pt x="3308" y="0"/>
                    <a:pt x="31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8" name="Google Shape;9458;p76"/>
            <p:cNvSpPr/>
            <p:nvPr/>
          </p:nvSpPr>
          <p:spPr>
            <a:xfrm>
              <a:off x="-23839550" y="2214400"/>
              <a:ext cx="35475" cy="17350"/>
            </a:xfrm>
            <a:custGeom>
              <a:avLst/>
              <a:gdLst/>
              <a:ahLst/>
              <a:cxnLst/>
              <a:rect l="l" t="t" r="r" b="b"/>
              <a:pathLst>
                <a:path w="1419" h="694" extrusionOk="0">
                  <a:moveTo>
                    <a:pt x="347" y="0"/>
                  </a:moveTo>
                  <a:cubicBezTo>
                    <a:pt x="158" y="0"/>
                    <a:pt x="0" y="158"/>
                    <a:pt x="0" y="347"/>
                  </a:cubicBezTo>
                  <a:cubicBezTo>
                    <a:pt x="0" y="536"/>
                    <a:pt x="158" y="693"/>
                    <a:pt x="347"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9" name="Google Shape;9459;p76"/>
          <p:cNvGrpSpPr/>
          <p:nvPr/>
        </p:nvGrpSpPr>
        <p:grpSpPr>
          <a:xfrm>
            <a:off x="6668164" y="3338744"/>
            <a:ext cx="318325" cy="354107"/>
            <a:chOff x="-23952175" y="2340425"/>
            <a:chExt cx="266225" cy="296150"/>
          </a:xfrm>
        </p:grpSpPr>
        <p:sp>
          <p:nvSpPr>
            <p:cNvPr id="9460" name="Google Shape;9460;p76"/>
            <p:cNvSpPr/>
            <p:nvPr/>
          </p:nvSpPr>
          <p:spPr>
            <a:xfrm>
              <a:off x="-23952175" y="2340425"/>
              <a:ext cx="266225" cy="296150"/>
            </a:xfrm>
            <a:custGeom>
              <a:avLst/>
              <a:gdLst/>
              <a:ahLst/>
              <a:cxnLst/>
              <a:rect l="l" t="t" r="r" b="b"/>
              <a:pathLst>
                <a:path w="10649" h="11846" extrusionOk="0">
                  <a:moveTo>
                    <a:pt x="3844" y="693"/>
                  </a:moveTo>
                  <a:cubicBezTo>
                    <a:pt x="4033" y="693"/>
                    <a:pt x="4190" y="851"/>
                    <a:pt x="4190" y="1040"/>
                  </a:cubicBezTo>
                  <a:lnTo>
                    <a:pt x="4190" y="1449"/>
                  </a:lnTo>
                  <a:lnTo>
                    <a:pt x="2804" y="1449"/>
                  </a:lnTo>
                  <a:lnTo>
                    <a:pt x="2804" y="1040"/>
                  </a:lnTo>
                  <a:lnTo>
                    <a:pt x="2773" y="1040"/>
                  </a:lnTo>
                  <a:cubicBezTo>
                    <a:pt x="2773" y="851"/>
                    <a:pt x="2930" y="693"/>
                    <a:pt x="3119" y="693"/>
                  </a:cubicBezTo>
                  <a:close/>
                  <a:moveTo>
                    <a:pt x="5230" y="2111"/>
                  </a:moveTo>
                  <a:cubicBezTo>
                    <a:pt x="5608" y="2111"/>
                    <a:pt x="5955" y="2363"/>
                    <a:pt x="6175" y="2710"/>
                  </a:cubicBezTo>
                  <a:cubicBezTo>
                    <a:pt x="5703" y="2993"/>
                    <a:pt x="5387" y="3497"/>
                    <a:pt x="5387" y="4096"/>
                  </a:cubicBezTo>
                  <a:cubicBezTo>
                    <a:pt x="5387" y="4442"/>
                    <a:pt x="5482" y="4726"/>
                    <a:pt x="5640" y="4946"/>
                  </a:cubicBezTo>
                  <a:cubicBezTo>
                    <a:pt x="5547" y="4960"/>
                    <a:pt x="5454" y="4966"/>
                    <a:pt x="5362" y="4966"/>
                  </a:cubicBezTo>
                  <a:cubicBezTo>
                    <a:pt x="4796" y="4966"/>
                    <a:pt x="4246" y="4723"/>
                    <a:pt x="3812" y="4316"/>
                  </a:cubicBezTo>
                  <a:lnTo>
                    <a:pt x="3718" y="4253"/>
                  </a:lnTo>
                  <a:cubicBezTo>
                    <a:pt x="3245" y="3812"/>
                    <a:pt x="2647" y="3529"/>
                    <a:pt x="2016" y="3466"/>
                  </a:cubicBezTo>
                  <a:cubicBezTo>
                    <a:pt x="1874" y="3433"/>
                    <a:pt x="1727" y="3419"/>
                    <a:pt x="1578" y="3419"/>
                  </a:cubicBezTo>
                  <a:cubicBezTo>
                    <a:pt x="1299" y="3419"/>
                    <a:pt x="1012" y="3467"/>
                    <a:pt x="725" y="3529"/>
                  </a:cubicBezTo>
                  <a:lnTo>
                    <a:pt x="725" y="3151"/>
                  </a:lnTo>
                  <a:cubicBezTo>
                    <a:pt x="693" y="2583"/>
                    <a:pt x="1166" y="2111"/>
                    <a:pt x="1733" y="2111"/>
                  </a:cubicBezTo>
                  <a:close/>
                  <a:moveTo>
                    <a:pt x="8979" y="3182"/>
                  </a:moveTo>
                  <a:cubicBezTo>
                    <a:pt x="9515" y="3182"/>
                    <a:pt x="9924" y="3623"/>
                    <a:pt x="9924" y="4127"/>
                  </a:cubicBezTo>
                  <a:cubicBezTo>
                    <a:pt x="9924" y="4568"/>
                    <a:pt x="9546" y="4883"/>
                    <a:pt x="9137" y="5198"/>
                  </a:cubicBezTo>
                  <a:cubicBezTo>
                    <a:pt x="9074" y="5230"/>
                    <a:pt x="8097" y="6112"/>
                    <a:pt x="7971" y="6207"/>
                  </a:cubicBezTo>
                  <a:cubicBezTo>
                    <a:pt x="7845" y="6144"/>
                    <a:pt x="6679" y="5104"/>
                    <a:pt x="6679" y="5104"/>
                  </a:cubicBezTo>
                  <a:cubicBezTo>
                    <a:pt x="6270" y="4757"/>
                    <a:pt x="5986" y="4505"/>
                    <a:pt x="5986" y="4127"/>
                  </a:cubicBezTo>
                  <a:cubicBezTo>
                    <a:pt x="5986" y="3623"/>
                    <a:pt x="6427" y="3182"/>
                    <a:pt x="6931" y="3182"/>
                  </a:cubicBezTo>
                  <a:cubicBezTo>
                    <a:pt x="7215" y="3182"/>
                    <a:pt x="7498" y="3308"/>
                    <a:pt x="7687" y="3529"/>
                  </a:cubicBezTo>
                  <a:cubicBezTo>
                    <a:pt x="7782" y="3623"/>
                    <a:pt x="7845" y="3686"/>
                    <a:pt x="7971" y="3686"/>
                  </a:cubicBezTo>
                  <a:cubicBezTo>
                    <a:pt x="8097" y="3686"/>
                    <a:pt x="8160" y="3655"/>
                    <a:pt x="8254" y="3529"/>
                  </a:cubicBezTo>
                  <a:cubicBezTo>
                    <a:pt x="8443" y="3308"/>
                    <a:pt x="8664" y="3182"/>
                    <a:pt x="8979" y="3182"/>
                  </a:cubicBezTo>
                  <a:close/>
                  <a:moveTo>
                    <a:pt x="1561" y="4127"/>
                  </a:moveTo>
                  <a:cubicBezTo>
                    <a:pt x="2142" y="4127"/>
                    <a:pt x="2710" y="4337"/>
                    <a:pt x="3151" y="4757"/>
                  </a:cubicBezTo>
                  <a:lnTo>
                    <a:pt x="3245" y="4820"/>
                  </a:lnTo>
                  <a:cubicBezTo>
                    <a:pt x="3844" y="5356"/>
                    <a:pt x="4568" y="5671"/>
                    <a:pt x="5324" y="5671"/>
                  </a:cubicBezTo>
                  <a:cubicBezTo>
                    <a:pt x="5608" y="5671"/>
                    <a:pt x="5860" y="5639"/>
                    <a:pt x="6112" y="5545"/>
                  </a:cubicBezTo>
                  <a:cubicBezTo>
                    <a:pt x="6144" y="5545"/>
                    <a:pt x="6144" y="5576"/>
                    <a:pt x="6207" y="5576"/>
                  </a:cubicBezTo>
                  <a:lnTo>
                    <a:pt x="6207" y="7278"/>
                  </a:lnTo>
                  <a:cubicBezTo>
                    <a:pt x="6207" y="7876"/>
                    <a:pt x="5734" y="8286"/>
                    <a:pt x="5167" y="8286"/>
                  </a:cubicBezTo>
                  <a:lnTo>
                    <a:pt x="1701" y="8286"/>
                  </a:lnTo>
                  <a:cubicBezTo>
                    <a:pt x="1655" y="8294"/>
                    <a:pt x="1610" y="8298"/>
                    <a:pt x="1565" y="8298"/>
                  </a:cubicBezTo>
                  <a:cubicBezTo>
                    <a:pt x="1088" y="8298"/>
                    <a:pt x="693" y="7856"/>
                    <a:pt x="693" y="7309"/>
                  </a:cubicBezTo>
                  <a:lnTo>
                    <a:pt x="693" y="4285"/>
                  </a:lnTo>
                  <a:cubicBezTo>
                    <a:pt x="977" y="4180"/>
                    <a:pt x="1271" y="4127"/>
                    <a:pt x="1561" y="4127"/>
                  </a:cubicBezTo>
                  <a:close/>
                  <a:moveTo>
                    <a:pt x="3844" y="9105"/>
                  </a:moveTo>
                  <a:lnTo>
                    <a:pt x="3844" y="9452"/>
                  </a:lnTo>
                  <a:cubicBezTo>
                    <a:pt x="3844" y="9641"/>
                    <a:pt x="3686" y="9798"/>
                    <a:pt x="3466" y="9798"/>
                  </a:cubicBezTo>
                  <a:cubicBezTo>
                    <a:pt x="3277" y="9798"/>
                    <a:pt x="3119" y="9641"/>
                    <a:pt x="3119" y="9452"/>
                  </a:cubicBezTo>
                  <a:lnTo>
                    <a:pt x="3119" y="9105"/>
                  </a:lnTo>
                  <a:close/>
                  <a:moveTo>
                    <a:pt x="6994" y="6207"/>
                  </a:moveTo>
                  <a:cubicBezTo>
                    <a:pt x="7057" y="6301"/>
                    <a:pt x="7530" y="6679"/>
                    <a:pt x="7687" y="6805"/>
                  </a:cubicBezTo>
                  <a:lnTo>
                    <a:pt x="7687" y="10082"/>
                  </a:lnTo>
                  <a:cubicBezTo>
                    <a:pt x="7656" y="10680"/>
                    <a:pt x="7183" y="11153"/>
                    <a:pt x="6585" y="11153"/>
                  </a:cubicBezTo>
                  <a:lnTo>
                    <a:pt x="4852" y="11153"/>
                  </a:lnTo>
                  <a:cubicBezTo>
                    <a:pt x="4379" y="11153"/>
                    <a:pt x="4001" y="10838"/>
                    <a:pt x="3875" y="10397"/>
                  </a:cubicBezTo>
                  <a:cubicBezTo>
                    <a:pt x="4253" y="10239"/>
                    <a:pt x="4537" y="9893"/>
                    <a:pt x="4537" y="9420"/>
                  </a:cubicBezTo>
                  <a:lnTo>
                    <a:pt x="4537" y="9042"/>
                  </a:lnTo>
                  <a:lnTo>
                    <a:pt x="5261" y="9042"/>
                  </a:lnTo>
                  <a:cubicBezTo>
                    <a:pt x="6207" y="9042"/>
                    <a:pt x="6994" y="8254"/>
                    <a:pt x="6994" y="7309"/>
                  </a:cubicBezTo>
                  <a:lnTo>
                    <a:pt x="6994" y="6207"/>
                  </a:lnTo>
                  <a:close/>
                  <a:moveTo>
                    <a:pt x="3119" y="0"/>
                  </a:moveTo>
                  <a:cubicBezTo>
                    <a:pt x="2521" y="0"/>
                    <a:pt x="2111" y="473"/>
                    <a:pt x="2111" y="1008"/>
                  </a:cubicBezTo>
                  <a:lnTo>
                    <a:pt x="2111" y="1418"/>
                  </a:lnTo>
                  <a:lnTo>
                    <a:pt x="1733" y="1418"/>
                  </a:lnTo>
                  <a:cubicBezTo>
                    <a:pt x="788" y="1418"/>
                    <a:pt x="0" y="2205"/>
                    <a:pt x="0" y="3151"/>
                  </a:cubicBezTo>
                  <a:lnTo>
                    <a:pt x="0" y="7309"/>
                  </a:lnTo>
                  <a:cubicBezTo>
                    <a:pt x="0" y="8254"/>
                    <a:pt x="788" y="9042"/>
                    <a:pt x="1733" y="9042"/>
                  </a:cubicBezTo>
                  <a:lnTo>
                    <a:pt x="2458" y="9042"/>
                  </a:lnTo>
                  <a:lnTo>
                    <a:pt x="2458" y="9420"/>
                  </a:lnTo>
                  <a:cubicBezTo>
                    <a:pt x="2458" y="9893"/>
                    <a:pt x="2773" y="10271"/>
                    <a:pt x="3182" y="10397"/>
                  </a:cubicBezTo>
                  <a:cubicBezTo>
                    <a:pt x="3340" y="11216"/>
                    <a:pt x="4033" y="11846"/>
                    <a:pt x="4852" y="11846"/>
                  </a:cubicBezTo>
                  <a:lnTo>
                    <a:pt x="6585" y="11846"/>
                  </a:lnTo>
                  <a:cubicBezTo>
                    <a:pt x="7530" y="11846"/>
                    <a:pt x="8317" y="11058"/>
                    <a:pt x="8317" y="10113"/>
                  </a:cubicBezTo>
                  <a:lnTo>
                    <a:pt x="8317" y="6837"/>
                  </a:lnTo>
                  <a:cubicBezTo>
                    <a:pt x="8443" y="6742"/>
                    <a:pt x="9546" y="5797"/>
                    <a:pt x="9578" y="5734"/>
                  </a:cubicBezTo>
                  <a:cubicBezTo>
                    <a:pt x="10050" y="5356"/>
                    <a:pt x="10617" y="4883"/>
                    <a:pt x="10617" y="4127"/>
                  </a:cubicBezTo>
                  <a:cubicBezTo>
                    <a:pt x="10649" y="3214"/>
                    <a:pt x="9893" y="2489"/>
                    <a:pt x="9011" y="2489"/>
                  </a:cubicBezTo>
                  <a:cubicBezTo>
                    <a:pt x="8601" y="2489"/>
                    <a:pt x="8254" y="2583"/>
                    <a:pt x="7971" y="2836"/>
                  </a:cubicBezTo>
                  <a:cubicBezTo>
                    <a:pt x="7687" y="2583"/>
                    <a:pt x="7341" y="2489"/>
                    <a:pt x="6963" y="2489"/>
                  </a:cubicBezTo>
                  <a:lnTo>
                    <a:pt x="6805" y="2489"/>
                  </a:lnTo>
                  <a:cubicBezTo>
                    <a:pt x="6522" y="1859"/>
                    <a:pt x="5892" y="1418"/>
                    <a:pt x="5230" y="1418"/>
                  </a:cubicBezTo>
                  <a:lnTo>
                    <a:pt x="4852" y="1418"/>
                  </a:lnTo>
                  <a:lnTo>
                    <a:pt x="4852" y="1008"/>
                  </a:lnTo>
                  <a:cubicBezTo>
                    <a:pt x="4852" y="441"/>
                    <a:pt x="4379"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76"/>
            <p:cNvSpPr/>
            <p:nvPr/>
          </p:nvSpPr>
          <p:spPr>
            <a:xfrm>
              <a:off x="-23918325" y="2479025"/>
              <a:ext cx="53600" cy="52375"/>
            </a:xfrm>
            <a:custGeom>
              <a:avLst/>
              <a:gdLst/>
              <a:ahLst/>
              <a:cxnLst/>
              <a:rect l="l" t="t" r="r" b="b"/>
              <a:pathLst>
                <a:path w="2144" h="2095" extrusionOk="0">
                  <a:moveTo>
                    <a:pt x="347" y="1"/>
                  </a:moveTo>
                  <a:cubicBezTo>
                    <a:pt x="158" y="1"/>
                    <a:pt x="1" y="158"/>
                    <a:pt x="1" y="347"/>
                  </a:cubicBezTo>
                  <a:lnTo>
                    <a:pt x="1" y="1072"/>
                  </a:lnTo>
                  <a:cubicBezTo>
                    <a:pt x="1" y="1671"/>
                    <a:pt x="473" y="2080"/>
                    <a:pt x="1009" y="2080"/>
                  </a:cubicBezTo>
                  <a:lnTo>
                    <a:pt x="1734" y="2080"/>
                  </a:lnTo>
                  <a:cubicBezTo>
                    <a:pt x="1767" y="2090"/>
                    <a:pt x="1800" y="2094"/>
                    <a:pt x="1831" y="2094"/>
                  </a:cubicBezTo>
                  <a:cubicBezTo>
                    <a:pt x="2007" y="2094"/>
                    <a:pt x="2143" y="1952"/>
                    <a:pt x="2143" y="1765"/>
                  </a:cubicBezTo>
                  <a:cubicBezTo>
                    <a:pt x="2143" y="1576"/>
                    <a:pt x="1954" y="1419"/>
                    <a:pt x="1765" y="1419"/>
                  </a:cubicBezTo>
                  <a:lnTo>
                    <a:pt x="1072" y="1419"/>
                  </a:lnTo>
                  <a:cubicBezTo>
                    <a:pt x="851" y="1419"/>
                    <a:pt x="694" y="1261"/>
                    <a:pt x="694" y="1072"/>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62" name="Google Shape;9462;p76"/>
          <p:cNvSpPr/>
          <p:nvPr/>
        </p:nvSpPr>
        <p:spPr>
          <a:xfrm>
            <a:off x="6641253" y="3780732"/>
            <a:ext cx="372969" cy="352492"/>
          </a:xfrm>
          <a:custGeom>
            <a:avLst/>
            <a:gdLst/>
            <a:ahLst/>
            <a:cxnLst/>
            <a:rect l="l" t="t" r="r" b="b"/>
            <a:pathLst>
              <a:path w="12477" h="11792" extrusionOk="0">
                <a:moveTo>
                  <a:pt x="10845" y="690"/>
                </a:moveTo>
                <a:cubicBezTo>
                  <a:pt x="11072" y="690"/>
                  <a:pt x="11264" y="705"/>
                  <a:pt x="11406" y="733"/>
                </a:cubicBezTo>
                <a:cubicBezTo>
                  <a:pt x="11469" y="1049"/>
                  <a:pt x="11469" y="1616"/>
                  <a:pt x="11374" y="2246"/>
                </a:cubicBezTo>
                <a:lnTo>
                  <a:pt x="9894" y="765"/>
                </a:lnTo>
                <a:cubicBezTo>
                  <a:pt x="10240" y="713"/>
                  <a:pt x="10568" y="690"/>
                  <a:pt x="10845" y="690"/>
                </a:cubicBezTo>
                <a:close/>
                <a:moveTo>
                  <a:pt x="9106" y="923"/>
                </a:moveTo>
                <a:lnTo>
                  <a:pt x="11280" y="3096"/>
                </a:lnTo>
                <a:cubicBezTo>
                  <a:pt x="11185" y="3317"/>
                  <a:pt x="11091" y="3569"/>
                  <a:pt x="10996" y="3789"/>
                </a:cubicBezTo>
                <a:lnTo>
                  <a:pt x="8350" y="1143"/>
                </a:lnTo>
                <a:cubicBezTo>
                  <a:pt x="8602" y="1049"/>
                  <a:pt x="8822" y="954"/>
                  <a:pt x="9106" y="923"/>
                </a:cubicBezTo>
                <a:close/>
                <a:moveTo>
                  <a:pt x="7720" y="1458"/>
                </a:moveTo>
                <a:lnTo>
                  <a:pt x="10618" y="4388"/>
                </a:lnTo>
                <a:cubicBezTo>
                  <a:pt x="10555" y="4451"/>
                  <a:pt x="10461" y="4577"/>
                  <a:pt x="10398" y="4672"/>
                </a:cubicBezTo>
                <a:cubicBezTo>
                  <a:pt x="10303" y="4766"/>
                  <a:pt x="10240" y="4861"/>
                  <a:pt x="10114" y="4892"/>
                </a:cubicBezTo>
                <a:lnTo>
                  <a:pt x="7216" y="1994"/>
                </a:lnTo>
                <a:cubicBezTo>
                  <a:pt x="7279" y="1899"/>
                  <a:pt x="7373" y="1773"/>
                  <a:pt x="7436" y="1710"/>
                </a:cubicBezTo>
                <a:cubicBezTo>
                  <a:pt x="7531" y="1616"/>
                  <a:pt x="7594" y="1553"/>
                  <a:pt x="7720" y="1458"/>
                </a:cubicBezTo>
                <a:close/>
                <a:moveTo>
                  <a:pt x="6901" y="2655"/>
                </a:moveTo>
                <a:lnTo>
                  <a:pt x="9515" y="5270"/>
                </a:lnTo>
                <a:cubicBezTo>
                  <a:pt x="9263" y="5365"/>
                  <a:pt x="9011" y="5459"/>
                  <a:pt x="8791" y="5522"/>
                </a:cubicBezTo>
                <a:lnTo>
                  <a:pt x="6649" y="3411"/>
                </a:lnTo>
                <a:cubicBezTo>
                  <a:pt x="6680" y="3159"/>
                  <a:pt x="6775" y="2876"/>
                  <a:pt x="6901" y="2655"/>
                </a:cubicBezTo>
                <a:close/>
                <a:moveTo>
                  <a:pt x="6491" y="4231"/>
                </a:moveTo>
                <a:lnTo>
                  <a:pt x="7877" y="5617"/>
                </a:lnTo>
                <a:cubicBezTo>
                  <a:pt x="7638" y="5643"/>
                  <a:pt x="7409" y="5653"/>
                  <a:pt x="7204" y="5653"/>
                </a:cubicBezTo>
                <a:cubicBezTo>
                  <a:pt x="6923" y="5653"/>
                  <a:pt x="6686" y="5635"/>
                  <a:pt x="6523" y="5617"/>
                </a:cubicBezTo>
                <a:cubicBezTo>
                  <a:pt x="6491" y="5333"/>
                  <a:pt x="6460" y="4829"/>
                  <a:pt x="6491" y="4231"/>
                </a:cubicBezTo>
                <a:close/>
                <a:moveTo>
                  <a:pt x="4982" y="6171"/>
                </a:moveTo>
                <a:cubicBezTo>
                  <a:pt x="5371" y="6171"/>
                  <a:pt x="5708" y="6201"/>
                  <a:pt x="5892" y="6247"/>
                </a:cubicBezTo>
                <a:cubicBezTo>
                  <a:pt x="5955" y="6499"/>
                  <a:pt x="5987" y="7034"/>
                  <a:pt x="5955" y="7602"/>
                </a:cubicBezTo>
                <a:lnTo>
                  <a:pt x="4538" y="6184"/>
                </a:lnTo>
                <a:cubicBezTo>
                  <a:pt x="4690" y="6175"/>
                  <a:pt x="4839" y="6171"/>
                  <a:pt x="4982" y="6171"/>
                </a:cubicBezTo>
                <a:close/>
                <a:moveTo>
                  <a:pt x="3719" y="6310"/>
                </a:moveTo>
                <a:lnTo>
                  <a:pt x="5829" y="8452"/>
                </a:lnTo>
                <a:cubicBezTo>
                  <a:pt x="5798" y="8673"/>
                  <a:pt x="5703" y="8956"/>
                  <a:pt x="5609" y="9177"/>
                </a:cubicBezTo>
                <a:lnTo>
                  <a:pt x="2962" y="6562"/>
                </a:lnTo>
                <a:cubicBezTo>
                  <a:pt x="3183" y="6436"/>
                  <a:pt x="3435" y="6341"/>
                  <a:pt x="3719" y="6310"/>
                </a:cubicBezTo>
                <a:close/>
                <a:moveTo>
                  <a:pt x="2332" y="6908"/>
                </a:moveTo>
                <a:lnTo>
                  <a:pt x="5231" y="9807"/>
                </a:lnTo>
                <a:cubicBezTo>
                  <a:pt x="5168" y="9901"/>
                  <a:pt x="5073" y="10027"/>
                  <a:pt x="5010" y="10090"/>
                </a:cubicBezTo>
                <a:cubicBezTo>
                  <a:pt x="4916" y="10185"/>
                  <a:pt x="4853" y="10248"/>
                  <a:pt x="4727" y="10342"/>
                </a:cubicBezTo>
                <a:lnTo>
                  <a:pt x="1797" y="7412"/>
                </a:lnTo>
                <a:cubicBezTo>
                  <a:pt x="1891" y="7349"/>
                  <a:pt x="1954" y="7223"/>
                  <a:pt x="2049" y="7129"/>
                </a:cubicBezTo>
                <a:cubicBezTo>
                  <a:pt x="2112" y="7066"/>
                  <a:pt x="2206" y="6971"/>
                  <a:pt x="2332" y="6908"/>
                </a:cubicBezTo>
                <a:close/>
                <a:moveTo>
                  <a:pt x="1450" y="8011"/>
                </a:moveTo>
                <a:lnTo>
                  <a:pt x="4097" y="10657"/>
                </a:lnTo>
                <a:cubicBezTo>
                  <a:pt x="3908" y="10752"/>
                  <a:pt x="3624" y="10847"/>
                  <a:pt x="3372" y="10910"/>
                </a:cubicBezTo>
                <a:lnTo>
                  <a:pt x="1230" y="8767"/>
                </a:lnTo>
                <a:cubicBezTo>
                  <a:pt x="1293" y="8515"/>
                  <a:pt x="1387" y="8232"/>
                  <a:pt x="1450" y="8011"/>
                </a:cubicBezTo>
                <a:close/>
                <a:moveTo>
                  <a:pt x="1072" y="9586"/>
                </a:moveTo>
                <a:lnTo>
                  <a:pt x="2553" y="11067"/>
                </a:lnTo>
                <a:cubicBezTo>
                  <a:pt x="2175" y="11124"/>
                  <a:pt x="1831" y="11135"/>
                  <a:pt x="1534" y="11135"/>
                </a:cubicBezTo>
                <a:cubicBezTo>
                  <a:pt x="1337" y="11135"/>
                  <a:pt x="1160" y="11130"/>
                  <a:pt x="1009" y="11130"/>
                </a:cubicBezTo>
                <a:cubicBezTo>
                  <a:pt x="978" y="10815"/>
                  <a:pt x="978" y="10216"/>
                  <a:pt x="1072" y="9586"/>
                </a:cubicBezTo>
                <a:close/>
                <a:moveTo>
                  <a:pt x="10872" y="1"/>
                </a:moveTo>
                <a:cubicBezTo>
                  <a:pt x="9797" y="1"/>
                  <a:pt x="8028" y="173"/>
                  <a:pt x="6964" y="1238"/>
                </a:cubicBezTo>
                <a:cubicBezTo>
                  <a:pt x="6775" y="1427"/>
                  <a:pt x="6617" y="1616"/>
                  <a:pt x="6491" y="1836"/>
                </a:cubicBezTo>
                <a:cubicBezTo>
                  <a:pt x="5735" y="3033"/>
                  <a:pt x="5735" y="4703"/>
                  <a:pt x="5829" y="5491"/>
                </a:cubicBezTo>
                <a:cubicBezTo>
                  <a:pt x="5619" y="5469"/>
                  <a:pt x="5344" y="5450"/>
                  <a:pt x="5031" y="5450"/>
                </a:cubicBezTo>
                <a:cubicBezTo>
                  <a:pt x="3989" y="5450"/>
                  <a:pt x="2521" y="5655"/>
                  <a:pt x="1576" y="6625"/>
                </a:cubicBezTo>
                <a:cubicBezTo>
                  <a:pt x="1" y="8200"/>
                  <a:pt x="348" y="11319"/>
                  <a:pt x="379" y="11445"/>
                </a:cubicBezTo>
                <a:cubicBezTo>
                  <a:pt x="442" y="11603"/>
                  <a:pt x="568" y="11697"/>
                  <a:pt x="726" y="11760"/>
                </a:cubicBezTo>
                <a:cubicBezTo>
                  <a:pt x="757" y="11760"/>
                  <a:pt x="1135" y="11792"/>
                  <a:pt x="1671" y="11792"/>
                </a:cubicBezTo>
                <a:cubicBezTo>
                  <a:pt x="2710" y="11792"/>
                  <a:pt x="4443" y="11603"/>
                  <a:pt x="5514" y="10531"/>
                </a:cubicBezTo>
                <a:cubicBezTo>
                  <a:pt x="6775" y="9271"/>
                  <a:pt x="6743" y="7192"/>
                  <a:pt x="6649" y="6278"/>
                </a:cubicBezTo>
                <a:cubicBezTo>
                  <a:pt x="6869" y="6278"/>
                  <a:pt x="7121" y="6310"/>
                  <a:pt x="7405" y="6310"/>
                </a:cubicBezTo>
                <a:cubicBezTo>
                  <a:pt x="8476" y="6310"/>
                  <a:pt x="9925" y="6121"/>
                  <a:pt x="10902" y="5144"/>
                </a:cubicBezTo>
                <a:cubicBezTo>
                  <a:pt x="12477" y="3600"/>
                  <a:pt x="12099" y="481"/>
                  <a:pt x="12099" y="355"/>
                </a:cubicBezTo>
                <a:cubicBezTo>
                  <a:pt x="12036" y="198"/>
                  <a:pt x="11941" y="103"/>
                  <a:pt x="11784" y="40"/>
                </a:cubicBezTo>
                <a:cubicBezTo>
                  <a:pt x="11743" y="40"/>
                  <a:pt x="11387" y="1"/>
                  <a:pt x="108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63" name="Google Shape;9463;p76"/>
          <p:cNvGrpSpPr/>
          <p:nvPr/>
        </p:nvGrpSpPr>
        <p:grpSpPr>
          <a:xfrm>
            <a:off x="8053336" y="3779000"/>
            <a:ext cx="239230" cy="356020"/>
            <a:chOff x="-22811700" y="2700350"/>
            <a:chExt cx="200075" cy="297750"/>
          </a:xfrm>
        </p:grpSpPr>
        <p:sp>
          <p:nvSpPr>
            <p:cNvPr id="9464" name="Google Shape;9464;p76"/>
            <p:cNvSpPr/>
            <p:nvPr/>
          </p:nvSpPr>
          <p:spPr>
            <a:xfrm>
              <a:off x="-22811700" y="2700350"/>
              <a:ext cx="86650" cy="296975"/>
            </a:xfrm>
            <a:custGeom>
              <a:avLst/>
              <a:gdLst/>
              <a:ahLst/>
              <a:cxnLst/>
              <a:rect l="l" t="t" r="r" b="b"/>
              <a:pathLst>
                <a:path w="3466" h="11879" extrusionOk="0">
                  <a:moveTo>
                    <a:pt x="1702" y="725"/>
                  </a:moveTo>
                  <a:cubicBezTo>
                    <a:pt x="2269" y="725"/>
                    <a:pt x="2710" y="1198"/>
                    <a:pt x="2710" y="1734"/>
                  </a:cubicBezTo>
                  <a:cubicBezTo>
                    <a:pt x="2710" y="2332"/>
                    <a:pt x="2237" y="2773"/>
                    <a:pt x="1702" y="2773"/>
                  </a:cubicBezTo>
                  <a:cubicBezTo>
                    <a:pt x="1684" y="2774"/>
                    <a:pt x="1666" y="2775"/>
                    <a:pt x="1648" y="2775"/>
                  </a:cubicBezTo>
                  <a:cubicBezTo>
                    <a:pt x="1105" y="2775"/>
                    <a:pt x="662" y="2313"/>
                    <a:pt x="662" y="1734"/>
                  </a:cubicBezTo>
                  <a:cubicBezTo>
                    <a:pt x="662" y="1166"/>
                    <a:pt x="1135" y="725"/>
                    <a:pt x="1702" y="725"/>
                  </a:cubicBezTo>
                  <a:close/>
                  <a:moveTo>
                    <a:pt x="1765" y="5609"/>
                  </a:moveTo>
                  <a:cubicBezTo>
                    <a:pt x="1954" y="5609"/>
                    <a:pt x="2080" y="5766"/>
                    <a:pt x="2111" y="5924"/>
                  </a:cubicBezTo>
                  <a:lnTo>
                    <a:pt x="2111" y="6302"/>
                  </a:lnTo>
                  <a:lnTo>
                    <a:pt x="1324" y="6302"/>
                  </a:lnTo>
                  <a:lnTo>
                    <a:pt x="1324" y="5955"/>
                  </a:lnTo>
                  <a:cubicBezTo>
                    <a:pt x="1324" y="5766"/>
                    <a:pt x="1481" y="5609"/>
                    <a:pt x="1702" y="5609"/>
                  </a:cubicBezTo>
                  <a:close/>
                  <a:moveTo>
                    <a:pt x="2174" y="7026"/>
                  </a:moveTo>
                  <a:lnTo>
                    <a:pt x="2332" y="9767"/>
                  </a:lnTo>
                  <a:lnTo>
                    <a:pt x="1261" y="9767"/>
                  </a:lnTo>
                  <a:lnTo>
                    <a:pt x="1324" y="7026"/>
                  </a:lnTo>
                  <a:close/>
                  <a:moveTo>
                    <a:pt x="2363" y="10523"/>
                  </a:moveTo>
                  <a:lnTo>
                    <a:pt x="2363" y="10586"/>
                  </a:lnTo>
                  <a:cubicBezTo>
                    <a:pt x="2363" y="10712"/>
                    <a:pt x="2332" y="10870"/>
                    <a:pt x="2206" y="10996"/>
                  </a:cubicBezTo>
                  <a:cubicBezTo>
                    <a:pt x="2080" y="11122"/>
                    <a:pt x="1985" y="11185"/>
                    <a:pt x="1796" y="11185"/>
                  </a:cubicBezTo>
                  <a:cubicBezTo>
                    <a:pt x="1639" y="11185"/>
                    <a:pt x="1481" y="11122"/>
                    <a:pt x="1418" y="11027"/>
                  </a:cubicBezTo>
                  <a:cubicBezTo>
                    <a:pt x="1292" y="10933"/>
                    <a:pt x="1261" y="10807"/>
                    <a:pt x="1261" y="10649"/>
                  </a:cubicBezTo>
                  <a:lnTo>
                    <a:pt x="1261" y="10523"/>
                  </a:lnTo>
                  <a:close/>
                  <a:moveTo>
                    <a:pt x="1733" y="1"/>
                  </a:moveTo>
                  <a:cubicBezTo>
                    <a:pt x="788" y="1"/>
                    <a:pt x="0" y="788"/>
                    <a:pt x="0" y="1734"/>
                  </a:cubicBezTo>
                  <a:cubicBezTo>
                    <a:pt x="0" y="2584"/>
                    <a:pt x="599" y="3277"/>
                    <a:pt x="1387" y="3435"/>
                  </a:cubicBezTo>
                  <a:lnTo>
                    <a:pt x="1387" y="4979"/>
                  </a:lnTo>
                  <a:cubicBezTo>
                    <a:pt x="977" y="5105"/>
                    <a:pt x="662" y="5483"/>
                    <a:pt x="662" y="5924"/>
                  </a:cubicBezTo>
                  <a:lnTo>
                    <a:pt x="536" y="10555"/>
                  </a:lnTo>
                  <a:cubicBezTo>
                    <a:pt x="536" y="10933"/>
                    <a:pt x="662" y="11248"/>
                    <a:pt x="914" y="11469"/>
                  </a:cubicBezTo>
                  <a:cubicBezTo>
                    <a:pt x="1135" y="11721"/>
                    <a:pt x="1450" y="11878"/>
                    <a:pt x="1796" y="11878"/>
                  </a:cubicBezTo>
                  <a:cubicBezTo>
                    <a:pt x="2174" y="11878"/>
                    <a:pt x="2489" y="11721"/>
                    <a:pt x="2710" y="11469"/>
                  </a:cubicBezTo>
                  <a:cubicBezTo>
                    <a:pt x="2962" y="11248"/>
                    <a:pt x="3056" y="10870"/>
                    <a:pt x="3056" y="10523"/>
                  </a:cubicBezTo>
                  <a:lnTo>
                    <a:pt x="2836" y="5924"/>
                  </a:lnTo>
                  <a:cubicBezTo>
                    <a:pt x="2804" y="5483"/>
                    <a:pt x="2521" y="5136"/>
                    <a:pt x="2080" y="4979"/>
                  </a:cubicBezTo>
                  <a:lnTo>
                    <a:pt x="2080" y="3466"/>
                  </a:lnTo>
                  <a:cubicBezTo>
                    <a:pt x="2836" y="3277"/>
                    <a:pt x="3466" y="2616"/>
                    <a:pt x="3466" y="1734"/>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76"/>
            <p:cNvSpPr/>
            <p:nvPr/>
          </p:nvSpPr>
          <p:spPr>
            <a:xfrm>
              <a:off x="-22693550" y="2701225"/>
              <a:ext cx="81925" cy="296875"/>
            </a:xfrm>
            <a:custGeom>
              <a:avLst/>
              <a:gdLst/>
              <a:ahLst/>
              <a:cxnLst/>
              <a:rect l="l" t="t" r="r" b="b"/>
              <a:pathLst>
                <a:path w="3277" h="11875" extrusionOk="0">
                  <a:moveTo>
                    <a:pt x="1229" y="5574"/>
                  </a:moveTo>
                  <a:cubicBezTo>
                    <a:pt x="1418" y="5574"/>
                    <a:pt x="1544" y="5731"/>
                    <a:pt x="1575" y="5889"/>
                  </a:cubicBezTo>
                  <a:lnTo>
                    <a:pt x="1575" y="6267"/>
                  </a:lnTo>
                  <a:lnTo>
                    <a:pt x="788" y="6267"/>
                  </a:lnTo>
                  <a:lnTo>
                    <a:pt x="788" y="5920"/>
                  </a:lnTo>
                  <a:cubicBezTo>
                    <a:pt x="788" y="5731"/>
                    <a:pt x="945" y="5574"/>
                    <a:pt x="1134" y="5574"/>
                  </a:cubicBezTo>
                  <a:close/>
                  <a:moveTo>
                    <a:pt x="1575" y="6991"/>
                  </a:moveTo>
                  <a:lnTo>
                    <a:pt x="1733" y="9732"/>
                  </a:lnTo>
                  <a:lnTo>
                    <a:pt x="662" y="9732"/>
                  </a:lnTo>
                  <a:lnTo>
                    <a:pt x="756" y="6991"/>
                  </a:lnTo>
                  <a:close/>
                  <a:moveTo>
                    <a:pt x="1764" y="10488"/>
                  </a:moveTo>
                  <a:lnTo>
                    <a:pt x="1764" y="10551"/>
                  </a:lnTo>
                  <a:cubicBezTo>
                    <a:pt x="1796" y="10677"/>
                    <a:pt x="1733" y="10835"/>
                    <a:pt x="1607" y="10961"/>
                  </a:cubicBezTo>
                  <a:cubicBezTo>
                    <a:pt x="1481" y="11087"/>
                    <a:pt x="1386" y="11150"/>
                    <a:pt x="1229" y="11150"/>
                  </a:cubicBezTo>
                  <a:cubicBezTo>
                    <a:pt x="1071" y="11150"/>
                    <a:pt x="914" y="11087"/>
                    <a:pt x="819" y="10992"/>
                  </a:cubicBezTo>
                  <a:cubicBezTo>
                    <a:pt x="693" y="10898"/>
                    <a:pt x="662" y="10772"/>
                    <a:pt x="662" y="10614"/>
                  </a:cubicBezTo>
                  <a:lnTo>
                    <a:pt x="662" y="10488"/>
                  </a:lnTo>
                  <a:close/>
                  <a:moveTo>
                    <a:pt x="2885" y="1"/>
                  </a:moveTo>
                  <a:cubicBezTo>
                    <a:pt x="2797" y="1"/>
                    <a:pt x="2713" y="40"/>
                    <a:pt x="2646" y="123"/>
                  </a:cubicBezTo>
                  <a:lnTo>
                    <a:pt x="914" y="2234"/>
                  </a:lnTo>
                  <a:cubicBezTo>
                    <a:pt x="882" y="2297"/>
                    <a:pt x="819" y="2392"/>
                    <a:pt x="819" y="2455"/>
                  </a:cubicBezTo>
                  <a:lnTo>
                    <a:pt x="819" y="4975"/>
                  </a:lnTo>
                  <a:cubicBezTo>
                    <a:pt x="441" y="5101"/>
                    <a:pt x="126" y="5479"/>
                    <a:pt x="126" y="5920"/>
                  </a:cubicBezTo>
                  <a:lnTo>
                    <a:pt x="0" y="10583"/>
                  </a:lnTo>
                  <a:cubicBezTo>
                    <a:pt x="0" y="10929"/>
                    <a:pt x="126" y="11245"/>
                    <a:pt x="347" y="11465"/>
                  </a:cubicBezTo>
                  <a:cubicBezTo>
                    <a:pt x="599" y="11717"/>
                    <a:pt x="914" y="11875"/>
                    <a:pt x="1260" y="11875"/>
                  </a:cubicBezTo>
                  <a:cubicBezTo>
                    <a:pt x="1607" y="11875"/>
                    <a:pt x="1922" y="11717"/>
                    <a:pt x="2174" y="11465"/>
                  </a:cubicBezTo>
                  <a:cubicBezTo>
                    <a:pt x="2394" y="11245"/>
                    <a:pt x="2520" y="10898"/>
                    <a:pt x="2520" y="10520"/>
                  </a:cubicBezTo>
                  <a:lnTo>
                    <a:pt x="2300" y="5920"/>
                  </a:lnTo>
                  <a:cubicBezTo>
                    <a:pt x="2237" y="5479"/>
                    <a:pt x="1985" y="5133"/>
                    <a:pt x="1544" y="4975"/>
                  </a:cubicBezTo>
                  <a:lnTo>
                    <a:pt x="1544" y="2581"/>
                  </a:lnTo>
                  <a:lnTo>
                    <a:pt x="3151" y="564"/>
                  </a:lnTo>
                  <a:cubicBezTo>
                    <a:pt x="3277" y="407"/>
                    <a:pt x="3277" y="218"/>
                    <a:pt x="3119" y="92"/>
                  </a:cubicBezTo>
                  <a:cubicBezTo>
                    <a:pt x="3045" y="32"/>
                    <a:pt x="2963" y="1"/>
                    <a:pt x="2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76"/>
            <p:cNvSpPr/>
            <p:nvPr/>
          </p:nvSpPr>
          <p:spPr>
            <a:xfrm>
              <a:off x="-22778625" y="27350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7" name="Google Shape;9467;p76"/>
          <p:cNvGrpSpPr/>
          <p:nvPr/>
        </p:nvGrpSpPr>
        <p:grpSpPr>
          <a:xfrm>
            <a:off x="6201787" y="1561490"/>
            <a:ext cx="355063" cy="354136"/>
            <a:chOff x="-27358650" y="1961575"/>
            <a:chExt cx="296950" cy="296175"/>
          </a:xfrm>
        </p:grpSpPr>
        <p:sp>
          <p:nvSpPr>
            <p:cNvPr id="9468" name="Google Shape;9468;p76"/>
            <p:cNvSpPr/>
            <p:nvPr/>
          </p:nvSpPr>
          <p:spPr>
            <a:xfrm>
              <a:off x="-27358650" y="1961575"/>
              <a:ext cx="296950" cy="296175"/>
            </a:xfrm>
            <a:custGeom>
              <a:avLst/>
              <a:gdLst/>
              <a:ahLst/>
              <a:cxnLst/>
              <a:rect l="l" t="t" r="r" b="b"/>
              <a:pathLst>
                <a:path w="11878" h="11847" extrusionOk="0">
                  <a:moveTo>
                    <a:pt x="7719" y="2080"/>
                  </a:moveTo>
                  <a:lnTo>
                    <a:pt x="7719" y="2836"/>
                  </a:lnTo>
                  <a:lnTo>
                    <a:pt x="4222" y="2836"/>
                  </a:lnTo>
                  <a:lnTo>
                    <a:pt x="4222" y="2080"/>
                  </a:lnTo>
                  <a:close/>
                  <a:moveTo>
                    <a:pt x="8034" y="693"/>
                  </a:moveTo>
                  <a:cubicBezTo>
                    <a:pt x="8633" y="693"/>
                    <a:pt x="9074" y="1166"/>
                    <a:pt x="9074" y="1733"/>
                  </a:cubicBezTo>
                  <a:lnTo>
                    <a:pt x="9074" y="2836"/>
                  </a:lnTo>
                  <a:lnTo>
                    <a:pt x="8349" y="2836"/>
                  </a:lnTo>
                  <a:lnTo>
                    <a:pt x="8349" y="1733"/>
                  </a:lnTo>
                  <a:cubicBezTo>
                    <a:pt x="8349" y="1513"/>
                    <a:pt x="8192" y="1355"/>
                    <a:pt x="8002" y="1355"/>
                  </a:cubicBezTo>
                  <a:lnTo>
                    <a:pt x="3781" y="1355"/>
                  </a:lnTo>
                  <a:cubicBezTo>
                    <a:pt x="3592" y="1355"/>
                    <a:pt x="3434" y="1513"/>
                    <a:pt x="3434" y="1733"/>
                  </a:cubicBezTo>
                  <a:lnTo>
                    <a:pt x="3434" y="2836"/>
                  </a:lnTo>
                  <a:lnTo>
                    <a:pt x="2741" y="2836"/>
                  </a:lnTo>
                  <a:lnTo>
                    <a:pt x="2741" y="1733"/>
                  </a:lnTo>
                  <a:lnTo>
                    <a:pt x="2804" y="1733"/>
                  </a:lnTo>
                  <a:cubicBezTo>
                    <a:pt x="2804" y="1134"/>
                    <a:pt x="3277" y="693"/>
                    <a:pt x="3844" y="693"/>
                  </a:cubicBezTo>
                  <a:close/>
                  <a:moveTo>
                    <a:pt x="10176" y="3497"/>
                  </a:moveTo>
                  <a:cubicBezTo>
                    <a:pt x="10617" y="3497"/>
                    <a:pt x="10995" y="3781"/>
                    <a:pt x="11153" y="4190"/>
                  </a:cubicBezTo>
                  <a:lnTo>
                    <a:pt x="851" y="4190"/>
                  </a:lnTo>
                  <a:cubicBezTo>
                    <a:pt x="914" y="3812"/>
                    <a:pt x="1323" y="3497"/>
                    <a:pt x="1796" y="3497"/>
                  </a:cubicBezTo>
                  <a:close/>
                  <a:moveTo>
                    <a:pt x="11153" y="4915"/>
                  </a:moveTo>
                  <a:lnTo>
                    <a:pt x="11153" y="6301"/>
                  </a:lnTo>
                  <a:lnTo>
                    <a:pt x="10460" y="6301"/>
                  </a:lnTo>
                  <a:lnTo>
                    <a:pt x="10460" y="5923"/>
                  </a:lnTo>
                  <a:cubicBezTo>
                    <a:pt x="10491" y="5734"/>
                    <a:pt x="10334" y="5577"/>
                    <a:pt x="10145" y="5577"/>
                  </a:cubicBezTo>
                  <a:lnTo>
                    <a:pt x="8759" y="5577"/>
                  </a:lnTo>
                  <a:cubicBezTo>
                    <a:pt x="8570" y="5577"/>
                    <a:pt x="8412" y="5734"/>
                    <a:pt x="8412" y="5923"/>
                  </a:cubicBezTo>
                  <a:lnTo>
                    <a:pt x="8412" y="6301"/>
                  </a:lnTo>
                  <a:lnTo>
                    <a:pt x="3529" y="6301"/>
                  </a:lnTo>
                  <a:lnTo>
                    <a:pt x="3529" y="5923"/>
                  </a:lnTo>
                  <a:cubicBezTo>
                    <a:pt x="3529" y="5734"/>
                    <a:pt x="3371" y="5577"/>
                    <a:pt x="3151" y="5577"/>
                  </a:cubicBezTo>
                  <a:lnTo>
                    <a:pt x="1796" y="5577"/>
                  </a:lnTo>
                  <a:cubicBezTo>
                    <a:pt x="1575" y="5577"/>
                    <a:pt x="1418" y="5734"/>
                    <a:pt x="1418" y="5923"/>
                  </a:cubicBezTo>
                  <a:lnTo>
                    <a:pt x="1418" y="6301"/>
                  </a:lnTo>
                  <a:lnTo>
                    <a:pt x="725" y="6301"/>
                  </a:lnTo>
                  <a:lnTo>
                    <a:pt x="725" y="4915"/>
                  </a:lnTo>
                  <a:close/>
                  <a:moveTo>
                    <a:pt x="2836" y="6301"/>
                  </a:moveTo>
                  <a:lnTo>
                    <a:pt x="2836" y="8034"/>
                  </a:lnTo>
                  <a:cubicBezTo>
                    <a:pt x="2836" y="8223"/>
                    <a:pt x="2678" y="8381"/>
                    <a:pt x="2489" y="8381"/>
                  </a:cubicBezTo>
                  <a:cubicBezTo>
                    <a:pt x="2300" y="8381"/>
                    <a:pt x="2143" y="8223"/>
                    <a:pt x="2143" y="8034"/>
                  </a:cubicBezTo>
                  <a:lnTo>
                    <a:pt x="2143" y="6301"/>
                  </a:lnTo>
                  <a:close/>
                  <a:moveTo>
                    <a:pt x="9830" y="6301"/>
                  </a:moveTo>
                  <a:lnTo>
                    <a:pt x="9830" y="8034"/>
                  </a:lnTo>
                  <a:cubicBezTo>
                    <a:pt x="9830" y="8223"/>
                    <a:pt x="9672" y="8381"/>
                    <a:pt x="9452" y="8381"/>
                  </a:cubicBezTo>
                  <a:cubicBezTo>
                    <a:pt x="9263" y="8381"/>
                    <a:pt x="9105" y="8223"/>
                    <a:pt x="9105" y="8034"/>
                  </a:cubicBezTo>
                  <a:lnTo>
                    <a:pt x="9105" y="6301"/>
                  </a:lnTo>
                  <a:close/>
                  <a:moveTo>
                    <a:pt x="11121" y="6994"/>
                  </a:moveTo>
                  <a:lnTo>
                    <a:pt x="11121" y="10113"/>
                  </a:lnTo>
                  <a:cubicBezTo>
                    <a:pt x="11184" y="10649"/>
                    <a:pt x="10712" y="11121"/>
                    <a:pt x="10145" y="11121"/>
                  </a:cubicBezTo>
                  <a:lnTo>
                    <a:pt x="1733" y="11121"/>
                  </a:lnTo>
                  <a:cubicBezTo>
                    <a:pt x="1166" y="11121"/>
                    <a:pt x="725" y="10649"/>
                    <a:pt x="725" y="10113"/>
                  </a:cubicBezTo>
                  <a:lnTo>
                    <a:pt x="725" y="6994"/>
                  </a:lnTo>
                  <a:lnTo>
                    <a:pt x="1418" y="6994"/>
                  </a:lnTo>
                  <a:lnTo>
                    <a:pt x="1418" y="8034"/>
                  </a:lnTo>
                  <a:cubicBezTo>
                    <a:pt x="1418" y="8601"/>
                    <a:pt x="1891" y="9042"/>
                    <a:pt x="2458" y="9042"/>
                  </a:cubicBezTo>
                  <a:cubicBezTo>
                    <a:pt x="2993" y="9042"/>
                    <a:pt x="3466" y="8570"/>
                    <a:pt x="3466" y="8034"/>
                  </a:cubicBezTo>
                  <a:lnTo>
                    <a:pt x="3466" y="6994"/>
                  </a:lnTo>
                  <a:lnTo>
                    <a:pt x="8349" y="6994"/>
                  </a:lnTo>
                  <a:lnTo>
                    <a:pt x="8349" y="8034"/>
                  </a:lnTo>
                  <a:cubicBezTo>
                    <a:pt x="8349" y="8601"/>
                    <a:pt x="8822" y="9042"/>
                    <a:pt x="9389" y="9042"/>
                  </a:cubicBezTo>
                  <a:cubicBezTo>
                    <a:pt x="9924" y="9042"/>
                    <a:pt x="10397" y="8570"/>
                    <a:pt x="10397" y="8034"/>
                  </a:cubicBezTo>
                  <a:lnTo>
                    <a:pt x="10397" y="6994"/>
                  </a:lnTo>
                  <a:close/>
                  <a:moveTo>
                    <a:pt x="3844" y="0"/>
                  </a:moveTo>
                  <a:cubicBezTo>
                    <a:pt x="2899" y="0"/>
                    <a:pt x="2111" y="788"/>
                    <a:pt x="2111" y="1733"/>
                  </a:cubicBezTo>
                  <a:lnTo>
                    <a:pt x="2111" y="2836"/>
                  </a:lnTo>
                  <a:lnTo>
                    <a:pt x="1733" y="2836"/>
                  </a:lnTo>
                  <a:cubicBezTo>
                    <a:pt x="788" y="2836"/>
                    <a:pt x="0" y="3623"/>
                    <a:pt x="0" y="4568"/>
                  </a:cubicBezTo>
                  <a:lnTo>
                    <a:pt x="0" y="10113"/>
                  </a:lnTo>
                  <a:cubicBezTo>
                    <a:pt x="0" y="11058"/>
                    <a:pt x="788" y="11846"/>
                    <a:pt x="1733" y="11846"/>
                  </a:cubicBezTo>
                  <a:lnTo>
                    <a:pt x="10145" y="11846"/>
                  </a:lnTo>
                  <a:cubicBezTo>
                    <a:pt x="11090" y="11846"/>
                    <a:pt x="11878" y="11058"/>
                    <a:pt x="11878" y="10113"/>
                  </a:cubicBezTo>
                  <a:lnTo>
                    <a:pt x="11878" y="4568"/>
                  </a:lnTo>
                  <a:cubicBezTo>
                    <a:pt x="11878" y="3623"/>
                    <a:pt x="11121" y="2836"/>
                    <a:pt x="10145" y="2836"/>
                  </a:cubicBezTo>
                  <a:lnTo>
                    <a:pt x="9767" y="2836"/>
                  </a:lnTo>
                  <a:lnTo>
                    <a:pt x="9767" y="1733"/>
                  </a:lnTo>
                  <a:cubicBezTo>
                    <a:pt x="9767" y="788"/>
                    <a:pt x="8979" y="0"/>
                    <a:pt x="80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9" name="Google Shape;9469;p76"/>
            <p:cNvSpPr/>
            <p:nvPr/>
          </p:nvSpPr>
          <p:spPr>
            <a:xfrm>
              <a:off x="-27246025" y="2152175"/>
              <a:ext cx="70900" cy="70900"/>
            </a:xfrm>
            <a:custGeom>
              <a:avLst/>
              <a:gdLst/>
              <a:ahLst/>
              <a:cxnLst/>
              <a:rect l="l" t="t" r="r" b="b"/>
              <a:pathLst>
                <a:path w="2836" h="2836" extrusionOk="0">
                  <a:moveTo>
                    <a:pt x="1418" y="0"/>
                  </a:moveTo>
                  <a:cubicBezTo>
                    <a:pt x="1229" y="0"/>
                    <a:pt x="1072" y="158"/>
                    <a:pt x="1072" y="347"/>
                  </a:cubicBezTo>
                  <a:lnTo>
                    <a:pt x="1072" y="1072"/>
                  </a:lnTo>
                  <a:lnTo>
                    <a:pt x="347" y="1072"/>
                  </a:lnTo>
                  <a:cubicBezTo>
                    <a:pt x="158" y="1072"/>
                    <a:pt x="0" y="1229"/>
                    <a:pt x="0" y="1418"/>
                  </a:cubicBezTo>
                  <a:cubicBezTo>
                    <a:pt x="0" y="1607"/>
                    <a:pt x="158" y="1765"/>
                    <a:pt x="347" y="1765"/>
                  </a:cubicBezTo>
                  <a:lnTo>
                    <a:pt x="1072" y="1765"/>
                  </a:lnTo>
                  <a:lnTo>
                    <a:pt x="1072" y="2489"/>
                  </a:lnTo>
                  <a:cubicBezTo>
                    <a:pt x="1072" y="2678"/>
                    <a:pt x="1229" y="2836"/>
                    <a:pt x="1418" y="2836"/>
                  </a:cubicBezTo>
                  <a:cubicBezTo>
                    <a:pt x="1607" y="2836"/>
                    <a:pt x="1765" y="2678"/>
                    <a:pt x="1765" y="2489"/>
                  </a:cubicBezTo>
                  <a:lnTo>
                    <a:pt x="1765" y="1765"/>
                  </a:lnTo>
                  <a:lnTo>
                    <a:pt x="2489" y="1765"/>
                  </a:lnTo>
                  <a:cubicBezTo>
                    <a:pt x="2678" y="1765"/>
                    <a:pt x="2836" y="1607"/>
                    <a:pt x="2836" y="1418"/>
                  </a:cubicBezTo>
                  <a:cubicBezTo>
                    <a:pt x="2836" y="1229"/>
                    <a:pt x="2678" y="1072"/>
                    <a:pt x="2489" y="1072"/>
                  </a:cubicBezTo>
                  <a:lnTo>
                    <a:pt x="1765" y="1072"/>
                  </a:lnTo>
                  <a:lnTo>
                    <a:pt x="1765" y="347"/>
                  </a:lnTo>
                  <a:cubicBezTo>
                    <a:pt x="1765" y="158"/>
                    <a:pt x="1607"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70" name="Google Shape;9470;p76"/>
          <p:cNvSpPr/>
          <p:nvPr/>
        </p:nvSpPr>
        <p:spPr>
          <a:xfrm>
            <a:off x="6243686" y="2009236"/>
            <a:ext cx="272201" cy="353240"/>
          </a:xfrm>
          <a:custGeom>
            <a:avLst/>
            <a:gdLst/>
            <a:ahLst/>
            <a:cxnLst/>
            <a:rect l="l" t="t" r="r" b="b"/>
            <a:pathLst>
              <a:path w="9106" h="11817" extrusionOk="0">
                <a:moveTo>
                  <a:pt x="4649" y="623"/>
                </a:moveTo>
                <a:cubicBezTo>
                  <a:pt x="5216" y="623"/>
                  <a:pt x="5756" y="897"/>
                  <a:pt x="6270" y="1325"/>
                </a:cubicBezTo>
                <a:lnTo>
                  <a:pt x="5987" y="2365"/>
                </a:lnTo>
                <a:cubicBezTo>
                  <a:pt x="5546" y="2144"/>
                  <a:pt x="5042" y="2050"/>
                  <a:pt x="4569" y="2050"/>
                </a:cubicBezTo>
                <a:cubicBezTo>
                  <a:pt x="4097" y="2050"/>
                  <a:pt x="3593" y="2144"/>
                  <a:pt x="3151" y="2365"/>
                </a:cubicBezTo>
                <a:lnTo>
                  <a:pt x="2868" y="1325"/>
                </a:lnTo>
                <a:cubicBezTo>
                  <a:pt x="3340" y="916"/>
                  <a:pt x="3939" y="664"/>
                  <a:pt x="4475" y="632"/>
                </a:cubicBezTo>
                <a:cubicBezTo>
                  <a:pt x="4533" y="626"/>
                  <a:pt x="4591" y="623"/>
                  <a:pt x="4649" y="623"/>
                </a:cubicBezTo>
                <a:close/>
                <a:moveTo>
                  <a:pt x="4601" y="4791"/>
                </a:moveTo>
                <a:cubicBezTo>
                  <a:pt x="4853" y="5074"/>
                  <a:pt x="5199" y="5358"/>
                  <a:pt x="5640" y="5610"/>
                </a:cubicBezTo>
                <a:lnTo>
                  <a:pt x="5640" y="6555"/>
                </a:lnTo>
                <a:cubicBezTo>
                  <a:pt x="5640" y="7154"/>
                  <a:pt x="5168" y="7595"/>
                  <a:pt x="4601" y="7595"/>
                </a:cubicBezTo>
                <a:cubicBezTo>
                  <a:pt x="4065" y="7595"/>
                  <a:pt x="3593" y="7122"/>
                  <a:pt x="3593" y="6555"/>
                </a:cubicBezTo>
                <a:lnTo>
                  <a:pt x="3593" y="5641"/>
                </a:lnTo>
                <a:cubicBezTo>
                  <a:pt x="3939" y="5358"/>
                  <a:pt x="4254" y="5169"/>
                  <a:pt x="4475" y="4917"/>
                </a:cubicBezTo>
                <a:lnTo>
                  <a:pt x="4601" y="4791"/>
                </a:lnTo>
                <a:close/>
                <a:moveTo>
                  <a:pt x="4569" y="2806"/>
                </a:moveTo>
                <a:cubicBezTo>
                  <a:pt x="5073" y="2806"/>
                  <a:pt x="5577" y="2964"/>
                  <a:pt x="6018" y="3216"/>
                </a:cubicBezTo>
                <a:cubicBezTo>
                  <a:pt x="6491" y="3499"/>
                  <a:pt x="6901" y="3972"/>
                  <a:pt x="7121" y="4476"/>
                </a:cubicBezTo>
                <a:lnTo>
                  <a:pt x="7877" y="6902"/>
                </a:lnTo>
                <a:lnTo>
                  <a:pt x="7877" y="6933"/>
                </a:lnTo>
                <a:cubicBezTo>
                  <a:pt x="8003" y="7217"/>
                  <a:pt x="7909" y="7469"/>
                  <a:pt x="7783" y="7626"/>
                </a:cubicBezTo>
                <a:cubicBezTo>
                  <a:pt x="7562" y="8036"/>
                  <a:pt x="7090" y="8319"/>
                  <a:pt x="6617" y="8351"/>
                </a:cubicBezTo>
                <a:cubicBezTo>
                  <a:pt x="6270" y="8351"/>
                  <a:pt x="5955" y="8162"/>
                  <a:pt x="5766" y="7878"/>
                </a:cubicBezTo>
                <a:cubicBezTo>
                  <a:pt x="6081" y="7563"/>
                  <a:pt x="6302" y="7122"/>
                  <a:pt x="6302" y="6618"/>
                </a:cubicBezTo>
                <a:lnTo>
                  <a:pt x="6302" y="6114"/>
                </a:lnTo>
                <a:cubicBezTo>
                  <a:pt x="6333" y="6145"/>
                  <a:pt x="6428" y="6177"/>
                  <a:pt x="6459" y="6208"/>
                </a:cubicBezTo>
                <a:cubicBezTo>
                  <a:pt x="6554" y="6272"/>
                  <a:pt x="6585" y="6272"/>
                  <a:pt x="6648" y="6272"/>
                </a:cubicBezTo>
                <a:cubicBezTo>
                  <a:pt x="6775" y="6272"/>
                  <a:pt x="6901" y="6208"/>
                  <a:pt x="6932" y="6114"/>
                </a:cubicBezTo>
                <a:cubicBezTo>
                  <a:pt x="7058" y="5956"/>
                  <a:pt x="6995" y="5704"/>
                  <a:pt x="6869" y="5641"/>
                </a:cubicBezTo>
                <a:cubicBezTo>
                  <a:pt x="6617" y="5484"/>
                  <a:pt x="6428" y="5358"/>
                  <a:pt x="6239" y="5232"/>
                </a:cubicBezTo>
                <a:cubicBezTo>
                  <a:pt x="6176" y="5200"/>
                  <a:pt x="6144" y="5169"/>
                  <a:pt x="6113" y="5169"/>
                </a:cubicBezTo>
                <a:cubicBezTo>
                  <a:pt x="5199" y="4570"/>
                  <a:pt x="4979" y="4381"/>
                  <a:pt x="4979" y="3814"/>
                </a:cubicBezTo>
                <a:cubicBezTo>
                  <a:pt x="4979" y="3625"/>
                  <a:pt x="4821" y="3468"/>
                  <a:pt x="4601" y="3468"/>
                </a:cubicBezTo>
                <a:cubicBezTo>
                  <a:pt x="4412" y="3468"/>
                  <a:pt x="4254" y="3625"/>
                  <a:pt x="4254" y="3814"/>
                </a:cubicBezTo>
                <a:cubicBezTo>
                  <a:pt x="4254" y="4381"/>
                  <a:pt x="4034" y="4570"/>
                  <a:pt x="3120" y="5169"/>
                </a:cubicBezTo>
                <a:cubicBezTo>
                  <a:pt x="3057" y="5169"/>
                  <a:pt x="3025" y="5200"/>
                  <a:pt x="2994" y="5232"/>
                </a:cubicBezTo>
                <a:cubicBezTo>
                  <a:pt x="2805" y="5358"/>
                  <a:pt x="2584" y="5484"/>
                  <a:pt x="2364" y="5641"/>
                </a:cubicBezTo>
                <a:cubicBezTo>
                  <a:pt x="2206" y="5736"/>
                  <a:pt x="2175" y="5956"/>
                  <a:pt x="2269" y="6114"/>
                </a:cubicBezTo>
                <a:cubicBezTo>
                  <a:pt x="2343" y="6206"/>
                  <a:pt x="2448" y="6255"/>
                  <a:pt x="2548" y="6255"/>
                </a:cubicBezTo>
                <a:cubicBezTo>
                  <a:pt x="2620" y="6255"/>
                  <a:pt x="2689" y="6230"/>
                  <a:pt x="2742" y="6177"/>
                </a:cubicBezTo>
                <a:cubicBezTo>
                  <a:pt x="2805" y="6145"/>
                  <a:pt x="2868" y="6114"/>
                  <a:pt x="2899" y="6051"/>
                </a:cubicBezTo>
                <a:lnTo>
                  <a:pt x="2899" y="6587"/>
                </a:lnTo>
                <a:cubicBezTo>
                  <a:pt x="2899" y="7059"/>
                  <a:pt x="3120" y="7532"/>
                  <a:pt x="3466" y="7847"/>
                </a:cubicBezTo>
                <a:cubicBezTo>
                  <a:pt x="3277" y="8099"/>
                  <a:pt x="2962" y="8319"/>
                  <a:pt x="2616" y="8319"/>
                </a:cubicBezTo>
                <a:cubicBezTo>
                  <a:pt x="2143" y="8256"/>
                  <a:pt x="1671" y="8004"/>
                  <a:pt x="1419" y="7595"/>
                </a:cubicBezTo>
                <a:cubicBezTo>
                  <a:pt x="1230" y="7437"/>
                  <a:pt x="1135" y="7217"/>
                  <a:pt x="1261" y="6933"/>
                </a:cubicBezTo>
                <a:lnTo>
                  <a:pt x="2017" y="4476"/>
                </a:lnTo>
                <a:cubicBezTo>
                  <a:pt x="2238" y="3940"/>
                  <a:pt x="2647" y="3499"/>
                  <a:pt x="3120" y="3216"/>
                </a:cubicBezTo>
                <a:cubicBezTo>
                  <a:pt x="3529" y="2964"/>
                  <a:pt x="4065" y="2806"/>
                  <a:pt x="4569" y="2806"/>
                </a:cubicBezTo>
                <a:close/>
                <a:moveTo>
                  <a:pt x="5231" y="8225"/>
                </a:moveTo>
                <a:cubicBezTo>
                  <a:pt x="5325" y="8382"/>
                  <a:pt x="5420" y="8508"/>
                  <a:pt x="5577" y="8634"/>
                </a:cubicBezTo>
                <a:lnTo>
                  <a:pt x="4569" y="9580"/>
                </a:lnTo>
                <a:lnTo>
                  <a:pt x="3624" y="8634"/>
                </a:lnTo>
                <a:cubicBezTo>
                  <a:pt x="3750" y="8508"/>
                  <a:pt x="3845" y="8382"/>
                  <a:pt x="3971" y="8225"/>
                </a:cubicBezTo>
                <a:cubicBezTo>
                  <a:pt x="4160" y="8319"/>
                  <a:pt x="4380" y="8351"/>
                  <a:pt x="4601" y="8351"/>
                </a:cubicBezTo>
                <a:cubicBezTo>
                  <a:pt x="4853" y="8351"/>
                  <a:pt x="5042" y="8319"/>
                  <a:pt x="5231" y="8225"/>
                </a:cubicBezTo>
                <a:close/>
                <a:moveTo>
                  <a:pt x="2994" y="8949"/>
                </a:moveTo>
                <a:lnTo>
                  <a:pt x="4254" y="10210"/>
                </a:lnTo>
                <a:lnTo>
                  <a:pt x="4254" y="11092"/>
                </a:lnTo>
                <a:lnTo>
                  <a:pt x="789" y="11092"/>
                </a:lnTo>
                <a:lnTo>
                  <a:pt x="789" y="10745"/>
                </a:lnTo>
                <a:cubicBezTo>
                  <a:pt x="789" y="9800"/>
                  <a:pt x="1576" y="9012"/>
                  <a:pt x="2521" y="9012"/>
                </a:cubicBezTo>
                <a:cubicBezTo>
                  <a:pt x="2679" y="9012"/>
                  <a:pt x="2836" y="8981"/>
                  <a:pt x="2994" y="8949"/>
                </a:cubicBezTo>
                <a:close/>
                <a:moveTo>
                  <a:pt x="6176" y="8949"/>
                </a:moveTo>
                <a:cubicBezTo>
                  <a:pt x="6333" y="8981"/>
                  <a:pt x="6491" y="9012"/>
                  <a:pt x="6648" y="9012"/>
                </a:cubicBezTo>
                <a:cubicBezTo>
                  <a:pt x="7594" y="9012"/>
                  <a:pt x="8381" y="9800"/>
                  <a:pt x="8381" y="10745"/>
                </a:cubicBezTo>
                <a:lnTo>
                  <a:pt x="8381" y="11092"/>
                </a:lnTo>
                <a:lnTo>
                  <a:pt x="4916" y="11092"/>
                </a:lnTo>
                <a:lnTo>
                  <a:pt x="4916" y="10210"/>
                </a:lnTo>
                <a:lnTo>
                  <a:pt x="6176" y="8949"/>
                </a:lnTo>
                <a:close/>
                <a:moveTo>
                  <a:pt x="4553" y="0"/>
                </a:moveTo>
                <a:cubicBezTo>
                  <a:pt x="4517" y="0"/>
                  <a:pt x="4480" y="1"/>
                  <a:pt x="4443" y="2"/>
                </a:cubicBezTo>
                <a:cubicBezTo>
                  <a:pt x="3656" y="34"/>
                  <a:pt x="2836" y="380"/>
                  <a:pt x="2206" y="1010"/>
                </a:cubicBezTo>
                <a:cubicBezTo>
                  <a:pt x="2143" y="1105"/>
                  <a:pt x="2080" y="1231"/>
                  <a:pt x="2143" y="1325"/>
                </a:cubicBezTo>
                <a:lnTo>
                  <a:pt x="2490" y="2743"/>
                </a:lnTo>
                <a:cubicBezTo>
                  <a:pt x="1986" y="3121"/>
                  <a:pt x="1576" y="3625"/>
                  <a:pt x="1293" y="4224"/>
                </a:cubicBezTo>
                <a:lnTo>
                  <a:pt x="1293" y="4255"/>
                </a:lnTo>
                <a:lnTo>
                  <a:pt x="568" y="6650"/>
                </a:lnTo>
                <a:cubicBezTo>
                  <a:pt x="411" y="7091"/>
                  <a:pt x="442" y="7563"/>
                  <a:pt x="663" y="8004"/>
                </a:cubicBezTo>
                <a:cubicBezTo>
                  <a:pt x="820" y="8225"/>
                  <a:pt x="1041" y="8477"/>
                  <a:pt x="1261" y="8634"/>
                </a:cubicBezTo>
                <a:cubicBezTo>
                  <a:pt x="505" y="9012"/>
                  <a:pt x="1" y="9832"/>
                  <a:pt x="1" y="10745"/>
                </a:cubicBezTo>
                <a:lnTo>
                  <a:pt x="1" y="11470"/>
                </a:lnTo>
                <a:cubicBezTo>
                  <a:pt x="1" y="11659"/>
                  <a:pt x="158" y="11816"/>
                  <a:pt x="347" y="11816"/>
                </a:cubicBezTo>
                <a:lnTo>
                  <a:pt x="8665" y="11816"/>
                </a:lnTo>
                <a:cubicBezTo>
                  <a:pt x="8854" y="11816"/>
                  <a:pt x="9011" y="11659"/>
                  <a:pt x="9011" y="11470"/>
                </a:cubicBezTo>
                <a:lnTo>
                  <a:pt x="9011" y="10745"/>
                </a:lnTo>
                <a:cubicBezTo>
                  <a:pt x="9106" y="9832"/>
                  <a:pt x="8570" y="9012"/>
                  <a:pt x="7783" y="8634"/>
                </a:cubicBezTo>
                <a:cubicBezTo>
                  <a:pt x="8035" y="8477"/>
                  <a:pt x="8255" y="8225"/>
                  <a:pt x="8381" y="8004"/>
                </a:cubicBezTo>
                <a:cubicBezTo>
                  <a:pt x="8665" y="7563"/>
                  <a:pt x="8696" y="7091"/>
                  <a:pt x="8507" y="6650"/>
                </a:cubicBezTo>
                <a:lnTo>
                  <a:pt x="7751" y="4255"/>
                </a:lnTo>
                <a:lnTo>
                  <a:pt x="7751" y="4224"/>
                </a:lnTo>
                <a:cubicBezTo>
                  <a:pt x="7531" y="3625"/>
                  <a:pt x="7090" y="3121"/>
                  <a:pt x="6585" y="2743"/>
                </a:cubicBezTo>
                <a:lnTo>
                  <a:pt x="6932" y="1325"/>
                </a:lnTo>
                <a:cubicBezTo>
                  <a:pt x="6964" y="1231"/>
                  <a:pt x="6932" y="1105"/>
                  <a:pt x="6838" y="1010"/>
                </a:cubicBezTo>
                <a:cubicBezTo>
                  <a:pt x="6173" y="346"/>
                  <a:pt x="5393" y="0"/>
                  <a:pt x="45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76"/>
          <p:cNvSpPr/>
          <p:nvPr/>
        </p:nvSpPr>
        <p:spPr>
          <a:xfrm>
            <a:off x="6202255" y="2449997"/>
            <a:ext cx="355063" cy="354136"/>
          </a:xfrm>
          <a:custGeom>
            <a:avLst/>
            <a:gdLst/>
            <a:ahLst/>
            <a:cxnLst/>
            <a:rect l="l" t="t" r="r" b="b"/>
            <a:pathLst>
              <a:path w="11878" h="11847" extrusionOk="0">
                <a:moveTo>
                  <a:pt x="10523" y="694"/>
                </a:moveTo>
                <a:cubicBezTo>
                  <a:pt x="10680" y="694"/>
                  <a:pt x="10901" y="788"/>
                  <a:pt x="10995" y="883"/>
                </a:cubicBezTo>
                <a:cubicBezTo>
                  <a:pt x="11121" y="1009"/>
                  <a:pt x="11184" y="1198"/>
                  <a:pt x="11184" y="1356"/>
                </a:cubicBezTo>
                <a:cubicBezTo>
                  <a:pt x="11184" y="1576"/>
                  <a:pt x="11121" y="1734"/>
                  <a:pt x="10995" y="1828"/>
                </a:cubicBezTo>
                <a:lnTo>
                  <a:pt x="9389" y="3466"/>
                </a:lnTo>
                <a:cubicBezTo>
                  <a:pt x="9105" y="3718"/>
                  <a:pt x="8948" y="4096"/>
                  <a:pt x="8916" y="4443"/>
                </a:cubicBezTo>
                <a:lnTo>
                  <a:pt x="7467" y="2994"/>
                </a:lnTo>
                <a:cubicBezTo>
                  <a:pt x="7813" y="2931"/>
                  <a:pt x="8160" y="2773"/>
                  <a:pt x="8444" y="2521"/>
                </a:cubicBezTo>
                <a:lnTo>
                  <a:pt x="10050" y="883"/>
                </a:lnTo>
                <a:cubicBezTo>
                  <a:pt x="10176" y="788"/>
                  <a:pt x="10365" y="694"/>
                  <a:pt x="10523" y="694"/>
                </a:cubicBezTo>
                <a:close/>
                <a:moveTo>
                  <a:pt x="5766" y="2427"/>
                </a:moveTo>
                <a:cubicBezTo>
                  <a:pt x="5860" y="2427"/>
                  <a:pt x="5955" y="2458"/>
                  <a:pt x="6018" y="2553"/>
                </a:cubicBezTo>
                <a:lnTo>
                  <a:pt x="9420" y="5987"/>
                </a:lnTo>
                <a:cubicBezTo>
                  <a:pt x="9515" y="6050"/>
                  <a:pt x="9546" y="6144"/>
                  <a:pt x="9546" y="6207"/>
                </a:cubicBezTo>
                <a:cubicBezTo>
                  <a:pt x="9452" y="6239"/>
                  <a:pt x="9452" y="6333"/>
                  <a:pt x="9389" y="6396"/>
                </a:cubicBezTo>
                <a:cubicBezTo>
                  <a:pt x="9326" y="6459"/>
                  <a:pt x="9239" y="6491"/>
                  <a:pt x="9152" y="6491"/>
                </a:cubicBezTo>
                <a:cubicBezTo>
                  <a:pt x="9066" y="6491"/>
                  <a:pt x="8979" y="6459"/>
                  <a:pt x="8916" y="6396"/>
                </a:cubicBezTo>
                <a:lnTo>
                  <a:pt x="8444" y="5924"/>
                </a:lnTo>
                <a:lnTo>
                  <a:pt x="6018" y="3498"/>
                </a:lnTo>
                <a:lnTo>
                  <a:pt x="5545" y="3025"/>
                </a:lnTo>
                <a:cubicBezTo>
                  <a:pt x="5419" y="2899"/>
                  <a:pt x="5419" y="2679"/>
                  <a:pt x="5545" y="2553"/>
                </a:cubicBezTo>
                <a:cubicBezTo>
                  <a:pt x="5608" y="2458"/>
                  <a:pt x="5703" y="2427"/>
                  <a:pt x="5766" y="2427"/>
                </a:cubicBezTo>
                <a:close/>
                <a:moveTo>
                  <a:pt x="5734" y="4159"/>
                </a:moveTo>
                <a:lnTo>
                  <a:pt x="7687" y="6144"/>
                </a:lnTo>
                <a:lnTo>
                  <a:pt x="7183" y="6648"/>
                </a:lnTo>
                <a:lnTo>
                  <a:pt x="6427" y="5892"/>
                </a:lnTo>
                <a:cubicBezTo>
                  <a:pt x="6364" y="5829"/>
                  <a:pt x="6278" y="5798"/>
                  <a:pt x="6191" y="5798"/>
                </a:cubicBezTo>
                <a:cubicBezTo>
                  <a:pt x="6104" y="5798"/>
                  <a:pt x="6018" y="5829"/>
                  <a:pt x="5955" y="5892"/>
                </a:cubicBezTo>
                <a:cubicBezTo>
                  <a:pt x="5829" y="6018"/>
                  <a:pt x="5829" y="6239"/>
                  <a:pt x="5955" y="6365"/>
                </a:cubicBezTo>
                <a:lnTo>
                  <a:pt x="6711" y="7121"/>
                </a:lnTo>
                <a:lnTo>
                  <a:pt x="6238" y="7593"/>
                </a:lnTo>
                <a:lnTo>
                  <a:pt x="4253" y="5609"/>
                </a:lnTo>
                <a:lnTo>
                  <a:pt x="5734" y="4159"/>
                </a:lnTo>
                <a:close/>
                <a:moveTo>
                  <a:pt x="3718" y="6176"/>
                </a:moveTo>
                <a:lnTo>
                  <a:pt x="5703" y="8129"/>
                </a:lnTo>
                <a:lnTo>
                  <a:pt x="5230" y="8602"/>
                </a:lnTo>
                <a:lnTo>
                  <a:pt x="4474" y="7877"/>
                </a:lnTo>
                <a:cubicBezTo>
                  <a:pt x="4411" y="7814"/>
                  <a:pt x="4324" y="7782"/>
                  <a:pt x="4238" y="7782"/>
                </a:cubicBezTo>
                <a:cubicBezTo>
                  <a:pt x="4151" y="7782"/>
                  <a:pt x="4064" y="7814"/>
                  <a:pt x="4001" y="7877"/>
                </a:cubicBezTo>
                <a:cubicBezTo>
                  <a:pt x="3875" y="7972"/>
                  <a:pt x="3875" y="8224"/>
                  <a:pt x="4001" y="8350"/>
                </a:cubicBezTo>
                <a:lnTo>
                  <a:pt x="4694" y="9043"/>
                </a:lnTo>
                <a:cubicBezTo>
                  <a:pt x="4537" y="9169"/>
                  <a:pt x="4379" y="9232"/>
                  <a:pt x="4190" y="9295"/>
                </a:cubicBezTo>
                <a:cubicBezTo>
                  <a:pt x="3119" y="9547"/>
                  <a:pt x="2332" y="9988"/>
                  <a:pt x="1733" y="10586"/>
                </a:cubicBezTo>
                <a:lnTo>
                  <a:pt x="1355" y="10964"/>
                </a:lnTo>
                <a:cubicBezTo>
                  <a:pt x="1292" y="11027"/>
                  <a:pt x="1205" y="11059"/>
                  <a:pt x="1119" y="11059"/>
                </a:cubicBezTo>
                <a:cubicBezTo>
                  <a:pt x="1032" y="11059"/>
                  <a:pt x="945" y="11027"/>
                  <a:pt x="882" y="10964"/>
                </a:cubicBezTo>
                <a:cubicBezTo>
                  <a:pt x="819" y="10901"/>
                  <a:pt x="756" y="10807"/>
                  <a:pt x="756" y="10744"/>
                </a:cubicBezTo>
                <a:cubicBezTo>
                  <a:pt x="756" y="10649"/>
                  <a:pt x="788" y="10555"/>
                  <a:pt x="882" y="10492"/>
                </a:cubicBezTo>
                <a:lnTo>
                  <a:pt x="1260" y="10114"/>
                </a:lnTo>
                <a:cubicBezTo>
                  <a:pt x="1859" y="9515"/>
                  <a:pt x="2300" y="8696"/>
                  <a:pt x="2584" y="7656"/>
                </a:cubicBezTo>
                <a:cubicBezTo>
                  <a:pt x="2647" y="7404"/>
                  <a:pt x="2804" y="7121"/>
                  <a:pt x="3025" y="6869"/>
                </a:cubicBezTo>
                <a:lnTo>
                  <a:pt x="3718" y="6176"/>
                </a:lnTo>
                <a:close/>
                <a:moveTo>
                  <a:pt x="10491" y="1"/>
                </a:moveTo>
                <a:cubicBezTo>
                  <a:pt x="10145" y="1"/>
                  <a:pt x="9767" y="158"/>
                  <a:pt x="9515" y="379"/>
                </a:cubicBezTo>
                <a:lnTo>
                  <a:pt x="7876" y="1986"/>
                </a:lnTo>
                <a:cubicBezTo>
                  <a:pt x="7687" y="2190"/>
                  <a:pt x="7428" y="2293"/>
                  <a:pt x="7164" y="2293"/>
                </a:cubicBezTo>
                <a:cubicBezTo>
                  <a:pt x="6900" y="2293"/>
                  <a:pt x="6632" y="2190"/>
                  <a:pt x="6427" y="1986"/>
                </a:cubicBezTo>
                <a:cubicBezTo>
                  <a:pt x="6238" y="1797"/>
                  <a:pt x="5978" y="1702"/>
                  <a:pt x="5714" y="1702"/>
                </a:cubicBezTo>
                <a:cubicBezTo>
                  <a:pt x="5451" y="1702"/>
                  <a:pt x="5183" y="1797"/>
                  <a:pt x="4978" y="1986"/>
                </a:cubicBezTo>
                <a:cubicBezTo>
                  <a:pt x="4600" y="2395"/>
                  <a:pt x="4600" y="3057"/>
                  <a:pt x="4978" y="3435"/>
                </a:cubicBezTo>
                <a:lnTo>
                  <a:pt x="5199" y="3687"/>
                </a:lnTo>
                <a:lnTo>
                  <a:pt x="3466" y="5420"/>
                </a:lnTo>
                <a:lnTo>
                  <a:pt x="2489" y="6396"/>
                </a:lnTo>
                <a:cubicBezTo>
                  <a:pt x="2174" y="6711"/>
                  <a:pt x="1985" y="7058"/>
                  <a:pt x="1859" y="7499"/>
                </a:cubicBezTo>
                <a:cubicBezTo>
                  <a:pt x="1638" y="8413"/>
                  <a:pt x="1229" y="9106"/>
                  <a:pt x="725" y="9641"/>
                </a:cubicBezTo>
                <a:lnTo>
                  <a:pt x="315" y="10019"/>
                </a:lnTo>
                <a:cubicBezTo>
                  <a:pt x="126" y="10240"/>
                  <a:pt x="0" y="10492"/>
                  <a:pt x="0" y="10775"/>
                </a:cubicBezTo>
                <a:cubicBezTo>
                  <a:pt x="0" y="11059"/>
                  <a:pt x="126" y="11343"/>
                  <a:pt x="315" y="11532"/>
                </a:cubicBezTo>
                <a:cubicBezTo>
                  <a:pt x="536" y="11721"/>
                  <a:pt x="788" y="11847"/>
                  <a:pt x="1071" y="11847"/>
                </a:cubicBezTo>
                <a:cubicBezTo>
                  <a:pt x="1355" y="11847"/>
                  <a:pt x="1638" y="11721"/>
                  <a:pt x="1828" y="11532"/>
                </a:cubicBezTo>
                <a:lnTo>
                  <a:pt x="2237" y="11122"/>
                </a:lnTo>
                <a:cubicBezTo>
                  <a:pt x="2741" y="10618"/>
                  <a:pt x="3434" y="10240"/>
                  <a:pt x="4348" y="9988"/>
                </a:cubicBezTo>
                <a:cubicBezTo>
                  <a:pt x="4757" y="9862"/>
                  <a:pt x="5136" y="9673"/>
                  <a:pt x="5419" y="9389"/>
                </a:cubicBezTo>
                <a:lnTo>
                  <a:pt x="6396" y="8413"/>
                </a:lnTo>
                <a:lnTo>
                  <a:pt x="7372" y="7436"/>
                </a:lnTo>
                <a:lnTo>
                  <a:pt x="8129" y="6680"/>
                </a:lnTo>
                <a:lnTo>
                  <a:pt x="8349" y="6932"/>
                </a:lnTo>
                <a:cubicBezTo>
                  <a:pt x="8570" y="7121"/>
                  <a:pt x="8822" y="7247"/>
                  <a:pt x="9105" y="7247"/>
                </a:cubicBezTo>
                <a:cubicBezTo>
                  <a:pt x="9389" y="7247"/>
                  <a:pt x="9672" y="7121"/>
                  <a:pt x="9861" y="6932"/>
                </a:cubicBezTo>
                <a:cubicBezTo>
                  <a:pt x="10050" y="6711"/>
                  <a:pt x="10176" y="6459"/>
                  <a:pt x="10176" y="6176"/>
                </a:cubicBezTo>
                <a:cubicBezTo>
                  <a:pt x="10176" y="5892"/>
                  <a:pt x="10050" y="5609"/>
                  <a:pt x="9861" y="5420"/>
                </a:cubicBezTo>
                <a:cubicBezTo>
                  <a:pt x="9672" y="5231"/>
                  <a:pt x="9546" y="4947"/>
                  <a:pt x="9546" y="4664"/>
                </a:cubicBezTo>
                <a:cubicBezTo>
                  <a:pt x="9546" y="4380"/>
                  <a:pt x="9672" y="4128"/>
                  <a:pt x="9861" y="3907"/>
                </a:cubicBezTo>
                <a:lnTo>
                  <a:pt x="11468" y="2364"/>
                </a:lnTo>
                <a:cubicBezTo>
                  <a:pt x="11752" y="2080"/>
                  <a:pt x="11878" y="1734"/>
                  <a:pt x="11878" y="1356"/>
                </a:cubicBezTo>
                <a:cubicBezTo>
                  <a:pt x="11878" y="1009"/>
                  <a:pt x="11720" y="662"/>
                  <a:pt x="11468" y="379"/>
                </a:cubicBezTo>
                <a:cubicBezTo>
                  <a:pt x="11184" y="95"/>
                  <a:pt x="10838" y="1"/>
                  <a:pt x="10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76"/>
          <p:cNvSpPr/>
          <p:nvPr/>
        </p:nvSpPr>
        <p:spPr>
          <a:xfrm>
            <a:off x="4883479" y="2892321"/>
            <a:ext cx="322122" cy="352253"/>
          </a:xfrm>
          <a:custGeom>
            <a:avLst/>
            <a:gdLst/>
            <a:ahLst/>
            <a:cxnLst/>
            <a:rect l="l" t="t" r="r" b="b"/>
            <a:pathLst>
              <a:path w="10776" h="11784" extrusionOk="0">
                <a:moveTo>
                  <a:pt x="5388" y="662"/>
                </a:moveTo>
                <a:cubicBezTo>
                  <a:pt x="6144" y="662"/>
                  <a:pt x="6774" y="1355"/>
                  <a:pt x="6774" y="2080"/>
                </a:cubicBezTo>
                <a:cubicBezTo>
                  <a:pt x="6774" y="2206"/>
                  <a:pt x="6711" y="2332"/>
                  <a:pt x="6680" y="2489"/>
                </a:cubicBezTo>
                <a:cubicBezTo>
                  <a:pt x="6333" y="2206"/>
                  <a:pt x="5861" y="2017"/>
                  <a:pt x="5388" y="2017"/>
                </a:cubicBezTo>
                <a:cubicBezTo>
                  <a:pt x="4915" y="2017"/>
                  <a:pt x="4443" y="2174"/>
                  <a:pt x="4096" y="2489"/>
                </a:cubicBezTo>
                <a:cubicBezTo>
                  <a:pt x="4033" y="2332"/>
                  <a:pt x="4002" y="2206"/>
                  <a:pt x="4002" y="2080"/>
                </a:cubicBezTo>
                <a:cubicBezTo>
                  <a:pt x="4002" y="1355"/>
                  <a:pt x="4632" y="662"/>
                  <a:pt x="5388" y="662"/>
                </a:cubicBezTo>
                <a:close/>
                <a:moveTo>
                  <a:pt x="5388" y="2710"/>
                </a:moveTo>
                <a:cubicBezTo>
                  <a:pt x="5766" y="2710"/>
                  <a:pt x="6144" y="2867"/>
                  <a:pt x="6365" y="3151"/>
                </a:cubicBezTo>
                <a:cubicBezTo>
                  <a:pt x="6176" y="3592"/>
                  <a:pt x="5829" y="4096"/>
                  <a:pt x="5419" y="4663"/>
                </a:cubicBezTo>
                <a:cubicBezTo>
                  <a:pt x="5293" y="4506"/>
                  <a:pt x="5230" y="4380"/>
                  <a:pt x="5104" y="4253"/>
                </a:cubicBezTo>
                <a:cubicBezTo>
                  <a:pt x="4852" y="3812"/>
                  <a:pt x="4600" y="3466"/>
                  <a:pt x="4411" y="3151"/>
                </a:cubicBezTo>
                <a:cubicBezTo>
                  <a:pt x="4663" y="2867"/>
                  <a:pt x="5041" y="2710"/>
                  <a:pt x="5388" y="2710"/>
                </a:cubicBezTo>
                <a:close/>
                <a:moveTo>
                  <a:pt x="7404" y="1576"/>
                </a:moveTo>
                <a:lnTo>
                  <a:pt x="7404" y="1576"/>
                </a:lnTo>
                <a:cubicBezTo>
                  <a:pt x="7908" y="2048"/>
                  <a:pt x="8192" y="2773"/>
                  <a:pt x="8192" y="3497"/>
                </a:cubicBezTo>
                <a:cubicBezTo>
                  <a:pt x="8192" y="4222"/>
                  <a:pt x="7719" y="5230"/>
                  <a:pt x="6806" y="6490"/>
                </a:cubicBezTo>
                <a:cubicBezTo>
                  <a:pt x="6459" y="6081"/>
                  <a:pt x="6144" y="5640"/>
                  <a:pt x="5829" y="5230"/>
                </a:cubicBezTo>
                <a:cubicBezTo>
                  <a:pt x="6050" y="4915"/>
                  <a:pt x="6428" y="4443"/>
                  <a:pt x="6743" y="3938"/>
                </a:cubicBezTo>
                <a:cubicBezTo>
                  <a:pt x="7215" y="3151"/>
                  <a:pt x="7467" y="2552"/>
                  <a:pt x="7467" y="2143"/>
                </a:cubicBezTo>
                <a:cubicBezTo>
                  <a:pt x="7467" y="1922"/>
                  <a:pt x="7436" y="1733"/>
                  <a:pt x="7404" y="1576"/>
                </a:cubicBezTo>
                <a:close/>
                <a:moveTo>
                  <a:pt x="3970" y="7593"/>
                </a:moveTo>
                <a:cubicBezTo>
                  <a:pt x="4002" y="7656"/>
                  <a:pt x="4033" y="7688"/>
                  <a:pt x="4033" y="7719"/>
                </a:cubicBezTo>
                <a:lnTo>
                  <a:pt x="4947" y="8853"/>
                </a:lnTo>
                <a:lnTo>
                  <a:pt x="3151" y="11153"/>
                </a:lnTo>
                <a:lnTo>
                  <a:pt x="1135" y="11153"/>
                </a:lnTo>
                <a:cubicBezTo>
                  <a:pt x="2300" y="9641"/>
                  <a:pt x="3214" y="8538"/>
                  <a:pt x="3876" y="7719"/>
                </a:cubicBezTo>
                <a:lnTo>
                  <a:pt x="3970" y="7593"/>
                </a:lnTo>
                <a:close/>
                <a:moveTo>
                  <a:pt x="3435" y="1576"/>
                </a:moveTo>
                <a:lnTo>
                  <a:pt x="3435" y="1576"/>
                </a:lnTo>
                <a:cubicBezTo>
                  <a:pt x="3372" y="1765"/>
                  <a:pt x="3340" y="1922"/>
                  <a:pt x="3340" y="2143"/>
                </a:cubicBezTo>
                <a:cubicBezTo>
                  <a:pt x="3340" y="2710"/>
                  <a:pt x="3687" y="3466"/>
                  <a:pt x="4569" y="4663"/>
                </a:cubicBezTo>
                <a:cubicBezTo>
                  <a:pt x="4726" y="4884"/>
                  <a:pt x="5167" y="5482"/>
                  <a:pt x="5199" y="5482"/>
                </a:cubicBezTo>
                <a:cubicBezTo>
                  <a:pt x="5892" y="6396"/>
                  <a:pt x="6774" y="7498"/>
                  <a:pt x="7782" y="8759"/>
                </a:cubicBezTo>
                <a:cubicBezTo>
                  <a:pt x="8381" y="9452"/>
                  <a:pt x="9011" y="10239"/>
                  <a:pt x="9673" y="11122"/>
                </a:cubicBezTo>
                <a:lnTo>
                  <a:pt x="7656" y="11122"/>
                </a:lnTo>
                <a:lnTo>
                  <a:pt x="7656" y="11153"/>
                </a:lnTo>
                <a:lnTo>
                  <a:pt x="5672" y="8633"/>
                </a:lnTo>
                <a:lnTo>
                  <a:pt x="4600" y="7278"/>
                </a:lnTo>
                <a:cubicBezTo>
                  <a:pt x="4474" y="7120"/>
                  <a:pt x="4380" y="7026"/>
                  <a:pt x="4254" y="6868"/>
                </a:cubicBezTo>
                <a:lnTo>
                  <a:pt x="4254" y="6805"/>
                </a:lnTo>
                <a:cubicBezTo>
                  <a:pt x="3214" y="5451"/>
                  <a:pt x="2647" y="4253"/>
                  <a:pt x="2647" y="3497"/>
                </a:cubicBezTo>
                <a:cubicBezTo>
                  <a:pt x="2647" y="2773"/>
                  <a:pt x="2899" y="2048"/>
                  <a:pt x="3435" y="1576"/>
                </a:cubicBezTo>
                <a:close/>
                <a:moveTo>
                  <a:pt x="5388" y="0"/>
                </a:moveTo>
                <a:cubicBezTo>
                  <a:pt x="4474" y="0"/>
                  <a:pt x="3592" y="347"/>
                  <a:pt x="2962" y="1009"/>
                </a:cubicBezTo>
                <a:cubicBezTo>
                  <a:pt x="2269" y="1702"/>
                  <a:pt x="1922" y="2552"/>
                  <a:pt x="1922" y="3497"/>
                </a:cubicBezTo>
                <a:cubicBezTo>
                  <a:pt x="1922" y="4569"/>
                  <a:pt x="2710" y="5892"/>
                  <a:pt x="3498" y="6994"/>
                </a:cubicBezTo>
                <a:lnTo>
                  <a:pt x="3309" y="7246"/>
                </a:lnTo>
                <a:cubicBezTo>
                  <a:pt x="2553" y="8192"/>
                  <a:pt x="1544" y="9452"/>
                  <a:pt x="127" y="11216"/>
                </a:cubicBezTo>
                <a:cubicBezTo>
                  <a:pt x="32" y="11342"/>
                  <a:pt x="1" y="11468"/>
                  <a:pt x="64" y="11563"/>
                </a:cubicBezTo>
                <a:cubicBezTo>
                  <a:pt x="127" y="11689"/>
                  <a:pt x="284" y="11783"/>
                  <a:pt x="379" y="11783"/>
                </a:cubicBezTo>
                <a:lnTo>
                  <a:pt x="3277" y="11783"/>
                </a:lnTo>
                <a:cubicBezTo>
                  <a:pt x="3372" y="11783"/>
                  <a:pt x="3466" y="11720"/>
                  <a:pt x="3529" y="11657"/>
                </a:cubicBezTo>
                <a:lnTo>
                  <a:pt x="5388" y="9357"/>
                </a:lnTo>
                <a:lnTo>
                  <a:pt x="7247" y="11657"/>
                </a:lnTo>
                <a:cubicBezTo>
                  <a:pt x="7310" y="11720"/>
                  <a:pt x="7404" y="11783"/>
                  <a:pt x="7530" y="11783"/>
                </a:cubicBezTo>
                <a:lnTo>
                  <a:pt x="10397" y="11783"/>
                </a:lnTo>
                <a:cubicBezTo>
                  <a:pt x="10523" y="11783"/>
                  <a:pt x="10618" y="11689"/>
                  <a:pt x="10712" y="11563"/>
                </a:cubicBezTo>
                <a:cubicBezTo>
                  <a:pt x="10775" y="11500"/>
                  <a:pt x="10775" y="11374"/>
                  <a:pt x="10649" y="11279"/>
                </a:cubicBezTo>
                <a:cubicBezTo>
                  <a:pt x="9799" y="10208"/>
                  <a:pt x="9011" y="9231"/>
                  <a:pt x="8286" y="8349"/>
                </a:cubicBezTo>
                <a:cubicBezTo>
                  <a:pt x="7940" y="7877"/>
                  <a:pt x="7593" y="7435"/>
                  <a:pt x="7247" y="7057"/>
                </a:cubicBezTo>
                <a:cubicBezTo>
                  <a:pt x="8003" y="5986"/>
                  <a:pt x="8854" y="4600"/>
                  <a:pt x="8854" y="3497"/>
                </a:cubicBezTo>
                <a:cubicBezTo>
                  <a:pt x="8854" y="2552"/>
                  <a:pt x="8507" y="1702"/>
                  <a:pt x="7814" y="1009"/>
                </a:cubicBezTo>
                <a:cubicBezTo>
                  <a:pt x="7152" y="347"/>
                  <a:pt x="6302"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73" name="Google Shape;9473;p76"/>
          <p:cNvGrpSpPr/>
          <p:nvPr/>
        </p:nvGrpSpPr>
        <p:grpSpPr>
          <a:xfrm>
            <a:off x="4865631" y="3349565"/>
            <a:ext cx="356946" cy="332464"/>
            <a:chOff x="-25477800" y="2357750"/>
            <a:chExt cx="298525" cy="278050"/>
          </a:xfrm>
        </p:grpSpPr>
        <p:sp>
          <p:nvSpPr>
            <p:cNvPr id="9474" name="Google Shape;9474;p76"/>
            <p:cNvSpPr/>
            <p:nvPr/>
          </p:nvSpPr>
          <p:spPr>
            <a:xfrm>
              <a:off x="-25477800" y="2357750"/>
              <a:ext cx="298525" cy="278050"/>
            </a:xfrm>
            <a:custGeom>
              <a:avLst/>
              <a:gdLst/>
              <a:ahLst/>
              <a:cxnLst/>
              <a:rect l="l" t="t" r="r" b="b"/>
              <a:pathLst>
                <a:path w="11941" h="11122" extrusionOk="0">
                  <a:moveTo>
                    <a:pt x="7057" y="1229"/>
                  </a:moveTo>
                  <a:lnTo>
                    <a:pt x="7971" y="2143"/>
                  </a:lnTo>
                  <a:lnTo>
                    <a:pt x="7057" y="2143"/>
                  </a:lnTo>
                  <a:lnTo>
                    <a:pt x="7057" y="1229"/>
                  </a:lnTo>
                  <a:close/>
                  <a:moveTo>
                    <a:pt x="6333" y="756"/>
                  </a:moveTo>
                  <a:lnTo>
                    <a:pt x="6333" y="2489"/>
                  </a:lnTo>
                  <a:cubicBezTo>
                    <a:pt x="6333" y="2678"/>
                    <a:pt x="6490" y="2836"/>
                    <a:pt x="6679" y="2836"/>
                  </a:cubicBezTo>
                  <a:lnTo>
                    <a:pt x="8412" y="2836"/>
                  </a:lnTo>
                  <a:lnTo>
                    <a:pt x="8412" y="4946"/>
                  </a:lnTo>
                  <a:lnTo>
                    <a:pt x="7593" y="4946"/>
                  </a:lnTo>
                  <a:lnTo>
                    <a:pt x="7215" y="4096"/>
                  </a:lnTo>
                  <a:cubicBezTo>
                    <a:pt x="7026" y="3749"/>
                    <a:pt x="6648" y="3529"/>
                    <a:pt x="6270" y="3529"/>
                  </a:cubicBezTo>
                  <a:lnTo>
                    <a:pt x="3245" y="3529"/>
                  </a:lnTo>
                  <a:cubicBezTo>
                    <a:pt x="3119" y="3529"/>
                    <a:pt x="2993" y="3560"/>
                    <a:pt x="2867" y="3592"/>
                  </a:cubicBezTo>
                  <a:lnTo>
                    <a:pt x="2867" y="756"/>
                  </a:lnTo>
                  <a:close/>
                  <a:moveTo>
                    <a:pt x="10901" y="6994"/>
                  </a:moveTo>
                  <a:cubicBezTo>
                    <a:pt x="11027" y="6994"/>
                    <a:pt x="11090" y="7026"/>
                    <a:pt x="11184" y="7089"/>
                  </a:cubicBezTo>
                  <a:cubicBezTo>
                    <a:pt x="11247" y="7183"/>
                    <a:pt x="11247" y="7246"/>
                    <a:pt x="11247" y="7372"/>
                  </a:cubicBezTo>
                  <a:lnTo>
                    <a:pt x="10995" y="9105"/>
                  </a:lnTo>
                  <a:lnTo>
                    <a:pt x="10428" y="6994"/>
                  </a:lnTo>
                  <a:close/>
                  <a:moveTo>
                    <a:pt x="6270" y="4190"/>
                  </a:moveTo>
                  <a:cubicBezTo>
                    <a:pt x="6364" y="4190"/>
                    <a:pt x="6490" y="4253"/>
                    <a:pt x="6585" y="4379"/>
                  </a:cubicBezTo>
                  <a:lnTo>
                    <a:pt x="7089" y="5356"/>
                  </a:lnTo>
                  <a:cubicBezTo>
                    <a:pt x="7120" y="5482"/>
                    <a:pt x="7278" y="5577"/>
                    <a:pt x="7404" y="5577"/>
                  </a:cubicBezTo>
                  <a:lnTo>
                    <a:pt x="9105" y="5577"/>
                  </a:lnTo>
                  <a:cubicBezTo>
                    <a:pt x="9262" y="5577"/>
                    <a:pt x="9420" y="5671"/>
                    <a:pt x="9452" y="5829"/>
                  </a:cubicBezTo>
                  <a:lnTo>
                    <a:pt x="10586" y="10397"/>
                  </a:lnTo>
                  <a:lnTo>
                    <a:pt x="2205" y="10397"/>
                  </a:lnTo>
                  <a:lnTo>
                    <a:pt x="2205" y="10460"/>
                  </a:lnTo>
                  <a:cubicBezTo>
                    <a:pt x="2048" y="10460"/>
                    <a:pt x="1890" y="10334"/>
                    <a:pt x="1859" y="10176"/>
                  </a:cubicBezTo>
                  <a:lnTo>
                    <a:pt x="788" y="5986"/>
                  </a:lnTo>
                  <a:cubicBezTo>
                    <a:pt x="756" y="5892"/>
                    <a:pt x="788" y="5797"/>
                    <a:pt x="851" y="5734"/>
                  </a:cubicBezTo>
                  <a:cubicBezTo>
                    <a:pt x="945" y="5640"/>
                    <a:pt x="1008" y="5608"/>
                    <a:pt x="1134" y="5608"/>
                  </a:cubicBezTo>
                  <a:lnTo>
                    <a:pt x="2520" y="5608"/>
                  </a:lnTo>
                  <a:cubicBezTo>
                    <a:pt x="2709" y="5608"/>
                    <a:pt x="2867" y="5451"/>
                    <a:pt x="2867" y="5262"/>
                  </a:cubicBezTo>
                  <a:lnTo>
                    <a:pt x="2867" y="4537"/>
                  </a:lnTo>
                  <a:cubicBezTo>
                    <a:pt x="2867" y="4348"/>
                    <a:pt x="3025" y="4190"/>
                    <a:pt x="3214" y="4190"/>
                  </a:cubicBezTo>
                  <a:close/>
                  <a:moveTo>
                    <a:pt x="2489" y="0"/>
                  </a:moveTo>
                  <a:cubicBezTo>
                    <a:pt x="2268" y="0"/>
                    <a:pt x="2111" y="158"/>
                    <a:pt x="2111" y="378"/>
                  </a:cubicBezTo>
                  <a:lnTo>
                    <a:pt x="2111" y="4537"/>
                  </a:lnTo>
                  <a:lnTo>
                    <a:pt x="2111" y="4883"/>
                  </a:lnTo>
                  <a:lnTo>
                    <a:pt x="1103" y="4883"/>
                  </a:lnTo>
                  <a:cubicBezTo>
                    <a:pt x="788" y="4883"/>
                    <a:pt x="473" y="5041"/>
                    <a:pt x="284" y="5293"/>
                  </a:cubicBezTo>
                  <a:cubicBezTo>
                    <a:pt x="63" y="5514"/>
                    <a:pt x="0" y="5829"/>
                    <a:pt x="63" y="6144"/>
                  </a:cubicBezTo>
                  <a:lnTo>
                    <a:pt x="1134" y="10334"/>
                  </a:lnTo>
                  <a:cubicBezTo>
                    <a:pt x="1260" y="10806"/>
                    <a:pt x="1701" y="11121"/>
                    <a:pt x="2174" y="11121"/>
                  </a:cubicBezTo>
                  <a:lnTo>
                    <a:pt x="10995" y="11121"/>
                  </a:lnTo>
                  <a:cubicBezTo>
                    <a:pt x="11153" y="11121"/>
                    <a:pt x="11310" y="10995"/>
                    <a:pt x="11342" y="10838"/>
                  </a:cubicBezTo>
                  <a:lnTo>
                    <a:pt x="11877" y="7467"/>
                  </a:lnTo>
                  <a:cubicBezTo>
                    <a:pt x="11940" y="7152"/>
                    <a:pt x="11846" y="6868"/>
                    <a:pt x="11657" y="6616"/>
                  </a:cubicBezTo>
                  <a:cubicBezTo>
                    <a:pt x="11499" y="6427"/>
                    <a:pt x="11216" y="6301"/>
                    <a:pt x="10901" y="6301"/>
                  </a:cubicBezTo>
                  <a:lnTo>
                    <a:pt x="10239" y="6301"/>
                  </a:lnTo>
                  <a:lnTo>
                    <a:pt x="10082" y="5734"/>
                  </a:lnTo>
                  <a:cubicBezTo>
                    <a:pt x="9956" y="5262"/>
                    <a:pt x="9578" y="4946"/>
                    <a:pt x="9105" y="4883"/>
                  </a:cubicBezTo>
                  <a:lnTo>
                    <a:pt x="9105" y="2458"/>
                  </a:lnTo>
                  <a:cubicBezTo>
                    <a:pt x="9105" y="2363"/>
                    <a:pt x="9042" y="2269"/>
                    <a:pt x="8979" y="2206"/>
                  </a:cubicBezTo>
                  <a:lnTo>
                    <a:pt x="6900" y="126"/>
                  </a:lnTo>
                  <a:cubicBezTo>
                    <a:pt x="6805" y="63"/>
                    <a:pt x="6742"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76"/>
            <p:cNvSpPr/>
            <p:nvPr/>
          </p:nvSpPr>
          <p:spPr>
            <a:xfrm>
              <a:off x="-25388025" y="2514850"/>
              <a:ext cx="104000" cy="88650"/>
            </a:xfrm>
            <a:custGeom>
              <a:avLst/>
              <a:gdLst/>
              <a:ahLst/>
              <a:cxnLst/>
              <a:rect l="l" t="t" r="r" b="b"/>
              <a:pathLst>
                <a:path w="4160" h="3546" extrusionOk="0">
                  <a:moveTo>
                    <a:pt x="1752" y="1"/>
                  </a:moveTo>
                  <a:cubicBezTo>
                    <a:pt x="1716" y="1"/>
                    <a:pt x="1678" y="6"/>
                    <a:pt x="1639" y="17"/>
                  </a:cubicBezTo>
                  <a:cubicBezTo>
                    <a:pt x="1450" y="80"/>
                    <a:pt x="1324" y="269"/>
                    <a:pt x="1418" y="458"/>
                  </a:cubicBezTo>
                  <a:lnTo>
                    <a:pt x="1639" y="1403"/>
                  </a:lnTo>
                  <a:lnTo>
                    <a:pt x="347" y="1403"/>
                  </a:lnTo>
                  <a:cubicBezTo>
                    <a:pt x="158" y="1403"/>
                    <a:pt x="1" y="1561"/>
                    <a:pt x="1" y="1750"/>
                  </a:cubicBezTo>
                  <a:cubicBezTo>
                    <a:pt x="1" y="1970"/>
                    <a:pt x="158" y="2128"/>
                    <a:pt x="347" y="2128"/>
                  </a:cubicBezTo>
                  <a:lnTo>
                    <a:pt x="1796" y="2128"/>
                  </a:lnTo>
                  <a:lnTo>
                    <a:pt x="2080" y="3262"/>
                  </a:lnTo>
                  <a:cubicBezTo>
                    <a:pt x="2111" y="3420"/>
                    <a:pt x="2269" y="3546"/>
                    <a:pt x="2426" y="3546"/>
                  </a:cubicBezTo>
                  <a:lnTo>
                    <a:pt x="2521" y="3546"/>
                  </a:lnTo>
                  <a:cubicBezTo>
                    <a:pt x="2710" y="3483"/>
                    <a:pt x="2836" y="3294"/>
                    <a:pt x="2742" y="3105"/>
                  </a:cubicBezTo>
                  <a:lnTo>
                    <a:pt x="2521" y="2159"/>
                  </a:lnTo>
                  <a:lnTo>
                    <a:pt x="3813" y="2159"/>
                  </a:lnTo>
                  <a:cubicBezTo>
                    <a:pt x="4002" y="2159"/>
                    <a:pt x="4159" y="2002"/>
                    <a:pt x="4159" y="1813"/>
                  </a:cubicBezTo>
                  <a:cubicBezTo>
                    <a:pt x="4159" y="1561"/>
                    <a:pt x="4002" y="1403"/>
                    <a:pt x="3813" y="1403"/>
                  </a:cubicBezTo>
                  <a:lnTo>
                    <a:pt x="2363" y="1403"/>
                  </a:lnTo>
                  <a:lnTo>
                    <a:pt x="2080" y="269"/>
                  </a:lnTo>
                  <a:cubicBezTo>
                    <a:pt x="2054" y="114"/>
                    <a:pt x="1921" y="1"/>
                    <a:pt x="17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76" name="Google Shape;9476;p76"/>
          <p:cNvSpPr/>
          <p:nvPr/>
        </p:nvSpPr>
        <p:spPr>
          <a:xfrm>
            <a:off x="4867009" y="3780313"/>
            <a:ext cx="355063" cy="353329"/>
          </a:xfrm>
          <a:custGeom>
            <a:avLst/>
            <a:gdLst/>
            <a:ahLst/>
            <a:cxnLst/>
            <a:rect l="l" t="t" r="r" b="b"/>
            <a:pathLst>
              <a:path w="11878" h="11820" extrusionOk="0">
                <a:moveTo>
                  <a:pt x="9704" y="729"/>
                </a:moveTo>
                <a:cubicBezTo>
                  <a:pt x="10019" y="729"/>
                  <a:pt x="10303" y="792"/>
                  <a:pt x="10523" y="982"/>
                </a:cubicBezTo>
                <a:cubicBezTo>
                  <a:pt x="10838" y="1234"/>
                  <a:pt x="10996" y="1612"/>
                  <a:pt x="11059" y="2021"/>
                </a:cubicBezTo>
                <a:cubicBezTo>
                  <a:pt x="11153" y="2368"/>
                  <a:pt x="11059" y="2714"/>
                  <a:pt x="10744" y="2998"/>
                </a:cubicBezTo>
                <a:lnTo>
                  <a:pt x="8255" y="5487"/>
                </a:lnTo>
                <a:lnTo>
                  <a:pt x="6270" y="3502"/>
                </a:lnTo>
                <a:lnTo>
                  <a:pt x="6743" y="3029"/>
                </a:lnTo>
                <a:lnTo>
                  <a:pt x="7499" y="3785"/>
                </a:lnTo>
                <a:cubicBezTo>
                  <a:pt x="7593" y="3880"/>
                  <a:pt x="7656" y="3911"/>
                  <a:pt x="7751" y="3911"/>
                </a:cubicBezTo>
                <a:cubicBezTo>
                  <a:pt x="7814" y="3911"/>
                  <a:pt x="7940" y="3880"/>
                  <a:pt x="7971" y="3785"/>
                </a:cubicBezTo>
                <a:cubicBezTo>
                  <a:pt x="8097" y="3659"/>
                  <a:pt x="8097" y="3439"/>
                  <a:pt x="7971" y="3313"/>
                </a:cubicBezTo>
                <a:lnTo>
                  <a:pt x="7215" y="2557"/>
                </a:lnTo>
                <a:lnTo>
                  <a:pt x="7688" y="2084"/>
                </a:lnTo>
                <a:lnTo>
                  <a:pt x="8444" y="2840"/>
                </a:lnTo>
                <a:cubicBezTo>
                  <a:pt x="8538" y="2935"/>
                  <a:pt x="8601" y="2966"/>
                  <a:pt x="8696" y="2966"/>
                </a:cubicBezTo>
                <a:cubicBezTo>
                  <a:pt x="8759" y="2966"/>
                  <a:pt x="8885" y="2935"/>
                  <a:pt x="8916" y="2840"/>
                </a:cubicBezTo>
                <a:cubicBezTo>
                  <a:pt x="9042" y="2714"/>
                  <a:pt x="9042" y="2494"/>
                  <a:pt x="8916" y="2368"/>
                </a:cubicBezTo>
                <a:lnTo>
                  <a:pt x="8160" y="1612"/>
                </a:lnTo>
                <a:lnTo>
                  <a:pt x="8601" y="1202"/>
                </a:lnTo>
                <a:cubicBezTo>
                  <a:pt x="8916" y="887"/>
                  <a:pt x="9326" y="729"/>
                  <a:pt x="9704" y="729"/>
                </a:cubicBezTo>
                <a:close/>
                <a:moveTo>
                  <a:pt x="5766" y="4132"/>
                </a:moveTo>
                <a:lnTo>
                  <a:pt x="7751" y="6117"/>
                </a:lnTo>
                <a:lnTo>
                  <a:pt x="5577" y="8196"/>
                </a:lnTo>
                <a:cubicBezTo>
                  <a:pt x="5230" y="8543"/>
                  <a:pt x="4789" y="8763"/>
                  <a:pt x="4317" y="8826"/>
                </a:cubicBezTo>
                <a:cubicBezTo>
                  <a:pt x="3687" y="8921"/>
                  <a:pt x="3088" y="9236"/>
                  <a:pt x="2678" y="9645"/>
                </a:cubicBezTo>
                <a:lnTo>
                  <a:pt x="1324" y="11000"/>
                </a:lnTo>
                <a:cubicBezTo>
                  <a:pt x="1261" y="11063"/>
                  <a:pt x="1174" y="11095"/>
                  <a:pt x="1087" y="11095"/>
                </a:cubicBezTo>
                <a:cubicBezTo>
                  <a:pt x="1001" y="11095"/>
                  <a:pt x="914" y="11063"/>
                  <a:pt x="851" y="11000"/>
                </a:cubicBezTo>
                <a:cubicBezTo>
                  <a:pt x="725" y="10874"/>
                  <a:pt x="725" y="10653"/>
                  <a:pt x="851" y="10527"/>
                </a:cubicBezTo>
                <a:lnTo>
                  <a:pt x="2206" y="9173"/>
                </a:lnTo>
                <a:cubicBezTo>
                  <a:pt x="2615" y="8763"/>
                  <a:pt x="2931" y="8165"/>
                  <a:pt x="3025" y="7535"/>
                </a:cubicBezTo>
                <a:cubicBezTo>
                  <a:pt x="3088" y="7062"/>
                  <a:pt x="3309" y="6589"/>
                  <a:pt x="3655" y="6274"/>
                </a:cubicBezTo>
                <a:lnTo>
                  <a:pt x="3876" y="6022"/>
                </a:lnTo>
                <a:lnTo>
                  <a:pt x="4632" y="6778"/>
                </a:lnTo>
                <a:cubicBezTo>
                  <a:pt x="4726" y="6873"/>
                  <a:pt x="4789" y="6904"/>
                  <a:pt x="4884" y="6904"/>
                </a:cubicBezTo>
                <a:cubicBezTo>
                  <a:pt x="4947" y="6904"/>
                  <a:pt x="5073" y="6873"/>
                  <a:pt x="5104" y="6778"/>
                </a:cubicBezTo>
                <a:cubicBezTo>
                  <a:pt x="5230" y="6652"/>
                  <a:pt x="5230" y="6432"/>
                  <a:pt x="5104" y="6306"/>
                </a:cubicBezTo>
                <a:lnTo>
                  <a:pt x="4348" y="5550"/>
                </a:lnTo>
                <a:lnTo>
                  <a:pt x="4821" y="5077"/>
                </a:lnTo>
                <a:lnTo>
                  <a:pt x="5577" y="5833"/>
                </a:lnTo>
                <a:cubicBezTo>
                  <a:pt x="5640" y="5928"/>
                  <a:pt x="5734" y="5959"/>
                  <a:pt x="5797" y="5959"/>
                </a:cubicBezTo>
                <a:cubicBezTo>
                  <a:pt x="5892" y="5959"/>
                  <a:pt x="6018" y="5928"/>
                  <a:pt x="6050" y="5833"/>
                </a:cubicBezTo>
                <a:cubicBezTo>
                  <a:pt x="6176" y="5707"/>
                  <a:pt x="6176" y="5487"/>
                  <a:pt x="6050" y="5361"/>
                </a:cubicBezTo>
                <a:lnTo>
                  <a:pt x="5293" y="4605"/>
                </a:lnTo>
                <a:lnTo>
                  <a:pt x="5766" y="4132"/>
                </a:lnTo>
                <a:close/>
                <a:moveTo>
                  <a:pt x="9769" y="1"/>
                </a:moveTo>
                <a:cubicBezTo>
                  <a:pt x="9726" y="1"/>
                  <a:pt x="9683" y="2"/>
                  <a:pt x="9641" y="5"/>
                </a:cubicBezTo>
                <a:cubicBezTo>
                  <a:pt x="9105" y="36"/>
                  <a:pt x="8601" y="288"/>
                  <a:pt x="8255" y="666"/>
                </a:cubicBezTo>
                <a:lnTo>
                  <a:pt x="3183" y="5802"/>
                </a:lnTo>
                <a:cubicBezTo>
                  <a:pt x="2741" y="6211"/>
                  <a:pt x="2426" y="6810"/>
                  <a:pt x="2363" y="7440"/>
                </a:cubicBezTo>
                <a:cubicBezTo>
                  <a:pt x="2269" y="7913"/>
                  <a:pt x="2080" y="8385"/>
                  <a:pt x="1733" y="8700"/>
                </a:cubicBezTo>
                <a:lnTo>
                  <a:pt x="379" y="10055"/>
                </a:lnTo>
                <a:cubicBezTo>
                  <a:pt x="1" y="10433"/>
                  <a:pt x="1" y="11095"/>
                  <a:pt x="379" y="11504"/>
                </a:cubicBezTo>
                <a:cubicBezTo>
                  <a:pt x="568" y="11693"/>
                  <a:pt x="851" y="11819"/>
                  <a:pt x="1135" y="11819"/>
                </a:cubicBezTo>
                <a:cubicBezTo>
                  <a:pt x="1418" y="11819"/>
                  <a:pt x="1670" y="11693"/>
                  <a:pt x="1891" y="11504"/>
                </a:cubicBezTo>
                <a:lnTo>
                  <a:pt x="3214" y="10149"/>
                </a:lnTo>
                <a:cubicBezTo>
                  <a:pt x="3561" y="9803"/>
                  <a:pt x="4002" y="9614"/>
                  <a:pt x="4474" y="9519"/>
                </a:cubicBezTo>
                <a:cubicBezTo>
                  <a:pt x="5104" y="9456"/>
                  <a:pt x="5703" y="9141"/>
                  <a:pt x="6144" y="8700"/>
                </a:cubicBezTo>
                <a:lnTo>
                  <a:pt x="11279" y="3502"/>
                </a:lnTo>
                <a:cubicBezTo>
                  <a:pt x="11657" y="3092"/>
                  <a:pt x="11878" y="2525"/>
                  <a:pt x="11846" y="1927"/>
                </a:cubicBezTo>
                <a:cubicBezTo>
                  <a:pt x="11815" y="1360"/>
                  <a:pt x="11531" y="792"/>
                  <a:pt x="11090" y="446"/>
                </a:cubicBezTo>
                <a:cubicBezTo>
                  <a:pt x="10715" y="157"/>
                  <a:pt x="10234" y="1"/>
                  <a:pt x="9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77" name="Google Shape;9477;p76"/>
          <p:cNvGrpSpPr/>
          <p:nvPr/>
        </p:nvGrpSpPr>
        <p:grpSpPr>
          <a:xfrm>
            <a:off x="7100357" y="2891881"/>
            <a:ext cx="354136" cy="353180"/>
            <a:chOff x="-23599325" y="1971025"/>
            <a:chExt cx="296175" cy="295375"/>
          </a:xfrm>
        </p:grpSpPr>
        <p:sp>
          <p:nvSpPr>
            <p:cNvPr id="9478" name="Google Shape;9478;p76"/>
            <p:cNvSpPr/>
            <p:nvPr/>
          </p:nvSpPr>
          <p:spPr>
            <a:xfrm>
              <a:off x="-23599325" y="1971025"/>
              <a:ext cx="296175" cy="295375"/>
            </a:xfrm>
            <a:custGeom>
              <a:avLst/>
              <a:gdLst/>
              <a:ahLst/>
              <a:cxnLst/>
              <a:rect l="l" t="t" r="r" b="b"/>
              <a:pathLst>
                <a:path w="11847" h="11815" extrusionOk="0">
                  <a:moveTo>
                    <a:pt x="7656" y="662"/>
                  </a:moveTo>
                  <a:lnTo>
                    <a:pt x="7656" y="4190"/>
                  </a:lnTo>
                  <a:lnTo>
                    <a:pt x="4159" y="4190"/>
                  </a:lnTo>
                  <a:lnTo>
                    <a:pt x="4159" y="662"/>
                  </a:lnTo>
                  <a:close/>
                  <a:moveTo>
                    <a:pt x="5577" y="4884"/>
                  </a:moveTo>
                  <a:lnTo>
                    <a:pt x="5577" y="5577"/>
                  </a:lnTo>
                  <a:lnTo>
                    <a:pt x="4222" y="5577"/>
                  </a:lnTo>
                  <a:lnTo>
                    <a:pt x="4222" y="4884"/>
                  </a:lnTo>
                  <a:close/>
                  <a:moveTo>
                    <a:pt x="7625" y="4884"/>
                  </a:moveTo>
                  <a:lnTo>
                    <a:pt x="7625" y="5608"/>
                  </a:lnTo>
                  <a:lnTo>
                    <a:pt x="6270" y="5608"/>
                  </a:lnTo>
                  <a:lnTo>
                    <a:pt x="6270" y="4884"/>
                  </a:lnTo>
                  <a:close/>
                  <a:moveTo>
                    <a:pt x="2111" y="5577"/>
                  </a:moveTo>
                  <a:lnTo>
                    <a:pt x="2111" y="6301"/>
                  </a:lnTo>
                  <a:lnTo>
                    <a:pt x="693" y="6301"/>
                  </a:lnTo>
                  <a:lnTo>
                    <a:pt x="693" y="5923"/>
                  </a:lnTo>
                  <a:cubicBezTo>
                    <a:pt x="693" y="5766"/>
                    <a:pt x="851" y="5577"/>
                    <a:pt x="1072" y="5577"/>
                  </a:cubicBezTo>
                  <a:close/>
                  <a:moveTo>
                    <a:pt x="10775" y="5577"/>
                  </a:moveTo>
                  <a:cubicBezTo>
                    <a:pt x="10996" y="5577"/>
                    <a:pt x="11153" y="5766"/>
                    <a:pt x="11153" y="5955"/>
                  </a:cubicBezTo>
                  <a:lnTo>
                    <a:pt x="11153" y="6301"/>
                  </a:lnTo>
                  <a:lnTo>
                    <a:pt x="9735" y="6301"/>
                  </a:lnTo>
                  <a:lnTo>
                    <a:pt x="9735" y="5577"/>
                  </a:lnTo>
                  <a:close/>
                  <a:moveTo>
                    <a:pt x="5545" y="6270"/>
                  </a:moveTo>
                  <a:lnTo>
                    <a:pt x="5545" y="6963"/>
                  </a:lnTo>
                  <a:lnTo>
                    <a:pt x="4159" y="6963"/>
                  </a:lnTo>
                  <a:lnTo>
                    <a:pt x="4159" y="6270"/>
                  </a:lnTo>
                  <a:close/>
                  <a:moveTo>
                    <a:pt x="7625" y="6270"/>
                  </a:moveTo>
                  <a:lnTo>
                    <a:pt x="7625" y="6963"/>
                  </a:lnTo>
                  <a:lnTo>
                    <a:pt x="6270" y="6963"/>
                  </a:lnTo>
                  <a:lnTo>
                    <a:pt x="6270" y="6270"/>
                  </a:lnTo>
                  <a:close/>
                  <a:moveTo>
                    <a:pt x="2111" y="6931"/>
                  </a:moveTo>
                  <a:lnTo>
                    <a:pt x="2111" y="7656"/>
                  </a:lnTo>
                  <a:lnTo>
                    <a:pt x="693" y="7656"/>
                  </a:lnTo>
                  <a:lnTo>
                    <a:pt x="693" y="6931"/>
                  </a:lnTo>
                  <a:close/>
                  <a:moveTo>
                    <a:pt x="11153" y="6963"/>
                  </a:moveTo>
                  <a:lnTo>
                    <a:pt x="11153" y="7688"/>
                  </a:lnTo>
                  <a:lnTo>
                    <a:pt x="9735" y="7688"/>
                  </a:lnTo>
                  <a:lnTo>
                    <a:pt x="9735" y="6963"/>
                  </a:lnTo>
                  <a:close/>
                  <a:moveTo>
                    <a:pt x="5545" y="7625"/>
                  </a:moveTo>
                  <a:lnTo>
                    <a:pt x="5545" y="8349"/>
                  </a:lnTo>
                  <a:lnTo>
                    <a:pt x="4159" y="8349"/>
                  </a:lnTo>
                  <a:lnTo>
                    <a:pt x="4159" y="7625"/>
                  </a:lnTo>
                  <a:close/>
                  <a:moveTo>
                    <a:pt x="7625" y="7656"/>
                  </a:moveTo>
                  <a:lnTo>
                    <a:pt x="7625" y="8349"/>
                  </a:lnTo>
                  <a:lnTo>
                    <a:pt x="6270" y="8349"/>
                  </a:lnTo>
                  <a:lnTo>
                    <a:pt x="6270" y="7656"/>
                  </a:lnTo>
                  <a:close/>
                  <a:moveTo>
                    <a:pt x="2111" y="8349"/>
                  </a:moveTo>
                  <a:lnTo>
                    <a:pt x="2111" y="9074"/>
                  </a:lnTo>
                  <a:lnTo>
                    <a:pt x="693" y="9074"/>
                  </a:lnTo>
                  <a:lnTo>
                    <a:pt x="693" y="8349"/>
                  </a:lnTo>
                  <a:close/>
                  <a:moveTo>
                    <a:pt x="11153" y="8349"/>
                  </a:moveTo>
                  <a:lnTo>
                    <a:pt x="11153" y="9074"/>
                  </a:lnTo>
                  <a:lnTo>
                    <a:pt x="9735" y="9074"/>
                  </a:lnTo>
                  <a:lnTo>
                    <a:pt x="9735" y="8349"/>
                  </a:lnTo>
                  <a:close/>
                  <a:moveTo>
                    <a:pt x="2111" y="9735"/>
                  </a:moveTo>
                  <a:lnTo>
                    <a:pt x="2111" y="11090"/>
                  </a:lnTo>
                  <a:lnTo>
                    <a:pt x="693" y="11090"/>
                  </a:lnTo>
                  <a:lnTo>
                    <a:pt x="693" y="9735"/>
                  </a:lnTo>
                  <a:close/>
                  <a:moveTo>
                    <a:pt x="8759" y="2048"/>
                  </a:moveTo>
                  <a:cubicBezTo>
                    <a:pt x="8948" y="2048"/>
                    <a:pt x="9105" y="2206"/>
                    <a:pt x="9105" y="2395"/>
                  </a:cubicBezTo>
                  <a:lnTo>
                    <a:pt x="9105" y="11090"/>
                  </a:lnTo>
                  <a:lnTo>
                    <a:pt x="7719" y="11090"/>
                  </a:lnTo>
                  <a:lnTo>
                    <a:pt x="7719" y="10082"/>
                  </a:lnTo>
                  <a:cubicBezTo>
                    <a:pt x="7719" y="9893"/>
                    <a:pt x="7562" y="9735"/>
                    <a:pt x="7373" y="9735"/>
                  </a:cubicBezTo>
                  <a:lnTo>
                    <a:pt x="4600" y="9735"/>
                  </a:lnTo>
                  <a:cubicBezTo>
                    <a:pt x="4411" y="9735"/>
                    <a:pt x="4254" y="9893"/>
                    <a:pt x="4254" y="10082"/>
                  </a:cubicBezTo>
                  <a:lnTo>
                    <a:pt x="4254" y="11090"/>
                  </a:lnTo>
                  <a:lnTo>
                    <a:pt x="2867" y="11090"/>
                  </a:lnTo>
                  <a:lnTo>
                    <a:pt x="2867" y="2395"/>
                  </a:lnTo>
                  <a:lnTo>
                    <a:pt x="2804" y="2395"/>
                  </a:lnTo>
                  <a:cubicBezTo>
                    <a:pt x="2804" y="2206"/>
                    <a:pt x="2962" y="2048"/>
                    <a:pt x="3151" y="2048"/>
                  </a:cubicBezTo>
                  <a:lnTo>
                    <a:pt x="3497" y="2048"/>
                  </a:lnTo>
                  <a:lnTo>
                    <a:pt x="3497" y="8696"/>
                  </a:lnTo>
                  <a:cubicBezTo>
                    <a:pt x="3497" y="8916"/>
                    <a:pt x="3655" y="9074"/>
                    <a:pt x="3875" y="9074"/>
                  </a:cubicBezTo>
                  <a:lnTo>
                    <a:pt x="8034" y="9074"/>
                  </a:lnTo>
                  <a:cubicBezTo>
                    <a:pt x="8223" y="9074"/>
                    <a:pt x="8381" y="8916"/>
                    <a:pt x="8381" y="8696"/>
                  </a:cubicBezTo>
                  <a:lnTo>
                    <a:pt x="8381" y="2048"/>
                  </a:lnTo>
                  <a:close/>
                  <a:moveTo>
                    <a:pt x="6963" y="10428"/>
                  </a:moveTo>
                  <a:lnTo>
                    <a:pt x="6963" y="11153"/>
                  </a:lnTo>
                  <a:lnTo>
                    <a:pt x="4884" y="11153"/>
                  </a:lnTo>
                  <a:lnTo>
                    <a:pt x="4884" y="10428"/>
                  </a:lnTo>
                  <a:close/>
                  <a:moveTo>
                    <a:pt x="11153" y="9767"/>
                  </a:moveTo>
                  <a:lnTo>
                    <a:pt x="11153" y="11153"/>
                  </a:lnTo>
                  <a:lnTo>
                    <a:pt x="9735" y="11153"/>
                  </a:lnTo>
                  <a:lnTo>
                    <a:pt x="9735" y="9767"/>
                  </a:lnTo>
                  <a:close/>
                  <a:moveTo>
                    <a:pt x="3812" y="0"/>
                  </a:moveTo>
                  <a:cubicBezTo>
                    <a:pt x="3623" y="0"/>
                    <a:pt x="3466" y="158"/>
                    <a:pt x="3466" y="347"/>
                  </a:cubicBezTo>
                  <a:lnTo>
                    <a:pt x="3466" y="1387"/>
                  </a:lnTo>
                  <a:lnTo>
                    <a:pt x="3119" y="1387"/>
                  </a:lnTo>
                  <a:cubicBezTo>
                    <a:pt x="2521" y="1387"/>
                    <a:pt x="2080" y="1859"/>
                    <a:pt x="2080" y="2395"/>
                  </a:cubicBezTo>
                  <a:lnTo>
                    <a:pt x="2080" y="4884"/>
                  </a:lnTo>
                  <a:lnTo>
                    <a:pt x="1009" y="4884"/>
                  </a:lnTo>
                  <a:cubicBezTo>
                    <a:pt x="441" y="4884"/>
                    <a:pt x="0" y="5356"/>
                    <a:pt x="0" y="5923"/>
                  </a:cubicBezTo>
                  <a:lnTo>
                    <a:pt x="0" y="11468"/>
                  </a:lnTo>
                  <a:cubicBezTo>
                    <a:pt x="0" y="11657"/>
                    <a:pt x="158" y="11815"/>
                    <a:pt x="347" y="11815"/>
                  </a:cubicBezTo>
                  <a:lnTo>
                    <a:pt x="11468" y="11815"/>
                  </a:lnTo>
                  <a:cubicBezTo>
                    <a:pt x="11657" y="11815"/>
                    <a:pt x="11815" y="11657"/>
                    <a:pt x="11815" y="11468"/>
                  </a:cubicBezTo>
                  <a:lnTo>
                    <a:pt x="11815" y="5923"/>
                  </a:lnTo>
                  <a:cubicBezTo>
                    <a:pt x="11846" y="5356"/>
                    <a:pt x="11374" y="4884"/>
                    <a:pt x="10775" y="4884"/>
                  </a:cubicBezTo>
                  <a:lnTo>
                    <a:pt x="9735" y="4884"/>
                  </a:lnTo>
                  <a:lnTo>
                    <a:pt x="9735" y="2395"/>
                  </a:lnTo>
                  <a:cubicBezTo>
                    <a:pt x="9735" y="1828"/>
                    <a:pt x="9263" y="1387"/>
                    <a:pt x="8696" y="1387"/>
                  </a:cubicBezTo>
                  <a:lnTo>
                    <a:pt x="8349" y="1387"/>
                  </a:lnTo>
                  <a:lnTo>
                    <a:pt x="8349" y="347"/>
                  </a:lnTo>
                  <a:cubicBezTo>
                    <a:pt x="8349" y="158"/>
                    <a:pt x="8192" y="0"/>
                    <a:pt x="80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9" name="Google Shape;9479;p76"/>
            <p:cNvSpPr/>
            <p:nvPr/>
          </p:nvSpPr>
          <p:spPr>
            <a:xfrm>
              <a:off x="-23477250" y="2004100"/>
              <a:ext cx="53575" cy="53575"/>
            </a:xfrm>
            <a:custGeom>
              <a:avLst/>
              <a:gdLst/>
              <a:ahLst/>
              <a:cxnLst/>
              <a:rect l="l" t="t" r="r" b="b"/>
              <a:pathLst>
                <a:path w="2143" h="2143" extrusionOk="0">
                  <a:moveTo>
                    <a:pt x="1072" y="1"/>
                  </a:moveTo>
                  <a:cubicBezTo>
                    <a:pt x="851" y="1"/>
                    <a:pt x="694" y="158"/>
                    <a:pt x="694" y="379"/>
                  </a:cubicBezTo>
                  <a:lnTo>
                    <a:pt x="694" y="725"/>
                  </a:lnTo>
                  <a:lnTo>
                    <a:pt x="347" y="725"/>
                  </a:lnTo>
                  <a:cubicBezTo>
                    <a:pt x="158" y="725"/>
                    <a:pt x="1" y="883"/>
                    <a:pt x="1" y="1072"/>
                  </a:cubicBezTo>
                  <a:cubicBezTo>
                    <a:pt x="1" y="1292"/>
                    <a:pt x="158" y="1450"/>
                    <a:pt x="347" y="1450"/>
                  </a:cubicBezTo>
                  <a:lnTo>
                    <a:pt x="694" y="1450"/>
                  </a:lnTo>
                  <a:lnTo>
                    <a:pt x="694" y="1796"/>
                  </a:lnTo>
                  <a:cubicBezTo>
                    <a:pt x="694" y="1985"/>
                    <a:pt x="851" y="2143"/>
                    <a:pt x="1072" y="2143"/>
                  </a:cubicBezTo>
                  <a:cubicBezTo>
                    <a:pt x="1261" y="2143"/>
                    <a:pt x="1418" y="1985"/>
                    <a:pt x="1418" y="1796"/>
                  </a:cubicBezTo>
                  <a:lnTo>
                    <a:pt x="1418" y="1450"/>
                  </a:lnTo>
                  <a:lnTo>
                    <a:pt x="1765" y="1450"/>
                  </a:lnTo>
                  <a:cubicBezTo>
                    <a:pt x="1985" y="1450"/>
                    <a:pt x="2143" y="1292"/>
                    <a:pt x="2143" y="1072"/>
                  </a:cubicBezTo>
                  <a:cubicBezTo>
                    <a:pt x="2143" y="883"/>
                    <a:pt x="1985" y="725"/>
                    <a:pt x="1765" y="725"/>
                  </a:cubicBezTo>
                  <a:lnTo>
                    <a:pt x="1418" y="725"/>
                  </a:lnTo>
                  <a:lnTo>
                    <a:pt x="1418" y="379"/>
                  </a:ln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80" name="Google Shape;9480;p76"/>
          <p:cNvSpPr/>
          <p:nvPr/>
        </p:nvSpPr>
        <p:spPr>
          <a:xfrm>
            <a:off x="7101239" y="3338237"/>
            <a:ext cx="353180" cy="355063"/>
          </a:xfrm>
          <a:custGeom>
            <a:avLst/>
            <a:gdLst/>
            <a:ahLst/>
            <a:cxnLst/>
            <a:rect l="l" t="t" r="r" b="b"/>
            <a:pathLst>
              <a:path w="11815" h="11878" extrusionOk="0">
                <a:moveTo>
                  <a:pt x="6301" y="725"/>
                </a:moveTo>
                <a:lnTo>
                  <a:pt x="6301" y="1670"/>
                </a:lnTo>
                <a:cubicBezTo>
                  <a:pt x="6301" y="2143"/>
                  <a:pt x="6490" y="2584"/>
                  <a:pt x="6805" y="2899"/>
                </a:cubicBezTo>
                <a:lnTo>
                  <a:pt x="7120" y="3214"/>
                </a:lnTo>
                <a:cubicBezTo>
                  <a:pt x="7026" y="3340"/>
                  <a:pt x="6868" y="3529"/>
                  <a:pt x="6742" y="3781"/>
                </a:cubicBezTo>
                <a:lnTo>
                  <a:pt x="6648" y="3781"/>
                </a:lnTo>
                <a:cubicBezTo>
                  <a:pt x="6459" y="3576"/>
                  <a:pt x="6191" y="3474"/>
                  <a:pt x="5923" y="3474"/>
                </a:cubicBezTo>
                <a:cubicBezTo>
                  <a:pt x="5656" y="3474"/>
                  <a:pt x="5388" y="3576"/>
                  <a:pt x="5199" y="3781"/>
                </a:cubicBezTo>
                <a:lnTo>
                  <a:pt x="5167" y="3813"/>
                </a:lnTo>
                <a:cubicBezTo>
                  <a:pt x="5167" y="3813"/>
                  <a:pt x="5167" y="3781"/>
                  <a:pt x="5136" y="3781"/>
                </a:cubicBezTo>
                <a:cubicBezTo>
                  <a:pt x="5010" y="3529"/>
                  <a:pt x="4884" y="3372"/>
                  <a:pt x="4758" y="3214"/>
                </a:cubicBezTo>
                <a:lnTo>
                  <a:pt x="5073" y="2899"/>
                </a:lnTo>
                <a:cubicBezTo>
                  <a:pt x="5388" y="2584"/>
                  <a:pt x="5608" y="2143"/>
                  <a:pt x="5608" y="1670"/>
                </a:cubicBezTo>
                <a:lnTo>
                  <a:pt x="5608" y="725"/>
                </a:lnTo>
                <a:close/>
                <a:moveTo>
                  <a:pt x="3970" y="3529"/>
                </a:moveTo>
                <a:cubicBezTo>
                  <a:pt x="4159" y="3529"/>
                  <a:pt x="4348" y="3687"/>
                  <a:pt x="4506" y="4002"/>
                </a:cubicBezTo>
                <a:cubicBezTo>
                  <a:pt x="4569" y="4128"/>
                  <a:pt x="4600" y="4285"/>
                  <a:pt x="4663" y="4474"/>
                </a:cubicBezTo>
                <a:cubicBezTo>
                  <a:pt x="4758" y="4852"/>
                  <a:pt x="4821" y="5293"/>
                  <a:pt x="4852" y="5829"/>
                </a:cubicBezTo>
                <a:lnTo>
                  <a:pt x="3812" y="6837"/>
                </a:lnTo>
                <a:lnTo>
                  <a:pt x="3340" y="6396"/>
                </a:lnTo>
                <a:cubicBezTo>
                  <a:pt x="3293" y="6333"/>
                  <a:pt x="3206" y="6302"/>
                  <a:pt x="3115" y="6302"/>
                </a:cubicBezTo>
                <a:cubicBezTo>
                  <a:pt x="3025" y="6302"/>
                  <a:pt x="2930" y="6333"/>
                  <a:pt x="2867" y="6396"/>
                </a:cubicBezTo>
                <a:cubicBezTo>
                  <a:pt x="2804" y="6491"/>
                  <a:pt x="2804" y="6554"/>
                  <a:pt x="2804" y="6648"/>
                </a:cubicBezTo>
                <a:cubicBezTo>
                  <a:pt x="2804" y="6711"/>
                  <a:pt x="2836" y="6837"/>
                  <a:pt x="2930" y="6869"/>
                </a:cubicBezTo>
                <a:lnTo>
                  <a:pt x="3340" y="7310"/>
                </a:lnTo>
                <a:lnTo>
                  <a:pt x="2206" y="8444"/>
                </a:lnTo>
                <a:cubicBezTo>
                  <a:pt x="2080" y="8570"/>
                  <a:pt x="2080" y="8822"/>
                  <a:pt x="2206" y="8916"/>
                </a:cubicBezTo>
                <a:cubicBezTo>
                  <a:pt x="2300" y="9011"/>
                  <a:pt x="2363" y="9042"/>
                  <a:pt x="2458" y="9042"/>
                </a:cubicBezTo>
                <a:cubicBezTo>
                  <a:pt x="2521" y="9042"/>
                  <a:pt x="2647" y="9011"/>
                  <a:pt x="2678" y="8916"/>
                </a:cubicBezTo>
                <a:lnTo>
                  <a:pt x="4852" y="6743"/>
                </a:lnTo>
                <a:lnTo>
                  <a:pt x="4852" y="6806"/>
                </a:lnTo>
                <a:cubicBezTo>
                  <a:pt x="4758" y="7971"/>
                  <a:pt x="4569" y="8979"/>
                  <a:pt x="4254" y="9358"/>
                </a:cubicBezTo>
                <a:cubicBezTo>
                  <a:pt x="3970" y="9767"/>
                  <a:pt x="3529" y="9988"/>
                  <a:pt x="3056" y="10271"/>
                </a:cubicBezTo>
                <a:cubicBezTo>
                  <a:pt x="2867" y="10397"/>
                  <a:pt x="2710" y="10492"/>
                  <a:pt x="2521" y="10618"/>
                </a:cubicBezTo>
                <a:cubicBezTo>
                  <a:pt x="2111" y="10901"/>
                  <a:pt x="1702" y="11185"/>
                  <a:pt x="1292" y="11185"/>
                </a:cubicBezTo>
                <a:cubicBezTo>
                  <a:pt x="851" y="11122"/>
                  <a:pt x="662" y="10712"/>
                  <a:pt x="693" y="9862"/>
                </a:cubicBezTo>
                <a:cubicBezTo>
                  <a:pt x="756" y="8759"/>
                  <a:pt x="1261" y="7152"/>
                  <a:pt x="1954" y="5766"/>
                </a:cubicBezTo>
                <a:cubicBezTo>
                  <a:pt x="2332" y="5104"/>
                  <a:pt x="2710" y="4506"/>
                  <a:pt x="3056" y="4128"/>
                </a:cubicBezTo>
                <a:cubicBezTo>
                  <a:pt x="3434" y="3781"/>
                  <a:pt x="3749" y="3529"/>
                  <a:pt x="3970" y="3529"/>
                </a:cubicBezTo>
                <a:close/>
                <a:moveTo>
                  <a:pt x="7845" y="3624"/>
                </a:moveTo>
                <a:cubicBezTo>
                  <a:pt x="8066" y="3624"/>
                  <a:pt x="8381" y="3813"/>
                  <a:pt x="8759" y="4191"/>
                </a:cubicBezTo>
                <a:cubicBezTo>
                  <a:pt x="9105" y="4600"/>
                  <a:pt x="9483" y="5136"/>
                  <a:pt x="9861" y="5860"/>
                </a:cubicBezTo>
                <a:cubicBezTo>
                  <a:pt x="10555" y="7247"/>
                  <a:pt x="11059" y="8853"/>
                  <a:pt x="11122" y="9956"/>
                </a:cubicBezTo>
                <a:cubicBezTo>
                  <a:pt x="11153" y="10744"/>
                  <a:pt x="10933" y="11185"/>
                  <a:pt x="10523" y="11185"/>
                </a:cubicBezTo>
                <a:cubicBezTo>
                  <a:pt x="10504" y="11186"/>
                  <a:pt x="10485" y="11187"/>
                  <a:pt x="10466" y="11187"/>
                </a:cubicBezTo>
                <a:cubicBezTo>
                  <a:pt x="10072" y="11187"/>
                  <a:pt x="9655" y="10888"/>
                  <a:pt x="9294" y="10618"/>
                </a:cubicBezTo>
                <a:cubicBezTo>
                  <a:pt x="9105" y="10492"/>
                  <a:pt x="8948" y="10397"/>
                  <a:pt x="8727" y="10271"/>
                </a:cubicBezTo>
                <a:cubicBezTo>
                  <a:pt x="8286" y="9988"/>
                  <a:pt x="7845" y="9767"/>
                  <a:pt x="7562" y="9358"/>
                </a:cubicBezTo>
                <a:cubicBezTo>
                  <a:pt x="7278" y="8979"/>
                  <a:pt x="7057" y="7971"/>
                  <a:pt x="6963" y="6869"/>
                </a:cubicBezTo>
                <a:lnTo>
                  <a:pt x="6963" y="6837"/>
                </a:lnTo>
                <a:lnTo>
                  <a:pt x="9137" y="9011"/>
                </a:lnTo>
                <a:cubicBezTo>
                  <a:pt x="9200" y="9074"/>
                  <a:pt x="9294" y="9137"/>
                  <a:pt x="9357" y="9137"/>
                </a:cubicBezTo>
                <a:cubicBezTo>
                  <a:pt x="9452" y="9137"/>
                  <a:pt x="9578" y="9074"/>
                  <a:pt x="9609" y="9011"/>
                </a:cubicBezTo>
                <a:cubicBezTo>
                  <a:pt x="9735" y="8885"/>
                  <a:pt x="9735" y="8633"/>
                  <a:pt x="9609" y="8538"/>
                </a:cubicBezTo>
                <a:lnTo>
                  <a:pt x="8475" y="7404"/>
                </a:lnTo>
                <a:lnTo>
                  <a:pt x="8885" y="6963"/>
                </a:lnTo>
                <a:cubicBezTo>
                  <a:pt x="9011" y="6837"/>
                  <a:pt x="9011" y="6617"/>
                  <a:pt x="8885" y="6491"/>
                </a:cubicBezTo>
                <a:cubicBezTo>
                  <a:pt x="8838" y="6428"/>
                  <a:pt x="8751" y="6396"/>
                  <a:pt x="8660" y="6396"/>
                </a:cubicBezTo>
                <a:cubicBezTo>
                  <a:pt x="8570" y="6396"/>
                  <a:pt x="8475" y="6428"/>
                  <a:pt x="8412" y="6491"/>
                </a:cubicBezTo>
                <a:lnTo>
                  <a:pt x="8003" y="6932"/>
                </a:lnTo>
                <a:lnTo>
                  <a:pt x="6963" y="5892"/>
                </a:lnTo>
                <a:cubicBezTo>
                  <a:pt x="6994" y="5388"/>
                  <a:pt x="7057" y="4915"/>
                  <a:pt x="7152" y="4569"/>
                </a:cubicBezTo>
                <a:cubicBezTo>
                  <a:pt x="7215" y="4411"/>
                  <a:pt x="7278" y="4222"/>
                  <a:pt x="7310" y="4096"/>
                </a:cubicBezTo>
                <a:cubicBezTo>
                  <a:pt x="7499" y="3781"/>
                  <a:pt x="7656" y="3624"/>
                  <a:pt x="7845" y="3624"/>
                </a:cubicBezTo>
                <a:close/>
                <a:moveTo>
                  <a:pt x="5230" y="1"/>
                </a:moveTo>
                <a:cubicBezTo>
                  <a:pt x="5041" y="1"/>
                  <a:pt x="4884" y="158"/>
                  <a:pt x="4884" y="347"/>
                </a:cubicBezTo>
                <a:lnTo>
                  <a:pt x="4884" y="1639"/>
                </a:lnTo>
                <a:cubicBezTo>
                  <a:pt x="4884" y="1922"/>
                  <a:pt x="4758" y="2206"/>
                  <a:pt x="4569" y="2395"/>
                </a:cubicBezTo>
                <a:lnTo>
                  <a:pt x="4096" y="2868"/>
                </a:lnTo>
                <a:lnTo>
                  <a:pt x="4002" y="2868"/>
                </a:lnTo>
                <a:cubicBezTo>
                  <a:pt x="3991" y="2867"/>
                  <a:pt x="3981" y="2867"/>
                  <a:pt x="3970" y="2867"/>
                </a:cubicBezTo>
                <a:cubicBezTo>
                  <a:pt x="2880" y="2867"/>
                  <a:pt x="1886" y="4484"/>
                  <a:pt x="1387" y="5451"/>
                </a:cubicBezTo>
                <a:cubicBezTo>
                  <a:pt x="599" y="6963"/>
                  <a:pt x="63" y="8601"/>
                  <a:pt x="32" y="9862"/>
                </a:cubicBezTo>
                <a:cubicBezTo>
                  <a:pt x="0" y="10429"/>
                  <a:pt x="63" y="10901"/>
                  <a:pt x="284" y="11216"/>
                </a:cubicBezTo>
                <a:cubicBezTo>
                  <a:pt x="473" y="11657"/>
                  <a:pt x="820" y="11878"/>
                  <a:pt x="1292" y="11878"/>
                </a:cubicBezTo>
                <a:lnTo>
                  <a:pt x="1387" y="11878"/>
                </a:lnTo>
                <a:cubicBezTo>
                  <a:pt x="1954" y="11878"/>
                  <a:pt x="2489" y="11531"/>
                  <a:pt x="2962" y="11216"/>
                </a:cubicBezTo>
                <a:cubicBezTo>
                  <a:pt x="3119" y="11090"/>
                  <a:pt x="3277" y="10964"/>
                  <a:pt x="3434" y="10901"/>
                </a:cubicBezTo>
                <a:cubicBezTo>
                  <a:pt x="3970" y="10586"/>
                  <a:pt x="4474" y="10303"/>
                  <a:pt x="4852" y="9799"/>
                </a:cubicBezTo>
                <a:cubicBezTo>
                  <a:pt x="5199" y="9263"/>
                  <a:pt x="5482" y="8223"/>
                  <a:pt x="5545" y="6963"/>
                </a:cubicBezTo>
                <a:cubicBezTo>
                  <a:pt x="5545" y="6648"/>
                  <a:pt x="5577" y="6365"/>
                  <a:pt x="5545" y="6081"/>
                </a:cubicBezTo>
                <a:lnTo>
                  <a:pt x="5545" y="5987"/>
                </a:lnTo>
                <a:cubicBezTo>
                  <a:pt x="5545" y="5451"/>
                  <a:pt x="5482" y="4978"/>
                  <a:pt x="5388" y="4569"/>
                </a:cubicBezTo>
                <a:lnTo>
                  <a:pt x="5671" y="4285"/>
                </a:lnTo>
                <a:cubicBezTo>
                  <a:pt x="5734" y="4222"/>
                  <a:pt x="5821" y="4191"/>
                  <a:pt x="5908" y="4191"/>
                </a:cubicBezTo>
                <a:cubicBezTo>
                  <a:pt x="5994" y="4191"/>
                  <a:pt x="6081" y="4222"/>
                  <a:pt x="6144" y="4285"/>
                </a:cubicBezTo>
                <a:lnTo>
                  <a:pt x="6427" y="4569"/>
                </a:lnTo>
                <a:cubicBezTo>
                  <a:pt x="6270" y="5230"/>
                  <a:pt x="6207" y="6050"/>
                  <a:pt x="6270" y="6963"/>
                </a:cubicBezTo>
                <a:cubicBezTo>
                  <a:pt x="6333" y="8223"/>
                  <a:pt x="6616" y="9295"/>
                  <a:pt x="6963" y="9799"/>
                </a:cubicBezTo>
                <a:cubicBezTo>
                  <a:pt x="7310" y="10303"/>
                  <a:pt x="7845" y="10618"/>
                  <a:pt x="8381" y="10901"/>
                </a:cubicBezTo>
                <a:cubicBezTo>
                  <a:pt x="8538" y="10964"/>
                  <a:pt x="8696" y="11090"/>
                  <a:pt x="8853" y="11216"/>
                </a:cubicBezTo>
                <a:cubicBezTo>
                  <a:pt x="9326" y="11531"/>
                  <a:pt x="9830" y="11878"/>
                  <a:pt x="10429" y="11878"/>
                </a:cubicBezTo>
                <a:lnTo>
                  <a:pt x="10523" y="11878"/>
                </a:lnTo>
                <a:cubicBezTo>
                  <a:pt x="10996" y="11846"/>
                  <a:pt x="11342" y="11594"/>
                  <a:pt x="11531" y="11216"/>
                </a:cubicBezTo>
                <a:cubicBezTo>
                  <a:pt x="11720" y="10870"/>
                  <a:pt x="11815" y="10429"/>
                  <a:pt x="11783" y="9862"/>
                </a:cubicBezTo>
                <a:cubicBezTo>
                  <a:pt x="11720" y="8664"/>
                  <a:pt x="11216" y="6963"/>
                  <a:pt x="10429" y="5451"/>
                </a:cubicBezTo>
                <a:cubicBezTo>
                  <a:pt x="9924" y="4474"/>
                  <a:pt x="8885" y="2868"/>
                  <a:pt x="7782" y="2868"/>
                </a:cubicBezTo>
                <a:lnTo>
                  <a:pt x="7751" y="2868"/>
                </a:lnTo>
                <a:lnTo>
                  <a:pt x="7278" y="2395"/>
                </a:lnTo>
                <a:cubicBezTo>
                  <a:pt x="7089" y="2206"/>
                  <a:pt x="6963" y="1922"/>
                  <a:pt x="6963" y="1639"/>
                </a:cubicBezTo>
                <a:lnTo>
                  <a:pt x="6963" y="347"/>
                </a:lnTo>
                <a:cubicBezTo>
                  <a:pt x="6963" y="158"/>
                  <a:pt x="6805" y="1"/>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76"/>
          <p:cNvSpPr/>
          <p:nvPr/>
        </p:nvSpPr>
        <p:spPr>
          <a:xfrm>
            <a:off x="7098877" y="3791209"/>
            <a:ext cx="357903" cy="331538"/>
          </a:xfrm>
          <a:custGeom>
            <a:avLst/>
            <a:gdLst/>
            <a:ahLst/>
            <a:cxnLst/>
            <a:rect l="l" t="t" r="r" b="b"/>
            <a:pathLst>
              <a:path w="11973" h="11091" extrusionOk="0">
                <a:moveTo>
                  <a:pt x="2143" y="694"/>
                </a:moveTo>
                <a:cubicBezTo>
                  <a:pt x="2206" y="694"/>
                  <a:pt x="2332" y="726"/>
                  <a:pt x="2363" y="820"/>
                </a:cubicBezTo>
                <a:cubicBezTo>
                  <a:pt x="2489" y="915"/>
                  <a:pt x="2489" y="1167"/>
                  <a:pt x="2363" y="1293"/>
                </a:cubicBezTo>
                <a:lnTo>
                  <a:pt x="1387" y="2269"/>
                </a:lnTo>
                <a:cubicBezTo>
                  <a:pt x="1324" y="2332"/>
                  <a:pt x="1229" y="2395"/>
                  <a:pt x="1135" y="2395"/>
                </a:cubicBezTo>
                <a:cubicBezTo>
                  <a:pt x="1072" y="2395"/>
                  <a:pt x="977" y="2332"/>
                  <a:pt x="914" y="2269"/>
                </a:cubicBezTo>
                <a:cubicBezTo>
                  <a:pt x="788" y="2143"/>
                  <a:pt x="788" y="1923"/>
                  <a:pt x="914" y="1797"/>
                </a:cubicBezTo>
                <a:lnTo>
                  <a:pt x="1891" y="820"/>
                </a:lnTo>
                <a:cubicBezTo>
                  <a:pt x="1985" y="726"/>
                  <a:pt x="2048" y="694"/>
                  <a:pt x="2143" y="694"/>
                </a:cubicBezTo>
                <a:close/>
                <a:moveTo>
                  <a:pt x="2647" y="2017"/>
                </a:moveTo>
                <a:lnTo>
                  <a:pt x="5325" y="4191"/>
                </a:lnTo>
                <a:lnTo>
                  <a:pt x="3151" y="4191"/>
                </a:lnTo>
                <a:lnTo>
                  <a:pt x="2111" y="2584"/>
                </a:lnTo>
                <a:lnTo>
                  <a:pt x="2647" y="2017"/>
                </a:lnTo>
                <a:close/>
                <a:moveTo>
                  <a:pt x="10555" y="2805"/>
                </a:moveTo>
                <a:lnTo>
                  <a:pt x="10555" y="2805"/>
                </a:lnTo>
                <a:cubicBezTo>
                  <a:pt x="10523" y="3277"/>
                  <a:pt x="10334" y="3750"/>
                  <a:pt x="10050" y="4191"/>
                </a:cubicBezTo>
                <a:lnTo>
                  <a:pt x="8318" y="4191"/>
                </a:lnTo>
                <a:cubicBezTo>
                  <a:pt x="8822" y="3403"/>
                  <a:pt x="9641" y="2931"/>
                  <a:pt x="10555" y="2805"/>
                </a:cubicBezTo>
                <a:close/>
                <a:moveTo>
                  <a:pt x="10964" y="4853"/>
                </a:moveTo>
                <a:cubicBezTo>
                  <a:pt x="11153" y="4853"/>
                  <a:pt x="11311" y="5010"/>
                  <a:pt x="11311" y="5231"/>
                </a:cubicBezTo>
                <a:cubicBezTo>
                  <a:pt x="11279" y="5294"/>
                  <a:pt x="11279" y="5388"/>
                  <a:pt x="11185" y="5420"/>
                </a:cubicBezTo>
                <a:cubicBezTo>
                  <a:pt x="11122" y="5483"/>
                  <a:pt x="11027" y="5577"/>
                  <a:pt x="10933" y="5577"/>
                </a:cubicBezTo>
                <a:lnTo>
                  <a:pt x="1198" y="5577"/>
                </a:lnTo>
                <a:cubicBezTo>
                  <a:pt x="1072" y="5577"/>
                  <a:pt x="1009" y="5546"/>
                  <a:pt x="914" y="5420"/>
                </a:cubicBezTo>
                <a:cubicBezTo>
                  <a:pt x="882" y="5325"/>
                  <a:pt x="851" y="5294"/>
                  <a:pt x="851" y="5231"/>
                </a:cubicBezTo>
                <a:cubicBezTo>
                  <a:pt x="851" y="5010"/>
                  <a:pt x="1009" y="4853"/>
                  <a:pt x="1198" y="4853"/>
                </a:cubicBezTo>
                <a:close/>
                <a:moveTo>
                  <a:pt x="10555" y="6239"/>
                </a:moveTo>
                <a:cubicBezTo>
                  <a:pt x="10428" y="7058"/>
                  <a:pt x="10082" y="8098"/>
                  <a:pt x="8759" y="9043"/>
                </a:cubicBezTo>
                <a:lnTo>
                  <a:pt x="3340" y="9043"/>
                </a:lnTo>
                <a:cubicBezTo>
                  <a:pt x="2363" y="8381"/>
                  <a:pt x="1765" y="7657"/>
                  <a:pt x="1576" y="6270"/>
                </a:cubicBezTo>
                <a:lnTo>
                  <a:pt x="9137" y="6270"/>
                </a:lnTo>
                <a:cubicBezTo>
                  <a:pt x="9074" y="6711"/>
                  <a:pt x="8822" y="7216"/>
                  <a:pt x="8192" y="7751"/>
                </a:cubicBezTo>
                <a:cubicBezTo>
                  <a:pt x="8034" y="7846"/>
                  <a:pt x="8034" y="8098"/>
                  <a:pt x="8160" y="8224"/>
                </a:cubicBezTo>
                <a:cubicBezTo>
                  <a:pt x="8223" y="8287"/>
                  <a:pt x="8318" y="8318"/>
                  <a:pt x="8444" y="8318"/>
                </a:cubicBezTo>
                <a:cubicBezTo>
                  <a:pt x="8507" y="8318"/>
                  <a:pt x="8601" y="8287"/>
                  <a:pt x="8633" y="8255"/>
                </a:cubicBezTo>
                <a:cubicBezTo>
                  <a:pt x="9483" y="7531"/>
                  <a:pt x="9767" y="6838"/>
                  <a:pt x="9861" y="6239"/>
                </a:cubicBezTo>
                <a:close/>
                <a:moveTo>
                  <a:pt x="8475" y="9704"/>
                </a:moveTo>
                <a:lnTo>
                  <a:pt x="8475" y="10051"/>
                </a:lnTo>
                <a:cubicBezTo>
                  <a:pt x="8507" y="10272"/>
                  <a:pt x="8349" y="10429"/>
                  <a:pt x="8160" y="10429"/>
                </a:cubicBezTo>
                <a:lnTo>
                  <a:pt x="3938" y="10429"/>
                </a:lnTo>
                <a:cubicBezTo>
                  <a:pt x="3749" y="10429"/>
                  <a:pt x="3592" y="10272"/>
                  <a:pt x="3592" y="10051"/>
                </a:cubicBezTo>
                <a:lnTo>
                  <a:pt x="3592" y="9704"/>
                </a:lnTo>
                <a:close/>
                <a:moveTo>
                  <a:pt x="2143" y="1"/>
                </a:moveTo>
                <a:cubicBezTo>
                  <a:pt x="1859" y="1"/>
                  <a:pt x="1576" y="127"/>
                  <a:pt x="1387" y="348"/>
                </a:cubicBezTo>
                <a:lnTo>
                  <a:pt x="410" y="1324"/>
                </a:lnTo>
                <a:cubicBezTo>
                  <a:pt x="0" y="1702"/>
                  <a:pt x="0" y="2364"/>
                  <a:pt x="410" y="2773"/>
                </a:cubicBezTo>
                <a:cubicBezTo>
                  <a:pt x="599" y="2962"/>
                  <a:pt x="882" y="3088"/>
                  <a:pt x="1135" y="3088"/>
                </a:cubicBezTo>
                <a:cubicBezTo>
                  <a:pt x="1261" y="3088"/>
                  <a:pt x="1418" y="3057"/>
                  <a:pt x="1544" y="3025"/>
                </a:cubicBezTo>
                <a:lnTo>
                  <a:pt x="2332" y="4191"/>
                </a:lnTo>
                <a:lnTo>
                  <a:pt x="1198" y="4191"/>
                </a:lnTo>
                <a:cubicBezTo>
                  <a:pt x="599" y="4191"/>
                  <a:pt x="158" y="4664"/>
                  <a:pt x="158" y="5231"/>
                </a:cubicBezTo>
                <a:cubicBezTo>
                  <a:pt x="158" y="5451"/>
                  <a:pt x="252" y="5640"/>
                  <a:pt x="347" y="5861"/>
                </a:cubicBezTo>
                <a:cubicBezTo>
                  <a:pt x="473" y="6050"/>
                  <a:pt x="662" y="6176"/>
                  <a:pt x="914" y="6207"/>
                </a:cubicBezTo>
                <a:cubicBezTo>
                  <a:pt x="977" y="6995"/>
                  <a:pt x="1229" y="7625"/>
                  <a:pt x="1544" y="8161"/>
                </a:cubicBezTo>
                <a:cubicBezTo>
                  <a:pt x="1859" y="8696"/>
                  <a:pt x="2300" y="9106"/>
                  <a:pt x="2930" y="9547"/>
                </a:cubicBezTo>
                <a:lnTo>
                  <a:pt x="2930" y="10051"/>
                </a:lnTo>
                <a:cubicBezTo>
                  <a:pt x="2930" y="10650"/>
                  <a:pt x="3403" y="11091"/>
                  <a:pt x="3938" y="11091"/>
                </a:cubicBezTo>
                <a:lnTo>
                  <a:pt x="8160" y="11091"/>
                </a:lnTo>
                <a:cubicBezTo>
                  <a:pt x="8759" y="11091"/>
                  <a:pt x="9168" y="10618"/>
                  <a:pt x="9168" y="10051"/>
                </a:cubicBezTo>
                <a:lnTo>
                  <a:pt x="9168" y="9547"/>
                </a:lnTo>
                <a:cubicBezTo>
                  <a:pt x="10428" y="8696"/>
                  <a:pt x="11122" y="7594"/>
                  <a:pt x="11216" y="6207"/>
                </a:cubicBezTo>
                <a:cubicBezTo>
                  <a:pt x="11437" y="6113"/>
                  <a:pt x="11626" y="6018"/>
                  <a:pt x="11752" y="5861"/>
                </a:cubicBezTo>
                <a:cubicBezTo>
                  <a:pt x="11846" y="5640"/>
                  <a:pt x="11941" y="5451"/>
                  <a:pt x="11941" y="5231"/>
                </a:cubicBezTo>
                <a:cubicBezTo>
                  <a:pt x="11972" y="4632"/>
                  <a:pt x="11500" y="4191"/>
                  <a:pt x="10901" y="4191"/>
                </a:cubicBezTo>
                <a:lnTo>
                  <a:pt x="10838" y="4191"/>
                </a:lnTo>
                <a:cubicBezTo>
                  <a:pt x="11122" y="3656"/>
                  <a:pt x="11279" y="3057"/>
                  <a:pt x="11279" y="2458"/>
                </a:cubicBezTo>
                <a:cubicBezTo>
                  <a:pt x="11279" y="2269"/>
                  <a:pt x="11122" y="2112"/>
                  <a:pt x="10901" y="2112"/>
                </a:cubicBezTo>
                <a:cubicBezTo>
                  <a:pt x="9452" y="2112"/>
                  <a:pt x="8160" y="2931"/>
                  <a:pt x="7530" y="4191"/>
                </a:cubicBezTo>
                <a:lnTo>
                  <a:pt x="6427" y="4191"/>
                </a:lnTo>
                <a:lnTo>
                  <a:pt x="3088" y="1482"/>
                </a:lnTo>
                <a:cubicBezTo>
                  <a:pt x="3245" y="1072"/>
                  <a:pt x="3151" y="663"/>
                  <a:pt x="2867" y="348"/>
                </a:cubicBezTo>
                <a:cubicBezTo>
                  <a:pt x="2678" y="127"/>
                  <a:pt x="2395" y="1"/>
                  <a:pt x="21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76"/>
          <p:cNvSpPr/>
          <p:nvPr/>
        </p:nvSpPr>
        <p:spPr>
          <a:xfrm>
            <a:off x="6201949" y="4272972"/>
            <a:ext cx="356020" cy="354136"/>
          </a:xfrm>
          <a:custGeom>
            <a:avLst/>
            <a:gdLst/>
            <a:ahLst/>
            <a:cxnLst/>
            <a:rect l="l" t="t" r="r" b="b"/>
            <a:pathLst>
              <a:path w="11910" h="11847" extrusionOk="0">
                <a:moveTo>
                  <a:pt x="1104" y="693"/>
                </a:moveTo>
                <a:cubicBezTo>
                  <a:pt x="2521" y="693"/>
                  <a:pt x="3592" y="1702"/>
                  <a:pt x="3813" y="3371"/>
                </a:cubicBezTo>
                <a:lnTo>
                  <a:pt x="3939" y="4190"/>
                </a:lnTo>
                <a:lnTo>
                  <a:pt x="3781" y="4190"/>
                </a:lnTo>
                <a:cubicBezTo>
                  <a:pt x="3592" y="4190"/>
                  <a:pt x="3435" y="4190"/>
                  <a:pt x="3246" y="4222"/>
                </a:cubicBezTo>
                <a:lnTo>
                  <a:pt x="3151" y="3497"/>
                </a:lnTo>
                <a:cubicBezTo>
                  <a:pt x="2962" y="2143"/>
                  <a:pt x="2206" y="1418"/>
                  <a:pt x="1104" y="1418"/>
                </a:cubicBezTo>
                <a:cubicBezTo>
                  <a:pt x="915" y="1418"/>
                  <a:pt x="757" y="1260"/>
                  <a:pt x="757" y="1040"/>
                </a:cubicBezTo>
                <a:cubicBezTo>
                  <a:pt x="757" y="851"/>
                  <a:pt x="915" y="693"/>
                  <a:pt x="1104" y="693"/>
                </a:cubicBezTo>
                <a:close/>
                <a:moveTo>
                  <a:pt x="6617" y="3529"/>
                </a:moveTo>
                <a:cubicBezTo>
                  <a:pt x="7184" y="3529"/>
                  <a:pt x="7657" y="4001"/>
                  <a:pt x="7657" y="4568"/>
                </a:cubicBezTo>
                <a:lnTo>
                  <a:pt x="7657" y="5577"/>
                </a:lnTo>
                <a:lnTo>
                  <a:pt x="6774" y="5577"/>
                </a:lnTo>
                <a:lnTo>
                  <a:pt x="6554" y="5356"/>
                </a:lnTo>
                <a:lnTo>
                  <a:pt x="6522" y="5293"/>
                </a:lnTo>
                <a:cubicBezTo>
                  <a:pt x="6050" y="4820"/>
                  <a:pt x="5388" y="4474"/>
                  <a:pt x="4695" y="4316"/>
                </a:cubicBezTo>
                <a:lnTo>
                  <a:pt x="4569" y="3529"/>
                </a:lnTo>
                <a:close/>
                <a:moveTo>
                  <a:pt x="3466" y="4915"/>
                </a:moveTo>
                <a:lnTo>
                  <a:pt x="3466" y="5608"/>
                </a:lnTo>
                <a:cubicBezTo>
                  <a:pt x="3088" y="5671"/>
                  <a:pt x="2679" y="5860"/>
                  <a:pt x="2364" y="6081"/>
                </a:cubicBezTo>
                <a:lnTo>
                  <a:pt x="1860" y="5577"/>
                </a:lnTo>
                <a:cubicBezTo>
                  <a:pt x="2332" y="5230"/>
                  <a:pt x="2868" y="4978"/>
                  <a:pt x="3466" y="4915"/>
                </a:cubicBezTo>
                <a:close/>
                <a:moveTo>
                  <a:pt x="4191" y="4915"/>
                </a:moveTo>
                <a:cubicBezTo>
                  <a:pt x="4790" y="4978"/>
                  <a:pt x="5325" y="5230"/>
                  <a:pt x="5798" y="5577"/>
                </a:cubicBezTo>
                <a:lnTo>
                  <a:pt x="5294" y="6081"/>
                </a:lnTo>
                <a:cubicBezTo>
                  <a:pt x="4979" y="5860"/>
                  <a:pt x="4569" y="5703"/>
                  <a:pt x="4191" y="5608"/>
                </a:cubicBezTo>
                <a:lnTo>
                  <a:pt x="4191" y="4915"/>
                </a:lnTo>
                <a:close/>
                <a:moveTo>
                  <a:pt x="6270" y="6049"/>
                </a:moveTo>
                <a:cubicBezTo>
                  <a:pt x="6617" y="6522"/>
                  <a:pt x="6869" y="7057"/>
                  <a:pt x="6932" y="7656"/>
                </a:cubicBezTo>
                <a:lnTo>
                  <a:pt x="6239" y="7656"/>
                </a:lnTo>
                <a:cubicBezTo>
                  <a:pt x="6176" y="7278"/>
                  <a:pt x="5987" y="6868"/>
                  <a:pt x="5766" y="6553"/>
                </a:cubicBezTo>
                <a:lnTo>
                  <a:pt x="6270" y="6049"/>
                </a:lnTo>
                <a:close/>
                <a:moveTo>
                  <a:pt x="1387" y="6081"/>
                </a:moveTo>
                <a:lnTo>
                  <a:pt x="1891" y="6616"/>
                </a:lnTo>
                <a:cubicBezTo>
                  <a:pt x="1671" y="6931"/>
                  <a:pt x="1513" y="7309"/>
                  <a:pt x="1419" y="7719"/>
                </a:cubicBezTo>
                <a:lnTo>
                  <a:pt x="725" y="7719"/>
                </a:lnTo>
                <a:cubicBezTo>
                  <a:pt x="788" y="7057"/>
                  <a:pt x="1041" y="6522"/>
                  <a:pt x="1387" y="6081"/>
                </a:cubicBezTo>
                <a:close/>
                <a:moveTo>
                  <a:pt x="8792" y="6327"/>
                </a:moveTo>
                <a:cubicBezTo>
                  <a:pt x="9316" y="6327"/>
                  <a:pt x="9736" y="6806"/>
                  <a:pt x="9736" y="7341"/>
                </a:cubicBezTo>
                <a:lnTo>
                  <a:pt x="9736" y="7719"/>
                </a:lnTo>
                <a:lnTo>
                  <a:pt x="7657" y="7719"/>
                </a:lnTo>
                <a:cubicBezTo>
                  <a:pt x="7594" y="7183"/>
                  <a:pt x="7436" y="6774"/>
                  <a:pt x="7247" y="6333"/>
                </a:cubicBezTo>
                <a:lnTo>
                  <a:pt x="8696" y="6333"/>
                </a:lnTo>
                <a:cubicBezTo>
                  <a:pt x="8729" y="6329"/>
                  <a:pt x="8761" y="6327"/>
                  <a:pt x="8792" y="6327"/>
                </a:cubicBezTo>
                <a:close/>
                <a:moveTo>
                  <a:pt x="3813" y="6270"/>
                </a:moveTo>
                <a:cubicBezTo>
                  <a:pt x="4790" y="6270"/>
                  <a:pt x="5577" y="7057"/>
                  <a:pt x="5577" y="8034"/>
                </a:cubicBezTo>
                <a:cubicBezTo>
                  <a:pt x="5577" y="8979"/>
                  <a:pt x="4790" y="9767"/>
                  <a:pt x="3813" y="9767"/>
                </a:cubicBezTo>
                <a:cubicBezTo>
                  <a:pt x="2868" y="9767"/>
                  <a:pt x="2080" y="8979"/>
                  <a:pt x="2080" y="8034"/>
                </a:cubicBezTo>
                <a:cubicBezTo>
                  <a:pt x="2080" y="7057"/>
                  <a:pt x="2868" y="6270"/>
                  <a:pt x="3813" y="6270"/>
                </a:cubicBezTo>
                <a:close/>
                <a:moveTo>
                  <a:pt x="1419" y="8381"/>
                </a:moveTo>
                <a:cubicBezTo>
                  <a:pt x="1450" y="8759"/>
                  <a:pt x="1671" y="9168"/>
                  <a:pt x="1891" y="9483"/>
                </a:cubicBezTo>
                <a:lnTo>
                  <a:pt x="1387" y="9987"/>
                </a:lnTo>
                <a:cubicBezTo>
                  <a:pt x="1041" y="9515"/>
                  <a:pt x="788" y="8979"/>
                  <a:pt x="725" y="8381"/>
                </a:cubicBezTo>
                <a:close/>
                <a:moveTo>
                  <a:pt x="6932" y="8381"/>
                </a:moveTo>
                <a:cubicBezTo>
                  <a:pt x="6869" y="8979"/>
                  <a:pt x="6617" y="9515"/>
                  <a:pt x="6270" y="9987"/>
                </a:cubicBezTo>
                <a:lnTo>
                  <a:pt x="5766" y="9483"/>
                </a:lnTo>
                <a:cubicBezTo>
                  <a:pt x="5987" y="9168"/>
                  <a:pt x="6144" y="8759"/>
                  <a:pt x="6239" y="8381"/>
                </a:cubicBezTo>
                <a:close/>
                <a:moveTo>
                  <a:pt x="5294" y="9956"/>
                </a:moveTo>
                <a:lnTo>
                  <a:pt x="5798" y="10460"/>
                </a:lnTo>
                <a:cubicBezTo>
                  <a:pt x="5357" y="10806"/>
                  <a:pt x="4821" y="11058"/>
                  <a:pt x="4191" y="11121"/>
                </a:cubicBezTo>
                <a:lnTo>
                  <a:pt x="4191" y="10428"/>
                </a:lnTo>
                <a:cubicBezTo>
                  <a:pt x="4569" y="10397"/>
                  <a:pt x="4979" y="10176"/>
                  <a:pt x="5294" y="9956"/>
                </a:cubicBezTo>
                <a:close/>
                <a:moveTo>
                  <a:pt x="2364" y="9987"/>
                </a:moveTo>
                <a:cubicBezTo>
                  <a:pt x="2679" y="10208"/>
                  <a:pt x="3088" y="10397"/>
                  <a:pt x="3466" y="10460"/>
                </a:cubicBezTo>
                <a:lnTo>
                  <a:pt x="3466" y="11184"/>
                </a:lnTo>
                <a:cubicBezTo>
                  <a:pt x="2868" y="11090"/>
                  <a:pt x="2332" y="10838"/>
                  <a:pt x="1860" y="10491"/>
                </a:cubicBezTo>
                <a:lnTo>
                  <a:pt x="2364" y="9987"/>
                </a:lnTo>
                <a:close/>
                <a:moveTo>
                  <a:pt x="9389" y="10460"/>
                </a:moveTo>
                <a:cubicBezTo>
                  <a:pt x="9578" y="10460"/>
                  <a:pt x="9736" y="10617"/>
                  <a:pt x="9736" y="10806"/>
                </a:cubicBezTo>
                <a:cubicBezTo>
                  <a:pt x="9736" y="10995"/>
                  <a:pt x="9578" y="11184"/>
                  <a:pt x="9389" y="11184"/>
                </a:cubicBezTo>
                <a:cubicBezTo>
                  <a:pt x="9169" y="11184"/>
                  <a:pt x="9011" y="10995"/>
                  <a:pt x="9011" y="10806"/>
                </a:cubicBezTo>
                <a:cubicBezTo>
                  <a:pt x="9011" y="10617"/>
                  <a:pt x="9169" y="10460"/>
                  <a:pt x="9389" y="10460"/>
                </a:cubicBezTo>
                <a:close/>
                <a:moveTo>
                  <a:pt x="1104" y="0"/>
                </a:moveTo>
                <a:cubicBezTo>
                  <a:pt x="505" y="0"/>
                  <a:pt x="95" y="473"/>
                  <a:pt x="95" y="1008"/>
                </a:cubicBezTo>
                <a:cubicBezTo>
                  <a:pt x="95" y="1544"/>
                  <a:pt x="568" y="2048"/>
                  <a:pt x="1104" y="2048"/>
                </a:cubicBezTo>
                <a:cubicBezTo>
                  <a:pt x="2049" y="2048"/>
                  <a:pt x="2364" y="2867"/>
                  <a:pt x="2490" y="3529"/>
                </a:cubicBezTo>
                <a:lnTo>
                  <a:pt x="2616" y="4348"/>
                </a:lnTo>
                <a:cubicBezTo>
                  <a:pt x="2049" y="4537"/>
                  <a:pt x="1576" y="4852"/>
                  <a:pt x="1167" y="5262"/>
                </a:cubicBezTo>
                <a:lnTo>
                  <a:pt x="1104" y="5293"/>
                </a:lnTo>
                <a:cubicBezTo>
                  <a:pt x="442" y="5955"/>
                  <a:pt x="1" y="6900"/>
                  <a:pt x="1" y="7971"/>
                </a:cubicBezTo>
                <a:cubicBezTo>
                  <a:pt x="1" y="9011"/>
                  <a:pt x="442" y="9956"/>
                  <a:pt x="1104" y="10649"/>
                </a:cubicBezTo>
                <a:lnTo>
                  <a:pt x="1167" y="10680"/>
                </a:lnTo>
                <a:lnTo>
                  <a:pt x="1198" y="10743"/>
                </a:lnTo>
                <a:cubicBezTo>
                  <a:pt x="1860" y="11405"/>
                  <a:pt x="2805" y="11846"/>
                  <a:pt x="3876" y="11846"/>
                </a:cubicBezTo>
                <a:cubicBezTo>
                  <a:pt x="4884" y="11846"/>
                  <a:pt x="5829" y="11405"/>
                  <a:pt x="6554" y="10743"/>
                </a:cubicBezTo>
                <a:lnTo>
                  <a:pt x="6585" y="10680"/>
                </a:lnTo>
                <a:lnTo>
                  <a:pt x="6617" y="10649"/>
                </a:lnTo>
                <a:cubicBezTo>
                  <a:pt x="7216" y="10019"/>
                  <a:pt x="7625" y="9231"/>
                  <a:pt x="7688" y="8318"/>
                </a:cubicBezTo>
                <a:lnTo>
                  <a:pt x="9106" y="8318"/>
                </a:lnTo>
                <a:lnTo>
                  <a:pt x="9106" y="9798"/>
                </a:lnTo>
                <a:cubicBezTo>
                  <a:pt x="8728" y="9956"/>
                  <a:pt x="8381" y="10302"/>
                  <a:pt x="8381" y="10775"/>
                </a:cubicBezTo>
                <a:cubicBezTo>
                  <a:pt x="8381" y="11373"/>
                  <a:pt x="8854" y="11783"/>
                  <a:pt x="9421" y="11783"/>
                </a:cubicBezTo>
                <a:cubicBezTo>
                  <a:pt x="9862" y="11783"/>
                  <a:pt x="10240" y="11531"/>
                  <a:pt x="10398" y="11090"/>
                </a:cubicBezTo>
                <a:lnTo>
                  <a:pt x="11532" y="11090"/>
                </a:lnTo>
                <a:cubicBezTo>
                  <a:pt x="11752" y="11090"/>
                  <a:pt x="11910" y="10932"/>
                  <a:pt x="11910" y="10743"/>
                </a:cubicBezTo>
                <a:cubicBezTo>
                  <a:pt x="11910" y="10523"/>
                  <a:pt x="11689" y="10460"/>
                  <a:pt x="11500" y="10460"/>
                </a:cubicBezTo>
                <a:lnTo>
                  <a:pt x="10366" y="10460"/>
                </a:lnTo>
                <a:cubicBezTo>
                  <a:pt x="10240" y="10176"/>
                  <a:pt x="10019" y="9956"/>
                  <a:pt x="9736" y="9830"/>
                </a:cubicBezTo>
                <a:lnTo>
                  <a:pt x="9736" y="8381"/>
                </a:lnTo>
                <a:lnTo>
                  <a:pt x="10807" y="8381"/>
                </a:lnTo>
                <a:cubicBezTo>
                  <a:pt x="10996" y="8381"/>
                  <a:pt x="11154" y="8223"/>
                  <a:pt x="11154" y="8034"/>
                </a:cubicBezTo>
                <a:cubicBezTo>
                  <a:pt x="11154" y="7813"/>
                  <a:pt x="10996" y="7656"/>
                  <a:pt x="10807" y="7656"/>
                </a:cubicBezTo>
                <a:lnTo>
                  <a:pt x="10461" y="7656"/>
                </a:lnTo>
                <a:lnTo>
                  <a:pt x="10461" y="7309"/>
                </a:lnTo>
                <a:cubicBezTo>
                  <a:pt x="10461" y="6364"/>
                  <a:pt x="9673" y="5577"/>
                  <a:pt x="8728" y="5577"/>
                </a:cubicBezTo>
                <a:lnTo>
                  <a:pt x="8350" y="5577"/>
                </a:lnTo>
                <a:lnTo>
                  <a:pt x="8350" y="4568"/>
                </a:lnTo>
                <a:cubicBezTo>
                  <a:pt x="8350" y="3623"/>
                  <a:pt x="7562" y="2836"/>
                  <a:pt x="6617" y="2836"/>
                </a:cubicBezTo>
                <a:lnTo>
                  <a:pt x="4443" y="2836"/>
                </a:lnTo>
                <a:cubicBezTo>
                  <a:pt x="4254" y="2048"/>
                  <a:pt x="3907" y="1418"/>
                  <a:pt x="3403" y="882"/>
                </a:cubicBezTo>
                <a:cubicBezTo>
                  <a:pt x="2773" y="315"/>
                  <a:pt x="1986" y="0"/>
                  <a:pt x="1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83" name="Google Shape;9483;p76"/>
          <p:cNvGrpSpPr/>
          <p:nvPr/>
        </p:nvGrpSpPr>
        <p:grpSpPr>
          <a:xfrm>
            <a:off x="6644801" y="1561609"/>
            <a:ext cx="360713" cy="353897"/>
            <a:chOff x="-26993200" y="1961775"/>
            <a:chExt cx="301675" cy="295975"/>
          </a:xfrm>
        </p:grpSpPr>
        <p:sp>
          <p:nvSpPr>
            <p:cNvPr id="9484" name="Google Shape;9484;p76"/>
            <p:cNvSpPr/>
            <p:nvPr/>
          </p:nvSpPr>
          <p:spPr>
            <a:xfrm>
              <a:off x="-26993200" y="1961775"/>
              <a:ext cx="301675" cy="295975"/>
            </a:xfrm>
            <a:custGeom>
              <a:avLst/>
              <a:gdLst/>
              <a:ahLst/>
              <a:cxnLst/>
              <a:rect l="l" t="t" r="r" b="b"/>
              <a:pathLst>
                <a:path w="12067" h="11839" extrusionOk="0">
                  <a:moveTo>
                    <a:pt x="8601" y="685"/>
                  </a:moveTo>
                  <a:cubicBezTo>
                    <a:pt x="8664" y="685"/>
                    <a:pt x="8790" y="717"/>
                    <a:pt x="8822" y="811"/>
                  </a:cubicBezTo>
                  <a:lnTo>
                    <a:pt x="11279" y="3237"/>
                  </a:lnTo>
                  <a:cubicBezTo>
                    <a:pt x="11342" y="3332"/>
                    <a:pt x="11374" y="3395"/>
                    <a:pt x="11374" y="3489"/>
                  </a:cubicBezTo>
                  <a:cubicBezTo>
                    <a:pt x="11374" y="3552"/>
                    <a:pt x="11342" y="3647"/>
                    <a:pt x="11279" y="3710"/>
                  </a:cubicBezTo>
                  <a:cubicBezTo>
                    <a:pt x="11216" y="3773"/>
                    <a:pt x="11122" y="3804"/>
                    <a:pt x="11031" y="3804"/>
                  </a:cubicBezTo>
                  <a:cubicBezTo>
                    <a:pt x="10941" y="3804"/>
                    <a:pt x="10854" y="3773"/>
                    <a:pt x="10807" y="3710"/>
                  </a:cubicBezTo>
                  <a:lnTo>
                    <a:pt x="8349" y="1284"/>
                  </a:lnTo>
                  <a:cubicBezTo>
                    <a:pt x="8286" y="1189"/>
                    <a:pt x="8223" y="1126"/>
                    <a:pt x="8223" y="1032"/>
                  </a:cubicBezTo>
                  <a:cubicBezTo>
                    <a:pt x="8223" y="969"/>
                    <a:pt x="8286" y="843"/>
                    <a:pt x="8349" y="811"/>
                  </a:cubicBezTo>
                  <a:cubicBezTo>
                    <a:pt x="8444" y="717"/>
                    <a:pt x="8507" y="685"/>
                    <a:pt x="8601" y="685"/>
                  </a:cubicBezTo>
                  <a:close/>
                  <a:moveTo>
                    <a:pt x="7971" y="2103"/>
                  </a:moveTo>
                  <a:lnTo>
                    <a:pt x="8759" y="2891"/>
                  </a:lnTo>
                  <a:lnTo>
                    <a:pt x="9925" y="4056"/>
                  </a:lnTo>
                  <a:lnTo>
                    <a:pt x="7058" y="6955"/>
                  </a:lnTo>
                  <a:cubicBezTo>
                    <a:pt x="6617" y="6545"/>
                    <a:pt x="5986" y="6356"/>
                    <a:pt x="5325" y="6356"/>
                  </a:cubicBezTo>
                  <a:lnTo>
                    <a:pt x="5293" y="6356"/>
                  </a:lnTo>
                  <a:cubicBezTo>
                    <a:pt x="5256" y="6359"/>
                    <a:pt x="5219" y="6360"/>
                    <a:pt x="5182" y="6360"/>
                  </a:cubicBezTo>
                  <a:cubicBezTo>
                    <a:pt x="4779" y="6360"/>
                    <a:pt x="4385" y="6206"/>
                    <a:pt x="4096" y="5947"/>
                  </a:cubicBezTo>
                  <a:lnTo>
                    <a:pt x="5136" y="4939"/>
                  </a:lnTo>
                  <a:lnTo>
                    <a:pt x="5356" y="5159"/>
                  </a:lnTo>
                  <a:cubicBezTo>
                    <a:pt x="5451" y="5254"/>
                    <a:pt x="5514" y="5285"/>
                    <a:pt x="5608" y="5285"/>
                  </a:cubicBezTo>
                  <a:cubicBezTo>
                    <a:pt x="5671" y="5285"/>
                    <a:pt x="5797" y="5254"/>
                    <a:pt x="5829" y="5159"/>
                  </a:cubicBezTo>
                  <a:cubicBezTo>
                    <a:pt x="5955" y="5065"/>
                    <a:pt x="5955" y="4813"/>
                    <a:pt x="5829" y="4687"/>
                  </a:cubicBezTo>
                  <a:lnTo>
                    <a:pt x="5608" y="4466"/>
                  </a:lnTo>
                  <a:lnTo>
                    <a:pt x="6081" y="3993"/>
                  </a:lnTo>
                  <a:lnTo>
                    <a:pt x="6302" y="4214"/>
                  </a:lnTo>
                  <a:cubicBezTo>
                    <a:pt x="6396" y="4308"/>
                    <a:pt x="6459" y="4340"/>
                    <a:pt x="6554" y="4340"/>
                  </a:cubicBezTo>
                  <a:cubicBezTo>
                    <a:pt x="6617" y="4340"/>
                    <a:pt x="6743" y="4308"/>
                    <a:pt x="6774" y="4214"/>
                  </a:cubicBezTo>
                  <a:cubicBezTo>
                    <a:pt x="6900" y="4119"/>
                    <a:pt x="6900" y="3867"/>
                    <a:pt x="6774" y="3741"/>
                  </a:cubicBezTo>
                  <a:lnTo>
                    <a:pt x="6554" y="3521"/>
                  </a:lnTo>
                  <a:lnTo>
                    <a:pt x="7026" y="3048"/>
                  </a:lnTo>
                  <a:lnTo>
                    <a:pt x="7247" y="3269"/>
                  </a:lnTo>
                  <a:cubicBezTo>
                    <a:pt x="7341" y="3363"/>
                    <a:pt x="7404" y="3395"/>
                    <a:pt x="7499" y="3395"/>
                  </a:cubicBezTo>
                  <a:cubicBezTo>
                    <a:pt x="7562" y="3395"/>
                    <a:pt x="7688" y="3363"/>
                    <a:pt x="7719" y="3269"/>
                  </a:cubicBezTo>
                  <a:cubicBezTo>
                    <a:pt x="7845" y="3174"/>
                    <a:pt x="7845" y="2922"/>
                    <a:pt x="7719" y="2796"/>
                  </a:cubicBezTo>
                  <a:lnTo>
                    <a:pt x="7499" y="2576"/>
                  </a:lnTo>
                  <a:lnTo>
                    <a:pt x="7971" y="2103"/>
                  </a:lnTo>
                  <a:close/>
                  <a:moveTo>
                    <a:pt x="3592" y="6482"/>
                  </a:moveTo>
                  <a:cubicBezTo>
                    <a:pt x="4038" y="6839"/>
                    <a:pt x="4596" y="7084"/>
                    <a:pt x="5213" y="7084"/>
                  </a:cubicBezTo>
                  <a:cubicBezTo>
                    <a:pt x="5250" y="7084"/>
                    <a:pt x="5288" y="7083"/>
                    <a:pt x="5325" y="7081"/>
                  </a:cubicBezTo>
                  <a:cubicBezTo>
                    <a:pt x="5797" y="7081"/>
                    <a:pt x="6239" y="7175"/>
                    <a:pt x="6554" y="7459"/>
                  </a:cubicBezTo>
                  <a:lnTo>
                    <a:pt x="3277" y="10735"/>
                  </a:lnTo>
                  <a:cubicBezTo>
                    <a:pt x="2993" y="11003"/>
                    <a:pt x="2639" y="11137"/>
                    <a:pt x="2285" y="11137"/>
                  </a:cubicBezTo>
                  <a:cubicBezTo>
                    <a:pt x="1930" y="11137"/>
                    <a:pt x="1576" y="11003"/>
                    <a:pt x="1292" y="10735"/>
                  </a:cubicBezTo>
                  <a:cubicBezTo>
                    <a:pt x="757" y="10168"/>
                    <a:pt x="757" y="9318"/>
                    <a:pt x="1292" y="8751"/>
                  </a:cubicBezTo>
                  <a:lnTo>
                    <a:pt x="3592" y="6482"/>
                  </a:lnTo>
                  <a:close/>
                  <a:moveTo>
                    <a:pt x="8582" y="0"/>
                  </a:moveTo>
                  <a:cubicBezTo>
                    <a:pt x="8318" y="0"/>
                    <a:pt x="8050" y="103"/>
                    <a:pt x="7845" y="307"/>
                  </a:cubicBezTo>
                  <a:cubicBezTo>
                    <a:pt x="7656" y="496"/>
                    <a:pt x="7530" y="780"/>
                    <a:pt x="7530" y="1032"/>
                  </a:cubicBezTo>
                  <a:cubicBezTo>
                    <a:pt x="7530" y="1189"/>
                    <a:pt x="7562" y="1347"/>
                    <a:pt x="7656" y="1473"/>
                  </a:cubicBezTo>
                  <a:lnTo>
                    <a:pt x="6869" y="2261"/>
                  </a:lnTo>
                  <a:lnTo>
                    <a:pt x="4884" y="4245"/>
                  </a:lnTo>
                  <a:lnTo>
                    <a:pt x="820" y="8278"/>
                  </a:lnTo>
                  <a:cubicBezTo>
                    <a:pt x="1" y="9097"/>
                    <a:pt x="1" y="10420"/>
                    <a:pt x="820" y="11240"/>
                  </a:cubicBezTo>
                  <a:cubicBezTo>
                    <a:pt x="1229" y="11649"/>
                    <a:pt x="1796" y="11838"/>
                    <a:pt x="2300" y="11838"/>
                  </a:cubicBezTo>
                  <a:cubicBezTo>
                    <a:pt x="2836" y="11838"/>
                    <a:pt x="3340" y="11649"/>
                    <a:pt x="3750" y="11240"/>
                  </a:cubicBezTo>
                  <a:lnTo>
                    <a:pt x="10555" y="4434"/>
                  </a:lnTo>
                  <a:cubicBezTo>
                    <a:pt x="10712" y="4497"/>
                    <a:pt x="10838" y="4560"/>
                    <a:pt x="10996" y="4560"/>
                  </a:cubicBezTo>
                  <a:cubicBezTo>
                    <a:pt x="11279" y="4560"/>
                    <a:pt x="11531" y="4434"/>
                    <a:pt x="11752" y="4245"/>
                  </a:cubicBezTo>
                  <a:cubicBezTo>
                    <a:pt x="11941" y="4025"/>
                    <a:pt x="12067" y="3773"/>
                    <a:pt x="12067" y="3489"/>
                  </a:cubicBezTo>
                  <a:cubicBezTo>
                    <a:pt x="12067" y="3206"/>
                    <a:pt x="11941" y="2922"/>
                    <a:pt x="11752" y="2733"/>
                  </a:cubicBezTo>
                  <a:lnTo>
                    <a:pt x="9294" y="307"/>
                  </a:lnTo>
                  <a:cubicBezTo>
                    <a:pt x="9105" y="103"/>
                    <a:pt x="8846" y="0"/>
                    <a:pt x="85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76"/>
            <p:cNvSpPr/>
            <p:nvPr/>
          </p:nvSpPr>
          <p:spPr>
            <a:xfrm>
              <a:off x="-26900250" y="21647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76"/>
            <p:cNvSpPr/>
            <p:nvPr/>
          </p:nvSpPr>
          <p:spPr>
            <a:xfrm>
              <a:off x="-26938075" y="2177375"/>
              <a:ext cx="18150" cy="16575"/>
            </a:xfrm>
            <a:custGeom>
              <a:avLst/>
              <a:gdLst/>
              <a:ahLst/>
              <a:cxnLst/>
              <a:rect l="l" t="t" r="r" b="b"/>
              <a:pathLst>
                <a:path w="726" h="663" extrusionOk="0">
                  <a:moveTo>
                    <a:pt x="375" y="1"/>
                  </a:moveTo>
                  <a:cubicBezTo>
                    <a:pt x="292" y="1"/>
                    <a:pt x="206" y="32"/>
                    <a:pt x="127" y="95"/>
                  </a:cubicBezTo>
                  <a:cubicBezTo>
                    <a:pt x="1" y="221"/>
                    <a:pt x="1" y="442"/>
                    <a:pt x="127" y="568"/>
                  </a:cubicBezTo>
                  <a:cubicBezTo>
                    <a:pt x="190" y="631"/>
                    <a:pt x="277" y="662"/>
                    <a:pt x="363" y="662"/>
                  </a:cubicBezTo>
                  <a:cubicBezTo>
                    <a:pt x="450" y="662"/>
                    <a:pt x="536" y="631"/>
                    <a:pt x="599" y="568"/>
                  </a:cubicBezTo>
                  <a:cubicBezTo>
                    <a:pt x="725" y="442"/>
                    <a:pt x="725" y="221"/>
                    <a:pt x="599" y="95"/>
                  </a:cubicBezTo>
                  <a:cubicBezTo>
                    <a:pt x="536" y="32"/>
                    <a:pt x="458" y="1"/>
                    <a:pt x="3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87" name="Google Shape;9487;p76"/>
          <p:cNvGrpSpPr/>
          <p:nvPr/>
        </p:nvGrpSpPr>
        <p:grpSpPr>
          <a:xfrm>
            <a:off x="6669761" y="2009294"/>
            <a:ext cx="310792" cy="353180"/>
            <a:chOff x="-26970350" y="2332550"/>
            <a:chExt cx="259925" cy="295375"/>
          </a:xfrm>
        </p:grpSpPr>
        <p:sp>
          <p:nvSpPr>
            <p:cNvPr id="9488" name="Google Shape;9488;p76"/>
            <p:cNvSpPr/>
            <p:nvPr/>
          </p:nvSpPr>
          <p:spPr>
            <a:xfrm>
              <a:off x="-26970350" y="2332550"/>
              <a:ext cx="259925" cy="295375"/>
            </a:xfrm>
            <a:custGeom>
              <a:avLst/>
              <a:gdLst/>
              <a:ahLst/>
              <a:cxnLst/>
              <a:rect l="l" t="t" r="r" b="b"/>
              <a:pathLst>
                <a:path w="10397" h="11815" extrusionOk="0">
                  <a:moveTo>
                    <a:pt x="6963" y="662"/>
                  </a:moveTo>
                  <a:cubicBezTo>
                    <a:pt x="7152" y="662"/>
                    <a:pt x="7404" y="693"/>
                    <a:pt x="7593" y="756"/>
                  </a:cubicBezTo>
                  <a:cubicBezTo>
                    <a:pt x="8538" y="977"/>
                    <a:pt x="9294" y="1733"/>
                    <a:pt x="9515" y="2646"/>
                  </a:cubicBezTo>
                  <a:cubicBezTo>
                    <a:pt x="9672" y="3466"/>
                    <a:pt x="9483" y="4285"/>
                    <a:pt x="8979" y="4946"/>
                  </a:cubicBezTo>
                  <a:cubicBezTo>
                    <a:pt x="8475" y="5639"/>
                    <a:pt x="8160" y="6522"/>
                    <a:pt x="8160" y="7467"/>
                  </a:cubicBezTo>
                  <a:lnTo>
                    <a:pt x="8160" y="10208"/>
                  </a:lnTo>
                  <a:cubicBezTo>
                    <a:pt x="8160" y="10712"/>
                    <a:pt x="7719" y="11090"/>
                    <a:pt x="7246" y="11090"/>
                  </a:cubicBezTo>
                  <a:cubicBezTo>
                    <a:pt x="6742" y="11090"/>
                    <a:pt x="6333" y="10680"/>
                    <a:pt x="6333" y="10208"/>
                  </a:cubicBezTo>
                  <a:lnTo>
                    <a:pt x="6333" y="8538"/>
                  </a:lnTo>
                  <a:cubicBezTo>
                    <a:pt x="6333" y="7908"/>
                    <a:pt x="5829" y="7404"/>
                    <a:pt x="5198" y="7404"/>
                  </a:cubicBezTo>
                  <a:cubicBezTo>
                    <a:pt x="4568" y="7404"/>
                    <a:pt x="4064" y="7908"/>
                    <a:pt x="4064" y="8538"/>
                  </a:cubicBezTo>
                  <a:lnTo>
                    <a:pt x="4064" y="10208"/>
                  </a:lnTo>
                  <a:cubicBezTo>
                    <a:pt x="4064" y="10712"/>
                    <a:pt x="3623" y="11090"/>
                    <a:pt x="3151" y="11090"/>
                  </a:cubicBezTo>
                  <a:cubicBezTo>
                    <a:pt x="2647" y="11090"/>
                    <a:pt x="2237" y="10680"/>
                    <a:pt x="2237" y="10208"/>
                  </a:cubicBezTo>
                  <a:lnTo>
                    <a:pt x="2237" y="7467"/>
                  </a:lnTo>
                  <a:cubicBezTo>
                    <a:pt x="2237" y="6522"/>
                    <a:pt x="1953" y="5639"/>
                    <a:pt x="1418" y="4946"/>
                  </a:cubicBezTo>
                  <a:cubicBezTo>
                    <a:pt x="914" y="4285"/>
                    <a:pt x="756" y="3466"/>
                    <a:pt x="945" y="2646"/>
                  </a:cubicBezTo>
                  <a:cubicBezTo>
                    <a:pt x="1166" y="1701"/>
                    <a:pt x="1922" y="945"/>
                    <a:pt x="2867" y="756"/>
                  </a:cubicBezTo>
                  <a:cubicBezTo>
                    <a:pt x="3056" y="693"/>
                    <a:pt x="3308" y="662"/>
                    <a:pt x="3497" y="662"/>
                  </a:cubicBezTo>
                  <a:cubicBezTo>
                    <a:pt x="4064" y="662"/>
                    <a:pt x="4600" y="819"/>
                    <a:pt x="5041" y="1134"/>
                  </a:cubicBezTo>
                  <a:cubicBezTo>
                    <a:pt x="5104" y="1166"/>
                    <a:pt x="5175" y="1181"/>
                    <a:pt x="5242" y="1181"/>
                  </a:cubicBezTo>
                  <a:cubicBezTo>
                    <a:pt x="5309" y="1181"/>
                    <a:pt x="5372" y="1166"/>
                    <a:pt x="5419" y="1134"/>
                  </a:cubicBezTo>
                  <a:cubicBezTo>
                    <a:pt x="5860" y="819"/>
                    <a:pt x="6427" y="662"/>
                    <a:pt x="6963" y="662"/>
                  </a:cubicBezTo>
                  <a:close/>
                  <a:moveTo>
                    <a:pt x="3466" y="0"/>
                  </a:moveTo>
                  <a:cubicBezTo>
                    <a:pt x="3182" y="0"/>
                    <a:pt x="2899" y="32"/>
                    <a:pt x="2678" y="63"/>
                  </a:cubicBezTo>
                  <a:cubicBezTo>
                    <a:pt x="1481" y="347"/>
                    <a:pt x="504" y="1292"/>
                    <a:pt x="221" y="2489"/>
                  </a:cubicBezTo>
                  <a:cubicBezTo>
                    <a:pt x="0" y="3497"/>
                    <a:pt x="189" y="4568"/>
                    <a:pt x="851" y="5387"/>
                  </a:cubicBezTo>
                  <a:cubicBezTo>
                    <a:pt x="1292" y="5954"/>
                    <a:pt x="1544" y="6679"/>
                    <a:pt x="1544" y="7467"/>
                  </a:cubicBezTo>
                  <a:lnTo>
                    <a:pt x="1544" y="10208"/>
                  </a:lnTo>
                  <a:cubicBezTo>
                    <a:pt x="1544" y="11090"/>
                    <a:pt x="2237" y="11814"/>
                    <a:pt x="3151" y="11814"/>
                  </a:cubicBezTo>
                  <a:cubicBezTo>
                    <a:pt x="4064" y="11814"/>
                    <a:pt x="4757" y="11090"/>
                    <a:pt x="4757" y="10208"/>
                  </a:cubicBezTo>
                  <a:lnTo>
                    <a:pt x="4757" y="8538"/>
                  </a:lnTo>
                  <a:cubicBezTo>
                    <a:pt x="4757" y="8317"/>
                    <a:pt x="4946" y="8065"/>
                    <a:pt x="5230" y="8065"/>
                  </a:cubicBezTo>
                  <a:cubicBezTo>
                    <a:pt x="5482" y="8065"/>
                    <a:pt x="5703" y="8254"/>
                    <a:pt x="5703" y="8538"/>
                  </a:cubicBezTo>
                  <a:lnTo>
                    <a:pt x="5703" y="10208"/>
                  </a:lnTo>
                  <a:cubicBezTo>
                    <a:pt x="5703" y="11090"/>
                    <a:pt x="6427" y="11814"/>
                    <a:pt x="7309" y="11814"/>
                  </a:cubicBezTo>
                  <a:cubicBezTo>
                    <a:pt x="8223" y="11814"/>
                    <a:pt x="8948" y="11090"/>
                    <a:pt x="8948" y="10208"/>
                  </a:cubicBezTo>
                  <a:lnTo>
                    <a:pt x="8948" y="7467"/>
                  </a:lnTo>
                  <a:cubicBezTo>
                    <a:pt x="8948" y="6679"/>
                    <a:pt x="9168" y="5954"/>
                    <a:pt x="9609" y="5387"/>
                  </a:cubicBezTo>
                  <a:cubicBezTo>
                    <a:pt x="10145" y="4568"/>
                    <a:pt x="10397" y="3497"/>
                    <a:pt x="10145" y="2489"/>
                  </a:cubicBezTo>
                  <a:cubicBezTo>
                    <a:pt x="9893" y="1292"/>
                    <a:pt x="8885" y="347"/>
                    <a:pt x="7719" y="63"/>
                  </a:cubicBezTo>
                  <a:cubicBezTo>
                    <a:pt x="7435" y="0"/>
                    <a:pt x="7152" y="0"/>
                    <a:pt x="6931" y="0"/>
                  </a:cubicBezTo>
                  <a:cubicBezTo>
                    <a:pt x="6333" y="0"/>
                    <a:pt x="5703" y="158"/>
                    <a:pt x="5198" y="473"/>
                  </a:cubicBezTo>
                  <a:cubicBezTo>
                    <a:pt x="4694" y="158"/>
                    <a:pt x="4064"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76"/>
            <p:cNvSpPr/>
            <p:nvPr/>
          </p:nvSpPr>
          <p:spPr>
            <a:xfrm>
              <a:off x="-26831725" y="2365650"/>
              <a:ext cx="82700" cy="81900"/>
            </a:xfrm>
            <a:custGeom>
              <a:avLst/>
              <a:gdLst/>
              <a:ahLst/>
              <a:cxnLst/>
              <a:rect l="l" t="t" r="r" b="b"/>
              <a:pathLst>
                <a:path w="3308" h="3276" extrusionOk="0">
                  <a:moveTo>
                    <a:pt x="1335" y="0"/>
                  </a:moveTo>
                  <a:cubicBezTo>
                    <a:pt x="937" y="0"/>
                    <a:pt x="544" y="121"/>
                    <a:pt x="189" y="377"/>
                  </a:cubicBezTo>
                  <a:cubicBezTo>
                    <a:pt x="32" y="472"/>
                    <a:pt x="0" y="692"/>
                    <a:pt x="126" y="818"/>
                  </a:cubicBezTo>
                  <a:cubicBezTo>
                    <a:pt x="202" y="932"/>
                    <a:pt x="300" y="989"/>
                    <a:pt x="401" y="989"/>
                  </a:cubicBezTo>
                  <a:cubicBezTo>
                    <a:pt x="468" y="989"/>
                    <a:pt x="536" y="963"/>
                    <a:pt x="599" y="913"/>
                  </a:cubicBezTo>
                  <a:cubicBezTo>
                    <a:pt x="818" y="753"/>
                    <a:pt x="1075" y="669"/>
                    <a:pt x="1331" y="669"/>
                  </a:cubicBezTo>
                  <a:cubicBezTo>
                    <a:pt x="1479" y="669"/>
                    <a:pt x="1626" y="698"/>
                    <a:pt x="1764" y="755"/>
                  </a:cubicBezTo>
                  <a:cubicBezTo>
                    <a:pt x="2174" y="913"/>
                    <a:pt x="2457" y="1196"/>
                    <a:pt x="2520" y="1574"/>
                  </a:cubicBezTo>
                  <a:cubicBezTo>
                    <a:pt x="2646" y="1984"/>
                    <a:pt x="2520" y="2394"/>
                    <a:pt x="2300" y="2709"/>
                  </a:cubicBezTo>
                  <a:cubicBezTo>
                    <a:pt x="2174" y="2866"/>
                    <a:pt x="2205" y="3087"/>
                    <a:pt x="2331" y="3181"/>
                  </a:cubicBezTo>
                  <a:cubicBezTo>
                    <a:pt x="2394" y="3244"/>
                    <a:pt x="2489" y="3276"/>
                    <a:pt x="2520" y="3276"/>
                  </a:cubicBezTo>
                  <a:cubicBezTo>
                    <a:pt x="2646" y="3276"/>
                    <a:pt x="2709" y="3244"/>
                    <a:pt x="2804" y="3150"/>
                  </a:cubicBezTo>
                  <a:cubicBezTo>
                    <a:pt x="3182" y="2677"/>
                    <a:pt x="3308" y="2047"/>
                    <a:pt x="3151" y="1417"/>
                  </a:cubicBezTo>
                  <a:cubicBezTo>
                    <a:pt x="3119" y="818"/>
                    <a:pt x="2646" y="377"/>
                    <a:pt x="2048" y="125"/>
                  </a:cubicBezTo>
                  <a:cubicBezTo>
                    <a:pt x="1813" y="43"/>
                    <a:pt x="1573" y="0"/>
                    <a:pt x="13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76"/>
          <p:cNvGrpSpPr/>
          <p:nvPr/>
        </p:nvGrpSpPr>
        <p:grpSpPr>
          <a:xfrm>
            <a:off x="6649046" y="2482059"/>
            <a:ext cx="352223" cy="290077"/>
            <a:chOff x="-26986100" y="2735800"/>
            <a:chExt cx="294575" cy="242600"/>
          </a:xfrm>
        </p:grpSpPr>
        <p:sp>
          <p:nvSpPr>
            <p:cNvPr id="9491" name="Google Shape;9491;p76"/>
            <p:cNvSpPr/>
            <p:nvPr/>
          </p:nvSpPr>
          <p:spPr>
            <a:xfrm>
              <a:off x="-26986100" y="2735800"/>
              <a:ext cx="294575" cy="242600"/>
            </a:xfrm>
            <a:custGeom>
              <a:avLst/>
              <a:gdLst/>
              <a:ahLst/>
              <a:cxnLst/>
              <a:rect l="l" t="t" r="r" b="b"/>
              <a:pathLst>
                <a:path w="11783" h="9704" extrusionOk="0">
                  <a:moveTo>
                    <a:pt x="3781" y="757"/>
                  </a:moveTo>
                  <a:cubicBezTo>
                    <a:pt x="3970" y="757"/>
                    <a:pt x="4127" y="914"/>
                    <a:pt x="4127" y="1103"/>
                  </a:cubicBezTo>
                  <a:lnTo>
                    <a:pt x="4127" y="1481"/>
                  </a:lnTo>
                  <a:lnTo>
                    <a:pt x="3434" y="1481"/>
                  </a:lnTo>
                  <a:lnTo>
                    <a:pt x="3434" y="1103"/>
                  </a:lnTo>
                  <a:cubicBezTo>
                    <a:pt x="3434" y="914"/>
                    <a:pt x="3592" y="757"/>
                    <a:pt x="3781" y="757"/>
                  </a:cubicBezTo>
                  <a:close/>
                  <a:moveTo>
                    <a:pt x="9137" y="2804"/>
                  </a:moveTo>
                  <a:cubicBezTo>
                    <a:pt x="9515" y="2836"/>
                    <a:pt x="9924" y="3088"/>
                    <a:pt x="10082" y="3466"/>
                  </a:cubicBezTo>
                  <a:lnTo>
                    <a:pt x="10932" y="5608"/>
                  </a:lnTo>
                  <a:lnTo>
                    <a:pt x="9357" y="5608"/>
                  </a:lnTo>
                  <a:cubicBezTo>
                    <a:pt x="9168" y="5608"/>
                    <a:pt x="9010" y="5451"/>
                    <a:pt x="9010" y="5262"/>
                  </a:cubicBezTo>
                  <a:lnTo>
                    <a:pt x="9010" y="2804"/>
                  </a:lnTo>
                  <a:close/>
                  <a:moveTo>
                    <a:pt x="6522" y="2143"/>
                  </a:moveTo>
                  <a:cubicBezTo>
                    <a:pt x="6742" y="2143"/>
                    <a:pt x="6900" y="2300"/>
                    <a:pt x="6900" y="2489"/>
                  </a:cubicBezTo>
                  <a:lnTo>
                    <a:pt x="6900" y="6301"/>
                  </a:lnTo>
                  <a:lnTo>
                    <a:pt x="630" y="6301"/>
                  </a:lnTo>
                  <a:lnTo>
                    <a:pt x="630" y="2489"/>
                  </a:lnTo>
                  <a:cubicBezTo>
                    <a:pt x="630" y="2300"/>
                    <a:pt x="788" y="2143"/>
                    <a:pt x="977" y="2143"/>
                  </a:cubicBezTo>
                  <a:close/>
                  <a:moveTo>
                    <a:pt x="6900" y="7026"/>
                  </a:moveTo>
                  <a:lnTo>
                    <a:pt x="6900" y="8412"/>
                  </a:lnTo>
                  <a:lnTo>
                    <a:pt x="3340" y="8412"/>
                  </a:lnTo>
                  <a:cubicBezTo>
                    <a:pt x="3182" y="8003"/>
                    <a:pt x="2836" y="7688"/>
                    <a:pt x="2363" y="7688"/>
                  </a:cubicBezTo>
                  <a:cubicBezTo>
                    <a:pt x="1890" y="7688"/>
                    <a:pt x="1544" y="7971"/>
                    <a:pt x="1386" y="8412"/>
                  </a:cubicBezTo>
                  <a:lnTo>
                    <a:pt x="977" y="8412"/>
                  </a:lnTo>
                  <a:cubicBezTo>
                    <a:pt x="788" y="8412"/>
                    <a:pt x="630" y="8255"/>
                    <a:pt x="630" y="8034"/>
                  </a:cubicBezTo>
                  <a:lnTo>
                    <a:pt x="630" y="7026"/>
                  </a:lnTo>
                  <a:close/>
                  <a:moveTo>
                    <a:pt x="8349" y="2836"/>
                  </a:moveTo>
                  <a:lnTo>
                    <a:pt x="8349" y="5293"/>
                  </a:lnTo>
                  <a:cubicBezTo>
                    <a:pt x="8349" y="5892"/>
                    <a:pt x="8821" y="6301"/>
                    <a:pt x="9357" y="6301"/>
                  </a:cubicBezTo>
                  <a:lnTo>
                    <a:pt x="11090" y="6301"/>
                  </a:lnTo>
                  <a:lnTo>
                    <a:pt x="11090" y="7026"/>
                  </a:lnTo>
                  <a:lnTo>
                    <a:pt x="10743" y="7026"/>
                  </a:lnTo>
                  <a:cubicBezTo>
                    <a:pt x="10554" y="7026"/>
                    <a:pt x="10397" y="7184"/>
                    <a:pt x="10397" y="7373"/>
                  </a:cubicBezTo>
                  <a:cubicBezTo>
                    <a:pt x="10397" y="7562"/>
                    <a:pt x="10554" y="7719"/>
                    <a:pt x="10743" y="7719"/>
                  </a:cubicBezTo>
                  <a:lnTo>
                    <a:pt x="11090" y="7719"/>
                  </a:lnTo>
                  <a:lnTo>
                    <a:pt x="11090" y="8097"/>
                  </a:lnTo>
                  <a:cubicBezTo>
                    <a:pt x="11090" y="8255"/>
                    <a:pt x="10932" y="8412"/>
                    <a:pt x="10743" y="8412"/>
                  </a:cubicBezTo>
                  <a:lnTo>
                    <a:pt x="10365" y="8412"/>
                  </a:lnTo>
                  <a:cubicBezTo>
                    <a:pt x="10208" y="8003"/>
                    <a:pt x="9830" y="7688"/>
                    <a:pt x="9357" y="7688"/>
                  </a:cubicBezTo>
                  <a:cubicBezTo>
                    <a:pt x="8947" y="7688"/>
                    <a:pt x="8538" y="7971"/>
                    <a:pt x="8380" y="8412"/>
                  </a:cubicBezTo>
                  <a:lnTo>
                    <a:pt x="7593" y="8412"/>
                  </a:lnTo>
                  <a:lnTo>
                    <a:pt x="7593" y="2836"/>
                  </a:lnTo>
                  <a:close/>
                  <a:moveTo>
                    <a:pt x="2363" y="8349"/>
                  </a:moveTo>
                  <a:cubicBezTo>
                    <a:pt x="2552" y="8349"/>
                    <a:pt x="2709" y="8507"/>
                    <a:pt x="2709" y="8727"/>
                  </a:cubicBezTo>
                  <a:cubicBezTo>
                    <a:pt x="2709" y="8916"/>
                    <a:pt x="2552" y="9074"/>
                    <a:pt x="2363" y="9074"/>
                  </a:cubicBezTo>
                  <a:cubicBezTo>
                    <a:pt x="2174" y="9074"/>
                    <a:pt x="2016" y="8916"/>
                    <a:pt x="2016" y="8727"/>
                  </a:cubicBezTo>
                  <a:cubicBezTo>
                    <a:pt x="2016" y="8507"/>
                    <a:pt x="2174" y="8349"/>
                    <a:pt x="2363" y="8349"/>
                  </a:cubicBezTo>
                  <a:close/>
                  <a:moveTo>
                    <a:pt x="9326" y="8349"/>
                  </a:moveTo>
                  <a:cubicBezTo>
                    <a:pt x="9515" y="8349"/>
                    <a:pt x="9672" y="8507"/>
                    <a:pt x="9672" y="8727"/>
                  </a:cubicBezTo>
                  <a:cubicBezTo>
                    <a:pt x="9672" y="8916"/>
                    <a:pt x="9515" y="9074"/>
                    <a:pt x="9326" y="9074"/>
                  </a:cubicBezTo>
                  <a:cubicBezTo>
                    <a:pt x="9137" y="9074"/>
                    <a:pt x="8979" y="8916"/>
                    <a:pt x="8979" y="8727"/>
                  </a:cubicBezTo>
                  <a:cubicBezTo>
                    <a:pt x="8979" y="8507"/>
                    <a:pt x="9137" y="8349"/>
                    <a:pt x="9326" y="8349"/>
                  </a:cubicBezTo>
                  <a:close/>
                  <a:moveTo>
                    <a:pt x="3781" y="1"/>
                  </a:moveTo>
                  <a:cubicBezTo>
                    <a:pt x="3182" y="1"/>
                    <a:pt x="2741" y="473"/>
                    <a:pt x="2741" y="1040"/>
                  </a:cubicBezTo>
                  <a:lnTo>
                    <a:pt x="2741" y="1387"/>
                  </a:lnTo>
                  <a:lnTo>
                    <a:pt x="1008" y="1387"/>
                  </a:lnTo>
                  <a:cubicBezTo>
                    <a:pt x="441" y="1387"/>
                    <a:pt x="0" y="1859"/>
                    <a:pt x="0" y="2395"/>
                  </a:cubicBezTo>
                  <a:lnTo>
                    <a:pt x="0" y="7971"/>
                  </a:lnTo>
                  <a:cubicBezTo>
                    <a:pt x="0" y="8538"/>
                    <a:pt x="473" y="8979"/>
                    <a:pt x="1008" y="8979"/>
                  </a:cubicBezTo>
                  <a:lnTo>
                    <a:pt x="1418" y="8979"/>
                  </a:lnTo>
                  <a:cubicBezTo>
                    <a:pt x="1575" y="9389"/>
                    <a:pt x="1922" y="9704"/>
                    <a:pt x="2394" y="9704"/>
                  </a:cubicBezTo>
                  <a:cubicBezTo>
                    <a:pt x="2867" y="9704"/>
                    <a:pt x="3214" y="9420"/>
                    <a:pt x="3371" y="8979"/>
                  </a:cubicBezTo>
                  <a:lnTo>
                    <a:pt x="8380" y="8979"/>
                  </a:lnTo>
                  <a:cubicBezTo>
                    <a:pt x="8538" y="9389"/>
                    <a:pt x="8916" y="9704"/>
                    <a:pt x="9389" y="9704"/>
                  </a:cubicBezTo>
                  <a:cubicBezTo>
                    <a:pt x="9798" y="9704"/>
                    <a:pt x="10208" y="9420"/>
                    <a:pt x="10365" y="8979"/>
                  </a:cubicBezTo>
                  <a:lnTo>
                    <a:pt x="10743" y="8979"/>
                  </a:lnTo>
                  <a:cubicBezTo>
                    <a:pt x="11342" y="8979"/>
                    <a:pt x="11783" y="8507"/>
                    <a:pt x="11783" y="7971"/>
                  </a:cubicBezTo>
                  <a:lnTo>
                    <a:pt x="11783" y="6144"/>
                  </a:lnTo>
                  <a:cubicBezTo>
                    <a:pt x="11783" y="6112"/>
                    <a:pt x="11783" y="5986"/>
                    <a:pt x="11720" y="5892"/>
                  </a:cubicBezTo>
                  <a:cubicBezTo>
                    <a:pt x="11688" y="5766"/>
                    <a:pt x="11688" y="5671"/>
                    <a:pt x="11657" y="5577"/>
                  </a:cubicBezTo>
                  <a:lnTo>
                    <a:pt x="10712" y="3214"/>
                  </a:lnTo>
                  <a:cubicBezTo>
                    <a:pt x="10428" y="2521"/>
                    <a:pt x="9798" y="2080"/>
                    <a:pt x="9105" y="2080"/>
                  </a:cubicBezTo>
                  <a:lnTo>
                    <a:pt x="7530" y="2080"/>
                  </a:lnTo>
                  <a:cubicBezTo>
                    <a:pt x="7372" y="1702"/>
                    <a:pt x="6994" y="1387"/>
                    <a:pt x="6522" y="1387"/>
                  </a:cubicBezTo>
                  <a:lnTo>
                    <a:pt x="4789" y="1387"/>
                  </a:lnTo>
                  <a:lnTo>
                    <a:pt x="4789" y="1040"/>
                  </a:lnTo>
                  <a:cubicBezTo>
                    <a:pt x="4789" y="442"/>
                    <a:pt x="4316"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76"/>
            <p:cNvSpPr/>
            <p:nvPr/>
          </p:nvSpPr>
          <p:spPr>
            <a:xfrm>
              <a:off x="-26927050" y="2805900"/>
              <a:ext cx="70925" cy="70900"/>
            </a:xfrm>
            <a:custGeom>
              <a:avLst/>
              <a:gdLst/>
              <a:ahLst/>
              <a:cxnLst/>
              <a:rect l="l" t="t" r="r" b="b"/>
              <a:pathLst>
                <a:path w="2837" h="2836" extrusionOk="0">
                  <a:moveTo>
                    <a:pt x="1419" y="0"/>
                  </a:moveTo>
                  <a:cubicBezTo>
                    <a:pt x="1230" y="0"/>
                    <a:pt x="1072" y="158"/>
                    <a:pt x="1072" y="347"/>
                  </a:cubicBezTo>
                  <a:lnTo>
                    <a:pt x="1072" y="1072"/>
                  </a:lnTo>
                  <a:lnTo>
                    <a:pt x="347" y="1072"/>
                  </a:lnTo>
                  <a:cubicBezTo>
                    <a:pt x="158" y="1072"/>
                    <a:pt x="1" y="1229"/>
                    <a:pt x="1" y="1418"/>
                  </a:cubicBezTo>
                  <a:cubicBezTo>
                    <a:pt x="1" y="1607"/>
                    <a:pt x="158" y="1765"/>
                    <a:pt x="347" y="1765"/>
                  </a:cubicBezTo>
                  <a:lnTo>
                    <a:pt x="1072" y="1765"/>
                  </a:lnTo>
                  <a:lnTo>
                    <a:pt x="1072" y="2489"/>
                  </a:lnTo>
                  <a:cubicBezTo>
                    <a:pt x="1072" y="2678"/>
                    <a:pt x="1230" y="2836"/>
                    <a:pt x="1419" y="2836"/>
                  </a:cubicBezTo>
                  <a:cubicBezTo>
                    <a:pt x="1608" y="2836"/>
                    <a:pt x="1765" y="2678"/>
                    <a:pt x="1765" y="2489"/>
                  </a:cubicBezTo>
                  <a:lnTo>
                    <a:pt x="1765" y="1765"/>
                  </a:lnTo>
                  <a:lnTo>
                    <a:pt x="2490" y="1765"/>
                  </a:lnTo>
                  <a:cubicBezTo>
                    <a:pt x="2679" y="1765"/>
                    <a:pt x="2836" y="1607"/>
                    <a:pt x="2836" y="1418"/>
                  </a:cubicBezTo>
                  <a:cubicBezTo>
                    <a:pt x="2836" y="1229"/>
                    <a:pt x="2679" y="1072"/>
                    <a:pt x="2490" y="1072"/>
                  </a:cubicBezTo>
                  <a:lnTo>
                    <a:pt x="1765" y="1072"/>
                  </a:lnTo>
                  <a:lnTo>
                    <a:pt x="1765" y="347"/>
                  </a:lnTo>
                  <a:cubicBezTo>
                    <a:pt x="1765"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93" name="Google Shape;9493;p76"/>
          <p:cNvSpPr/>
          <p:nvPr/>
        </p:nvSpPr>
        <p:spPr>
          <a:xfrm>
            <a:off x="5308694" y="2891857"/>
            <a:ext cx="353180" cy="353180"/>
          </a:xfrm>
          <a:custGeom>
            <a:avLst/>
            <a:gdLst/>
            <a:ahLst/>
            <a:cxnLst/>
            <a:rect l="l" t="t" r="r" b="b"/>
            <a:pathLst>
              <a:path w="11815" h="11815" extrusionOk="0">
                <a:moveTo>
                  <a:pt x="6270" y="662"/>
                </a:moveTo>
                <a:lnTo>
                  <a:pt x="6270" y="2048"/>
                </a:lnTo>
                <a:cubicBezTo>
                  <a:pt x="6270" y="2678"/>
                  <a:pt x="6616" y="3245"/>
                  <a:pt x="7247" y="3497"/>
                </a:cubicBezTo>
                <a:cubicBezTo>
                  <a:pt x="7467" y="3623"/>
                  <a:pt x="7625" y="3875"/>
                  <a:pt x="7625" y="4127"/>
                </a:cubicBezTo>
                <a:cubicBezTo>
                  <a:pt x="7625" y="4537"/>
                  <a:pt x="7310" y="4852"/>
                  <a:pt x="6931" y="4852"/>
                </a:cubicBezTo>
                <a:cubicBezTo>
                  <a:pt x="6711" y="4852"/>
                  <a:pt x="6522" y="4758"/>
                  <a:pt x="6396" y="4600"/>
                </a:cubicBezTo>
                <a:cubicBezTo>
                  <a:pt x="6301" y="4443"/>
                  <a:pt x="6081" y="4380"/>
                  <a:pt x="5892" y="4380"/>
                </a:cubicBezTo>
                <a:cubicBezTo>
                  <a:pt x="5703" y="4380"/>
                  <a:pt x="5514" y="4443"/>
                  <a:pt x="5388" y="4600"/>
                </a:cubicBezTo>
                <a:cubicBezTo>
                  <a:pt x="5262" y="4758"/>
                  <a:pt x="5073" y="4852"/>
                  <a:pt x="4884" y="4852"/>
                </a:cubicBezTo>
                <a:cubicBezTo>
                  <a:pt x="4663" y="4852"/>
                  <a:pt x="4474" y="4758"/>
                  <a:pt x="4348" y="4600"/>
                </a:cubicBezTo>
                <a:cubicBezTo>
                  <a:pt x="4254" y="4443"/>
                  <a:pt x="4159" y="4285"/>
                  <a:pt x="4159" y="4096"/>
                </a:cubicBezTo>
                <a:cubicBezTo>
                  <a:pt x="4159" y="3875"/>
                  <a:pt x="4348" y="3623"/>
                  <a:pt x="4600" y="3497"/>
                </a:cubicBezTo>
                <a:cubicBezTo>
                  <a:pt x="5136" y="3277"/>
                  <a:pt x="5545" y="2647"/>
                  <a:pt x="5545" y="1922"/>
                </a:cubicBezTo>
                <a:lnTo>
                  <a:pt x="5545" y="662"/>
                </a:lnTo>
                <a:close/>
                <a:moveTo>
                  <a:pt x="6963" y="788"/>
                </a:moveTo>
                <a:cubicBezTo>
                  <a:pt x="7940" y="977"/>
                  <a:pt x="8885" y="1513"/>
                  <a:pt x="9609" y="2206"/>
                </a:cubicBezTo>
                <a:cubicBezTo>
                  <a:pt x="10586" y="3182"/>
                  <a:pt x="11153" y="4506"/>
                  <a:pt x="11153" y="5923"/>
                </a:cubicBezTo>
                <a:cubicBezTo>
                  <a:pt x="11122" y="7278"/>
                  <a:pt x="10586" y="8633"/>
                  <a:pt x="9609" y="9609"/>
                </a:cubicBezTo>
                <a:cubicBezTo>
                  <a:pt x="8853" y="10365"/>
                  <a:pt x="7940" y="10838"/>
                  <a:pt x="6963" y="11027"/>
                </a:cubicBezTo>
                <a:lnTo>
                  <a:pt x="6963" y="9735"/>
                </a:lnTo>
                <a:cubicBezTo>
                  <a:pt x="6963" y="9357"/>
                  <a:pt x="7215" y="9074"/>
                  <a:pt x="7562" y="8916"/>
                </a:cubicBezTo>
                <a:cubicBezTo>
                  <a:pt x="8034" y="8664"/>
                  <a:pt x="8349" y="8192"/>
                  <a:pt x="8349" y="7656"/>
                </a:cubicBezTo>
                <a:cubicBezTo>
                  <a:pt x="8349" y="6900"/>
                  <a:pt x="7719" y="6270"/>
                  <a:pt x="6963" y="6270"/>
                </a:cubicBezTo>
                <a:cubicBezTo>
                  <a:pt x="6585" y="6270"/>
                  <a:pt x="6175" y="6427"/>
                  <a:pt x="5955" y="6742"/>
                </a:cubicBezTo>
                <a:cubicBezTo>
                  <a:pt x="5671" y="6427"/>
                  <a:pt x="5325" y="6270"/>
                  <a:pt x="4915" y="6270"/>
                </a:cubicBezTo>
                <a:cubicBezTo>
                  <a:pt x="4537" y="6270"/>
                  <a:pt x="4159" y="6427"/>
                  <a:pt x="3907" y="6711"/>
                </a:cubicBezTo>
                <a:cubicBezTo>
                  <a:pt x="3623" y="6963"/>
                  <a:pt x="3497" y="7372"/>
                  <a:pt x="3529" y="7751"/>
                </a:cubicBezTo>
                <a:cubicBezTo>
                  <a:pt x="3592" y="8286"/>
                  <a:pt x="3907" y="8696"/>
                  <a:pt x="4380" y="8948"/>
                </a:cubicBezTo>
                <a:cubicBezTo>
                  <a:pt x="4695" y="9105"/>
                  <a:pt x="4915" y="9483"/>
                  <a:pt x="4915" y="9924"/>
                </a:cubicBezTo>
                <a:lnTo>
                  <a:pt x="4915" y="11059"/>
                </a:lnTo>
                <a:cubicBezTo>
                  <a:pt x="3939" y="10870"/>
                  <a:pt x="2993" y="10365"/>
                  <a:pt x="2269" y="9641"/>
                </a:cubicBezTo>
                <a:cubicBezTo>
                  <a:pt x="1292" y="8664"/>
                  <a:pt x="757" y="7372"/>
                  <a:pt x="757" y="5955"/>
                </a:cubicBezTo>
                <a:cubicBezTo>
                  <a:pt x="757" y="4569"/>
                  <a:pt x="1292" y="3214"/>
                  <a:pt x="2269" y="2237"/>
                </a:cubicBezTo>
                <a:cubicBezTo>
                  <a:pt x="3025" y="1481"/>
                  <a:pt x="3939" y="1040"/>
                  <a:pt x="4915" y="819"/>
                </a:cubicBezTo>
                <a:lnTo>
                  <a:pt x="4915" y="1985"/>
                </a:lnTo>
                <a:cubicBezTo>
                  <a:pt x="4915" y="2395"/>
                  <a:pt x="4695" y="2804"/>
                  <a:pt x="4380" y="2962"/>
                </a:cubicBezTo>
                <a:cubicBezTo>
                  <a:pt x="3907" y="3151"/>
                  <a:pt x="3592" y="3623"/>
                  <a:pt x="3529" y="4127"/>
                </a:cubicBezTo>
                <a:cubicBezTo>
                  <a:pt x="3497" y="4537"/>
                  <a:pt x="3655" y="4884"/>
                  <a:pt x="3907" y="5199"/>
                </a:cubicBezTo>
                <a:cubicBezTo>
                  <a:pt x="4159" y="5482"/>
                  <a:pt x="4537" y="5640"/>
                  <a:pt x="4915" y="5640"/>
                </a:cubicBezTo>
                <a:cubicBezTo>
                  <a:pt x="5325" y="5640"/>
                  <a:pt x="5703" y="5482"/>
                  <a:pt x="5955" y="5167"/>
                </a:cubicBezTo>
                <a:cubicBezTo>
                  <a:pt x="6207" y="5482"/>
                  <a:pt x="6585" y="5640"/>
                  <a:pt x="6963" y="5640"/>
                </a:cubicBezTo>
                <a:cubicBezTo>
                  <a:pt x="7719" y="5640"/>
                  <a:pt x="8349" y="5010"/>
                  <a:pt x="8349" y="4253"/>
                </a:cubicBezTo>
                <a:cubicBezTo>
                  <a:pt x="8349" y="3749"/>
                  <a:pt x="8034" y="3245"/>
                  <a:pt x="7562" y="2993"/>
                </a:cubicBezTo>
                <a:cubicBezTo>
                  <a:pt x="7152" y="2804"/>
                  <a:pt x="6963" y="2489"/>
                  <a:pt x="6963" y="2174"/>
                </a:cubicBezTo>
                <a:lnTo>
                  <a:pt x="6963" y="788"/>
                </a:lnTo>
                <a:close/>
                <a:moveTo>
                  <a:pt x="6931" y="6900"/>
                </a:moveTo>
                <a:cubicBezTo>
                  <a:pt x="7310" y="6900"/>
                  <a:pt x="7625" y="7215"/>
                  <a:pt x="7625" y="7593"/>
                </a:cubicBezTo>
                <a:cubicBezTo>
                  <a:pt x="7625" y="7877"/>
                  <a:pt x="7467" y="8129"/>
                  <a:pt x="7247" y="8223"/>
                </a:cubicBezTo>
                <a:cubicBezTo>
                  <a:pt x="6616" y="8538"/>
                  <a:pt x="6270" y="9105"/>
                  <a:pt x="6270" y="9735"/>
                </a:cubicBezTo>
                <a:lnTo>
                  <a:pt x="6270" y="11090"/>
                </a:lnTo>
                <a:lnTo>
                  <a:pt x="5545" y="11090"/>
                </a:lnTo>
                <a:lnTo>
                  <a:pt x="5545" y="9861"/>
                </a:lnTo>
                <a:cubicBezTo>
                  <a:pt x="5545" y="9137"/>
                  <a:pt x="5136" y="8507"/>
                  <a:pt x="4600" y="8223"/>
                </a:cubicBezTo>
                <a:cubicBezTo>
                  <a:pt x="4348" y="8129"/>
                  <a:pt x="4191" y="7877"/>
                  <a:pt x="4159" y="7656"/>
                </a:cubicBezTo>
                <a:cubicBezTo>
                  <a:pt x="4159" y="7435"/>
                  <a:pt x="4191" y="7246"/>
                  <a:pt x="4348" y="7120"/>
                </a:cubicBezTo>
                <a:cubicBezTo>
                  <a:pt x="4474" y="6963"/>
                  <a:pt x="4695" y="6900"/>
                  <a:pt x="4884" y="6900"/>
                </a:cubicBezTo>
                <a:cubicBezTo>
                  <a:pt x="5073" y="6900"/>
                  <a:pt x="5262" y="6963"/>
                  <a:pt x="5388" y="7120"/>
                </a:cubicBezTo>
                <a:cubicBezTo>
                  <a:pt x="5514" y="7278"/>
                  <a:pt x="5703" y="7372"/>
                  <a:pt x="5892" y="7372"/>
                </a:cubicBezTo>
                <a:cubicBezTo>
                  <a:pt x="6112" y="7372"/>
                  <a:pt x="6301" y="7278"/>
                  <a:pt x="6427" y="7120"/>
                </a:cubicBezTo>
                <a:cubicBezTo>
                  <a:pt x="6522" y="6963"/>
                  <a:pt x="6742" y="6900"/>
                  <a:pt x="6931" y="6900"/>
                </a:cubicBezTo>
                <a:close/>
                <a:moveTo>
                  <a:pt x="5892" y="0"/>
                </a:moveTo>
                <a:cubicBezTo>
                  <a:pt x="4317" y="0"/>
                  <a:pt x="2836" y="630"/>
                  <a:pt x="1733" y="1733"/>
                </a:cubicBezTo>
                <a:cubicBezTo>
                  <a:pt x="630" y="2836"/>
                  <a:pt x="0" y="4348"/>
                  <a:pt x="0" y="5923"/>
                </a:cubicBezTo>
                <a:cubicBezTo>
                  <a:pt x="0" y="7498"/>
                  <a:pt x="630" y="8979"/>
                  <a:pt x="1733" y="10082"/>
                </a:cubicBezTo>
                <a:cubicBezTo>
                  <a:pt x="2836" y="11185"/>
                  <a:pt x="4317" y="11815"/>
                  <a:pt x="5892" y="11815"/>
                </a:cubicBezTo>
                <a:cubicBezTo>
                  <a:pt x="7467" y="11815"/>
                  <a:pt x="8979" y="11185"/>
                  <a:pt x="10082" y="10082"/>
                </a:cubicBezTo>
                <a:cubicBezTo>
                  <a:pt x="11185" y="8979"/>
                  <a:pt x="11815" y="7498"/>
                  <a:pt x="11815" y="5923"/>
                </a:cubicBezTo>
                <a:cubicBezTo>
                  <a:pt x="11815" y="4348"/>
                  <a:pt x="11216" y="2836"/>
                  <a:pt x="10082" y="1733"/>
                </a:cubicBezTo>
                <a:cubicBezTo>
                  <a:pt x="8979" y="630"/>
                  <a:pt x="7467"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494" name="Google Shape;9494;p76"/>
          <p:cNvGrpSpPr/>
          <p:nvPr/>
        </p:nvGrpSpPr>
        <p:grpSpPr>
          <a:xfrm>
            <a:off x="5308265" y="3338744"/>
            <a:ext cx="353180" cy="354107"/>
            <a:chOff x="-25104475" y="2340425"/>
            <a:chExt cx="295375" cy="296150"/>
          </a:xfrm>
        </p:grpSpPr>
        <p:sp>
          <p:nvSpPr>
            <p:cNvPr id="9495" name="Google Shape;9495;p76"/>
            <p:cNvSpPr/>
            <p:nvPr/>
          </p:nvSpPr>
          <p:spPr>
            <a:xfrm>
              <a:off x="-25104475" y="2340425"/>
              <a:ext cx="225275" cy="296150"/>
            </a:xfrm>
            <a:custGeom>
              <a:avLst/>
              <a:gdLst/>
              <a:ahLst/>
              <a:cxnLst/>
              <a:rect l="l" t="t" r="r" b="b"/>
              <a:pathLst>
                <a:path w="9011" h="11846" extrusionOk="0">
                  <a:moveTo>
                    <a:pt x="4474" y="693"/>
                  </a:moveTo>
                  <a:cubicBezTo>
                    <a:pt x="5041" y="693"/>
                    <a:pt x="5514" y="1166"/>
                    <a:pt x="5514" y="1733"/>
                  </a:cubicBezTo>
                  <a:cubicBezTo>
                    <a:pt x="5514" y="1922"/>
                    <a:pt x="5671" y="2079"/>
                    <a:pt x="5860" y="2079"/>
                  </a:cubicBezTo>
                  <a:lnTo>
                    <a:pt x="6585" y="2079"/>
                  </a:lnTo>
                  <a:cubicBezTo>
                    <a:pt x="6774" y="2079"/>
                    <a:pt x="6931" y="2237"/>
                    <a:pt x="6931" y="2426"/>
                  </a:cubicBezTo>
                  <a:lnTo>
                    <a:pt x="6931" y="2804"/>
                  </a:lnTo>
                  <a:lnTo>
                    <a:pt x="2080" y="2804"/>
                  </a:lnTo>
                  <a:lnTo>
                    <a:pt x="2080" y="2426"/>
                  </a:lnTo>
                  <a:cubicBezTo>
                    <a:pt x="2048" y="2237"/>
                    <a:pt x="2206" y="2079"/>
                    <a:pt x="2395" y="2079"/>
                  </a:cubicBezTo>
                  <a:lnTo>
                    <a:pt x="3119" y="2079"/>
                  </a:lnTo>
                  <a:cubicBezTo>
                    <a:pt x="3308" y="2079"/>
                    <a:pt x="3466" y="1922"/>
                    <a:pt x="3466" y="1733"/>
                  </a:cubicBezTo>
                  <a:cubicBezTo>
                    <a:pt x="3466" y="1134"/>
                    <a:pt x="3939" y="693"/>
                    <a:pt x="4474" y="693"/>
                  </a:cubicBezTo>
                  <a:close/>
                  <a:moveTo>
                    <a:pt x="8003" y="2804"/>
                  </a:moveTo>
                  <a:cubicBezTo>
                    <a:pt x="8192" y="2804"/>
                    <a:pt x="8349" y="2962"/>
                    <a:pt x="8349" y="3151"/>
                  </a:cubicBezTo>
                  <a:lnTo>
                    <a:pt x="8349" y="10838"/>
                  </a:lnTo>
                  <a:lnTo>
                    <a:pt x="8286" y="10838"/>
                  </a:lnTo>
                  <a:cubicBezTo>
                    <a:pt x="8286" y="11027"/>
                    <a:pt x="8129" y="11184"/>
                    <a:pt x="7940" y="11184"/>
                  </a:cubicBezTo>
                  <a:lnTo>
                    <a:pt x="1009" y="11184"/>
                  </a:lnTo>
                  <a:cubicBezTo>
                    <a:pt x="820" y="11184"/>
                    <a:pt x="662" y="11027"/>
                    <a:pt x="662" y="10838"/>
                  </a:cubicBezTo>
                  <a:lnTo>
                    <a:pt x="662" y="3151"/>
                  </a:lnTo>
                  <a:cubicBezTo>
                    <a:pt x="662" y="2962"/>
                    <a:pt x="820" y="2804"/>
                    <a:pt x="1009" y="2804"/>
                  </a:cubicBezTo>
                  <a:lnTo>
                    <a:pt x="1355" y="2804"/>
                  </a:lnTo>
                  <a:lnTo>
                    <a:pt x="1355" y="3151"/>
                  </a:lnTo>
                  <a:cubicBezTo>
                    <a:pt x="1355" y="3340"/>
                    <a:pt x="1544" y="3497"/>
                    <a:pt x="1733" y="3497"/>
                  </a:cubicBezTo>
                  <a:lnTo>
                    <a:pt x="7278" y="3497"/>
                  </a:lnTo>
                  <a:cubicBezTo>
                    <a:pt x="7467" y="3497"/>
                    <a:pt x="7625" y="3340"/>
                    <a:pt x="7625" y="3151"/>
                  </a:cubicBezTo>
                  <a:lnTo>
                    <a:pt x="7625" y="2804"/>
                  </a:lnTo>
                  <a:close/>
                  <a:moveTo>
                    <a:pt x="4474" y="0"/>
                  </a:moveTo>
                  <a:cubicBezTo>
                    <a:pt x="3655" y="0"/>
                    <a:pt x="2930" y="599"/>
                    <a:pt x="2773" y="1386"/>
                  </a:cubicBezTo>
                  <a:lnTo>
                    <a:pt x="2395" y="1386"/>
                  </a:lnTo>
                  <a:cubicBezTo>
                    <a:pt x="1954" y="1386"/>
                    <a:pt x="1576" y="1638"/>
                    <a:pt x="1418" y="2079"/>
                  </a:cubicBezTo>
                  <a:lnTo>
                    <a:pt x="1009" y="2079"/>
                  </a:lnTo>
                  <a:cubicBezTo>
                    <a:pt x="410" y="2079"/>
                    <a:pt x="0" y="2552"/>
                    <a:pt x="0" y="3119"/>
                  </a:cubicBezTo>
                  <a:lnTo>
                    <a:pt x="0" y="10838"/>
                  </a:lnTo>
                  <a:cubicBezTo>
                    <a:pt x="0" y="11405"/>
                    <a:pt x="473" y="11846"/>
                    <a:pt x="1009" y="11846"/>
                  </a:cubicBezTo>
                  <a:lnTo>
                    <a:pt x="7940" y="11846"/>
                  </a:lnTo>
                  <a:cubicBezTo>
                    <a:pt x="8538" y="11846"/>
                    <a:pt x="8979" y="11373"/>
                    <a:pt x="8979" y="10838"/>
                  </a:cubicBezTo>
                  <a:lnTo>
                    <a:pt x="8979" y="3151"/>
                  </a:lnTo>
                  <a:cubicBezTo>
                    <a:pt x="9011" y="2552"/>
                    <a:pt x="8538" y="2079"/>
                    <a:pt x="7940" y="2079"/>
                  </a:cubicBezTo>
                  <a:lnTo>
                    <a:pt x="7562" y="2079"/>
                  </a:lnTo>
                  <a:cubicBezTo>
                    <a:pt x="7404" y="1701"/>
                    <a:pt x="7026" y="1386"/>
                    <a:pt x="6553" y="1386"/>
                  </a:cubicBezTo>
                  <a:lnTo>
                    <a:pt x="6175" y="1386"/>
                  </a:lnTo>
                  <a:cubicBezTo>
                    <a:pt x="6018" y="599"/>
                    <a:pt x="5293"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76"/>
            <p:cNvSpPr/>
            <p:nvPr/>
          </p:nvSpPr>
          <p:spPr>
            <a:xfrm>
              <a:off x="-25001300" y="2375075"/>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76"/>
            <p:cNvSpPr/>
            <p:nvPr/>
          </p:nvSpPr>
          <p:spPr>
            <a:xfrm>
              <a:off x="-25070600" y="2444375"/>
              <a:ext cx="87450" cy="86675"/>
            </a:xfrm>
            <a:custGeom>
              <a:avLst/>
              <a:gdLst/>
              <a:ahLst/>
              <a:cxnLst/>
              <a:rect l="l" t="t" r="r" b="b"/>
              <a:pathLst>
                <a:path w="3498" h="3467" extrusionOk="0">
                  <a:moveTo>
                    <a:pt x="2773" y="725"/>
                  </a:moveTo>
                  <a:lnTo>
                    <a:pt x="2773" y="2805"/>
                  </a:lnTo>
                  <a:lnTo>
                    <a:pt x="693" y="2805"/>
                  </a:lnTo>
                  <a:lnTo>
                    <a:pt x="693" y="725"/>
                  </a:lnTo>
                  <a:close/>
                  <a:moveTo>
                    <a:pt x="378" y="1"/>
                  </a:moveTo>
                  <a:cubicBezTo>
                    <a:pt x="189" y="1"/>
                    <a:pt x="0" y="158"/>
                    <a:pt x="0" y="379"/>
                  </a:cubicBezTo>
                  <a:lnTo>
                    <a:pt x="0" y="3120"/>
                  </a:lnTo>
                  <a:cubicBezTo>
                    <a:pt x="0" y="3309"/>
                    <a:pt x="189" y="3466"/>
                    <a:pt x="378" y="3466"/>
                  </a:cubicBezTo>
                  <a:lnTo>
                    <a:pt x="3119" y="3466"/>
                  </a:lnTo>
                  <a:cubicBezTo>
                    <a:pt x="3340" y="3466"/>
                    <a:pt x="3497" y="3309"/>
                    <a:pt x="3497" y="3120"/>
                  </a:cubicBezTo>
                  <a:lnTo>
                    <a:pt x="3497" y="379"/>
                  </a:lnTo>
                  <a:cubicBezTo>
                    <a:pt x="3497" y="158"/>
                    <a:pt x="3340"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76"/>
            <p:cNvSpPr/>
            <p:nvPr/>
          </p:nvSpPr>
          <p:spPr>
            <a:xfrm>
              <a:off x="-24966650" y="2479025"/>
              <a:ext cx="52025" cy="18150"/>
            </a:xfrm>
            <a:custGeom>
              <a:avLst/>
              <a:gdLst/>
              <a:ahLst/>
              <a:cxnLst/>
              <a:rect l="l" t="t" r="r" b="b"/>
              <a:pathLst>
                <a:path w="2081" h="726" extrusionOk="0">
                  <a:moveTo>
                    <a:pt x="347" y="1"/>
                  </a:moveTo>
                  <a:cubicBezTo>
                    <a:pt x="158" y="1"/>
                    <a:pt x="1" y="158"/>
                    <a:pt x="1" y="347"/>
                  </a:cubicBezTo>
                  <a:cubicBezTo>
                    <a:pt x="1" y="568"/>
                    <a:pt x="158" y="726"/>
                    <a:pt x="347" y="726"/>
                  </a:cubicBezTo>
                  <a:lnTo>
                    <a:pt x="1734" y="726"/>
                  </a:lnTo>
                  <a:cubicBezTo>
                    <a:pt x="1923" y="726"/>
                    <a:pt x="2080" y="568"/>
                    <a:pt x="2080" y="347"/>
                  </a:cubicBezTo>
                  <a:cubicBezTo>
                    <a:pt x="2080" y="158"/>
                    <a:pt x="1923"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76"/>
            <p:cNvSpPr/>
            <p:nvPr/>
          </p:nvSpPr>
          <p:spPr>
            <a:xfrm>
              <a:off x="-24966650" y="2444375"/>
              <a:ext cx="52025" cy="18150"/>
            </a:xfrm>
            <a:custGeom>
              <a:avLst/>
              <a:gdLst/>
              <a:ahLst/>
              <a:cxnLst/>
              <a:rect l="l" t="t" r="r" b="b"/>
              <a:pathLst>
                <a:path w="2081" h="726" extrusionOk="0">
                  <a:moveTo>
                    <a:pt x="347" y="1"/>
                  </a:moveTo>
                  <a:cubicBezTo>
                    <a:pt x="158" y="1"/>
                    <a:pt x="1" y="158"/>
                    <a:pt x="1" y="379"/>
                  </a:cubicBezTo>
                  <a:cubicBezTo>
                    <a:pt x="1" y="568"/>
                    <a:pt x="158" y="725"/>
                    <a:pt x="347" y="725"/>
                  </a:cubicBezTo>
                  <a:lnTo>
                    <a:pt x="1734" y="725"/>
                  </a:lnTo>
                  <a:cubicBezTo>
                    <a:pt x="1923" y="725"/>
                    <a:pt x="2080" y="568"/>
                    <a:pt x="2080" y="379"/>
                  </a:cubicBezTo>
                  <a:cubicBezTo>
                    <a:pt x="2080" y="158"/>
                    <a:pt x="1923"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76"/>
            <p:cNvSpPr/>
            <p:nvPr/>
          </p:nvSpPr>
          <p:spPr>
            <a:xfrm>
              <a:off x="-24966650" y="2513700"/>
              <a:ext cx="52025" cy="17350"/>
            </a:xfrm>
            <a:custGeom>
              <a:avLst/>
              <a:gdLst/>
              <a:ahLst/>
              <a:cxnLst/>
              <a:rect l="l" t="t" r="r" b="b"/>
              <a:pathLst>
                <a:path w="2081" h="694" extrusionOk="0">
                  <a:moveTo>
                    <a:pt x="347" y="0"/>
                  </a:moveTo>
                  <a:cubicBezTo>
                    <a:pt x="158" y="0"/>
                    <a:pt x="1" y="158"/>
                    <a:pt x="1" y="347"/>
                  </a:cubicBezTo>
                  <a:cubicBezTo>
                    <a:pt x="1" y="536"/>
                    <a:pt x="158" y="693"/>
                    <a:pt x="347" y="693"/>
                  </a:cubicBezTo>
                  <a:lnTo>
                    <a:pt x="1734" y="693"/>
                  </a:lnTo>
                  <a:cubicBezTo>
                    <a:pt x="1923" y="693"/>
                    <a:pt x="2080" y="536"/>
                    <a:pt x="2080" y="347"/>
                  </a:cubicBez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1" name="Google Shape;9501;p76"/>
            <p:cNvSpPr/>
            <p:nvPr/>
          </p:nvSpPr>
          <p:spPr>
            <a:xfrm>
              <a:off x="-25071400" y="2549125"/>
              <a:ext cx="156775" cy="17350"/>
            </a:xfrm>
            <a:custGeom>
              <a:avLst/>
              <a:gdLst/>
              <a:ahLst/>
              <a:cxnLst/>
              <a:rect l="l" t="t" r="r" b="b"/>
              <a:pathLst>
                <a:path w="6271" h="694" extrusionOk="0">
                  <a:moveTo>
                    <a:pt x="379" y="1"/>
                  </a:moveTo>
                  <a:cubicBezTo>
                    <a:pt x="158" y="1"/>
                    <a:pt x="1" y="158"/>
                    <a:pt x="1" y="347"/>
                  </a:cubicBezTo>
                  <a:cubicBezTo>
                    <a:pt x="1" y="536"/>
                    <a:pt x="158" y="694"/>
                    <a:pt x="379" y="694"/>
                  </a:cubicBezTo>
                  <a:lnTo>
                    <a:pt x="5924" y="694"/>
                  </a:lnTo>
                  <a:cubicBezTo>
                    <a:pt x="6113" y="694"/>
                    <a:pt x="6270" y="536"/>
                    <a:pt x="6270" y="347"/>
                  </a:cubicBezTo>
                  <a:cubicBezTo>
                    <a:pt x="6270" y="158"/>
                    <a:pt x="6113" y="1"/>
                    <a:pt x="59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2" name="Google Shape;9502;p76"/>
            <p:cNvSpPr/>
            <p:nvPr/>
          </p:nvSpPr>
          <p:spPr>
            <a:xfrm>
              <a:off x="-25071400" y="2583800"/>
              <a:ext cx="156775" cy="17350"/>
            </a:xfrm>
            <a:custGeom>
              <a:avLst/>
              <a:gdLst/>
              <a:ahLst/>
              <a:cxnLst/>
              <a:rect l="l" t="t" r="r" b="b"/>
              <a:pathLst>
                <a:path w="6271" h="694" extrusionOk="0">
                  <a:moveTo>
                    <a:pt x="379" y="0"/>
                  </a:moveTo>
                  <a:cubicBezTo>
                    <a:pt x="158" y="0"/>
                    <a:pt x="1" y="158"/>
                    <a:pt x="1" y="347"/>
                  </a:cubicBezTo>
                  <a:cubicBezTo>
                    <a:pt x="1" y="536"/>
                    <a:pt x="158" y="693"/>
                    <a:pt x="379" y="693"/>
                  </a:cubicBezTo>
                  <a:lnTo>
                    <a:pt x="5924" y="693"/>
                  </a:lnTo>
                  <a:cubicBezTo>
                    <a:pt x="6113" y="693"/>
                    <a:pt x="6270" y="536"/>
                    <a:pt x="6270" y="347"/>
                  </a:cubicBezTo>
                  <a:cubicBezTo>
                    <a:pt x="6270" y="158"/>
                    <a:pt x="6113" y="0"/>
                    <a:pt x="59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76"/>
            <p:cNvSpPr/>
            <p:nvPr/>
          </p:nvSpPr>
          <p:spPr>
            <a:xfrm>
              <a:off x="-24862675" y="2375850"/>
              <a:ext cx="53575" cy="260725"/>
            </a:xfrm>
            <a:custGeom>
              <a:avLst/>
              <a:gdLst/>
              <a:ahLst/>
              <a:cxnLst/>
              <a:rect l="l" t="t" r="r" b="b"/>
              <a:pathLst>
                <a:path w="2143" h="10429" extrusionOk="0">
                  <a:moveTo>
                    <a:pt x="1103" y="1103"/>
                  </a:moveTo>
                  <a:lnTo>
                    <a:pt x="1481" y="1797"/>
                  </a:lnTo>
                  <a:lnTo>
                    <a:pt x="1481" y="7625"/>
                  </a:lnTo>
                  <a:lnTo>
                    <a:pt x="757" y="7625"/>
                  </a:lnTo>
                  <a:lnTo>
                    <a:pt x="757" y="1797"/>
                  </a:lnTo>
                  <a:lnTo>
                    <a:pt x="1103" y="1103"/>
                  </a:lnTo>
                  <a:close/>
                  <a:moveTo>
                    <a:pt x="1481" y="8255"/>
                  </a:moveTo>
                  <a:lnTo>
                    <a:pt x="1481" y="9358"/>
                  </a:lnTo>
                  <a:cubicBezTo>
                    <a:pt x="1450" y="9578"/>
                    <a:pt x="1324" y="9736"/>
                    <a:pt x="1103" y="9736"/>
                  </a:cubicBezTo>
                  <a:cubicBezTo>
                    <a:pt x="914" y="9736"/>
                    <a:pt x="757" y="9578"/>
                    <a:pt x="757" y="9358"/>
                  </a:cubicBezTo>
                  <a:lnTo>
                    <a:pt x="757" y="8255"/>
                  </a:lnTo>
                  <a:close/>
                  <a:moveTo>
                    <a:pt x="1072" y="1"/>
                  </a:moveTo>
                  <a:cubicBezTo>
                    <a:pt x="946" y="1"/>
                    <a:pt x="820" y="64"/>
                    <a:pt x="757" y="190"/>
                  </a:cubicBezTo>
                  <a:lnTo>
                    <a:pt x="32" y="1576"/>
                  </a:lnTo>
                  <a:cubicBezTo>
                    <a:pt x="0" y="1608"/>
                    <a:pt x="0" y="1702"/>
                    <a:pt x="0" y="1734"/>
                  </a:cubicBezTo>
                  <a:lnTo>
                    <a:pt x="0" y="9421"/>
                  </a:lnTo>
                  <a:cubicBezTo>
                    <a:pt x="0" y="9988"/>
                    <a:pt x="473" y="10429"/>
                    <a:pt x="1040" y="10429"/>
                  </a:cubicBezTo>
                  <a:cubicBezTo>
                    <a:pt x="1607" y="10429"/>
                    <a:pt x="2048" y="9956"/>
                    <a:pt x="2048" y="9421"/>
                  </a:cubicBezTo>
                  <a:lnTo>
                    <a:pt x="2048" y="1734"/>
                  </a:lnTo>
                  <a:cubicBezTo>
                    <a:pt x="2143" y="1639"/>
                    <a:pt x="2143" y="1608"/>
                    <a:pt x="2111" y="1576"/>
                  </a:cubicBezTo>
                  <a:lnTo>
                    <a:pt x="1387" y="190"/>
                  </a:lnTo>
                  <a:cubicBezTo>
                    <a:pt x="1355" y="64"/>
                    <a:pt x="1198"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04" name="Google Shape;9504;p76"/>
          <p:cNvSpPr/>
          <p:nvPr/>
        </p:nvSpPr>
        <p:spPr>
          <a:xfrm>
            <a:off x="5306811" y="3825122"/>
            <a:ext cx="356946" cy="263712"/>
          </a:xfrm>
          <a:custGeom>
            <a:avLst/>
            <a:gdLst/>
            <a:ahLst/>
            <a:cxnLst/>
            <a:rect l="l" t="t" r="r" b="b"/>
            <a:pathLst>
              <a:path w="11941" h="8822" extrusionOk="0">
                <a:moveTo>
                  <a:pt x="7184" y="1229"/>
                </a:moveTo>
                <a:lnTo>
                  <a:pt x="7184" y="1922"/>
                </a:lnTo>
                <a:lnTo>
                  <a:pt x="6459" y="1922"/>
                </a:lnTo>
                <a:lnTo>
                  <a:pt x="6459" y="1229"/>
                </a:lnTo>
                <a:close/>
                <a:moveTo>
                  <a:pt x="5797" y="1261"/>
                </a:moveTo>
                <a:lnTo>
                  <a:pt x="5797" y="1954"/>
                </a:lnTo>
                <a:lnTo>
                  <a:pt x="5073" y="1954"/>
                </a:lnTo>
                <a:lnTo>
                  <a:pt x="5073" y="1607"/>
                </a:lnTo>
                <a:cubicBezTo>
                  <a:pt x="5073" y="1418"/>
                  <a:pt x="5230" y="1261"/>
                  <a:pt x="5419" y="1261"/>
                </a:cubicBezTo>
                <a:close/>
                <a:moveTo>
                  <a:pt x="8192" y="1261"/>
                </a:moveTo>
                <a:cubicBezTo>
                  <a:pt x="8381" y="1261"/>
                  <a:pt x="8538" y="1418"/>
                  <a:pt x="8538" y="1607"/>
                </a:cubicBezTo>
                <a:lnTo>
                  <a:pt x="8538" y="1954"/>
                </a:lnTo>
                <a:lnTo>
                  <a:pt x="7845" y="1954"/>
                </a:lnTo>
                <a:lnTo>
                  <a:pt x="7845" y="1261"/>
                </a:lnTo>
                <a:close/>
                <a:moveTo>
                  <a:pt x="1450" y="694"/>
                </a:moveTo>
                <a:cubicBezTo>
                  <a:pt x="1607" y="694"/>
                  <a:pt x="1796" y="788"/>
                  <a:pt x="1922" y="914"/>
                </a:cubicBezTo>
                <a:lnTo>
                  <a:pt x="3182" y="2174"/>
                </a:lnTo>
                <a:cubicBezTo>
                  <a:pt x="3497" y="2489"/>
                  <a:pt x="3938" y="2679"/>
                  <a:pt x="4411" y="2679"/>
                </a:cubicBezTo>
                <a:lnTo>
                  <a:pt x="10523" y="2679"/>
                </a:lnTo>
                <a:cubicBezTo>
                  <a:pt x="10901" y="2679"/>
                  <a:pt x="11216" y="2994"/>
                  <a:pt x="11216" y="3372"/>
                </a:cubicBezTo>
                <a:cubicBezTo>
                  <a:pt x="11216" y="3781"/>
                  <a:pt x="10901" y="4096"/>
                  <a:pt x="10523" y="4096"/>
                </a:cubicBezTo>
                <a:lnTo>
                  <a:pt x="3812" y="4096"/>
                </a:lnTo>
                <a:cubicBezTo>
                  <a:pt x="3340" y="4096"/>
                  <a:pt x="2899" y="3907"/>
                  <a:pt x="2584" y="3592"/>
                </a:cubicBezTo>
                <a:lnTo>
                  <a:pt x="977" y="1891"/>
                </a:lnTo>
                <a:cubicBezTo>
                  <a:pt x="693" y="1607"/>
                  <a:pt x="693" y="1166"/>
                  <a:pt x="977" y="914"/>
                </a:cubicBezTo>
                <a:cubicBezTo>
                  <a:pt x="1103" y="788"/>
                  <a:pt x="1292" y="694"/>
                  <a:pt x="1450" y="694"/>
                </a:cubicBezTo>
                <a:close/>
                <a:moveTo>
                  <a:pt x="8255" y="4726"/>
                </a:moveTo>
                <a:lnTo>
                  <a:pt x="6805" y="5545"/>
                </a:lnTo>
                <a:lnTo>
                  <a:pt x="5356" y="4726"/>
                </a:lnTo>
                <a:close/>
                <a:moveTo>
                  <a:pt x="6805" y="6333"/>
                </a:moveTo>
                <a:lnTo>
                  <a:pt x="8822" y="7467"/>
                </a:lnTo>
                <a:lnTo>
                  <a:pt x="4821" y="7467"/>
                </a:lnTo>
                <a:lnTo>
                  <a:pt x="6805" y="6333"/>
                </a:lnTo>
                <a:close/>
                <a:moveTo>
                  <a:pt x="3340" y="7467"/>
                </a:moveTo>
                <a:cubicBezTo>
                  <a:pt x="3529" y="7467"/>
                  <a:pt x="3686" y="7625"/>
                  <a:pt x="3686" y="7845"/>
                </a:cubicBezTo>
                <a:cubicBezTo>
                  <a:pt x="3686" y="8034"/>
                  <a:pt x="3529" y="8192"/>
                  <a:pt x="3340" y="8192"/>
                </a:cubicBezTo>
                <a:cubicBezTo>
                  <a:pt x="3151" y="8192"/>
                  <a:pt x="2993" y="8034"/>
                  <a:pt x="2993" y="7845"/>
                </a:cubicBezTo>
                <a:cubicBezTo>
                  <a:pt x="2993" y="7625"/>
                  <a:pt x="3151" y="7467"/>
                  <a:pt x="3340" y="7467"/>
                </a:cubicBezTo>
                <a:close/>
                <a:moveTo>
                  <a:pt x="10271" y="7467"/>
                </a:moveTo>
                <a:cubicBezTo>
                  <a:pt x="10460" y="7467"/>
                  <a:pt x="10618" y="7625"/>
                  <a:pt x="10618" y="7845"/>
                </a:cubicBezTo>
                <a:cubicBezTo>
                  <a:pt x="10618" y="8034"/>
                  <a:pt x="10460" y="8192"/>
                  <a:pt x="10271" y="8192"/>
                </a:cubicBezTo>
                <a:cubicBezTo>
                  <a:pt x="10082" y="8192"/>
                  <a:pt x="9924" y="8034"/>
                  <a:pt x="9924" y="7845"/>
                </a:cubicBezTo>
                <a:cubicBezTo>
                  <a:pt x="9924" y="7625"/>
                  <a:pt x="10082" y="7467"/>
                  <a:pt x="10271" y="7467"/>
                </a:cubicBezTo>
                <a:close/>
                <a:moveTo>
                  <a:pt x="1544" y="1"/>
                </a:moveTo>
                <a:cubicBezTo>
                  <a:pt x="1166" y="1"/>
                  <a:pt x="820" y="158"/>
                  <a:pt x="536" y="379"/>
                </a:cubicBezTo>
                <a:cubicBezTo>
                  <a:pt x="0" y="946"/>
                  <a:pt x="0" y="1796"/>
                  <a:pt x="536" y="2363"/>
                </a:cubicBezTo>
                <a:lnTo>
                  <a:pt x="2206" y="4002"/>
                </a:lnTo>
                <a:cubicBezTo>
                  <a:pt x="2678" y="4474"/>
                  <a:pt x="3277" y="4726"/>
                  <a:pt x="3938" y="4726"/>
                </a:cubicBezTo>
                <a:lnTo>
                  <a:pt x="4002" y="4726"/>
                </a:lnTo>
                <a:lnTo>
                  <a:pt x="6175" y="5955"/>
                </a:lnTo>
                <a:lnTo>
                  <a:pt x="4128" y="7089"/>
                </a:lnTo>
                <a:cubicBezTo>
                  <a:pt x="3938" y="6900"/>
                  <a:pt x="3686" y="6774"/>
                  <a:pt x="3371" y="6774"/>
                </a:cubicBezTo>
                <a:cubicBezTo>
                  <a:pt x="2804" y="6774"/>
                  <a:pt x="2363" y="7247"/>
                  <a:pt x="2363" y="7782"/>
                </a:cubicBezTo>
                <a:cubicBezTo>
                  <a:pt x="2363" y="8381"/>
                  <a:pt x="2836" y="8822"/>
                  <a:pt x="3371" y="8822"/>
                </a:cubicBezTo>
                <a:cubicBezTo>
                  <a:pt x="3812" y="8822"/>
                  <a:pt x="4222" y="8538"/>
                  <a:pt x="4380" y="8097"/>
                </a:cubicBezTo>
                <a:lnTo>
                  <a:pt x="9326" y="8097"/>
                </a:lnTo>
                <a:cubicBezTo>
                  <a:pt x="9483" y="8507"/>
                  <a:pt x="9830" y="8822"/>
                  <a:pt x="10302" y="8822"/>
                </a:cubicBezTo>
                <a:cubicBezTo>
                  <a:pt x="10901" y="8822"/>
                  <a:pt x="11342" y="8349"/>
                  <a:pt x="11342" y="7782"/>
                </a:cubicBezTo>
                <a:cubicBezTo>
                  <a:pt x="11342" y="7184"/>
                  <a:pt x="10870" y="6774"/>
                  <a:pt x="10302" y="6774"/>
                </a:cubicBezTo>
                <a:cubicBezTo>
                  <a:pt x="10050" y="6774"/>
                  <a:pt x="9767" y="6900"/>
                  <a:pt x="9578" y="7089"/>
                </a:cubicBezTo>
                <a:lnTo>
                  <a:pt x="7530" y="5955"/>
                </a:lnTo>
                <a:lnTo>
                  <a:pt x="9672" y="4726"/>
                </a:lnTo>
                <a:lnTo>
                  <a:pt x="10555" y="4726"/>
                </a:lnTo>
                <a:cubicBezTo>
                  <a:pt x="11311" y="4726"/>
                  <a:pt x="11941" y="4096"/>
                  <a:pt x="11941" y="3340"/>
                </a:cubicBezTo>
                <a:cubicBezTo>
                  <a:pt x="11941" y="2584"/>
                  <a:pt x="11311" y="1954"/>
                  <a:pt x="10555" y="1954"/>
                </a:cubicBezTo>
                <a:lnTo>
                  <a:pt x="9263" y="1954"/>
                </a:lnTo>
                <a:lnTo>
                  <a:pt x="9263" y="1607"/>
                </a:lnTo>
                <a:cubicBezTo>
                  <a:pt x="9263" y="1009"/>
                  <a:pt x="8790" y="599"/>
                  <a:pt x="8223" y="599"/>
                </a:cubicBezTo>
                <a:lnTo>
                  <a:pt x="5482" y="599"/>
                </a:lnTo>
                <a:cubicBezTo>
                  <a:pt x="4884" y="599"/>
                  <a:pt x="4443" y="1072"/>
                  <a:pt x="4443" y="1607"/>
                </a:cubicBezTo>
                <a:lnTo>
                  <a:pt x="4443" y="1954"/>
                </a:lnTo>
                <a:cubicBezTo>
                  <a:pt x="4222" y="1954"/>
                  <a:pt x="3970" y="1859"/>
                  <a:pt x="3781" y="1639"/>
                </a:cubicBezTo>
                <a:lnTo>
                  <a:pt x="2521" y="379"/>
                </a:lnTo>
                <a:cubicBezTo>
                  <a:pt x="2237" y="127"/>
                  <a:pt x="1891" y="1"/>
                  <a:pt x="15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505" name="Google Shape;9505;p76"/>
          <p:cNvGrpSpPr/>
          <p:nvPr/>
        </p:nvGrpSpPr>
        <p:grpSpPr>
          <a:xfrm>
            <a:off x="7548093" y="2891403"/>
            <a:ext cx="355063" cy="354136"/>
            <a:chOff x="-23229925" y="1970225"/>
            <a:chExt cx="296950" cy="296175"/>
          </a:xfrm>
        </p:grpSpPr>
        <p:sp>
          <p:nvSpPr>
            <p:cNvPr id="9506" name="Google Shape;9506;p76"/>
            <p:cNvSpPr/>
            <p:nvPr/>
          </p:nvSpPr>
          <p:spPr>
            <a:xfrm>
              <a:off x="-23229925" y="1970225"/>
              <a:ext cx="296950" cy="296175"/>
            </a:xfrm>
            <a:custGeom>
              <a:avLst/>
              <a:gdLst/>
              <a:ahLst/>
              <a:cxnLst/>
              <a:rect l="l" t="t" r="r" b="b"/>
              <a:pathLst>
                <a:path w="11878" h="11847" extrusionOk="0">
                  <a:moveTo>
                    <a:pt x="10145" y="694"/>
                  </a:moveTo>
                  <a:cubicBezTo>
                    <a:pt x="10743" y="694"/>
                    <a:pt x="11184" y="1167"/>
                    <a:pt x="11184" y="1734"/>
                  </a:cubicBezTo>
                  <a:lnTo>
                    <a:pt x="11184" y="10114"/>
                  </a:lnTo>
                  <a:cubicBezTo>
                    <a:pt x="11184" y="10712"/>
                    <a:pt x="10712" y="11122"/>
                    <a:pt x="10145" y="11122"/>
                  </a:cubicBezTo>
                  <a:lnTo>
                    <a:pt x="1764" y="11122"/>
                  </a:lnTo>
                  <a:cubicBezTo>
                    <a:pt x="1166" y="11122"/>
                    <a:pt x="725" y="10681"/>
                    <a:pt x="725" y="10114"/>
                  </a:cubicBezTo>
                  <a:lnTo>
                    <a:pt x="725" y="1734"/>
                  </a:lnTo>
                  <a:cubicBezTo>
                    <a:pt x="725" y="1135"/>
                    <a:pt x="1197" y="694"/>
                    <a:pt x="1764" y="694"/>
                  </a:cubicBezTo>
                  <a:close/>
                  <a:moveTo>
                    <a:pt x="1733" y="1"/>
                  </a:moveTo>
                  <a:cubicBezTo>
                    <a:pt x="788" y="1"/>
                    <a:pt x="0" y="788"/>
                    <a:pt x="0" y="1734"/>
                  </a:cubicBezTo>
                  <a:lnTo>
                    <a:pt x="0" y="10114"/>
                  </a:lnTo>
                  <a:cubicBezTo>
                    <a:pt x="0" y="11059"/>
                    <a:pt x="788" y="11847"/>
                    <a:pt x="1733" y="11847"/>
                  </a:cubicBezTo>
                  <a:lnTo>
                    <a:pt x="10113" y="11847"/>
                  </a:lnTo>
                  <a:cubicBezTo>
                    <a:pt x="11058" y="11847"/>
                    <a:pt x="11846" y="11059"/>
                    <a:pt x="11846" y="10114"/>
                  </a:cubicBezTo>
                  <a:lnTo>
                    <a:pt x="11846" y="1734"/>
                  </a:lnTo>
                  <a:cubicBezTo>
                    <a:pt x="11878" y="788"/>
                    <a:pt x="11090" y="1"/>
                    <a:pt x="10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76"/>
            <p:cNvSpPr/>
            <p:nvPr/>
          </p:nvSpPr>
          <p:spPr>
            <a:xfrm>
              <a:off x="-23196075" y="2005675"/>
              <a:ext cx="227650" cy="192200"/>
            </a:xfrm>
            <a:custGeom>
              <a:avLst/>
              <a:gdLst/>
              <a:ahLst/>
              <a:cxnLst/>
              <a:rect l="l" t="t" r="r" b="b"/>
              <a:pathLst>
                <a:path w="9106" h="7688" extrusionOk="0">
                  <a:moveTo>
                    <a:pt x="8444" y="662"/>
                  </a:moveTo>
                  <a:lnTo>
                    <a:pt x="8444" y="3435"/>
                  </a:lnTo>
                  <a:lnTo>
                    <a:pt x="6144" y="3435"/>
                  </a:lnTo>
                  <a:cubicBezTo>
                    <a:pt x="5987" y="3435"/>
                    <a:pt x="5892" y="3498"/>
                    <a:pt x="5829" y="3624"/>
                  </a:cubicBezTo>
                  <a:lnTo>
                    <a:pt x="5357" y="4852"/>
                  </a:lnTo>
                  <a:lnTo>
                    <a:pt x="4317" y="1576"/>
                  </a:lnTo>
                  <a:cubicBezTo>
                    <a:pt x="4254" y="1450"/>
                    <a:pt x="4160" y="1324"/>
                    <a:pt x="4002" y="1324"/>
                  </a:cubicBezTo>
                  <a:cubicBezTo>
                    <a:pt x="3845" y="1324"/>
                    <a:pt x="3718" y="1418"/>
                    <a:pt x="3624" y="1544"/>
                  </a:cubicBezTo>
                  <a:lnTo>
                    <a:pt x="2805" y="3435"/>
                  </a:lnTo>
                  <a:lnTo>
                    <a:pt x="757" y="3435"/>
                  </a:lnTo>
                  <a:lnTo>
                    <a:pt x="757" y="662"/>
                  </a:lnTo>
                  <a:close/>
                  <a:moveTo>
                    <a:pt x="3876" y="2678"/>
                  </a:moveTo>
                  <a:lnTo>
                    <a:pt x="4947" y="5986"/>
                  </a:lnTo>
                  <a:cubicBezTo>
                    <a:pt x="4979" y="6144"/>
                    <a:pt x="5105" y="6207"/>
                    <a:pt x="5262" y="6207"/>
                  </a:cubicBezTo>
                  <a:cubicBezTo>
                    <a:pt x="5420" y="6207"/>
                    <a:pt x="5514" y="6144"/>
                    <a:pt x="5577" y="6018"/>
                  </a:cubicBezTo>
                  <a:lnTo>
                    <a:pt x="6333" y="4159"/>
                  </a:lnTo>
                  <a:lnTo>
                    <a:pt x="8413" y="4159"/>
                  </a:lnTo>
                  <a:lnTo>
                    <a:pt x="8413" y="6995"/>
                  </a:lnTo>
                  <a:lnTo>
                    <a:pt x="757" y="6995"/>
                  </a:lnTo>
                  <a:lnTo>
                    <a:pt x="757" y="6963"/>
                  </a:lnTo>
                  <a:lnTo>
                    <a:pt x="757" y="4128"/>
                  </a:lnTo>
                  <a:lnTo>
                    <a:pt x="2994" y="4128"/>
                  </a:lnTo>
                  <a:cubicBezTo>
                    <a:pt x="3120" y="4128"/>
                    <a:pt x="3277" y="4065"/>
                    <a:pt x="3309" y="3939"/>
                  </a:cubicBezTo>
                  <a:lnTo>
                    <a:pt x="3876" y="2678"/>
                  </a:lnTo>
                  <a:close/>
                  <a:moveTo>
                    <a:pt x="379" y="1"/>
                  </a:moveTo>
                  <a:cubicBezTo>
                    <a:pt x="158" y="1"/>
                    <a:pt x="1" y="158"/>
                    <a:pt x="1" y="347"/>
                  </a:cubicBezTo>
                  <a:lnTo>
                    <a:pt x="1" y="7310"/>
                  </a:lnTo>
                  <a:cubicBezTo>
                    <a:pt x="1" y="7530"/>
                    <a:pt x="158" y="7688"/>
                    <a:pt x="379" y="7688"/>
                  </a:cubicBezTo>
                  <a:lnTo>
                    <a:pt x="8759" y="7688"/>
                  </a:lnTo>
                  <a:cubicBezTo>
                    <a:pt x="8948" y="7688"/>
                    <a:pt x="9106" y="7530"/>
                    <a:pt x="9106" y="7310"/>
                  </a:cubicBezTo>
                  <a:lnTo>
                    <a:pt x="9106" y="347"/>
                  </a:lnTo>
                  <a:cubicBezTo>
                    <a:pt x="9106" y="158"/>
                    <a:pt x="8948" y="1"/>
                    <a:pt x="87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76"/>
            <p:cNvSpPr/>
            <p:nvPr/>
          </p:nvSpPr>
          <p:spPr>
            <a:xfrm>
              <a:off x="-231425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76"/>
            <p:cNvSpPr/>
            <p:nvPr/>
          </p:nvSpPr>
          <p:spPr>
            <a:xfrm>
              <a:off x="-23177150" y="221440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662" y="158"/>
                    <a:pt x="50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0" name="Google Shape;9510;p76"/>
          <p:cNvGrpSpPr/>
          <p:nvPr/>
        </p:nvGrpSpPr>
        <p:grpSpPr>
          <a:xfrm>
            <a:off x="7590466" y="3338266"/>
            <a:ext cx="270318" cy="355063"/>
            <a:chOff x="-23177950" y="2340425"/>
            <a:chExt cx="226075" cy="296950"/>
          </a:xfrm>
        </p:grpSpPr>
        <p:sp>
          <p:nvSpPr>
            <p:cNvPr id="9511" name="Google Shape;9511;p76"/>
            <p:cNvSpPr/>
            <p:nvPr/>
          </p:nvSpPr>
          <p:spPr>
            <a:xfrm>
              <a:off x="-23177950" y="2340425"/>
              <a:ext cx="226075" cy="296950"/>
            </a:xfrm>
            <a:custGeom>
              <a:avLst/>
              <a:gdLst/>
              <a:ahLst/>
              <a:cxnLst/>
              <a:rect l="l" t="t" r="r" b="b"/>
              <a:pathLst>
                <a:path w="9043" h="11878" extrusionOk="0">
                  <a:moveTo>
                    <a:pt x="1418" y="693"/>
                  </a:moveTo>
                  <a:lnTo>
                    <a:pt x="1418" y="1449"/>
                  </a:lnTo>
                  <a:cubicBezTo>
                    <a:pt x="1418" y="2048"/>
                    <a:pt x="1891" y="2457"/>
                    <a:pt x="2426" y="2457"/>
                  </a:cubicBezTo>
                  <a:lnTo>
                    <a:pt x="2804" y="2457"/>
                  </a:lnTo>
                  <a:cubicBezTo>
                    <a:pt x="2899" y="2457"/>
                    <a:pt x="2993" y="2426"/>
                    <a:pt x="3057" y="2300"/>
                  </a:cubicBezTo>
                  <a:cubicBezTo>
                    <a:pt x="3340" y="1953"/>
                    <a:pt x="3750" y="1764"/>
                    <a:pt x="4159" y="1764"/>
                  </a:cubicBezTo>
                  <a:cubicBezTo>
                    <a:pt x="6459" y="1764"/>
                    <a:pt x="8349" y="3623"/>
                    <a:pt x="8349" y="5923"/>
                  </a:cubicBezTo>
                  <a:cubicBezTo>
                    <a:pt x="8349" y="8254"/>
                    <a:pt x="6491" y="10113"/>
                    <a:pt x="4159" y="10113"/>
                  </a:cubicBezTo>
                  <a:cubicBezTo>
                    <a:pt x="3750" y="10113"/>
                    <a:pt x="3340" y="9924"/>
                    <a:pt x="3057" y="9578"/>
                  </a:cubicBezTo>
                  <a:cubicBezTo>
                    <a:pt x="2993" y="9483"/>
                    <a:pt x="2899" y="9389"/>
                    <a:pt x="2804" y="9389"/>
                  </a:cubicBezTo>
                  <a:lnTo>
                    <a:pt x="2426" y="9389"/>
                  </a:lnTo>
                  <a:cubicBezTo>
                    <a:pt x="1859" y="9389"/>
                    <a:pt x="1418" y="9861"/>
                    <a:pt x="1418" y="10428"/>
                  </a:cubicBezTo>
                  <a:lnTo>
                    <a:pt x="1418" y="11153"/>
                  </a:lnTo>
                  <a:lnTo>
                    <a:pt x="694" y="11153"/>
                  </a:lnTo>
                  <a:lnTo>
                    <a:pt x="694" y="10428"/>
                  </a:lnTo>
                  <a:cubicBezTo>
                    <a:pt x="694" y="9483"/>
                    <a:pt x="1481" y="8695"/>
                    <a:pt x="2426" y="8695"/>
                  </a:cubicBezTo>
                  <a:lnTo>
                    <a:pt x="2489" y="8695"/>
                  </a:lnTo>
                  <a:cubicBezTo>
                    <a:pt x="2647" y="8695"/>
                    <a:pt x="2804" y="8569"/>
                    <a:pt x="2836" y="8412"/>
                  </a:cubicBezTo>
                  <a:cubicBezTo>
                    <a:pt x="2962" y="7782"/>
                    <a:pt x="3529" y="7309"/>
                    <a:pt x="4222" y="7309"/>
                  </a:cubicBezTo>
                  <a:cubicBezTo>
                    <a:pt x="4947" y="7309"/>
                    <a:pt x="5577" y="6679"/>
                    <a:pt x="5577" y="5923"/>
                  </a:cubicBezTo>
                  <a:cubicBezTo>
                    <a:pt x="5577" y="5198"/>
                    <a:pt x="4947" y="4568"/>
                    <a:pt x="4222" y="4568"/>
                  </a:cubicBezTo>
                  <a:cubicBezTo>
                    <a:pt x="3529" y="4568"/>
                    <a:pt x="2993" y="4096"/>
                    <a:pt x="2836" y="3466"/>
                  </a:cubicBezTo>
                  <a:cubicBezTo>
                    <a:pt x="2804" y="3308"/>
                    <a:pt x="2678" y="3182"/>
                    <a:pt x="2489" y="3182"/>
                  </a:cubicBezTo>
                  <a:lnTo>
                    <a:pt x="2426" y="3182"/>
                  </a:lnTo>
                  <a:cubicBezTo>
                    <a:pt x="1481" y="3182"/>
                    <a:pt x="694" y="2394"/>
                    <a:pt x="694" y="1449"/>
                  </a:cubicBezTo>
                  <a:lnTo>
                    <a:pt x="694" y="693"/>
                  </a:lnTo>
                  <a:close/>
                  <a:moveTo>
                    <a:pt x="347" y="0"/>
                  </a:moveTo>
                  <a:cubicBezTo>
                    <a:pt x="158" y="0"/>
                    <a:pt x="1" y="158"/>
                    <a:pt x="1" y="347"/>
                  </a:cubicBezTo>
                  <a:lnTo>
                    <a:pt x="1" y="1449"/>
                  </a:lnTo>
                  <a:cubicBezTo>
                    <a:pt x="1" y="2710"/>
                    <a:pt x="977" y="3749"/>
                    <a:pt x="2206" y="3844"/>
                  </a:cubicBezTo>
                  <a:cubicBezTo>
                    <a:pt x="2489" y="4694"/>
                    <a:pt x="3277" y="5261"/>
                    <a:pt x="4159" y="5261"/>
                  </a:cubicBezTo>
                  <a:cubicBezTo>
                    <a:pt x="4569" y="5261"/>
                    <a:pt x="4884" y="5576"/>
                    <a:pt x="4884" y="5986"/>
                  </a:cubicBezTo>
                  <a:cubicBezTo>
                    <a:pt x="4884" y="6364"/>
                    <a:pt x="4569" y="6679"/>
                    <a:pt x="4159" y="6679"/>
                  </a:cubicBezTo>
                  <a:cubicBezTo>
                    <a:pt x="3277" y="6679"/>
                    <a:pt x="2489" y="7278"/>
                    <a:pt x="2206" y="8097"/>
                  </a:cubicBezTo>
                  <a:cubicBezTo>
                    <a:pt x="977" y="8223"/>
                    <a:pt x="1" y="9263"/>
                    <a:pt x="1" y="10523"/>
                  </a:cubicBezTo>
                  <a:lnTo>
                    <a:pt x="1" y="11531"/>
                  </a:lnTo>
                  <a:cubicBezTo>
                    <a:pt x="1" y="11720"/>
                    <a:pt x="158" y="11877"/>
                    <a:pt x="347" y="11877"/>
                  </a:cubicBezTo>
                  <a:lnTo>
                    <a:pt x="1733" y="11877"/>
                  </a:lnTo>
                  <a:cubicBezTo>
                    <a:pt x="1922" y="11877"/>
                    <a:pt x="2080" y="11720"/>
                    <a:pt x="2080" y="11531"/>
                  </a:cubicBezTo>
                  <a:lnTo>
                    <a:pt x="2080" y="10523"/>
                  </a:lnTo>
                  <a:cubicBezTo>
                    <a:pt x="2080" y="10302"/>
                    <a:pt x="2237" y="10145"/>
                    <a:pt x="2426" y="10145"/>
                  </a:cubicBezTo>
                  <a:lnTo>
                    <a:pt x="2647" y="10145"/>
                  </a:lnTo>
                  <a:cubicBezTo>
                    <a:pt x="3025" y="10586"/>
                    <a:pt x="3592" y="10869"/>
                    <a:pt x="4159" y="10869"/>
                  </a:cubicBezTo>
                  <a:cubicBezTo>
                    <a:pt x="6837" y="10869"/>
                    <a:pt x="9011" y="8695"/>
                    <a:pt x="9011" y="6018"/>
                  </a:cubicBezTo>
                  <a:cubicBezTo>
                    <a:pt x="9042" y="3277"/>
                    <a:pt x="6837" y="1103"/>
                    <a:pt x="4159" y="1103"/>
                  </a:cubicBezTo>
                  <a:cubicBezTo>
                    <a:pt x="3592" y="1103"/>
                    <a:pt x="3025" y="1323"/>
                    <a:pt x="2647" y="1796"/>
                  </a:cubicBezTo>
                  <a:lnTo>
                    <a:pt x="2426" y="1796"/>
                  </a:lnTo>
                  <a:cubicBezTo>
                    <a:pt x="2237" y="1796"/>
                    <a:pt x="2080" y="1638"/>
                    <a:pt x="2080" y="1449"/>
                  </a:cubicBezTo>
                  <a:lnTo>
                    <a:pt x="2080" y="347"/>
                  </a:lnTo>
                  <a:cubicBezTo>
                    <a:pt x="2080" y="158"/>
                    <a:pt x="1922"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2" name="Google Shape;9512;p76"/>
            <p:cNvSpPr/>
            <p:nvPr/>
          </p:nvSpPr>
          <p:spPr>
            <a:xfrm>
              <a:off x="-23081850" y="2425475"/>
              <a:ext cx="96100" cy="151250"/>
            </a:xfrm>
            <a:custGeom>
              <a:avLst/>
              <a:gdLst/>
              <a:ahLst/>
              <a:cxnLst/>
              <a:rect l="l" t="t" r="r" b="b"/>
              <a:pathLst>
                <a:path w="3844" h="6050" extrusionOk="0">
                  <a:moveTo>
                    <a:pt x="2568" y="1"/>
                  </a:moveTo>
                  <a:cubicBezTo>
                    <a:pt x="2481" y="1"/>
                    <a:pt x="2395" y="32"/>
                    <a:pt x="2332" y="95"/>
                  </a:cubicBezTo>
                  <a:cubicBezTo>
                    <a:pt x="2205" y="221"/>
                    <a:pt x="2205" y="442"/>
                    <a:pt x="2332" y="568"/>
                  </a:cubicBezTo>
                  <a:cubicBezTo>
                    <a:pt x="2867" y="1072"/>
                    <a:pt x="3151" y="1796"/>
                    <a:pt x="3151" y="2553"/>
                  </a:cubicBezTo>
                  <a:cubicBezTo>
                    <a:pt x="3151" y="3277"/>
                    <a:pt x="2899" y="3970"/>
                    <a:pt x="2332" y="4506"/>
                  </a:cubicBezTo>
                  <a:cubicBezTo>
                    <a:pt x="1827" y="5010"/>
                    <a:pt x="1134" y="5325"/>
                    <a:pt x="378" y="5325"/>
                  </a:cubicBezTo>
                  <a:cubicBezTo>
                    <a:pt x="189" y="5325"/>
                    <a:pt x="0" y="5482"/>
                    <a:pt x="0" y="5703"/>
                  </a:cubicBezTo>
                  <a:cubicBezTo>
                    <a:pt x="0" y="5892"/>
                    <a:pt x="189" y="6050"/>
                    <a:pt x="378" y="6050"/>
                  </a:cubicBezTo>
                  <a:cubicBezTo>
                    <a:pt x="1292" y="6050"/>
                    <a:pt x="2174" y="5703"/>
                    <a:pt x="2804" y="5010"/>
                  </a:cubicBezTo>
                  <a:cubicBezTo>
                    <a:pt x="3466" y="4348"/>
                    <a:pt x="3844" y="3498"/>
                    <a:pt x="3844" y="2584"/>
                  </a:cubicBezTo>
                  <a:cubicBezTo>
                    <a:pt x="3844" y="1670"/>
                    <a:pt x="3434" y="757"/>
                    <a:pt x="2804" y="95"/>
                  </a:cubicBezTo>
                  <a:cubicBezTo>
                    <a:pt x="2741" y="32"/>
                    <a:pt x="2654" y="1"/>
                    <a:pt x="2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3" name="Google Shape;9513;p76"/>
          <p:cNvGrpSpPr/>
          <p:nvPr/>
        </p:nvGrpSpPr>
        <p:grpSpPr>
          <a:xfrm>
            <a:off x="7548556" y="3779942"/>
            <a:ext cx="354136" cy="354136"/>
            <a:chOff x="-23229150" y="2710600"/>
            <a:chExt cx="296175" cy="296175"/>
          </a:xfrm>
        </p:grpSpPr>
        <p:sp>
          <p:nvSpPr>
            <p:cNvPr id="9514" name="Google Shape;9514;p76"/>
            <p:cNvSpPr/>
            <p:nvPr/>
          </p:nvSpPr>
          <p:spPr>
            <a:xfrm>
              <a:off x="-23177150" y="2727925"/>
              <a:ext cx="191400" cy="258375"/>
            </a:xfrm>
            <a:custGeom>
              <a:avLst/>
              <a:gdLst/>
              <a:ahLst/>
              <a:cxnLst/>
              <a:rect l="l" t="t" r="r" b="b"/>
              <a:pathLst>
                <a:path w="7656" h="10335" extrusionOk="0">
                  <a:moveTo>
                    <a:pt x="3812" y="725"/>
                  </a:moveTo>
                  <a:cubicBezTo>
                    <a:pt x="4033" y="725"/>
                    <a:pt x="4190" y="883"/>
                    <a:pt x="4190" y="1072"/>
                  </a:cubicBezTo>
                  <a:lnTo>
                    <a:pt x="4190" y="1418"/>
                  </a:lnTo>
                  <a:lnTo>
                    <a:pt x="3466" y="1418"/>
                  </a:lnTo>
                  <a:lnTo>
                    <a:pt x="3466" y="1072"/>
                  </a:lnTo>
                  <a:cubicBezTo>
                    <a:pt x="3466" y="883"/>
                    <a:pt x="3623" y="725"/>
                    <a:pt x="3812" y="725"/>
                  </a:cubicBezTo>
                  <a:close/>
                  <a:moveTo>
                    <a:pt x="6238" y="1387"/>
                  </a:moveTo>
                  <a:cubicBezTo>
                    <a:pt x="6648" y="1418"/>
                    <a:pt x="6931" y="1702"/>
                    <a:pt x="6931" y="2111"/>
                  </a:cubicBezTo>
                  <a:cubicBezTo>
                    <a:pt x="6931" y="2206"/>
                    <a:pt x="6900" y="2363"/>
                    <a:pt x="6805" y="2458"/>
                  </a:cubicBezTo>
                  <a:cubicBezTo>
                    <a:pt x="6585" y="2206"/>
                    <a:pt x="6238" y="2111"/>
                    <a:pt x="5860" y="2111"/>
                  </a:cubicBezTo>
                  <a:lnTo>
                    <a:pt x="4852" y="2111"/>
                  </a:lnTo>
                  <a:lnTo>
                    <a:pt x="4852" y="1387"/>
                  </a:lnTo>
                  <a:close/>
                  <a:moveTo>
                    <a:pt x="2804" y="1418"/>
                  </a:moveTo>
                  <a:lnTo>
                    <a:pt x="2804" y="2143"/>
                  </a:lnTo>
                  <a:lnTo>
                    <a:pt x="1796" y="2143"/>
                  </a:lnTo>
                  <a:cubicBezTo>
                    <a:pt x="1418" y="2143"/>
                    <a:pt x="1071" y="2300"/>
                    <a:pt x="851" y="2489"/>
                  </a:cubicBezTo>
                  <a:cubicBezTo>
                    <a:pt x="756" y="2363"/>
                    <a:pt x="725" y="2269"/>
                    <a:pt x="725" y="2143"/>
                  </a:cubicBezTo>
                  <a:cubicBezTo>
                    <a:pt x="725" y="1702"/>
                    <a:pt x="1040" y="1418"/>
                    <a:pt x="1418" y="1418"/>
                  </a:cubicBezTo>
                  <a:close/>
                  <a:moveTo>
                    <a:pt x="4190" y="2111"/>
                  </a:moveTo>
                  <a:lnTo>
                    <a:pt x="4190" y="2804"/>
                  </a:lnTo>
                  <a:lnTo>
                    <a:pt x="3466" y="2804"/>
                  </a:lnTo>
                  <a:lnTo>
                    <a:pt x="3466" y="2111"/>
                  </a:lnTo>
                  <a:close/>
                  <a:moveTo>
                    <a:pt x="2772" y="2773"/>
                  </a:moveTo>
                  <a:lnTo>
                    <a:pt x="2772" y="3466"/>
                  </a:lnTo>
                  <a:lnTo>
                    <a:pt x="2079" y="3466"/>
                  </a:lnTo>
                  <a:cubicBezTo>
                    <a:pt x="1733" y="3466"/>
                    <a:pt x="1386" y="3624"/>
                    <a:pt x="1134" y="3844"/>
                  </a:cubicBezTo>
                  <a:cubicBezTo>
                    <a:pt x="1071" y="3718"/>
                    <a:pt x="1040" y="3592"/>
                    <a:pt x="1040" y="3466"/>
                  </a:cubicBezTo>
                  <a:cubicBezTo>
                    <a:pt x="1040" y="3088"/>
                    <a:pt x="1355" y="2773"/>
                    <a:pt x="1733" y="2773"/>
                  </a:cubicBezTo>
                  <a:close/>
                  <a:moveTo>
                    <a:pt x="5860" y="2804"/>
                  </a:moveTo>
                  <a:cubicBezTo>
                    <a:pt x="6270" y="2804"/>
                    <a:pt x="6585" y="3119"/>
                    <a:pt x="6585" y="3529"/>
                  </a:cubicBezTo>
                  <a:cubicBezTo>
                    <a:pt x="6585" y="3624"/>
                    <a:pt x="6553" y="3781"/>
                    <a:pt x="6459" y="3876"/>
                  </a:cubicBezTo>
                  <a:cubicBezTo>
                    <a:pt x="6270" y="3624"/>
                    <a:pt x="5923" y="3466"/>
                    <a:pt x="5576" y="3466"/>
                  </a:cubicBezTo>
                  <a:lnTo>
                    <a:pt x="4852" y="3466"/>
                  </a:lnTo>
                  <a:lnTo>
                    <a:pt x="4852" y="2804"/>
                  </a:lnTo>
                  <a:close/>
                  <a:moveTo>
                    <a:pt x="4190" y="3466"/>
                  </a:moveTo>
                  <a:lnTo>
                    <a:pt x="4190" y="4191"/>
                  </a:lnTo>
                  <a:lnTo>
                    <a:pt x="3466" y="4191"/>
                  </a:lnTo>
                  <a:lnTo>
                    <a:pt x="3466" y="3466"/>
                  </a:lnTo>
                  <a:close/>
                  <a:moveTo>
                    <a:pt x="4190" y="4884"/>
                  </a:moveTo>
                  <a:lnTo>
                    <a:pt x="4190" y="5608"/>
                  </a:lnTo>
                  <a:lnTo>
                    <a:pt x="3466" y="5608"/>
                  </a:lnTo>
                  <a:lnTo>
                    <a:pt x="3466" y="4884"/>
                  </a:lnTo>
                  <a:close/>
                  <a:moveTo>
                    <a:pt x="4190" y="6270"/>
                  </a:moveTo>
                  <a:lnTo>
                    <a:pt x="4190" y="7152"/>
                  </a:lnTo>
                  <a:lnTo>
                    <a:pt x="4190" y="7310"/>
                  </a:lnTo>
                  <a:cubicBezTo>
                    <a:pt x="4190" y="7499"/>
                    <a:pt x="4033" y="7656"/>
                    <a:pt x="3812" y="7656"/>
                  </a:cubicBezTo>
                  <a:cubicBezTo>
                    <a:pt x="3623" y="7656"/>
                    <a:pt x="3466" y="7499"/>
                    <a:pt x="3466" y="7310"/>
                  </a:cubicBezTo>
                  <a:lnTo>
                    <a:pt x="3466" y="7152"/>
                  </a:lnTo>
                  <a:lnTo>
                    <a:pt x="3466" y="6270"/>
                  </a:lnTo>
                  <a:close/>
                  <a:moveTo>
                    <a:pt x="5923" y="7656"/>
                  </a:moveTo>
                  <a:cubicBezTo>
                    <a:pt x="6112" y="7656"/>
                    <a:pt x="6270" y="7814"/>
                    <a:pt x="6270" y="8003"/>
                  </a:cubicBezTo>
                  <a:cubicBezTo>
                    <a:pt x="6270" y="8192"/>
                    <a:pt x="6144" y="8286"/>
                    <a:pt x="5986" y="8318"/>
                  </a:cubicBezTo>
                  <a:cubicBezTo>
                    <a:pt x="5734" y="8412"/>
                    <a:pt x="5450" y="8475"/>
                    <a:pt x="5198" y="8633"/>
                  </a:cubicBezTo>
                  <a:cubicBezTo>
                    <a:pt x="4789" y="8885"/>
                    <a:pt x="4411" y="9200"/>
                    <a:pt x="4096" y="9578"/>
                  </a:cubicBezTo>
                  <a:cubicBezTo>
                    <a:pt x="4064" y="9609"/>
                    <a:pt x="3938" y="9735"/>
                    <a:pt x="3812" y="9735"/>
                  </a:cubicBezTo>
                  <a:cubicBezTo>
                    <a:pt x="3655" y="9735"/>
                    <a:pt x="3592" y="9672"/>
                    <a:pt x="3560" y="9578"/>
                  </a:cubicBezTo>
                  <a:cubicBezTo>
                    <a:pt x="3088" y="8948"/>
                    <a:pt x="2426" y="8507"/>
                    <a:pt x="1670" y="8349"/>
                  </a:cubicBezTo>
                  <a:cubicBezTo>
                    <a:pt x="1544" y="8318"/>
                    <a:pt x="1386" y="8192"/>
                    <a:pt x="1386" y="8003"/>
                  </a:cubicBezTo>
                  <a:cubicBezTo>
                    <a:pt x="1386" y="7814"/>
                    <a:pt x="1544" y="7656"/>
                    <a:pt x="1733" y="7656"/>
                  </a:cubicBezTo>
                  <a:lnTo>
                    <a:pt x="2835" y="7656"/>
                  </a:lnTo>
                  <a:cubicBezTo>
                    <a:pt x="2993" y="8034"/>
                    <a:pt x="3371" y="8349"/>
                    <a:pt x="3844" y="8349"/>
                  </a:cubicBezTo>
                  <a:cubicBezTo>
                    <a:pt x="4316" y="8349"/>
                    <a:pt x="4663" y="8097"/>
                    <a:pt x="4820" y="7656"/>
                  </a:cubicBezTo>
                  <a:close/>
                  <a:moveTo>
                    <a:pt x="3812" y="0"/>
                  </a:moveTo>
                  <a:cubicBezTo>
                    <a:pt x="3371" y="0"/>
                    <a:pt x="2993" y="284"/>
                    <a:pt x="2835" y="725"/>
                  </a:cubicBezTo>
                  <a:lnTo>
                    <a:pt x="1386" y="725"/>
                  </a:lnTo>
                  <a:cubicBezTo>
                    <a:pt x="630" y="725"/>
                    <a:pt x="0" y="1355"/>
                    <a:pt x="0" y="2111"/>
                  </a:cubicBezTo>
                  <a:cubicBezTo>
                    <a:pt x="0" y="2489"/>
                    <a:pt x="158" y="2804"/>
                    <a:pt x="410" y="3088"/>
                  </a:cubicBezTo>
                  <a:cubicBezTo>
                    <a:pt x="378" y="3214"/>
                    <a:pt x="315" y="3340"/>
                    <a:pt x="315" y="3466"/>
                  </a:cubicBezTo>
                  <a:cubicBezTo>
                    <a:pt x="315" y="3876"/>
                    <a:pt x="473" y="4191"/>
                    <a:pt x="725" y="4474"/>
                  </a:cubicBezTo>
                  <a:cubicBezTo>
                    <a:pt x="693" y="4569"/>
                    <a:pt x="630" y="4726"/>
                    <a:pt x="630" y="4852"/>
                  </a:cubicBezTo>
                  <a:cubicBezTo>
                    <a:pt x="630" y="5608"/>
                    <a:pt x="1260" y="6238"/>
                    <a:pt x="2016" y="6238"/>
                  </a:cubicBezTo>
                  <a:cubicBezTo>
                    <a:pt x="2205" y="6238"/>
                    <a:pt x="2363" y="6081"/>
                    <a:pt x="2363" y="5892"/>
                  </a:cubicBezTo>
                  <a:cubicBezTo>
                    <a:pt x="2363" y="5671"/>
                    <a:pt x="2205" y="5514"/>
                    <a:pt x="2016" y="5514"/>
                  </a:cubicBezTo>
                  <a:cubicBezTo>
                    <a:pt x="1638" y="5514"/>
                    <a:pt x="1323" y="5199"/>
                    <a:pt x="1323" y="4821"/>
                  </a:cubicBezTo>
                  <a:cubicBezTo>
                    <a:pt x="1323" y="4411"/>
                    <a:pt x="1638" y="4096"/>
                    <a:pt x="2016" y="4096"/>
                  </a:cubicBezTo>
                  <a:lnTo>
                    <a:pt x="2741" y="4096"/>
                  </a:lnTo>
                  <a:lnTo>
                    <a:pt x="2741" y="6869"/>
                  </a:lnTo>
                  <a:lnTo>
                    <a:pt x="1701" y="6869"/>
                  </a:lnTo>
                  <a:cubicBezTo>
                    <a:pt x="1103" y="6869"/>
                    <a:pt x="693" y="7341"/>
                    <a:pt x="693" y="7877"/>
                  </a:cubicBezTo>
                  <a:cubicBezTo>
                    <a:pt x="693" y="8349"/>
                    <a:pt x="1008" y="8759"/>
                    <a:pt x="1481" y="8916"/>
                  </a:cubicBezTo>
                  <a:cubicBezTo>
                    <a:pt x="2048" y="9074"/>
                    <a:pt x="2615" y="9420"/>
                    <a:pt x="2961" y="9893"/>
                  </a:cubicBezTo>
                  <a:cubicBezTo>
                    <a:pt x="3151" y="10177"/>
                    <a:pt x="3466" y="10334"/>
                    <a:pt x="3781" y="10334"/>
                  </a:cubicBezTo>
                  <a:cubicBezTo>
                    <a:pt x="4096" y="10334"/>
                    <a:pt x="4411" y="10177"/>
                    <a:pt x="4631" y="9924"/>
                  </a:cubicBezTo>
                  <a:cubicBezTo>
                    <a:pt x="4852" y="9609"/>
                    <a:pt x="5135" y="9389"/>
                    <a:pt x="5482" y="9168"/>
                  </a:cubicBezTo>
                  <a:cubicBezTo>
                    <a:pt x="5671" y="9074"/>
                    <a:pt x="5891" y="8979"/>
                    <a:pt x="6112" y="8948"/>
                  </a:cubicBezTo>
                  <a:cubicBezTo>
                    <a:pt x="6585" y="8822"/>
                    <a:pt x="6900" y="8444"/>
                    <a:pt x="6900" y="7971"/>
                  </a:cubicBezTo>
                  <a:cubicBezTo>
                    <a:pt x="6900" y="7373"/>
                    <a:pt x="6427" y="6932"/>
                    <a:pt x="5891" y="6932"/>
                  </a:cubicBezTo>
                  <a:lnTo>
                    <a:pt x="4852" y="6932"/>
                  </a:lnTo>
                  <a:lnTo>
                    <a:pt x="4852" y="4191"/>
                  </a:lnTo>
                  <a:lnTo>
                    <a:pt x="5576" y="4191"/>
                  </a:lnTo>
                  <a:cubicBezTo>
                    <a:pt x="5954" y="4191"/>
                    <a:pt x="6270" y="4506"/>
                    <a:pt x="6270" y="4884"/>
                  </a:cubicBezTo>
                  <a:cubicBezTo>
                    <a:pt x="6270" y="5293"/>
                    <a:pt x="5954" y="5608"/>
                    <a:pt x="5576" y="5608"/>
                  </a:cubicBezTo>
                  <a:cubicBezTo>
                    <a:pt x="5356" y="5608"/>
                    <a:pt x="5198" y="5766"/>
                    <a:pt x="5198" y="5955"/>
                  </a:cubicBezTo>
                  <a:cubicBezTo>
                    <a:pt x="5198" y="6144"/>
                    <a:pt x="5356" y="6301"/>
                    <a:pt x="5576" y="6301"/>
                  </a:cubicBezTo>
                  <a:cubicBezTo>
                    <a:pt x="6301" y="6301"/>
                    <a:pt x="6931" y="5671"/>
                    <a:pt x="6931" y="4915"/>
                  </a:cubicBezTo>
                  <a:cubicBezTo>
                    <a:pt x="6931" y="4758"/>
                    <a:pt x="6900" y="4663"/>
                    <a:pt x="6868" y="4537"/>
                  </a:cubicBezTo>
                  <a:cubicBezTo>
                    <a:pt x="7152" y="4254"/>
                    <a:pt x="7246" y="3939"/>
                    <a:pt x="7246" y="3561"/>
                  </a:cubicBezTo>
                  <a:cubicBezTo>
                    <a:pt x="7246" y="3403"/>
                    <a:pt x="7215" y="3277"/>
                    <a:pt x="7183" y="3151"/>
                  </a:cubicBezTo>
                  <a:cubicBezTo>
                    <a:pt x="7498" y="2836"/>
                    <a:pt x="7656" y="2489"/>
                    <a:pt x="7656" y="2111"/>
                  </a:cubicBezTo>
                  <a:cubicBezTo>
                    <a:pt x="7656" y="1355"/>
                    <a:pt x="7026" y="725"/>
                    <a:pt x="6270" y="725"/>
                  </a:cubicBezTo>
                  <a:lnTo>
                    <a:pt x="4820" y="725"/>
                  </a:lnTo>
                  <a:cubicBezTo>
                    <a:pt x="4663" y="316"/>
                    <a:pt x="4285" y="0"/>
                    <a:pt x="38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76"/>
            <p:cNvSpPr/>
            <p:nvPr/>
          </p:nvSpPr>
          <p:spPr>
            <a:xfrm>
              <a:off x="-23229150" y="2710600"/>
              <a:ext cx="296175" cy="296175"/>
            </a:xfrm>
            <a:custGeom>
              <a:avLst/>
              <a:gdLst/>
              <a:ahLst/>
              <a:cxnLst/>
              <a:rect l="l" t="t" r="r" b="b"/>
              <a:pathLst>
                <a:path w="11847" h="11847" extrusionOk="0">
                  <a:moveTo>
                    <a:pt x="10775" y="693"/>
                  </a:moveTo>
                  <a:cubicBezTo>
                    <a:pt x="10996" y="693"/>
                    <a:pt x="11153" y="851"/>
                    <a:pt x="11153" y="1072"/>
                  </a:cubicBezTo>
                  <a:lnTo>
                    <a:pt x="11153" y="10775"/>
                  </a:lnTo>
                  <a:cubicBezTo>
                    <a:pt x="11153" y="10996"/>
                    <a:pt x="10996" y="11153"/>
                    <a:pt x="10775" y="11153"/>
                  </a:cubicBezTo>
                  <a:lnTo>
                    <a:pt x="1072" y="11153"/>
                  </a:lnTo>
                  <a:cubicBezTo>
                    <a:pt x="851" y="11153"/>
                    <a:pt x="694" y="10996"/>
                    <a:pt x="694" y="10775"/>
                  </a:cubicBezTo>
                  <a:lnTo>
                    <a:pt x="694" y="1072"/>
                  </a:lnTo>
                  <a:cubicBezTo>
                    <a:pt x="694" y="851"/>
                    <a:pt x="851" y="693"/>
                    <a:pt x="1072" y="693"/>
                  </a:cubicBezTo>
                  <a:close/>
                  <a:moveTo>
                    <a:pt x="1072" y="0"/>
                  </a:moveTo>
                  <a:cubicBezTo>
                    <a:pt x="473" y="0"/>
                    <a:pt x="1" y="473"/>
                    <a:pt x="1" y="1072"/>
                  </a:cubicBezTo>
                  <a:lnTo>
                    <a:pt x="1" y="10775"/>
                  </a:lnTo>
                  <a:cubicBezTo>
                    <a:pt x="1" y="11374"/>
                    <a:pt x="473" y="11846"/>
                    <a:pt x="1072" y="11846"/>
                  </a:cubicBezTo>
                  <a:lnTo>
                    <a:pt x="10807" y="11846"/>
                  </a:lnTo>
                  <a:cubicBezTo>
                    <a:pt x="11374" y="11846"/>
                    <a:pt x="11847" y="11374"/>
                    <a:pt x="11847" y="10775"/>
                  </a:cubicBezTo>
                  <a:lnTo>
                    <a:pt x="11847" y="1072"/>
                  </a:lnTo>
                  <a:cubicBezTo>
                    <a:pt x="11847" y="473"/>
                    <a:pt x="11342" y="0"/>
                    <a:pt x="108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16" name="Google Shape;9516;p76"/>
          <p:cNvSpPr/>
          <p:nvPr/>
        </p:nvSpPr>
        <p:spPr>
          <a:xfrm>
            <a:off x="6650549" y="4273454"/>
            <a:ext cx="354136" cy="353180"/>
          </a:xfrm>
          <a:custGeom>
            <a:avLst/>
            <a:gdLst/>
            <a:ahLst/>
            <a:cxnLst/>
            <a:rect l="l" t="t" r="r" b="b"/>
            <a:pathLst>
              <a:path w="11847" h="11815" extrusionOk="0">
                <a:moveTo>
                  <a:pt x="5829" y="662"/>
                </a:moveTo>
                <a:cubicBezTo>
                  <a:pt x="6018" y="662"/>
                  <a:pt x="6176" y="820"/>
                  <a:pt x="6176" y="1009"/>
                </a:cubicBezTo>
                <a:cubicBezTo>
                  <a:pt x="6176" y="1229"/>
                  <a:pt x="6018" y="1387"/>
                  <a:pt x="5829" y="1387"/>
                </a:cubicBezTo>
                <a:cubicBezTo>
                  <a:pt x="5640" y="1387"/>
                  <a:pt x="5483" y="1229"/>
                  <a:pt x="5483" y="1009"/>
                </a:cubicBezTo>
                <a:cubicBezTo>
                  <a:pt x="5483" y="820"/>
                  <a:pt x="5640" y="662"/>
                  <a:pt x="5829" y="662"/>
                </a:cubicBezTo>
                <a:close/>
                <a:moveTo>
                  <a:pt x="3225" y="2798"/>
                </a:moveTo>
                <a:cubicBezTo>
                  <a:pt x="3766" y="2798"/>
                  <a:pt x="4911" y="3708"/>
                  <a:pt x="5483" y="4159"/>
                </a:cubicBezTo>
                <a:lnTo>
                  <a:pt x="5483" y="4884"/>
                </a:lnTo>
                <a:lnTo>
                  <a:pt x="4727" y="4884"/>
                </a:lnTo>
                <a:cubicBezTo>
                  <a:pt x="4758" y="4758"/>
                  <a:pt x="4790" y="4632"/>
                  <a:pt x="4790" y="4537"/>
                </a:cubicBezTo>
                <a:cubicBezTo>
                  <a:pt x="4790" y="4317"/>
                  <a:pt x="4632" y="4159"/>
                  <a:pt x="4443" y="4159"/>
                </a:cubicBezTo>
                <a:cubicBezTo>
                  <a:pt x="4254" y="4159"/>
                  <a:pt x="4097" y="4317"/>
                  <a:pt x="4097" y="4537"/>
                </a:cubicBezTo>
                <a:cubicBezTo>
                  <a:pt x="4097" y="4726"/>
                  <a:pt x="3939" y="4884"/>
                  <a:pt x="3750" y="4884"/>
                </a:cubicBezTo>
                <a:lnTo>
                  <a:pt x="3435" y="4884"/>
                </a:lnTo>
                <a:cubicBezTo>
                  <a:pt x="3655" y="4569"/>
                  <a:pt x="3813" y="4254"/>
                  <a:pt x="3908" y="3939"/>
                </a:cubicBezTo>
                <a:cubicBezTo>
                  <a:pt x="3971" y="3750"/>
                  <a:pt x="3844" y="3529"/>
                  <a:pt x="3655" y="3498"/>
                </a:cubicBezTo>
                <a:cubicBezTo>
                  <a:pt x="3617" y="3485"/>
                  <a:pt x="3578" y="3478"/>
                  <a:pt x="3541" y="3478"/>
                </a:cubicBezTo>
                <a:cubicBezTo>
                  <a:pt x="3395" y="3478"/>
                  <a:pt x="3265" y="3574"/>
                  <a:pt x="3214" y="3750"/>
                </a:cubicBezTo>
                <a:cubicBezTo>
                  <a:pt x="3025" y="4380"/>
                  <a:pt x="2710" y="4726"/>
                  <a:pt x="2269" y="4884"/>
                </a:cubicBezTo>
                <a:lnTo>
                  <a:pt x="1482" y="4884"/>
                </a:lnTo>
                <a:cubicBezTo>
                  <a:pt x="2049" y="4411"/>
                  <a:pt x="2364" y="3907"/>
                  <a:pt x="2584" y="3466"/>
                </a:cubicBezTo>
                <a:cubicBezTo>
                  <a:pt x="2836" y="3057"/>
                  <a:pt x="2962" y="2836"/>
                  <a:pt x="3151" y="2805"/>
                </a:cubicBezTo>
                <a:cubicBezTo>
                  <a:pt x="3174" y="2800"/>
                  <a:pt x="3199" y="2798"/>
                  <a:pt x="3225" y="2798"/>
                </a:cubicBezTo>
                <a:close/>
                <a:moveTo>
                  <a:pt x="8424" y="2770"/>
                </a:moveTo>
                <a:cubicBezTo>
                  <a:pt x="8442" y="2770"/>
                  <a:pt x="8459" y="2771"/>
                  <a:pt x="8476" y="2773"/>
                </a:cubicBezTo>
                <a:cubicBezTo>
                  <a:pt x="8665" y="2836"/>
                  <a:pt x="8791" y="3057"/>
                  <a:pt x="9011" y="3466"/>
                </a:cubicBezTo>
                <a:cubicBezTo>
                  <a:pt x="9263" y="3876"/>
                  <a:pt x="9578" y="4411"/>
                  <a:pt x="10082" y="4884"/>
                </a:cubicBezTo>
                <a:lnTo>
                  <a:pt x="9326" y="4884"/>
                </a:lnTo>
                <a:cubicBezTo>
                  <a:pt x="8885" y="4726"/>
                  <a:pt x="8570" y="4348"/>
                  <a:pt x="8381" y="3750"/>
                </a:cubicBezTo>
                <a:cubicBezTo>
                  <a:pt x="8328" y="3564"/>
                  <a:pt x="8164" y="3490"/>
                  <a:pt x="8019" y="3490"/>
                </a:cubicBezTo>
                <a:cubicBezTo>
                  <a:pt x="7992" y="3490"/>
                  <a:pt x="7965" y="3493"/>
                  <a:pt x="7940" y="3498"/>
                </a:cubicBezTo>
                <a:cubicBezTo>
                  <a:pt x="7783" y="3529"/>
                  <a:pt x="7688" y="3781"/>
                  <a:pt x="7720" y="3939"/>
                </a:cubicBezTo>
                <a:cubicBezTo>
                  <a:pt x="7783" y="4191"/>
                  <a:pt x="7940" y="4569"/>
                  <a:pt x="8192" y="4884"/>
                </a:cubicBezTo>
                <a:lnTo>
                  <a:pt x="7877" y="4884"/>
                </a:lnTo>
                <a:cubicBezTo>
                  <a:pt x="7688" y="4884"/>
                  <a:pt x="7531" y="4726"/>
                  <a:pt x="7531" y="4537"/>
                </a:cubicBezTo>
                <a:cubicBezTo>
                  <a:pt x="7531" y="4317"/>
                  <a:pt x="7373" y="4159"/>
                  <a:pt x="7153" y="4159"/>
                </a:cubicBezTo>
                <a:cubicBezTo>
                  <a:pt x="6963" y="4159"/>
                  <a:pt x="6806" y="4317"/>
                  <a:pt x="6806" y="4537"/>
                </a:cubicBezTo>
                <a:cubicBezTo>
                  <a:pt x="6806" y="4632"/>
                  <a:pt x="6837" y="4758"/>
                  <a:pt x="6900" y="4884"/>
                </a:cubicBezTo>
                <a:lnTo>
                  <a:pt x="6144" y="4884"/>
                </a:lnTo>
                <a:lnTo>
                  <a:pt x="6144" y="4159"/>
                </a:lnTo>
                <a:cubicBezTo>
                  <a:pt x="6663" y="3701"/>
                  <a:pt x="7863" y="2770"/>
                  <a:pt x="8424" y="2770"/>
                </a:cubicBezTo>
                <a:close/>
                <a:moveTo>
                  <a:pt x="7216" y="5545"/>
                </a:moveTo>
                <a:cubicBezTo>
                  <a:pt x="7405" y="5545"/>
                  <a:pt x="7562" y="5703"/>
                  <a:pt x="7562" y="5892"/>
                </a:cubicBezTo>
                <a:cubicBezTo>
                  <a:pt x="7562" y="6113"/>
                  <a:pt x="7405" y="6270"/>
                  <a:pt x="7216" y="6270"/>
                </a:cubicBezTo>
                <a:lnTo>
                  <a:pt x="6176" y="6270"/>
                </a:lnTo>
                <a:lnTo>
                  <a:pt x="6176" y="5545"/>
                </a:lnTo>
                <a:close/>
                <a:moveTo>
                  <a:pt x="5483" y="6963"/>
                </a:moveTo>
                <a:lnTo>
                  <a:pt x="5483" y="7688"/>
                </a:lnTo>
                <a:lnTo>
                  <a:pt x="4443" y="7688"/>
                </a:lnTo>
                <a:cubicBezTo>
                  <a:pt x="4254" y="7688"/>
                  <a:pt x="4097" y="7530"/>
                  <a:pt x="4097" y="7310"/>
                </a:cubicBezTo>
                <a:cubicBezTo>
                  <a:pt x="4097" y="7121"/>
                  <a:pt x="4254" y="6963"/>
                  <a:pt x="4443" y="6963"/>
                </a:cubicBezTo>
                <a:close/>
                <a:moveTo>
                  <a:pt x="6491" y="8349"/>
                </a:moveTo>
                <a:cubicBezTo>
                  <a:pt x="6680" y="8349"/>
                  <a:pt x="6837" y="8507"/>
                  <a:pt x="6837" y="8696"/>
                </a:cubicBezTo>
                <a:cubicBezTo>
                  <a:pt x="6837" y="8885"/>
                  <a:pt x="6680" y="9042"/>
                  <a:pt x="6491" y="9042"/>
                </a:cubicBezTo>
                <a:lnTo>
                  <a:pt x="6144" y="9042"/>
                </a:lnTo>
                <a:lnTo>
                  <a:pt x="6144" y="8349"/>
                </a:lnTo>
                <a:close/>
                <a:moveTo>
                  <a:pt x="5483" y="9736"/>
                </a:moveTo>
                <a:lnTo>
                  <a:pt x="5483" y="10429"/>
                </a:lnTo>
                <a:lnTo>
                  <a:pt x="5105" y="10429"/>
                </a:lnTo>
                <a:cubicBezTo>
                  <a:pt x="4916" y="10429"/>
                  <a:pt x="4758" y="10271"/>
                  <a:pt x="4758" y="10082"/>
                </a:cubicBezTo>
                <a:cubicBezTo>
                  <a:pt x="4758" y="9893"/>
                  <a:pt x="4916" y="9736"/>
                  <a:pt x="5105" y="9736"/>
                </a:cubicBezTo>
                <a:close/>
                <a:moveTo>
                  <a:pt x="5861" y="1"/>
                </a:moveTo>
                <a:cubicBezTo>
                  <a:pt x="5325" y="1"/>
                  <a:pt x="4853" y="473"/>
                  <a:pt x="4853" y="1009"/>
                </a:cubicBezTo>
                <a:cubicBezTo>
                  <a:pt x="4853" y="1450"/>
                  <a:pt x="5136" y="1828"/>
                  <a:pt x="5546" y="1985"/>
                </a:cubicBezTo>
                <a:lnTo>
                  <a:pt x="5546" y="3309"/>
                </a:lnTo>
                <a:cubicBezTo>
                  <a:pt x="4475" y="2440"/>
                  <a:pt x="3776" y="2104"/>
                  <a:pt x="3254" y="2104"/>
                </a:cubicBezTo>
                <a:cubicBezTo>
                  <a:pt x="3208" y="2104"/>
                  <a:pt x="3163" y="2106"/>
                  <a:pt x="3120" y="2111"/>
                </a:cubicBezTo>
                <a:cubicBezTo>
                  <a:pt x="2616" y="2206"/>
                  <a:pt x="2332" y="2678"/>
                  <a:pt x="2080" y="3151"/>
                </a:cubicBezTo>
                <a:cubicBezTo>
                  <a:pt x="1734" y="3750"/>
                  <a:pt x="1356" y="4474"/>
                  <a:pt x="253" y="4915"/>
                </a:cubicBezTo>
                <a:cubicBezTo>
                  <a:pt x="95" y="4978"/>
                  <a:pt x="1" y="5167"/>
                  <a:pt x="32" y="5325"/>
                </a:cubicBezTo>
                <a:cubicBezTo>
                  <a:pt x="95" y="5482"/>
                  <a:pt x="190" y="5577"/>
                  <a:pt x="410" y="5577"/>
                </a:cubicBezTo>
                <a:lnTo>
                  <a:pt x="5609" y="5577"/>
                </a:lnTo>
                <a:lnTo>
                  <a:pt x="5609" y="6302"/>
                </a:lnTo>
                <a:lnTo>
                  <a:pt x="4569" y="6302"/>
                </a:lnTo>
                <a:cubicBezTo>
                  <a:pt x="3971" y="6302"/>
                  <a:pt x="3561" y="6774"/>
                  <a:pt x="3561" y="7310"/>
                </a:cubicBezTo>
                <a:cubicBezTo>
                  <a:pt x="3561" y="7908"/>
                  <a:pt x="4034" y="8349"/>
                  <a:pt x="4569" y="8349"/>
                </a:cubicBezTo>
                <a:lnTo>
                  <a:pt x="5609" y="8349"/>
                </a:lnTo>
                <a:lnTo>
                  <a:pt x="5609" y="9042"/>
                </a:lnTo>
                <a:lnTo>
                  <a:pt x="5231" y="9042"/>
                </a:lnTo>
                <a:cubicBezTo>
                  <a:pt x="4664" y="9042"/>
                  <a:pt x="4223" y="9515"/>
                  <a:pt x="4223" y="10082"/>
                </a:cubicBezTo>
                <a:cubicBezTo>
                  <a:pt x="4223" y="10681"/>
                  <a:pt x="4695" y="11090"/>
                  <a:pt x="5231" y="11090"/>
                </a:cubicBezTo>
                <a:lnTo>
                  <a:pt x="5609" y="11090"/>
                </a:lnTo>
                <a:lnTo>
                  <a:pt x="5609" y="11468"/>
                </a:lnTo>
                <a:cubicBezTo>
                  <a:pt x="5609" y="11657"/>
                  <a:pt x="5766" y="11815"/>
                  <a:pt x="5955" y="11815"/>
                </a:cubicBezTo>
                <a:cubicBezTo>
                  <a:pt x="6144" y="11815"/>
                  <a:pt x="6302" y="11657"/>
                  <a:pt x="6302" y="11468"/>
                </a:cubicBezTo>
                <a:lnTo>
                  <a:pt x="6302" y="11090"/>
                </a:lnTo>
                <a:lnTo>
                  <a:pt x="6648" y="11090"/>
                </a:lnTo>
                <a:cubicBezTo>
                  <a:pt x="6869" y="11090"/>
                  <a:pt x="7027" y="10933"/>
                  <a:pt x="7027" y="10744"/>
                </a:cubicBezTo>
                <a:cubicBezTo>
                  <a:pt x="7027" y="10555"/>
                  <a:pt x="6869" y="10397"/>
                  <a:pt x="6648" y="10397"/>
                </a:cubicBezTo>
                <a:lnTo>
                  <a:pt x="6302" y="10397"/>
                </a:lnTo>
                <a:lnTo>
                  <a:pt x="6302" y="9673"/>
                </a:lnTo>
                <a:lnTo>
                  <a:pt x="6648" y="9673"/>
                </a:lnTo>
                <a:cubicBezTo>
                  <a:pt x="7247" y="9673"/>
                  <a:pt x="7688" y="9200"/>
                  <a:pt x="7688" y="8664"/>
                </a:cubicBezTo>
                <a:cubicBezTo>
                  <a:pt x="7688" y="8066"/>
                  <a:pt x="7216" y="7625"/>
                  <a:pt x="6648" y="7625"/>
                </a:cubicBezTo>
                <a:lnTo>
                  <a:pt x="6302" y="7625"/>
                </a:lnTo>
                <a:lnTo>
                  <a:pt x="6302" y="6932"/>
                </a:lnTo>
                <a:lnTo>
                  <a:pt x="7342" y="6932"/>
                </a:lnTo>
                <a:cubicBezTo>
                  <a:pt x="7909" y="6932"/>
                  <a:pt x="8350" y="6459"/>
                  <a:pt x="8350" y="5892"/>
                </a:cubicBezTo>
                <a:cubicBezTo>
                  <a:pt x="8350" y="5766"/>
                  <a:pt x="8318" y="5671"/>
                  <a:pt x="8287" y="5545"/>
                </a:cubicBezTo>
                <a:lnTo>
                  <a:pt x="11469" y="5545"/>
                </a:lnTo>
                <a:cubicBezTo>
                  <a:pt x="11626" y="5545"/>
                  <a:pt x="11784" y="5419"/>
                  <a:pt x="11815" y="5262"/>
                </a:cubicBezTo>
                <a:cubicBezTo>
                  <a:pt x="11847" y="5104"/>
                  <a:pt x="11658" y="4947"/>
                  <a:pt x="11500" y="4915"/>
                </a:cubicBezTo>
                <a:cubicBezTo>
                  <a:pt x="10398" y="4474"/>
                  <a:pt x="9988" y="3750"/>
                  <a:pt x="9641" y="3151"/>
                </a:cubicBezTo>
                <a:cubicBezTo>
                  <a:pt x="9389" y="2678"/>
                  <a:pt x="9137" y="2237"/>
                  <a:pt x="8633" y="2111"/>
                </a:cubicBezTo>
                <a:cubicBezTo>
                  <a:pt x="8563" y="2096"/>
                  <a:pt x="8491" y="2088"/>
                  <a:pt x="8417" y="2088"/>
                </a:cubicBezTo>
                <a:cubicBezTo>
                  <a:pt x="7893" y="2088"/>
                  <a:pt x="7252" y="2481"/>
                  <a:pt x="6176" y="3309"/>
                </a:cubicBezTo>
                <a:lnTo>
                  <a:pt x="6176" y="1985"/>
                </a:lnTo>
                <a:cubicBezTo>
                  <a:pt x="6585" y="1828"/>
                  <a:pt x="6900" y="1481"/>
                  <a:pt x="6900" y="1009"/>
                </a:cubicBezTo>
                <a:cubicBezTo>
                  <a:pt x="6900" y="410"/>
                  <a:pt x="6428"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520"/>
        <p:cNvGrpSpPr/>
        <p:nvPr/>
      </p:nvGrpSpPr>
      <p:grpSpPr>
        <a:xfrm>
          <a:off x="0" y="0"/>
          <a:ext cx="0" cy="0"/>
          <a:chOff x="0" y="0"/>
          <a:chExt cx="0" cy="0"/>
        </a:xfrm>
      </p:grpSpPr>
      <p:sp>
        <p:nvSpPr>
          <p:cNvPr id="9521" name="Google Shape;9521;p77"/>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9522" name="Google Shape;9522;p77"/>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9523" name="Google Shape;9523;p77"/>
          <p:cNvGrpSpPr/>
          <p:nvPr/>
        </p:nvGrpSpPr>
        <p:grpSpPr>
          <a:xfrm>
            <a:off x="854368" y="1541720"/>
            <a:ext cx="366269" cy="366240"/>
            <a:chOff x="-65131525" y="1914325"/>
            <a:chExt cx="316650" cy="316625"/>
          </a:xfrm>
        </p:grpSpPr>
        <p:sp>
          <p:nvSpPr>
            <p:cNvPr id="9524" name="Google Shape;9524;p77"/>
            <p:cNvSpPr/>
            <p:nvPr/>
          </p:nvSpPr>
          <p:spPr>
            <a:xfrm>
              <a:off x="-65024400" y="1949750"/>
              <a:ext cx="103175" cy="247350"/>
            </a:xfrm>
            <a:custGeom>
              <a:avLst/>
              <a:gdLst/>
              <a:ahLst/>
              <a:cxnLst/>
              <a:rect l="l" t="t" r="r" b="b"/>
              <a:pathLst>
                <a:path w="4127" h="9894" extrusionOk="0">
                  <a:moveTo>
                    <a:pt x="2048" y="1"/>
                  </a:moveTo>
                  <a:cubicBezTo>
                    <a:pt x="1859" y="1"/>
                    <a:pt x="1638" y="190"/>
                    <a:pt x="1638" y="379"/>
                  </a:cubicBezTo>
                  <a:lnTo>
                    <a:pt x="1638" y="851"/>
                  </a:lnTo>
                  <a:cubicBezTo>
                    <a:pt x="725" y="1040"/>
                    <a:pt x="0" y="1891"/>
                    <a:pt x="0" y="2868"/>
                  </a:cubicBezTo>
                  <a:cubicBezTo>
                    <a:pt x="0" y="3970"/>
                    <a:pt x="977" y="4632"/>
                    <a:pt x="1827" y="5262"/>
                  </a:cubicBezTo>
                  <a:cubicBezTo>
                    <a:pt x="2552" y="5829"/>
                    <a:pt x="3308" y="6333"/>
                    <a:pt x="3308" y="6995"/>
                  </a:cubicBezTo>
                  <a:cubicBezTo>
                    <a:pt x="3308" y="7656"/>
                    <a:pt x="2772" y="8255"/>
                    <a:pt x="2079" y="8255"/>
                  </a:cubicBezTo>
                  <a:cubicBezTo>
                    <a:pt x="1418" y="8255"/>
                    <a:pt x="851" y="7688"/>
                    <a:pt x="851" y="6995"/>
                  </a:cubicBezTo>
                  <a:cubicBezTo>
                    <a:pt x="851" y="6774"/>
                    <a:pt x="662" y="6617"/>
                    <a:pt x="441" y="6617"/>
                  </a:cubicBezTo>
                  <a:cubicBezTo>
                    <a:pt x="189" y="6617"/>
                    <a:pt x="32" y="6806"/>
                    <a:pt x="32" y="6995"/>
                  </a:cubicBezTo>
                  <a:cubicBezTo>
                    <a:pt x="32" y="7971"/>
                    <a:pt x="756" y="8854"/>
                    <a:pt x="1701" y="9011"/>
                  </a:cubicBezTo>
                  <a:lnTo>
                    <a:pt x="1701" y="9484"/>
                  </a:lnTo>
                  <a:cubicBezTo>
                    <a:pt x="1701" y="9704"/>
                    <a:pt x="1890" y="9893"/>
                    <a:pt x="2079" y="9893"/>
                  </a:cubicBezTo>
                  <a:cubicBezTo>
                    <a:pt x="2268" y="9893"/>
                    <a:pt x="2489" y="9704"/>
                    <a:pt x="2489" y="9484"/>
                  </a:cubicBezTo>
                  <a:lnTo>
                    <a:pt x="2489" y="9011"/>
                  </a:lnTo>
                  <a:cubicBezTo>
                    <a:pt x="3434" y="8791"/>
                    <a:pt x="4127" y="7971"/>
                    <a:pt x="4127" y="6995"/>
                  </a:cubicBezTo>
                  <a:cubicBezTo>
                    <a:pt x="4127" y="5892"/>
                    <a:pt x="3151" y="5231"/>
                    <a:pt x="2331" y="4600"/>
                  </a:cubicBezTo>
                  <a:cubicBezTo>
                    <a:pt x="1575" y="4033"/>
                    <a:pt x="819" y="3529"/>
                    <a:pt x="819" y="2868"/>
                  </a:cubicBezTo>
                  <a:cubicBezTo>
                    <a:pt x="788" y="2143"/>
                    <a:pt x="1386" y="1607"/>
                    <a:pt x="2048" y="1607"/>
                  </a:cubicBezTo>
                  <a:cubicBezTo>
                    <a:pt x="2709" y="1607"/>
                    <a:pt x="3277" y="2143"/>
                    <a:pt x="3277" y="2868"/>
                  </a:cubicBezTo>
                  <a:cubicBezTo>
                    <a:pt x="3277" y="3088"/>
                    <a:pt x="3466" y="3246"/>
                    <a:pt x="3686" y="3246"/>
                  </a:cubicBezTo>
                  <a:cubicBezTo>
                    <a:pt x="3938" y="3246"/>
                    <a:pt x="4096" y="3057"/>
                    <a:pt x="4096" y="2868"/>
                  </a:cubicBezTo>
                  <a:cubicBezTo>
                    <a:pt x="4096" y="1891"/>
                    <a:pt x="3371" y="1009"/>
                    <a:pt x="2426" y="851"/>
                  </a:cubicBezTo>
                  <a:lnTo>
                    <a:pt x="2426" y="379"/>
                  </a:lnTo>
                  <a:cubicBezTo>
                    <a:pt x="2426" y="158"/>
                    <a:pt x="2237"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77"/>
            <p:cNvSpPr/>
            <p:nvPr/>
          </p:nvSpPr>
          <p:spPr>
            <a:xfrm>
              <a:off x="-65131525" y="1914325"/>
              <a:ext cx="316650" cy="316625"/>
            </a:xfrm>
            <a:custGeom>
              <a:avLst/>
              <a:gdLst/>
              <a:ahLst/>
              <a:cxnLst/>
              <a:rect l="l" t="t" r="r" b="b"/>
              <a:pathLst>
                <a:path w="12666" h="12665" extrusionOk="0">
                  <a:moveTo>
                    <a:pt x="6333" y="819"/>
                  </a:moveTo>
                  <a:cubicBezTo>
                    <a:pt x="9357" y="819"/>
                    <a:pt x="11846" y="3308"/>
                    <a:pt x="11846" y="6332"/>
                  </a:cubicBezTo>
                  <a:cubicBezTo>
                    <a:pt x="11846" y="9357"/>
                    <a:pt x="9357" y="11846"/>
                    <a:pt x="6333" y="11846"/>
                  </a:cubicBezTo>
                  <a:cubicBezTo>
                    <a:pt x="3308" y="11846"/>
                    <a:pt x="819" y="9357"/>
                    <a:pt x="819" y="6332"/>
                  </a:cubicBezTo>
                  <a:cubicBezTo>
                    <a:pt x="819" y="3308"/>
                    <a:pt x="3308" y="819"/>
                    <a:pt x="6333" y="819"/>
                  </a:cubicBezTo>
                  <a:close/>
                  <a:moveTo>
                    <a:pt x="6333" y="0"/>
                  </a:moveTo>
                  <a:cubicBezTo>
                    <a:pt x="2836" y="0"/>
                    <a:pt x="0" y="2835"/>
                    <a:pt x="0" y="6332"/>
                  </a:cubicBezTo>
                  <a:cubicBezTo>
                    <a:pt x="0" y="9830"/>
                    <a:pt x="2836" y="12665"/>
                    <a:pt x="6333" y="12665"/>
                  </a:cubicBezTo>
                  <a:cubicBezTo>
                    <a:pt x="9830" y="12665"/>
                    <a:pt x="12665" y="9830"/>
                    <a:pt x="12665" y="6332"/>
                  </a:cubicBezTo>
                  <a:cubicBezTo>
                    <a:pt x="12665" y="2835"/>
                    <a:pt x="9830"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6" name="Google Shape;9526;p77"/>
          <p:cNvGrpSpPr/>
          <p:nvPr/>
        </p:nvGrpSpPr>
        <p:grpSpPr>
          <a:xfrm>
            <a:off x="854368" y="2022007"/>
            <a:ext cx="366269" cy="366269"/>
            <a:chOff x="-65131525" y="2281350"/>
            <a:chExt cx="316650" cy="316650"/>
          </a:xfrm>
        </p:grpSpPr>
        <p:sp>
          <p:nvSpPr>
            <p:cNvPr id="9527" name="Google Shape;9527;p77"/>
            <p:cNvSpPr/>
            <p:nvPr/>
          </p:nvSpPr>
          <p:spPr>
            <a:xfrm>
              <a:off x="-65131525" y="2322300"/>
              <a:ext cx="275675" cy="275700"/>
            </a:xfrm>
            <a:custGeom>
              <a:avLst/>
              <a:gdLst/>
              <a:ahLst/>
              <a:cxnLst/>
              <a:rect l="l" t="t" r="r" b="b"/>
              <a:pathLst>
                <a:path w="11027" h="11028" extrusionOk="0">
                  <a:moveTo>
                    <a:pt x="5073" y="820"/>
                  </a:moveTo>
                  <a:lnTo>
                    <a:pt x="5073" y="5514"/>
                  </a:lnTo>
                  <a:cubicBezTo>
                    <a:pt x="5073" y="5766"/>
                    <a:pt x="5262" y="5923"/>
                    <a:pt x="5482" y="5923"/>
                  </a:cubicBezTo>
                  <a:lnTo>
                    <a:pt x="10145" y="5923"/>
                  </a:lnTo>
                  <a:cubicBezTo>
                    <a:pt x="9956" y="8318"/>
                    <a:pt x="7940" y="10208"/>
                    <a:pt x="5482" y="10208"/>
                  </a:cubicBezTo>
                  <a:cubicBezTo>
                    <a:pt x="2867" y="10208"/>
                    <a:pt x="788" y="8129"/>
                    <a:pt x="788" y="5514"/>
                  </a:cubicBezTo>
                  <a:cubicBezTo>
                    <a:pt x="788" y="3088"/>
                    <a:pt x="2678" y="1072"/>
                    <a:pt x="5073" y="820"/>
                  </a:cubicBezTo>
                  <a:close/>
                  <a:moveTo>
                    <a:pt x="5514" y="0"/>
                  </a:moveTo>
                  <a:cubicBezTo>
                    <a:pt x="2458" y="0"/>
                    <a:pt x="0" y="2489"/>
                    <a:pt x="0" y="5514"/>
                  </a:cubicBezTo>
                  <a:cubicBezTo>
                    <a:pt x="0" y="8538"/>
                    <a:pt x="2458" y="11027"/>
                    <a:pt x="5514" y="11027"/>
                  </a:cubicBezTo>
                  <a:cubicBezTo>
                    <a:pt x="8538" y="11027"/>
                    <a:pt x="11027" y="8538"/>
                    <a:pt x="11027" y="5514"/>
                  </a:cubicBezTo>
                  <a:cubicBezTo>
                    <a:pt x="11027" y="5293"/>
                    <a:pt x="10807" y="5104"/>
                    <a:pt x="10618" y="5104"/>
                  </a:cubicBezTo>
                  <a:lnTo>
                    <a:pt x="5923" y="5104"/>
                  </a:lnTo>
                  <a:lnTo>
                    <a:pt x="5923" y="410"/>
                  </a:lnTo>
                  <a:cubicBezTo>
                    <a:pt x="5892" y="158"/>
                    <a:pt x="5734" y="0"/>
                    <a:pt x="55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77"/>
            <p:cNvSpPr/>
            <p:nvPr/>
          </p:nvSpPr>
          <p:spPr>
            <a:xfrm>
              <a:off x="-64963775" y="2281350"/>
              <a:ext cx="148900" cy="148875"/>
            </a:xfrm>
            <a:custGeom>
              <a:avLst/>
              <a:gdLst/>
              <a:ahLst/>
              <a:cxnLst/>
              <a:rect l="l" t="t" r="r" b="b"/>
              <a:pathLst>
                <a:path w="5956" h="5955" extrusionOk="0">
                  <a:moveTo>
                    <a:pt x="852" y="819"/>
                  </a:moveTo>
                  <a:cubicBezTo>
                    <a:pt x="3088" y="1008"/>
                    <a:pt x="4884" y="2836"/>
                    <a:pt x="5105" y="5073"/>
                  </a:cubicBezTo>
                  <a:lnTo>
                    <a:pt x="852" y="5073"/>
                  </a:lnTo>
                  <a:lnTo>
                    <a:pt x="852" y="819"/>
                  </a:lnTo>
                  <a:close/>
                  <a:moveTo>
                    <a:pt x="442" y="0"/>
                  </a:moveTo>
                  <a:cubicBezTo>
                    <a:pt x="221" y="0"/>
                    <a:pt x="1" y="189"/>
                    <a:pt x="1" y="441"/>
                  </a:cubicBezTo>
                  <a:lnTo>
                    <a:pt x="1" y="5514"/>
                  </a:lnTo>
                  <a:cubicBezTo>
                    <a:pt x="1" y="5734"/>
                    <a:pt x="221" y="5955"/>
                    <a:pt x="442" y="5955"/>
                  </a:cubicBezTo>
                  <a:lnTo>
                    <a:pt x="5514" y="5955"/>
                  </a:lnTo>
                  <a:cubicBezTo>
                    <a:pt x="5766" y="5955"/>
                    <a:pt x="5955" y="5734"/>
                    <a:pt x="5955" y="5514"/>
                  </a:cubicBezTo>
                  <a:cubicBezTo>
                    <a:pt x="5955" y="2426"/>
                    <a:pt x="3466"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9" name="Google Shape;9529;p77"/>
          <p:cNvGrpSpPr/>
          <p:nvPr/>
        </p:nvGrpSpPr>
        <p:grpSpPr>
          <a:xfrm>
            <a:off x="857564" y="2487006"/>
            <a:ext cx="359878" cy="367165"/>
            <a:chOff x="-65129950" y="2646800"/>
            <a:chExt cx="311125" cy="317425"/>
          </a:xfrm>
        </p:grpSpPr>
        <p:sp>
          <p:nvSpPr>
            <p:cNvPr id="9530" name="Google Shape;9530;p77"/>
            <p:cNvSpPr/>
            <p:nvPr/>
          </p:nvSpPr>
          <p:spPr>
            <a:xfrm>
              <a:off x="-65129950" y="2646800"/>
              <a:ext cx="311125" cy="317425"/>
            </a:xfrm>
            <a:custGeom>
              <a:avLst/>
              <a:gdLst/>
              <a:ahLst/>
              <a:cxnLst/>
              <a:rect l="l" t="t" r="r" b="b"/>
              <a:pathLst>
                <a:path w="12445" h="12697" extrusionOk="0">
                  <a:moveTo>
                    <a:pt x="6648" y="851"/>
                  </a:moveTo>
                  <a:lnTo>
                    <a:pt x="6648" y="1954"/>
                  </a:lnTo>
                  <a:lnTo>
                    <a:pt x="5860" y="1954"/>
                  </a:lnTo>
                  <a:lnTo>
                    <a:pt x="5860" y="851"/>
                  </a:lnTo>
                  <a:close/>
                  <a:moveTo>
                    <a:pt x="1261" y="1954"/>
                  </a:moveTo>
                  <a:cubicBezTo>
                    <a:pt x="1355" y="1954"/>
                    <a:pt x="1450" y="1985"/>
                    <a:pt x="1544" y="2080"/>
                  </a:cubicBezTo>
                  <a:cubicBezTo>
                    <a:pt x="1733" y="2237"/>
                    <a:pt x="1733" y="2521"/>
                    <a:pt x="1576" y="2678"/>
                  </a:cubicBezTo>
                  <a:cubicBezTo>
                    <a:pt x="1497" y="2757"/>
                    <a:pt x="1387" y="2797"/>
                    <a:pt x="1276" y="2797"/>
                  </a:cubicBezTo>
                  <a:cubicBezTo>
                    <a:pt x="1166" y="2797"/>
                    <a:pt x="1056" y="2757"/>
                    <a:pt x="977" y="2678"/>
                  </a:cubicBezTo>
                  <a:cubicBezTo>
                    <a:pt x="819" y="2521"/>
                    <a:pt x="819" y="2237"/>
                    <a:pt x="977" y="2080"/>
                  </a:cubicBezTo>
                  <a:cubicBezTo>
                    <a:pt x="1072" y="1985"/>
                    <a:pt x="1198" y="1954"/>
                    <a:pt x="1261" y="1954"/>
                  </a:cubicBezTo>
                  <a:close/>
                  <a:moveTo>
                    <a:pt x="11216" y="1954"/>
                  </a:moveTo>
                  <a:cubicBezTo>
                    <a:pt x="11468" y="1954"/>
                    <a:pt x="11626" y="2143"/>
                    <a:pt x="11626" y="2395"/>
                  </a:cubicBezTo>
                  <a:cubicBezTo>
                    <a:pt x="11626" y="2615"/>
                    <a:pt x="11437" y="2836"/>
                    <a:pt x="11216" y="2836"/>
                  </a:cubicBezTo>
                  <a:cubicBezTo>
                    <a:pt x="11027" y="2836"/>
                    <a:pt x="10807" y="2615"/>
                    <a:pt x="10807" y="2395"/>
                  </a:cubicBezTo>
                  <a:cubicBezTo>
                    <a:pt x="10807" y="2143"/>
                    <a:pt x="10996" y="1954"/>
                    <a:pt x="11216" y="1954"/>
                  </a:cubicBezTo>
                  <a:close/>
                  <a:moveTo>
                    <a:pt x="6270" y="2773"/>
                  </a:moveTo>
                  <a:cubicBezTo>
                    <a:pt x="8759" y="2773"/>
                    <a:pt x="10807" y="4821"/>
                    <a:pt x="10807" y="7341"/>
                  </a:cubicBezTo>
                  <a:cubicBezTo>
                    <a:pt x="10807" y="9861"/>
                    <a:pt x="8759" y="11909"/>
                    <a:pt x="6270" y="11909"/>
                  </a:cubicBezTo>
                  <a:cubicBezTo>
                    <a:pt x="3781" y="11909"/>
                    <a:pt x="1733" y="9861"/>
                    <a:pt x="1733" y="7341"/>
                  </a:cubicBezTo>
                  <a:cubicBezTo>
                    <a:pt x="1733" y="4821"/>
                    <a:pt x="3781" y="2773"/>
                    <a:pt x="6270" y="2773"/>
                  </a:cubicBezTo>
                  <a:close/>
                  <a:moveTo>
                    <a:pt x="4663" y="0"/>
                  </a:moveTo>
                  <a:cubicBezTo>
                    <a:pt x="4411" y="0"/>
                    <a:pt x="4254" y="189"/>
                    <a:pt x="4254" y="410"/>
                  </a:cubicBezTo>
                  <a:cubicBezTo>
                    <a:pt x="4254" y="662"/>
                    <a:pt x="4474" y="851"/>
                    <a:pt x="4663" y="851"/>
                  </a:cubicBezTo>
                  <a:lnTo>
                    <a:pt x="5104" y="851"/>
                  </a:lnTo>
                  <a:lnTo>
                    <a:pt x="5104" y="2111"/>
                  </a:lnTo>
                  <a:cubicBezTo>
                    <a:pt x="4254" y="2300"/>
                    <a:pt x="3466" y="2710"/>
                    <a:pt x="2836" y="3245"/>
                  </a:cubicBezTo>
                  <a:lnTo>
                    <a:pt x="2489" y="2899"/>
                  </a:lnTo>
                  <a:cubicBezTo>
                    <a:pt x="2741" y="2426"/>
                    <a:pt x="2647" y="1891"/>
                    <a:pt x="2269" y="1481"/>
                  </a:cubicBezTo>
                  <a:cubicBezTo>
                    <a:pt x="2032" y="1245"/>
                    <a:pt x="1717" y="1127"/>
                    <a:pt x="1394" y="1127"/>
                  </a:cubicBezTo>
                  <a:cubicBezTo>
                    <a:pt x="1072" y="1127"/>
                    <a:pt x="741" y="1245"/>
                    <a:pt x="473" y="1481"/>
                  </a:cubicBezTo>
                  <a:cubicBezTo>
                    <a:pt x="0" y="1954"/>
                    <a:pt x="0" y="2741"/>
                    <a:pt x="473" y="3245"/>
                  </a:cubicBezTo>
                  <a:cubicBezTo>
                    <a:pt x="725" y="3498"/>
                    <a:pt x="1040" y="3624"/>
                    <a:pt x="1355" y="3624"/>
                  </a:cubicBezTo>
                  <a:cubicBezTo>
                    <a:pt x="1544" y="3624"/>
                    <a:pt x="1702" y="3561"/>
                    <a:pt x="1891" y="3498"/>
                  </a:cubicBezTo>
                  <a:lnTo>
                    <a:pt x="2269" y="3844"/>
                  </a:lnTo>
                  <a:cubicBezTo>
                    <a:pt x="1481" y="4789"/>
                    <a:pt x="946" y="6018"/>
                    <a:pt x="946" y="7341"/>
                  </a:cubicBezTo>
                  <a:cubicBezTo>
                    <a:pt x="946" y="10303"/>
                    <a:pt x="3371" y="12697"/>
                    <a:pt x="6301" y="12697"/>
                  </a:cubicBezTo>
                  <a:cubicBezTo>
                    <a:pt x="9263" y="12697"/>
                    <a:pt x="11657" y="10303"/>
                    <a:pt x="11657" y="7341"/>
                  </a:cubicBezTo>
                  <a:cubicBezTo>
                    <a:pt x="11657" y="6018"/>
                    <a:pt x="11185" y="4789"/>
                    <a:pt x="10365" y="3844"/>
                  </a:cubicBezTo>
                  <a:lnTo>
                    <a:pt x="10712" y="3498"/>
                  </a:lnTo>
                  <a:cubicBezTo>
                    <a:pt x="10838" y="3561"/>
                    <a:pt x="11027" y="3624"/>
                    <a:pt x="11216" y="3624"/>
                  </a:cubicBezTo>
                  <a:cubicBezTo>
                    <a:pt x="11909" y="3624"/>
                    <a:pt x="12445" y="3056"/>
                    <a:pt x="12445" y="2363"/>
                  </a:cubicBezTo>
                  <a:cubicBezTo>
                    <a:pt x="12445" y="1670"/>
                    <a:pt x="11909" y="1135"/>
                    <a:pt x="11216" y="1135"/>
                  </a:cubicBezTo>
                  <a:cubicBezTo>
                    <a:pt x="10555" y="1135"/>
                    <a:pt x="10019" y="1670"/>
                    <a:pt x="10019" y="2363"/>
                  </a:cubicBezTo>
                  <a:cubicBezTo>
                    <a:pt x="10019" y="2552"/>
                    <a:pt x="10050" y="2710"/>
                    <a:pt x="10113" y="2899"/>
                  </a:cubicBezTo>
                  <a:lnTo>
                    <a:pt x="9767" y="3245"/>
                  </a:lnTo>
                  <a:cubicBezTo>
                    <a:pt x="9137" y="2710"/>
                    <a:pt x="8349" y="2300"/>
                    <a:pt x="7530" y="2111"/>
                  </a:cubicBezTo>
                  <a:lnTo>
                    <a:pt x="7530" y="851"/>
                  </a:lnTo>
                  <a:lnTo>
                    <a:pt x="7971" y="851"/>
                  </a:lnTo>
                  <a:cubicBezTo>
                    <a:pt x="8192" y="851"/>
                    <a:pt x="8349" y="662"/>
                    <a:pt x="8349" y="410"/>
                  </a:cubicBezTo>
                  <a:cubicBezTo>
                    <a:pt x="8349" y="189"/>
                    <a:pt x="8160" y="0"/>
                    <a:pt x="79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77"/>
            <p:cNvSpPr/>
            <p:nvPr/>
          </p:nvSpPr>
          <p:spPr>
            <a:xfrm>
              <a:off x="-65066950" y="2738175"/>
              <a:ext cx="187475" cy="185100"/>
            </a:xfrm>
            <a:custGeom>
              <a:avLst/>
              <a:gdLst/>
              <a:ahLst/>
              <a:cxnLst/>
              <a:rect l="l" t="t" r="r" b="b"/>
              <a:pathLst>
                <a:path w="7499" h="7404" extrusionOk="0">
                  <a:moveTo>
                    <a:pt x="3309" y="819"/>
                  </a:moveTo>
                  <a:lnTo>
                    <a:pt x="3309" y="3686"/>
                  </a:lnTo>
                  <a:cubicBezTo>
                    <a:pt x="3309" y="3938"/>
                    <a:pt x="3498" y="4127"/>
                    <a:pt x="3718" y="4127"/>
                  </a:cubicBezTo>
                  <a:lnTo>
                    <a:pt x="6612" y="4127"/>
                  </a:lnTo>
                  <a:cubicBezTo>
                    <a:pt x="6410" y="5529"/>
                    <a:pt x="5188" y="6585"/>
                    <a:pt x="3750" y="6585"/>
                  </a:cubicBezTo>
                  <a:cubicBezTo>
                    <a:pt x="2143" y="6585"/>
                    <a:pt x="820" y="5261"/>
                    <a:pt x="820" y="3686"/>
                  </a:cubicBezTo>
                  <a:cubicBezTo>
                    <a:pt x="820" y="2237"/>
                    <a:pt x="1891" y="1008"/>
                    <a:pt x="3309" y="819"/>
                  </a:cubicBezTo>
                  <a:close/>
                  <a:moveTo>
                    <a:pt x="3750" y="0"/>
                  </a:moveTo>
                  <a:cubicBezTo>
                    <a:pt x="1702" y="0"/>
                    <a:pt x="1" y="1638"/>
                    <a:pt x="1" y="3686"/>
                  </a:cubicBezTo>
                  <a:cubicBezTo>
                    <a:pt x="1" y="5734"/>
                    <a:pt x="1671" y="7404"/>
                    <a:pt x="3750" y="7404"/>
                  </a:cubicBezTo>
                  <a:cubicBezTo>
                    <a:pt x="5798" y="7404"/>
                    <a:pt x="7499" y="5734"/>
                    <a:pt x="7499" y="3686"/>
                  </a:cubicBezTo>
                  <a:cubicBezTo>
                    <a:pt x="7499" y="3466"/>
                    <a:pt x="7278" y="3277"/>
                    <a:pt x="7058" y="3277"/>
                  </a:cubicBezTo>
                  <a:lnTo>
                    <a:pt x="4128" y="3277"/>
                  </a:lnTo>
                  <a:lnTo>
                    <a:pt x="4128" y="378"/>
                  </a:lnTo>
                  <a:cubicBezTo>
                    <a:pt x="4128" y="158"/>
                    <a:pt x="3939"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2" name="Google Shape;9532;p77"/>
          <p:cNvGrpSpPr/>
          <p:nvPr/>
        </p:nvGrpSpPr>
        <p:grpSpPr>
          <a:xfrm>
            <a:off x="3060897" y="1540332"/>
            <a:ext cx="368987" cy="369016"/>
            <a:chOff x="-63252250" y="1930850"/>
            <a:chExt cx="319000" cy="319025"/>
          </a:xfrm>
        </p:grpSpPr>
        <p:sp>
          <p:nvSpPr>
            <p:cNvPr id="9533" name="Google Shape;9533;p77"/>
            <p:cNvSpPr/>
            <p:nvPr/>
          </p:nvSpPr>
          <p:spPr>
            <a:xfrm>
              <a:off x="-63252250" y="1930850"/>
              <a:ext cx="319000" cy="319025"/>
            </a:xfrm>
            <a:custGeom>
              <a:avLst/>
              <a:gdLst/>
              <a:ahLst/>
              <a:cxnLst/>
              <a:rect l="l" t="t" r="r" b="b"/>
              <a:pathLst>
                <a:path w="12760" h="12761" extrusionOk="0">
                  <a:moveTo>
                    <a:pt x="7026" y="914"/>
                  </a:moveTo>
                  <a:lnTo>
                    <a:pt x="7026" y="1954"/>
                  </a:lnTo>
                  <a:cubicBezTo>
                    <a:pt x="7026" y="2174"/>
                    <a:pt x="7120" y="2332"/>
                    <a:pt x="7341" y="2363"/>
                  </a:cubicBezTo>
                  <a:cubicBezTo>
                    <a:pt x="7813" y="2489"/>
                    <a:pt x="8286" y="2647"/>
                    <a:pt x="8664" y="2899"/>
                  </a:cubicBezTo>
                  <a:cubicBezTo>
                    <a:pt x="8733" y="2954"/>
                    <a:pt x="8820" y="2979"/>
                    <a:pt x="8905" y="2979"/>
                  </a:cubicBezTo>
                  <a:cubicBezTo>
                    <a:pt x="9012" y="2979"/>
                    <a:pt x="9115" y="2938"/>
                    <a:pt x="9168" y="2868"/>
                  </a:cubicBezTo>
                  <a:lnTo>
                    <a:pt x="9924" y="2111"/>
                  </a:lnTo>
                  <a:lnTo>
                    <a:pt x="10712" y="2899"/>
                  </a:lnTo>
                  <a:lnTo>
                    <a:pt x="9956" y="3655"/>
                  </a:lnTo>
                  <a:cubicBezTo>
                    <a:pt x="9861" y="3781"/>
                    <a:pt x="9798" y="4002"/>
                    <a:pt x="9924" y="4159"/>
                  </a:cubicBezTo>
                  <a:cubicBezTo>
                    <a:pt x="10208" y="4600"/>
                    <a:pt x="10397" y="5041"/>
                    <a:pt x="10460" y="5514"/>
                  </a:cubicBezTo>
                  <a:cubicBezTo>
                    <a:pt x="10523" y="5703"/>
                    <a:pt x="10680" y="5829"/>
                    <a:pt x="10869" y="5829"/>
                  </a:cubicBezTo>
                  <a:lnTo>
                    <a:pt x="11941" y="5829"/>
                  </a:lnTo>
                  <a:lnTo>
                    <a:pt x="11941" y="6932"/>
                  </a:lnTo>
                  <a:lnTo>
                    <a:pt x="10869" y="6932"/>
                  </a:lnTo>
                  <a:cubicBezTo>
                    <a:pt x="10680" y="6932"/>
                    <a:pt x="10523" y="7058"/>
                    <a:pt x="10460" y="7247"/>
                  </a:cubicBezTo>
                  <a:cubicBezTo>
                    <a:pt x="10365" y="7719"/>
                    <a:pt x="10208" y="8192"/>
                    <a:pt x="9924" y="8570"/>
                  </a:cubicBezTo>
                  <a:cubicBezTo>
                    <a:pt x="9798" y="8727"/>
                    <a:pt x="9861" y="8979"/>
                    <a:pt x="9956" y="9105"/>
                  </a:cubicBezTo>
                  <a:lnTo>
                    <a:pt x="10712" y="9830"/>
                  </a:lnTo>
                  <a:lnTo>
                    <a:pt x="9924" y="10618"/>
                  </a:lnTo>
                  <a:lnTo>
                    <a:pt x="9168" y="9893"/>
                  </a:lnTo>
                  <a:cubicBezTo>
                    <a:pt x="9111" y="9817"/>
                    <a:pt x="8996" y="9775"/>
                    <a:pt x="8879" y="9775"/>
                  </a:cubicBezTo>
                  <a:cubicBezTo>
                    <a:pt x="8803" y="9775"/>
                    <a:pt x="8726" y="9793"/>
                    <a:pt x="8664" y="9830"/>
                  </a:cubicBezTo>
                  <a:cubicBezTo>
                    <a:pt x="8223" y="10114"/>
                    <a:pt x="7813" y="10303"/>
                    <a:pt x="7341" y="10397"/>
                  </a:cubicBezTo>
                  <a:cubicBezTo>
                    <a:pt x="7120" y="10429"/>
                    <a:pt x="7026" y="10586"/>
                    <a:pt x="7026" y="10775"/>
                  </a:cubicBezTo>
                  <a:lnTo>
                    <a:pt x="7026" y="11846"/>
                  </a:lnTo>
                  <a:lnTo>
                    <a:pt x="5923" y="11846"/>
                  </a:lnTo>
                  <a:lnTo>
                    <a:pt x="5923" y="10775"/>
                  </a:lnTo>
                  <a:cubicBezTo>
                    <a:pt x="5923" y="10586"/>
                    <a:pt x="5797" y="10429"/>
                    <a:pt x="5577" y="10397"/>
                  </a:cubicBezTo>
                  <a:cubicBezTo>
                    <a:pt x="5135" y="10271"/>
                    <a:pt x="4663" y="10114"/>
                    <a:pt x="4253" y="9830"/>
                  </a:cubicBezTo>
                  <a:cubicBezTo>
                    <a:pt x="4191" y="9793"/>
                    <a:pt x="4119" y="9775"/>
                    <a:pt x="4047" y="9775"/>
                  </a:cubicBezTo>
                  <a:cubicBezTo>
                    <a:pt x="3937" y="9775"/>
                    <a:pt x="3826" y="9817"/>
                    <a:pt x="3749" y="9893"/>
                  </a:cubicBezTo>
                  <a:lnTo>
                    <a:pt x="2993" y="10618"/>
                  </a:lnTo>
                  <a:lnTo>
                    <a:pt x="2206" y="9830"/>
                  </a:lnTo>
                  <a:lnTo>
                    <a:pt x="2962" y="9105"/>
                  </a:lnTo>
                  <a:cubicBezTo>
                    <a:pt x="3088" y="8979"/>
                    <a:pt x="3119" y="8727"/>
                    <a:pt x="2993" y="8570"/>
                  </a:cubicBezTo>
                  <a:cubicBezTo>
                    <a:pt x="2710" y="8160"/>
                    <a:pt x="2521" y="7719"/>
                    <a:pt x="2458" y="7247"/>
                  </a:cubicBezTo>
                  <a:cubicBezTo>
                    <a:pt x="2395" y="7058"/>
                    <a:pt x="2237" y="6932"/>
                    <a:pt x="2048" y="6932"/>
                  </a:cubicBezTo>
                  <a:lnTo>
                    <a:pt x="977" y="6932"/>
                  </a:lnTo>
                  <a:lnTo>
                    <a:pt x="977" y="5829"/>
                  </a:lnTo>
                  <a:lnTo>
                    <a:pt x="2048" y="5829"/>
                  </a:lnTo>
                  <a:cubicBezTo>
                    <a:pt x="2237" y="5829"/>
                    <a:pt x="2395" y="5703"/>
                    <a:pt x="2458" y="5514"/>
                  </a:cubicBezTo>
                  <a:cubicBezTo>
                    <a:pt x="2552" y="5041"/>
                    <a:pt x="2710" y="4569"/>
                    <a:pt x="2993" y="4159"/>
                  </a:cubicBezTo>
                  <a:cubicBezTo>
                    <a:pt x="3119" y="4002"/>
                    <a:pt x="3088" y="3781"/>
                    <a:pt x="2962" y="3655"/>
                  </a:cubicBezTo>
                  <a:lnTo>
                    <a:pt x="2206" y="2899"/>
                  </a:lnTo>
                  <a:lnTo>
                    <a:pt x="2993" y="2111"/>
                  </a:lnTo>
                  <a:lnTo>
                    <a:pt x="3749" y="2868"/>
                  </a:lnTo>
                  <a:cubicBezTo>
                    <a:pt x="3820" y="2938"/>
                    <a:pt x="3921" y="2979"/>
                    <a:pt x="4023" y="2979"/>
                  </a:cubicBezTo>
                  <a:cubicBezTo>
                    <a:pt x="4103" y="2979"/>
                    <a:pt x="4184" y="2954"/>
                    <a:pt x="4253" y="2899"/>
                  </a:cubicBezTo>
                  <a:cubicBezTo>
                    <a:pt x="4694" y="2647"/>
                    <a:pt x="5135" y="2426"/>
                    <a:pt x="5577" y="2363"/>
                  </a:cubicBezTo>
                  <a:cubicBezTo>
                    <a:pt x="5797" y="2332"/>
                    <a:pt x="5923" y="2174"/>
                    <a:pt x="5923" y="1954"/>
                  </a:cubicBezTo>
                  <a:lnTo>
                    <a:pt x="5923" y="914"/>
                  </a:lnTo>
                  <a:close/>
                  <a:moveTo>
                    <a:pt x="5829" y="1"/>
                  </a:moveTo>
                  <a:cubicBezTo>
                    <a:pt x="5356" y="1"/>
                    <a:pt x="5009" y="347"/>
                    <a:pt x="5009" y="820"/>
                  </a:cubicBezTo>
                  <a:lnTo>
                    <a:pt x="5009" y="1576"/>
                  </a:lnTo>
                  <a:cubicBezTo>
                    <a:pt x="4631" y="1702"/>
                    <a:pt x="4285" y="1796"/>
                    <a:pt x="3970" y="2017"/>
                  </a:cubicBezTo>
                  <a:lnTo>
                    <a:pt x="3466" y="1481"/>
                  </a:lnTo>
                  <a:cubicBezTo>
                    <a:pt x="3308" y="1324"/>
                    <a:pt x="3103" y="1245"/>
                    <a:pt x="2891" y="1245"/>
                  </a:cubicBezTo>
                  <a:cubicBezTo>
                    <a:pt x="2678" y="1245"/>
                    <a:pt x="2458" y="1324"/>
                    <a:pt x="2269" y="1481"/>
                  </a:cubicBezTo>
                  <a:lnTo>
                    <a:pt x="1481" y="2269"/>
                  </a:lnTo>
                  <a:cubicBezTo>
                    <a:pt x="1166" y="2584"/>
                    <a:pt x="1166" y="3120"/>
                    <a:pt x="1481" y="3466"/>
                  </a:cubicBezTo>
                  <a:lnTo>
                    <a:pt x="2017" y="3970"/>
                  </a:lnTo>
                  <a:cubicBezTo>
                    <a:pt x="1796" y="4285"/>
                    <a:pt x="1701" y="4632"/>
                    <a:pt x="1575" y="5010"/>
                  </a:cubicBezTo>
                  <a:lnTo>
                    <a:pt x="819" y="5010"/>
                  </a:lnTo>
                  <a:cubicBezTo>
                    <a:pt x="347" y="5010"/>
                    <a:pt x="0" y="5356"/>
                    <a:pt x="0" y="5829"/>
                  </a:cubicBezTo>
                  <a:lnTo>
                    <a:pt x="0" y="6932"/>
                  </a:lnTo>
                  <a:cubicBezTo>
                    <a:pt x="0" y="7404"/>
                    <a:pt x="347" y="7751"/>
                    <a:pt x="819" y="7751"/>
                  </a:cubicBezTo>
                  <a:lnTo>
                    <a:pt x="1575" y="7751"/>
                  </a:lnTo>
                  <a:cubicBezTo>
                    <a:pt x="1701" y="8097"/>
                    <a:pt x="1796" y="8475"/>
                    <a:pt x="2017" y="8759"/>
                  </a:cubicBezTo>
                  <a:lnTo>
                    <a:pt x="1481" y="9295"/>
                  </a:lnTo>
                  <a:cubicBezTo>
                    <a:pt x="1166" y="9610"/>
                    <a:pt x="1166" y="10114"/>
                    <a:pt x="1481" y="10460"/>
                  </a:cubicBezTo>
                  <a:lnTo>
                    <a:pt x="2269" y="11248"/>
                  </a:lnTo>
                  <a:cubicBezTo>
                    <a:pt x="2426" y="11405"/>
                    <a:pt x="2639" y="11484"/>
                    <a:pt x="2855" y="11484"/>
                  </a:cubicBezTo>
                  <a:cubicBezTo>
                    <a:pt x="3072" y="11484"/>
                    <a:pt x="3292" y="11405"/>
                    <a:pt x="3466" y="11248"/>
                  </a:cubicBezTo>
                  <a:lnTo>
                    <a:pt x="3970" y="10744"/>
                  </a:lnTo>
                  <a:cubicBezTo>
                    <a:pt x="4285" y="10933"/>
                    <a:pt x="4631" y="11059"/>
                    <a:pt x="5009" y="11185"/>
                  </a:cubicBezTo>
                  <a:lnTo>
                    <a:pt x="5009" y="11909"/>
                  </a:lnTo>
                  <a:cubicBezTo>
                    <a:pt x="5009" y="12382"/>
                    <a:pt x="5356" y="12760"/>
                    <a:pt x="5829" y="12760"/>
                  </a:cubicBezTo>
                  <a:lnTo>
                    <a:pt x="6931" y="12760"/>
                  </a:lnTo>
                  <a:cubicBezTo>
                    <a:pt x="7404" y="12760"/>
                    <a:pt x="7750" y="12382"/>
                    <a:pt x="7750" y="11909"/>
                  </a:cubicBezTo>
                  <a:lnTo>
                    <a:pt x="7750" y="11185"/>
                  </a:lnTo>
                  <a:cubicBezTo>
                    <a:pt x="8097" y="11059"/>
                    <a:pt x="8475" y="10933"/>
                    <a:pt x="8790" y="10744"/>
                  </a:cubicBezTo>
                  <a:lnTo>
                    <a:pt x="9294" y="11248"/>
                  </a:lnTo>
                  <a:cubicBezTo>
                    <a:pt x="9452" y="11405"/>
                    <a:pt x="9656" y="11484"/>
                    <a:pt x="9865" y="11484"/>
                  </a:cubicBezTo>
                  <a:cubicBezTo>
                    <a:pt x="10074" y="11484"/>
                    <a:pt x="10287" y="11405"/>
                    <a:pt x="10460" y="11248"/>
                  </a:cubicBezTo>
                  <a:lnTo>
                    <a:pt x="11247" y="10460"/>
                  </a:lnTo>
                  <a:cubicBezTo>
                    <a:pt x="11563" y="10145"/>
                    <a:pt x="11563" y="9641"/>
                    <a:pt x="11247" y="9295"/>
                  </a:cubicBezTo>
                  <a:lnTo>
                    <a:pt x="10743" y="8759"/>
                  </a:lnTo>
                  <a:cubicBezTo>
                    <a:pt x="10932" y="8444"/>
                    <a:pt x="11058" y="8097"/>
                    <a:pt x="11184" y="7751"/>
                  </a:cubicBezTo>
                  <a:lnTo>
                    <a:pt x="11941" y="7751"/>
                  </a:lnTo>
                  <a:cubicBezTo>
                    <a:pt x="12413" y="7751"/>
                    <a:pt x="12760" y="7404"/>
                    <a:pt x="12760" y="6932"/>
                  </a:cubicBezTo>
                  <a:lnTo>
                    <a:pt x="12760" y="5829"/>
                  </a:lnTo>
                  <a:cubicBezTo>
                    <a:pt x="12760" y="5356"/>
                    <a:pt x="12350" y="5010"/>
                    <a:pt x="11941" y="5010"/>
                  </a:cubicBezTo>
                  <a:lnTo>
                    <a:pt x="11184" y="5010"/>
                  </a:lnTo>
                  <a:cubicBezTo>
                    <a:pt x="11058" y="4632"/>
                    <a:pt x="10932" y="4285"/>
                    <a:pt x="10743" y="3970"/>
                  </a:cubicBezTo>
                  <a:lnTo>
                    <a:pt x="11247" y="3466"/>
                  </a:lnTo>
                  <a:cubicBezTo>
                    <a:pt x="11563" y="3151"/>
                    <a:pt x="11563" y="2647"/>
                    <a:pt x="11247" y="2269"/>
                  </a:cubicBezTo>
                  <a:lnTo>
                    <a:pt x="10460" y="1481"/>
                  </a:lnTo>
                  <a:cubicBezTo>
                    <a:pt x="10302" y="1324"/>
                    <a:pt x="10098" y="1245"/>
                    <a:pt x="9889" y="1245"/>
                  </a:cubicBezTo>
                  <a:cubicBezTo>
                    <a:pt x="9680" y="1245"/>
                    <a:pt x="9467" y="1324"/>
                    <a:pt x="9294" y="1481"/>
                  </a:cubicBezTo>
                  <a:lnTo>
                    <a:pt x="8790" y="2017"/>
                  </a:lnTo>
                  <a:cubicBezTo>
                    <a:pt x="8475" y="1796"/>
                    <a:pt x="8097" y="1702"/>
                    <a:pt x="7750" y="1576"/>
                  </a:cubicBezTo>
                  <a:lnTo>
                    <a:pt x="7750" y="820"/>
                  </a:lnTo>
                  <a:cubicBezTo>
                    <a:pt x="7750" y="347"/>
                    <a:pt x="7404" y="1"/>
                    <a:pt x="6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4" name="Google Shape;9534;p77"/>
            <p:cNvSpPr/>
            <p:nvPr/>
          </p:nvSpPr>
          <p:spPr>
            <a:xfrm>
              <a:off x="-63160900" y="2021425"/>
              <a:ext cx="137850" cy="137850"/>
            </a:xfrm>
            <a:custGeom>
              <a:avLst/>
              <a:gdLst/>
              <a:ahLst/>
              <a:cxnLst/>
              <a:rect l="l" t="t" r="r" b="b"/>
              <a:pathLst>
                <a:path w="5514" h="5514" extrusionOk="0">
                  <a:moveTo>
                    <a:pt x="2773" y="820"/>
                  </a:moveTo>
                  <a:cubicBezTo>
                    <a:pt x="3813" y="820"/>
                    <a:pt x="4695" y="1702"/>
                    <a:pt x="4695" y="2742"/>
                  </a:cubicBezTo>
                  <a:cubicBezTo>
                    <a:pt x="4695" y="3813"/>
                    <a:pt x="3813" y="4695"/>
                    <a:pt x="2773" y="4695"/>
                  </a:cubicBezTo>
                  <a:cubicBezTo>
                    <a:pt x="1702" y="4695"/>
                    <a:pt x="820" y="3813"/>
                    <a:pt x="820" y="2742"/>
                  </a:cubicBezTo>
                  <a:cubicBezTo>
                    <a:pt x="820" y="1702"/>
                    <a:pt x="1702" y="820"/>
                    <a:pt x="2773" y="820"/>
                  </a:cubicBezTo>
                  <a:close/>
                  <a:moveTo>
                    <a:pt x="2773" y="1"/>
                  </a:moveTo>
                  <a:cubicBezTo>
                    <a:pt x="1229" y="1"/>
                    <a:pt x="1" y="1198"/>
                    <a:pt x="1" y="2742"/>
                  </a:cubicBezTo>
                  <a:cubicBezTo>
                    <a:pt x="1" y="4285"/>
                    <a:pt x="1229" y="5514"/>
                    <a:pt x="2773" y="5514"/>
                  </a:cubicBezTo>
                  <a:cubicBezTo>
                    <a:pt x="4285" y="5514"/>
                    <a:pt x="5514" y="4285"/>
                    <a:pt x="5514" y="2742"/>
                  </a:cubicBezTo>
                  <a:cubicBezTo>
                    <a:pt x="5514" y="1229"/>
                    <a:pt x="4254"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35" name="Google Shape;9535;p77"/>
          <p:cNvSpPr/>
          <p:nvPr/>
        </p:nvSpPr>
        <p:spPr>
          <a:xfrm>
            <a:off x="3052893" y="2021169"/>
            <a:ext cx="372371" cy="367946"/>
          </a:xfrm>
          <a:custGeom>
            <a:avLst/>
            <a:gdLst/>
            <a:ahLst/>
            <a:cxnLst/>
            <a:rect l="l" t="t" r="r" b="b"/>
            <a:pathLst>
              <a:path w="12877" h="12724" extrusionOk="0">
                <a:moveTo>
                  <a:pt x="10492" y="1603"/>
                </a:moveTo>
                <a:lnTo>
                  <a:pt x="10429" y="1855"/>
                </a:lnTo>
                <a:cubicBezTo>
                  <a:pt x="10429" y="1981"/>
                  <a:pt x="10492" y="2138"/>
                  <a:pt x="10555" y="2201"/>
                </a:cubicBezTo>
                <a:cubicBezTo>
                  <a:pt x="10649" y="2296"/>
                  <a:pt x="10807" y="2327"/>
                  <a:pt x="10901" y="2327"/>
                </a:cubicBezTo>
                <a:lnTo>
                  <a:pt x="11153" y="2296"/>
                </a:lnTo>
                <a:lnTo>
                  <a:pt x="10492" y="2957"/>
                </a:lnTo>
                <a:lnTo>
                  <a:pt x="9736" y="3083"/>
                </a:lnTo>
                <a:lnTo>
                  <a:pt x="9799" y="2296"/>
                </a:lnTo>
                <a:lnTo>
                  <a:pt x="10492" y="1603"/>
                </a:lnTo>
                <a:close/>
                <a:moveTo>
                  <a:pt x="6270" y="6108"/>
                </a:moveTo>
                <a:cubicBezTo>
                  <a:pt x="6396" y="6108"/>
                  <a:pt x="6459" y="6139"/>
                  <a:pt x="6554" y="6234"/>
                </a:cubicBezTo>
                <a:cubicBezTo>
                  <a:pt x="6617" y="6265"/>
                  <a:pt x="6648" y="6391"/>
                  <a:pt x="6648" y="6486"/>
                </a:cubicBezTo>
                <a:cubicBezTo>
                  <a:pt x="6648" y="6738"/>
                  <a:pt x="6459" y="6927"/>
                  <a:pt x="6270" y="6927"/>
                </a:cubicBezTo>
                <a:cubicBezTo>
                  <a:pt x="6081" y="6927"/>
                  <a:pt x="5861" y="6738"/>
                  <a:pt x="5861" y="6486"/>
                </a:cubicBezTo>
                <a:cubicBezTo>
                  <a:pt x="5861" y="6265"/>
                  <a:pt x="6081" y="6108"/>
                  <a:pt x="6270" y="6108"/>
                </a:cubicBezTo>
                <a:close/>
                <a:moveTo>
                  <a:pt x="6176" y="4375"/>
                </a:moveTo>
                <a:cubicBezTo>
                  <a:pt x="6617" y="4375"/>
                  <a:pt x="7026" y="4501"/>
                  <a:pt x="7341" y="4722"/>
                </a:cubicBezTo>
                <a:lnTo>
                  <a:pt x="6743" y="5320"/>
                </a:lnTo>
                <a:cubicBezTo>
                  <a:pt x="6617" y="5289"/>
                  <a:pt x="6428" y="5226"/>
                  <a:pt x="6239" y="5226"/>
                </a:cubicBezTo>
                <a:cubicBezTo>
                  <a:pt x="5546" y="5226"/>
                  <a:pt x="5010" y="5793"/>
                  <a:pt x="5010" y="6454"/>
                </a:cubicBezTo>
                <a:cubicBezTo>
                  <a:pt x="5010" y="7116"/>
                  <a:pt x="5546" y="7715"/>
                  <a:pt x="6239" y="7715"/>
                </a:cubicBezTo>
                <a:cubicBezTo>
                  <a:pt x="6900" y="7715"/>
                  <a:pt x="7467" y="7147"/>
                  <a:pt x="7467" y="6454"/>
                </a:cubicBezTo>
                <a:cubicBezTo>
                  <a:pt x="7467" y="6265"/>
                  <a:pt x="7404" y="6108"/>
                  <a:pt x="7341" y="5887"/>
                </a:cubicBezTo>
                <a:lnTo>
                  <a:pt x="7908" y="5320"/>
                </a:lnTo>
                <a:cubicBezTo>
                  <a:pt x="8160" y="5635"/>
                  <a:pt x="8286" y="6013"/>
                  <a:pt x="8286" y="6454"/>
                </a:cubicBezTo>
                <a:cubicBezTo>
                  <a:pt x="8286" y="7588"/>
                  <a:pt x="7341" y="8534"/>
                  <a:pt x="6176" y="8534"/>
                </a:cubicBezTo>
                <a:cubicBezTo>
                  <a:pt x="5041" y="8534"/>
                  <a:pt x="4096" y="7588"/>
                  <a:pt x="4096" y="6454"/>
                </a:cubicBezTo>
                <a:cubicBezTo>
                  <a:pt x="4096" y="5320"/>
                  <a:pt x="5041" y="4375"/>
                  <a:pt x="6176" y="4375"/>
                </a:cubicBezTo>
                <a:close/>
                <a:moveTo>
                  <a:pt x="6239" y="2800"/>
                </a:moveTo>
                <a:cubicBezTo>
                  <a:pt x="7089" y="2800"/>
                  <a:pt x="7908" y="3115"/>
                  <a:pt x="8539" y="3619"/>
                </a:cubicBezTo>
                <a:lnTo>
                  <a:pt x="7971" y="4217"/>
                </a:lnTo>
                <a:cubicBezTo>
                  <a:pt x="7499" y="3839"/>
                  <a:pt x="6869" y="3619"/>
                  <a:pt x="6239" y="3619"/>
                </a:cubicBezTo>
                <a:cubicBezTo>
                  <a:pt x="4600" y="3619"/>
                  <a:pt x="3309" y="4911"/>
                  <a:pt x="3309" y="6486"/>
                </a:cubicBezTo>
                <a:cubicBezTo>
                  <a:pt x="3309" y="8124"/>
                  <a:pt x="4632" y="9416"/>
                  <a:pt x="6239" y="9416"/>
                </a:cubicBezTo>
                <a:cubicBezTo>
                  <a:pt x="7845" y="9416"/>
                  <a:pt x="9137" y="8124"/>
                  <a:pt x="9137" y="6486"/>
                </a:cubicBezTo>
                <a:cubicBezTo>
                  <a:pt x="9137" y="5856"/>
                  <a:pt x="8948" y="5226"/>
                  <a:pt x="8539" y="4753"/>
                </a:cubicBezTo>
                <a:lnTo>
                  <a:pt x="9137" y="4154"/>
                </a:lnTo>
                <a:cubicBezTo>
                  <a:pt x="9641" y="4816"/>
                  <a:pt x="9956" y="5604"/>
                  <a:pt x="9956" y="6486"/>
                </a:cubicBezTo>
                <a:cubicBezTo>
                  <a:pt x="9956" y="8534"/>
                  <a:pt x="8318" y="10235"/>
                  <a:pt x="6239" y="10235"/>
                </a:cubicBezTo>
                <a:cubicBezTo>
                  <a:pt x="4191" y="10235"/>
                  <a:pt x="2490" y="8597"/>
                  <a:pt x="2490" y="6486"/>
                </a:cubicBezTo>
                <a:cubicBezTo>
                  <a:pt x="2490" y="4438"/>
                  <a:pt x="4128" y="2800"/>
                  <a:pt x="6239" y="2800"/>
                </a:cubicBezTo>
                <a:close/>
                <a:moveTo>
                  <a:pt x="6270" y="1130"/>
                </a:moveTo>
                <a:cubicBezTo>
                  <a:pt x="7247" y="1130"/>
                  <a:pt x="8223" y="1414"/>
                  <a:pt x="9074" y="1918"/>
                </a:cubicBezTo>
                <a:cubicBezTo>
                  <a:pt x="9074" y="1949"/>
                  <a:pt x="9011" y="2012"/>
                  <a:pt x="9011" y="2044"/>
                </a:cubicBezTo>
                <a:lnTo>
                  <a:pt x="8917" y="2831"/>
                </a:lnTo>
                <a:cubicBezTo>
                  <a:pt x="8160" y="2296"/>
                  <a:pt x="7247" y="1981"/>
                  <a:pt x="6270" y="1981"/>
                </a:cubicBezTo>
                <a:cubicBezTo>
                  <a:pt x="3750" y="1981"/>
                  <a:pt x="1733" y="4028"/>
                  <a:pt x="1733" y="6486"/>
                </a:cubicBezTo>
                <a:cubicBezTo>
                  <a:pt x="1733" y="9006"/>
                  <a:pt x="3781" y="11054"/>
                  <a:pt x="6270" y="11054"/>
                </a:cubicBezTo>
                <a:cubicBezTo>
                  <a:pt x="8759" y="11054"/>
                  <a:pt x="10807" y="9006"/>
                  <a:pt x="10807" y="6486"/>
                </a:cubicBezTo>
                <a:cubicBezTo>
                  <a:pt x="10807" y="5509"/>
                  <a:pt x="10492" y="4596"/>
                  <a:pt x="9925" y="3871"/>
                </a:cubicBezTo>
                <a:lnTo>
                  <a:pt x="10712" y="3745"/>
                </a:lnTo>
                <a:cubicBezTo>
                  <a:pt x="10744" y="3745"/>
                  <a:pt x="10807" y="3745"/>
                  <a:pt x="10838" y="3713"/>
                </a:cubicBezTo>
                <a:cubicBezTo>
                  <a:pt x="11342" y="4533"/>
                  <a:pt x="11626" y="5478"/>
                  <a:pt x="11626" y="6486"/>
                </a:cubicBezTo>
                <a:cubicBezTo>
                  <a:pt x="11626" y="9447"/>
                  <a:pt x="9232" y="11873"/>
                  <a:pt x="6270" y="11873"/>
                </a:cubicBezTo>
                <a:cubicBezTo>
                  <a:pt x="3309" y="11873"/>
                  <a:pt x="914" y="9479"/>
                  <a:pt x="914" y="6486"/>
                </a:cubicBezTo>
                <a:cubicBezTo>
                  <a:pt x="914" y="3524"/>
                  <a:pt x="3309" y="1130"/>
                  <a:pt x="6270" y="1130"/>
                </a:cubicBezTo>
                <a:close/>
                <a:moveTo>
                  <a:pt x="11030" y="0"/>
                </a:moveTo>
                <a:cubicBezTo>
                  <a:pt x="10930" y="0"/>
                  <a:pt x="10829" y="37"/>
                  <a:pt x="10744" y="122"/>
                </a:cubicBezTo>
                <a:lnTo>
                  <a:pt x="9610" y="1256"/>
                </a:lnTo>
                <a:cubicBezTo>
                  <a:pt x="8602" y="594"/>
                  <a:pt x="7467" y="279"/>
                  <a:pt x="6239" y="279"/>
                </a:cubicBezTo>
                <a:cubicBezTo>
                  <a:pt x="2805" y="279"/>
                  <a:pt x="1" y="3020"/>
                  <a:pt x="1" y="6486"/>
                </a:cubicBezTo>
                <a:cubicBezTo>
                  <a:pt x="1" y="9920"/>
                  <a:pt x="2773" y="12724"/>
                  <a:pt x="6239" y="12724"/>
                </a:cubicBezTo>
                <a:cubicBezTo>
                  <a:pt x="9641" y="12724"/>
                  <a:pt x="12445" y="9951"/>
                  <a:pt x="12445" y="6486"/>
                </a:cubicBezTo>
                <a:cubicBezTo>
                  <a:pt x="12445" y="5289"/>
                  <a:pt x="12099" y="4123"/>
                  <a:pt x="11468" y="3115"/>
                </a:cubicBezTo>
                <a:lnTo>
                  <a:pt x="12603" y="1981"/>
                </a:lnTo>
                <a:cubicBezTo>
                  <a:pt x="12877" y="1706"/>
                  <a:pt x="12650" y="1255"/>
                  <a:pt x="12292" y="1255"/>
                </a:cubicBezTo>
                <a:cubicBezTo>
                  <a:pt x="12280" y="1255"/>
                  <a:pt x="12268" y="1255"/>
                  <a:pt x="12256" y="1256"/>
                </a:cubicBezTo>
                <a:lnTo>
                  <a:pt x="11342" y="1382"/>
                </a:lnTo>
                <a:lnTo>
                  <a:pt x="11468" y="468"/>
                </a:lnTo>
                <a:cubicBezTo>
                  <a:pt x="11491" y="203"/>
                  <a:pt x="11265" y="0"/>
                  <a:pt x="110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536" name="Google Shape;9536;p77"/>
          <p:cNvGrpSpPr/>
          <p:nvPr/>
        </p:nvGrpSpPr>
        <p:grpSpPr>
          <a:xfrm>
            <a:off x="3061808" y="2486543"/>
            <a:ext cx="367165" cy="368091"/>
            <a:chOff x="-63250675" y="2664125"/>
            <a:chExt cx="317425" cy="318225"/>
          </a:xfrm>
        </p:grpSpPr>
        <p:sp>
          <p:nvSpPr>
            <p:cNvPr id="9537" name="Google Shape;9537;p77"/>
            <p:cNvSpPr/>
            <p:nvPr/>
          </p:nvSpPr>
          <p:spPr>
            <a:xfrm>
              <a:off x="-63250675" y="2664125"/>
              <a:ext cx="317425" cy="318225"/>
            </a:xfrm>
            <a:custGeom>
              <a:avLst/>
              <a:gdLst/>
              <a:ahLst/>
              <a:cxnLst/>
              <a:rect l="l" t="t" r="r" b="b"/>
              <a:pathLst>
                <a:path w="12697" h="12729" extrusionOk="0">
                  <a:moveTo>
                    <a:pt x="6364" y="2521"/>
                  </a:moveTo>
                  <a:cubicBezTo>
                    <a:pt x="8475" y="2521"/>
                    <a:pt x="10208" y="4254"/>
                    <a:pt x="10208" y="6396"/>
                  </a:cubicBezTo>
                  <a:cubicBezTo>
                    <a:pt x="10208" y="8507"/>
                    <a:pt x="8475" y="10240"/>
                    <a:pt x="6364" y="10240"/>
                  </a:cubicBezTo>
                  <a:cubicBezTo>
                    <a:pt x="4222" y="10240"/>
                    <a:pt x="2489" y="8507"/>
                    <a:pt x="2489" y="6396"/>
                  </a:cubicBezTo>
                  <a:cubicBezTo>
                    <a:pt x="2489" y="4254"/>
                    <a:pt x="4222" y="2521"/>
                    <a:pt x="6364" y="2521"/>
                  </a:cubicBezTo>
                  <a:close/>
                  <a:moveTo>
                    <a:pt x="6364" y="1"/>
                  </a:moveTo>
                  <a:cubicBezTo>
                    <a:pt x="6112" y="1"/>
                    <a:pt x="5923" y="190"/>
                    <a:pt x="5923" y="442"/>
                  </a:cubicBezTo>
                  <a:lnTo>
                    <a:pt x="5923" y="1702"/>
                  </a:lnTo>
                  <a:cubicBezTo>
                    <a:pt x="4946" y="1765"/>
                    <a:pt x="4033" y="2174"/>
                    <a:pt x="3308" y="2773"/>
                  </a:cubicBezTo>
                  <a:lnTo>
                    <a:pt x="2426" y="1859"/>
                  </a:lnTo>
                  <a:cubicBezTo>
                    <a:pt x="2347" y="1781"/>
                    <a:pt x="2237" y="1741"/>
                    <a:pt x="2127" y="1741"/>
                  </a:cubicBezTo>
                  <a:cubicBezTo>
                    <a:pt x="2017" y="1741"/>
                    <a:pt x="1906" y="1781"/>
                    <a:pt x="1827" y="1859"/>
                  </a:cubicBezTo>
                  <a:cubicBezTo>
                    <a:pt x="1670" y="2017"/>
                    <a:pt x="1670" y="2300"/>
                    <a:pt x="1827" y="2458"/>
                  </a:cubicBezTo>
                  <a:lnTo>
                    <a:pt x="2741" y="3340"/>
                  </a:lnTo>
                  <a:cubicBezTo>
                    <a:pt x="2143" y="4065"/>
                    <a:pt x="1733" y="4978"/>
                    <a:pt x="1670" y="5955"/>
                  </a:cubicBezTo>
                  <a:lnTo>
                    <a:pt x="410" y="5955"/>
                  </a:lnTo>
                  <a:cubicBezTo>
                    <a:pt x="158" y="5955"/>
                    <a:pt x="0" y="6144"/>
                    <a:pt x="0" y="6333"/>
                  </a:cubicBezTo>
                  <a:cubicBezTo>
                    <a:pt x="0" y="6585"/>
                    <a:pt x="221" y="6774"/>
                    <a:pt x="410" y="6774"/>
                  </a:cubicBezTo>
                  <a:lnTo>
                    <a:pt x="1670" y="6774"/>
                  </a:lnTo>
                  <a:cubicBezTo>
                    <a:pt x="1733" y="7751"/>
                    <a:pt x="2143" y="8664"/>
                    <a:pt x="2741" y="9389"/>
                  </a:cubicBezTo>
                  <a:lnTo>
                    <a:pt x="1827" y="10271"/>
                  </a:lnTo>
                  <a:cubicBezTo>
                    <a:pt x="1670" y="10429"/>
                    <a:pt x="1670" y="10712"/>
                    <a:pt x="1827" y="10870"/>
                  </a:cubicBezTo>
                  <a:cubicBezTo>
                    <a:pt x="1890" y="10964"/>
                    <a:pt x="2017" y="10996"/>
                    <a:pt x="2111" y="10996"/>
                  </a:cubicBezTo>
                  <a:cubicBezTo>
                    <a:pt x="2174" y="10996"/>
                    <a:pt x="2300" y="10964"/>
                    <a:pt x="2363" y="10870"/>
                  </a:cubicBezTo>
                  <a:lnTo>
                    <a:pt x="3277" y="9956"/>
                  </a:lnTo>
                  <a:cubicBezTo>
                    <a:pt x="4001" y="10555"/>
                    <a:pt x="4883" y="10964"/>
                    <a:pt x="5892" y="11027"/>
                  </a:cubicBezTo>
                  <a:lnTo>
                    <a:pt x="5892" y="12287"/>
                  </a:lnTo>
                  <a:cubicBezTo>
                    <a:pt x="5892" y="12508"/>
                    <a:pt x="6081" y="12729"/>
                    <a:pt x="6301" y="12729"/>
                  </a:cubicBezTo>
                  <a:cubicBezTo>
                    <a:pt x="6553" y="12729"/>
                    <a:pt x="6711" y="12508"/>
                    <a:pt x="6711" y="12287"/>
                  </a:cubicBezTo>
                  <a:lnTo>
                    <a:pt x="6711" y="11027"/>
                  </a:lnTo>
                  <a:cubicBezTo>
                    <a:pt x="7687" y="10964"/>
                    <a:pt x="8601" y="10555"/>
                    <a:pt x="9294" y="9956"/>
                  </a:cubicBezTo>
                  <a:lnTo>
                    <a:pt x="10208" y="10870"/>
                  </a:lnTo>
                  <a:cubicBezTo>
                    <a:pt x="10302" y="10964"/>
                    <a:pt x="10397" y="10996"/>
                    <a:pt x="10491" y="10996"/>
                  </a:cubicBezTo>
                  <a:cubicBezTo>
                    <a:pt x="10617" y="10996"/>
                    <a:pt x="10680" y="10964"/>
                    <a:pt x="10775" y="10870"/>
                  </a:cubicBezTo>
                  <a:cubicBezTo>
                    <a:pt x="10932" y="10712"/>
                    <a:pt x="10932" y="10429"/>
                    <a:pt x="10775" y="10271"/>
                  </a:cubicBezTo>
                  <a:lnTo>
                    <a:pt x="9861" y="9389"/>
                  </a:lnTo>
                  <a:cubicBezTo>
                    <a:pt x="10460" y="8664"/>
                    <a:pt x="10838" y="7751"/>
                    <a:pt x="10932" y="6774"/>
                  </a:cubicBezTo>
                  <a:lnTo>
                    <a:pt x="12193" y="6774"/>
                  </a:lnTo>
                  <a:cubicBezTo>
                    <a:pt x="12413" y="6774"/>
                    <a:pt x="12602" y="6585"/>
                    <a:pt x="12602" y="6333"/>
                  </a:cubicBezTo>
                  <a:cubicBezTo>
                    <a:pt x="12697" y="6144"/>
                    <a:pt x="12508" y="5955"/>
                    <a:pt x="12256" y="5955"/>
                  </a:cubicBezTo>
                  <a:lnTo>
                    <a:pt x="10995" y="5955"/>
                  </a:lnTo>
                  <a:cubicBezTo>
                    <a:pt x="10932" y="4978"/>
                    <a:pt x="10523" y="4065"/>
                    <a:pt x="9924" y="3340"/>
                  </a:cubicBezTo>
                  <a:lnTo>
                    <a:pt x="10838" y="2458"/>
                  </a:lnTo>
                  <a:cubicBezTo>
                    <a:pt x="10995" y="2300"/>
                    <a:pt x="10995" y="2017"/>
                    <a:pt x="10838" y="1859"/>
                  </a:cubicBezTo>
                  <a:cubicBezTo>
                    <a:pt x="10759" y="1781"/>
                    <a:pt x="10649" y="1741"/>
                    <a:pt x="10539" y="1741"/>
                  </a:cubicBezTo>
                  <a:cubicBezTo>
                    <a:pt x="10428" y="1741"/>
                    <a:pt x="10318" y="1781"/>
                    <a:pt x="10239" y="1859"/>
                  </a:cubicBezTo>
                  <a:lnTo>
                    <a:pt x="9357" y="2773"/>
                  </a:lnTo>
                  <a:cubicBezTo>
                    <a:pt x="8633" y="2174"/>
                    <a:pt x="7719" y="1765"/>
                    <a:pt x="6742" y="1702"/>
                  </a:cubicBezTo>
                  <a:lnTo>
                    <a:pt x="6742" y="442"/>
                  </a:lnTo>
                  <a:cubicBezTo>
                    <a:pt x="6742" y="190"/>
                    <a:pt x="6553" y="1"/>
                    <a:pt x="6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77"/>
            <p:cNvSpPr/>
            <p:nvPr/>
          </p:nvSpPr>
          <p:spPr>
            <a:xfrm>
              <a:off x="-63167975" y="2747625"/>
              <a:ext cx="152025" cy="152025"/>
            </a:xfrm>
            <a:custGeom>
              <a:avLst/>
              <a:gdLst/>
              <a:ahLst/>
              <a:cxnLst/>
              <a:rect l="l" t="t" r="r" b="b"/>
              <a:pathLst>
                <a:path w="6081" h="6081" extrusionOk="0">
                  <a:moveTo>
                    <a:pt x="2615" y="819"/>
                  </a:moveTo>
                  <a:lnTo>
                    <a:pt x="2615" y="1701"/>
                  </a:lnTo>
                  <a:cubicBezTo>
                    <a:pt x="2521" y="1733"/>
                    <a:pt x="2458" y="1733"/>
                    <a:pt x="2363" y="1764"/>
                  </a:cubicBezTo>
                  <a:lnTo>
                    <a:pt x="1796" y="1197"/>
                  </a:lnTo>
                  <a:cubicBezTo>
                    <a:pt x="2017" y="1040"/>
                    <a:pt x="2300" y="914"/>
                    <a:pt x="2615" y="819"/>
                  </a:cubicBezTo>
                  <a:close/>
                  <a:moveTo>
                    <a:pt x="3434" y="882"/>
                  </a:moveTo>
                  <a:cubicBezTo>
                    <a:pt x="3749" y="914"/>
                    <a:pt x="4033" y="1040"/>
                    <a:pt x="4253" y="1229"/>
                  </a:cubicBezTo>
                  <a:lnTo>
                    <a:pt x="3686" y="1827"/>
                  </a:lnTo>
                  <a:cubicBezTo>
                    <a:pt x="3592" y="1796"/>
                    <a:pt x="3529" y="1733"/>
                    <a:pt x="3434" y="1733"/>
                  </a:cubicBezTo>
                  <a:lnTo>
                    <a:pt x="3434" y="882"/>
                  </a:lnTo>
                  <a:close/>
                  <a:moveTo>
                    <a:pt x="1197" y="1796"/>
                  </a:moveTo>
                  <a:lnTo>
                    <a:pt x="1796" y="2363"/>
                  </a:lnTo>
                  <a:cubicBezTo>
                    <a:pt x="1733" y="2457"/>
                    <a:pt x="1701" y="2520"/>
                    <a:pt x="1701" y="2615"/>
                  </a:cubicBezTo>
                  <a:lnTo>
                    <a:pt x="851" y="2615"/>
                  </a:lnTo>
                  <a:cubicBezTo>
                    <a:pt x="914" y="2300"/>
                    <a:pt x="1040" y="2016"/>
                    <a:pt x="1197" y="1796"/>
                  </a:cubicBezTo>
                  <a:close/>
                  <a:moveTo>
                    <a:pt x="4852" y="1796"/>
                  </a:moveTo>
                  <a:cubicBezTo>
                    <a:pt x="5010" y="2016"/>
                    <a:pt x="5136" y="2300"/>
                    <a:pt x="5199" y="2615"/>
                  </a:cubicBezTo>
                  <a:lnTo>
                    <a:pt x="4348" y="2615"/>
                  </a:lnTo>
                  <a:cubicBezTo>
                    <a:pt x="4316" y="2520"/>
                    <a:pt x="4316" y="2457"/>
                    <a:pt x="4253" y="2363"/>
                  </a:cubicBezTo>
                  <a:lnTo>
                    <a:pt x="4852" y="1796"/>
                  </a:lnTo>
                  <a:close/>
                  <a:moveTo>
                    <a:pt x="3056" y="2457"/>
                  </a:moveTo>
                  <a:cubicBezTo>
                    <a:pt x="3214" y="2457"/>
                    <a:pt x="3308" y="2520"/>
                    <a:pt x="3434" y="2615"/>
                  </a:cubicBezTo>
                  <a:cubicBezTo>
                    <a:pt x="3560" y="2741"/>
                    <a:pt x="3592" y="2836"/>
                    <a:pt x="3592" y="2993"/>
                  </a:cubicBezTo>
                  <a:cubicBezTo>
                    <a:pt x="3592" y="3151"/>
                    <a:pt x="3529" y="3308"/>
                    <a:pt x="3434" y="3403"/>
                  </a:cubicBezTo>
                  <a:cubicBezTo>
                    <a:pt x="3308" y="3529"/>
                    <a:pt x="3214" y="3560"/>
                    <a:pt x="3056" y="3560"/>
                  </a:cubicBezTo>
                  <a:cubicBezTo>
                    <a:pt x="2899" y="3560"/>
                    <a:pt x="2773" y="3466"/>
                    <a:pt x="2647" y="3403"/>
                  </a:cubicBezTo>
                  <a:cubicBezTo>
                    <a:pt x="2521" y="3277"/>
                    <a:pt x="2489" y="3151"/>
                    <a:pt x="2489" y="2993"/>
                  </a:cubicBezTo>
                  <a:cubicBezTo>
                    <a:pt x="2489" y="2836"/>
                    <a:pt x="2584" y="2741"/>
                    <a:pt x="2647" y="2615"/>
                  </a:cubicBezTo>
                  <a:cubicBezTo>
                    <a:pt x="2773" y="2489"/>
                    <a:pt x="2899" y="2457"/>
                    <a:pt x="3056" y="2457"/>
                  </a:cubicBezTo>
                  <a:close/>
                  <a:moveTo>
                    <a:pt x="1733" y="3434"/>
                  </a:moveTo>
                  <a:cubicBezTo>
                    <a:pt x="1796" y="3529"/>
                    <a:pt x="1796" y="3592"/>
                    <a:pt x="1828" y="3686"/>
                  </a:cubicBezTo>
                  <a:lnTo>
                    <a:pt x="1229" y="4253"/>
                  </a:lnTo>
                  <a:cubicBezTo>
                    <a:pt x="1040" y="4033"/>
                    <a:pt x="914" y="3749"/>
                    <a:pt x="882" y="3434"/>
                  </a:cubicBezTo>
                  <a:close/>
                  <a:moveTo>
                    <a:pt x="5199" y="3434"/>
                  </a:moveTo>
                  <a:cubicBezTo>
                    <a:pt x="5136" y="3749"/>
                    <a:pt x="5010" y="4033"/>
                    <a:pt x="4852" y="4253"/>
                  </a:cubicBezTo>
                  <a:lnTo>
                    <a:pt x="4253" y="3686"/>
                  </a:lnTo>
                  <a:cubicBezTo>
                    <a:pt x="4316" y="3592"/>
                    <a:pt x="4348" y="3529"/>
                    <a:pt x="4348" y="3434"/>
                  </a:cubicBezTo>
                  <a:close/>
                  <a:moveTo>
                    <a:pt x="2363" y="4253"/>
                  </a:moveTo>
                  <a:cubicBezTo>
                    <a:pt x="2458" y="4316"/>
                    <a:pt x="2521" y="4348"/>
                    <a:pt x="2615" y="4348"/>
                  </a:cubicBezTo>
                  <a:lnTo>
                    <a:pt x="2615" y="5198"/>
                  </a:lnTo>
                  <a:cubicBezTo>
                    <a:pt x="2300" y="5167"/>
                    <a:pt x="2017" y="5041"/>
                    <a:pt x="1796" y="4852"/>
                  </a:cubicBezTo>
                  <a:lnTo>
                    <a:pt x="2363" y="4253"/>
                  </a:lnTo>
                  <a:close/>
                  <a:moveTo>
                    <a:pt x="3686" y="4253"/>
                  </a:moveTo>
                  <a:lnTo>
                    <a:pt x="4253" y="4852"/>
                  </a:lnTo>
                  <a:cubicBezTo>
                    <a:pt x="4033" y="5009"/>
                    <a:pt x="3749" y="5135"/>
                    <a:pt x="3434" y="5198"/>
                  </a:cubicBezTo>
                  <a:lnTo>
                    <a:pt x="3434" y="4348"/>
                  </a:lnTo>
                  <a:cubicBezTo>
                    <a:pt x="3529" y="4316"/>
                    <a:pt x="3592" y="4316"/>
                    <a:pt x="3686" y="4253"/>
                  </a:cubicBezTo>
                  <a:close/>
                  <a:moveTo>
                    <a:pt x="3056" y="0"/>
                  </a:moveTo>
                  <a:cubicBezTo>
                    <a:pt x="1355" y="0"/>
                    <a:pt x="0" y="1386"/>
                    <a:pt x="0" y="3056"/>
                  </a:cubicBezTo>
                  <a:cubicBezTo>
                    <a:pt x="0" y="3875"/>
                    <a:pt x="315" y="4631"/>
                    <a:pt x="882" y="5167"/>
                  </a:cubicBezTo>
                  <a:cubicBezTo>
                    <a:pt x="1229" y="5608"/>
                    <a:pt x="2111" y="6081"/>
                    <a:pt x="3056" y="6081"/>
                  </a:cubicBezTo>
                  <a:cubicBezTo>
                    <a:pt x="4694" y="6081"/>
                    <a:pt x="6081" y="4726"/>
                    <a:pt x="6081" y="3056"/>
                  </a:cubicBezTo>
                  <a:cubicBezTo>
                    <a:pt x="6081" y="1355"/>
                    <a:pt x="4694" y="0"/>
                    <a:pt x="30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9" name="Google Shape;9539;p77"/>
          <p:cNvGrpSpPr/>
          <p:nvPr/>
        </p:nvGrpSpPr>
        <p:grpSpPr>
          <a:xfrm>
            <a:off x="1738471" y="2962950"/>
            <a:ext cx="363522" cy="361266"/>
            <a:chOff x="-61354075" y="1940500"/>
            <a:chExt cx="314275" cy="312325"/>
          </a:xfrm>
        </p:grpSpPr>
        <p:sp>
          <p:nvSpPr>
            <p:cNvPr id="9540" name="Google Shape;9540;p77"/>
            <p:cNvSpPr/>
            <p:nvPr/>
          </p:nvSpPr>
          <p:spPr>
            <a:xfrm>
              <a:off x="-61354075" y="1940500"/>
              <a:ext cx="314275" cy="312325"/>
            </a:xfrm>
            <a:custGeom>
              <a:avLst/>
              <a:gdLst/>
              <a:ahLst/>
              <a:cxnLst/>
              <a:rect l="l" t="t" r="r" b="b"/>
              <a:pathLst>
                <a:path w="12571" h="12493" extrusionOk="0">
                  <a:moveTo>
                    <a:pt x="6270" y="1001"/>
                  </a:moveTo>
                  <a:lnTo>
                    <a:pt x="7687" y="2419"/>
                  </a:lnTo>
                  <a:cubicBezTo>
                    <a:pt x="7750" y="2482"/>
                    <a:pt x="7876" y="2513"/>
                    <a:pt x="7971" y="2513"/>
                  </a:cubicBezTo>
                  <a:lnTo>
                    <a:pt x="9956" y="2513"/>
                  </a:lnTo>
                  <a:lnTo>
                    <a:pt x="9956" y="4529"/>
                  </a:lnTo>
                  <a:cubicBezTo>
                    <a:pt x="9956" y="4655"/>
                    <a:pt x="10019" y="4718"/>
                    <a:pt x="10082" y="4813"/>
                  </a:cubicBezTo>
                  <a:lnTo>
                    <a:pt x="11499" y="6231"/>
                  </a:lnTo>
                  <a:lnTo>
                    <a:pt x="10082" y="7648"/>
                  </a:lnTo>
                  <a:cubicBezTo>
                    <a:pt x="10019" y="7711"/>
                    <a:pt x="9956" y="7837"/>
                    <a:pt x="9956" y="7900"/>
                  </a:cubicBezTo>
                  <a:lnTo>
                    <a:pt x="9956" y="9917"/>
                  </a:lnTo>
                  <a:lnTo>
                    <a:pt x="7971" y="9917"/>
                  </a:lnTo>
                  <a:cubicBezTo>
                    <a:pt x="7845" y="9917"/>
                    <a:pt x="7750" y="9948"/>
                    <a:pt x="7687" y="10043"/>
                  </a:cubicBezTo>
                  <a:lnTo>
                    <a:pt x="6270" y="11460"/>
                  </a:lnTo>
                  <a:lnTo>
                    <a:pt x="4852" y="10043"/>
                  </a:lnTo>
                  <a:cubicBezTo>
                    <a:pt x="4757" y="9948"/>
                    <a:pt x="4631" y="9917"/>
                    <a:pt x="4568" y="9917"/>
                  </a:cubicBezTo>
                  <a:lnTo>
                    <a:pt x="2552" y="9917"/>
                  </a:lnTo>
                  <a:lnTo>
                    <a:pt x="2552" y="7900"/>
                  </a:lnTo>
                  <a:cubicBezTo>
                    <a:pt x="2552" y="7806"/>
                    <a:pt x="2521" y="7711"/>
                    <a:pt x="2426" y="7648"/>
                  </a:cubicBezTo>
                  <a:lnTo>
                    <a:pt x="1008" y="6231"/>
                  </a:lnTo>
                  <a:lnTo>
                    <a:pt x="2426" y="4813"/>
                  </a:lnTo>
                  <a:cubicBezTo>
                    <a:pt x="2521" y="4718"/>
                    <a:pt x="2552" y="4624"/>
                    <a:pt x="2552" y="4529"/>
                  </a:cubicBezTo>
                  <a:lnTo>
                    <a:pt x="2552" y="2513"/>
                  </a:lnTo>
                  <a:lnTo>
                    <a:pt x="4568" y="2513"/>
                  </a:lnTo>
                  <a:cubicBezTo>
                    <a:pt x="4694" y="2513"/>
                    <a:pt x="4757" y="2482"/>
                    <a:pt x="4852" y="2419"/>
                  </a:cubicBezTo>
                  <a:lnTo>
                    <a:pt x="6270" y="1001"/>
                  </a:lnTo>
                  <a:close/>
                  <a:moveTo>
                    <a:pt x="6285" y="1"/>
                  </a:moveTo>
                  <a:cubicBezTo>
                    <a:pt x="6175" y="1"/>
                    <a:pt x="6065" y="40"/>
                    <a:pt x="5986" y="119"/>
                  </a:cubicBezTo>
                  <a:lnTo>
                    <a:pt x="4411" y="1694"/>
                  </a:lnTo>
                  <a:lnTo>
                    <a:pt x="2174" y="1694"/>
                  </a:lnTo>
                  <a:cubicBezTo>
                    <a:pt x="1922" y="1694"/>
                    <a:pt x="1733" y="1883"/>
                    <a:pt x="1733" y="2135"/>
                  </a:cubicBezTo>
                  <a:lnTo>
                    <a:pt x="1733" y="4372"/>
                  </a:lnTo>
                  <a:lnTo>
                    <a:pt x="158" y="5947"/>
                  </a:lnTo>
                  <a:cubicBezTo>
                    <a:pt x="0" y="6105"/>
                    <a:pt x="0" y="6388"/>
                    <a:pt x="158" y="6546"/>
                  </a:cubicBezTo>
                  <a:lnTo>
                    <a:pt x="1733" y="8121"/>
                  </a:lnTo>
                  <a:lnTo>
                    <a:pt x="1733" y="10358"/>
                  </a:lnTo>
                  <a:cubicBezTo>
                    <a:pt x="1733" y="10578"/>
                    <a:pt x="1922" y="10736"/>
                    <a:pt x="2174" y="10736"/>
                  </a:cubicBezTo>
                  <a:lnTo>
                    <a:pt x="4411" y="10736"/>
                  </a:lnTo>
                  <a:lnTo>
                    <a:pt x="5986" y="12374"/>
                  </a:lnTo>
                  <a:cubicBezTo>
                    <a:pt x="6065" y="12453"/>
                    <a:pt x="6175" y="12492"/>
                    <a:pt x="6285" y="12492"/>
                  </a:cubicBezTo>
                  <a:cubicBezTo>
                    <a:pt x="6396" y="12492"/>
                    <a:pt x="6506" y="12453"/>
                    <a:pt x="6585" y="12374"/>
                  </a:cubicBezTo>
                  <a:lnTo>
                    <a:pt x="8160" y="10736"/>
                  </a:lnTo>
                  <a:lnTo>
                    <a:pt x="10397" y="10736"/>
                  </a:lnTo>
                  <a:cubicBezTo>
                    <a:pt x="10617" y="10736"/>
                    <a:pt x="10775" y="10547"/>
                    <a:pt x="10775" y="10358"/>
                  </a:cubicBezTo>
                  <a:lnTo>
                    <a:pt x="10775" y="8121"/>
                  </a:lnTo>
                  <a:lnTo>
                    <a:pt x="12413" y="6546"/>
                  </a:lnTo>
                  <a:cubicBezTo>
                    <a:pt x="12571" y="6388"/>
                    <a:pt x="12571" y="6105"/>
                    <a:pt x="12413" y="5947"/>
                  </a:cubicBezTo>
                  <a:lnTo>
                    <a:pt x="10775" y="4372"/>
                  </a:lnTo>
                  <a:lnTo>
                    <a:pt x="10775" y="2135"/>
                  </a:lnTo>
                  <a:cubicBezTo>
                    <a:pt x="10775" y="1883"/>
                    <a:pt x="10586" y="1694"/>
                    <a:pt x="10397" y="1694"/>
                  </a:cubicBezTo>
                  <a:lnTo>
                    <a:pt x="8160" y="1694"/>
                  </a:lnTo>
                  <a:lnTo>
                    <a:pt x="6585" y="119"/>
                  </a:lnTo>
                  <a:cubicBezTo>
                    <a:pt x="6506" y="40"/>
                    <a:pt x="6396" y="1"/>
                    <a:pt x="6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77"/>
            <p:cNvSpPr/>
            <p:nvPr/>
          </p:nvSpPr>
          <p:spPr>
            <a:xfrm>
              <a:off x="-61268225" y="2024575"/>
              <a:ext cx="60650" cy="61475"/>
            </a:xfrm>
            <a:custGeom>
              <a:avLst/>
              <a:gdLst/>
              <a:ahLst/>
              <a:cxnLst/>
              <a:rect l="l" t="t" r="r" b="b"/>
              <a:pathLst>
                <a:path w="2426" h="2459" extrusionOk="0">
                  <a:moveTo>
                    <a:pt x="1197" y="820"/>
                  </a:moveTo>
                  <a:cubicBezTo>
                    <a:pt x="1449" y="820"/>
                    <a:pt x="1607" y="1009"/>
                    <a:pt x="1607" y="1261"/>
                  </a:cubicBezTo>
                  <a:cubicBezTo>
                    <a:pt x="1607" y="1481"/>
                    <a:pt x="1418" y="1639"/>
                    <a:pt x="1197" y="1639"/>
                  </a:cubicBezTo>
                  <a:cubicBezTo>
                    <a:pt x="1008" y="1639"/>
                    <a:pt x="819" y="1450"/>
                    <a:pt x="819" y="1261"/>
                  </a:cubicBezTo>
                  <a:cubicBezTo>
                    <a:pt x="788" y="977"/>
                    <a:pt x="977" y="820"/>
                    <a:pt x="1197" y="820"/>
                  </a:cubicBezTo>
                  <a:close/>
                  <a:moveTo>
                    <a:pt x="1197" y="1"/>
                  </a:moveTo>
                  <a:cubicBezTo>
                    <a:pt x="536" y="1"/>
                    <a:pt x="0" y="536"/>
                    <a:pt x="0" y="1261"/>
                  </a:cubicBezTo>
                  <a:cubicBezTo>
                    <a:pt x="0" y="1954"/>
                    <a:pt x="504" y="2458"/>
                    <a:pt x="1197" y="2458"/>
                  </a:cubicBezTo>
                  <a:cubicBezTo>
                    <a:pt x="1890" y="2458"/>
                    <a:pt x="2426" y="1922"/>
                    <a:pt x="2426" y="1261"/>
                  </a:cubicBezTo>
                  <a:cubicBezTo>
                    <a:pt x="2426" y="568"/>
                    <a:pt x="1890" y="1"/>
                    <a:pt x="1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77"/>
            <p:cNvSpPr/>
            <p:nvPr/>
          </p:nvSpPr>
          <p:spPr>
            <a:xfrm>
              <a:off x="-61187100" y="2107275"/>
              <a:ext cx="61450" cy="61475"/>
            </a:xfrm>
            <a:custGeom>
              <a:avLst/>
              <a:gdLst/>
              <a:ahLst/>
              <a:cxnLst/>
              <a:rect l="l" t="t" r="r" b="b"/>
              <a:pathLst>
                <a:path w="2458" h="2459" extrusionOk="0">
                  <a:moveTo>
                    <a:pt x="1229" y="788"/>
                  </a:moveTo>
                  <a:cubicBezTo>
                    <a:pt x="1512" y="820"/>
                    <a:pt x="1670" y="977"/>
                    <a:pt x="1670" y="1198"/>
                  </a:cubicBezTo>
                  <a:cubicBezTo>
                    <a:pt x="1670" y="1450"/>
                    <a:pt x="1481" y="1639"/>
                    <a:pt x="1229" y="1639"/>
                  </a:cubicBezTo>
                  <a:cubicBezTo>
                    <a:pt x="1008" y="1639"/>
                    <a:pt x="851" y="1450"/>
                    <a:pt x="851" y="1198"/>
                  </a:cubicBezTo>
                  <a:cubicBezTo>
                    <a:pt x="851" y="977"/>
                    <a:pt x="1040" y="788"/>
                    <a:pt x="1229" y="788"/>
                  </a:cubicBezTo>
                  <a:close/>
                  <a:moveTo>
                    <a:pt x="1229" y="1"/>
                  </a:moveTo>
                  <a:cubicBezTo>
                    <a:pt x="567" y="1"/>
                    <a:pt x="0" y="536"/>
                    <a:pt x="0" y="1198"/>
                  </a:cubicBezTo>
                  <a:cubicBezTo>
                    <a:pt x="0" y="1891"/>
                    <a:pt x="567" y="2458"/>
                    <a:pt x="1229" y="2458"/>
                  </a:cubicBezTo>
                  <a:cubicBezTo>
                    <a:pt x="1922" y="2458"/>
                    <a:pt x="2458" y="1922"/>
                    <a:pt x="2458" y="1198"/>
                  </a:cubicBezTo>
                  <a:cubicBezTo>
                    <a:pt x="2458" y="536"/>
                    <a:pt x="1922"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77"/>
            <p:cNvSpPr/>
            <p:nvPr/>
          </p:nvSpPr>
          <p:spPr>
            <a:xfrm>
              <a:off x="-61250125" y="2044475"/>
              <a:ext cx="105575" cy="103600"/>
            </a:xfrm>
            <a:custGeom>
              <a:avLst/>
              <a:gdLst/>
              <a:ahLst/>
              <a:cxnLst/>
              <a:rect l="l" t="t" r="r" b="b"/>
              <a:pathLst>
                <a:path w="4223" h="4144" extrusionOk="0">
                  <a:moveTo>
                    <a:pt x="3766" y="0"/>
                  </a:moveTo>
                  <a:cubicBezTo>
                    <a:pt x="3655" y="0"/>
                    <a:pt x="3545" y="40"/>
                    <a:pt x="3466" y="118"/>
                  </a:cubicBezTo>
                  <a:lnTo>
                    <a:pt x="158" y="3426"/>
                  </a:lnTo>
                  <a:cubicBezTo>
                    <a:pt x="1" y="3615"/>
                    <a:pt x="1" y="3836"/>
                    <a:pt x="158" y="4025"/>
                  </a:cubicBezTo>
                  <a:cubicBezTo>
                    <a:pt x="237" y="4104"/>
                    <a:pt x="347" y="4143"/>
                    <a:pt x="458" y="4143"/>
                  </a:cubicBezTo>
                  <a:cubicBezTo>
                    <a:pt x="568" y="4143"/>
                    <a:pt x="678" y="4104"/>
                    <a:pt x="757" y="4025"/>
                  </a:cubicBezTo>
                  <a:lnTo>
                    <a:pt x="4065" y="717"/>
                  </a:lnTo>
                  <a:cubicBezTo>
                    <a:pt x="4222" y="559"/>
                    <a:pt x="4222" y="276"/>
                    <a:pt x="4065" y="118"/>
                  </a:cubicBezTo>
                  <a:cubicBezTo>
                    <a:pt x="3986" y="40"/>
                    <a:pt x="3876" y="0"/>
                    <a:pt x="37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4" name="Google Shape;9544;p77"/>
          <p:cNvGrpSpPr/>
          <p:nvPr/>
        </p:nvGrpSpPr>
        <p:grpSpPr>
          <a:xfrm>
            <a:off x="1737098" y="3411502"/>
            <a:ext cx="366269" cy="336195"/>
            <a:chOff x="-61354875" y="2322300"/>
            <a:chExt cx="316650" cy="290650"/>
          </a:xfrm>
        </p:grpSpPr>
        <p:sp>
          <p:nvSpPr>
            <p:cNvPr id="9545" name="Google Shape;9545;p77"/>
            <p:cNvSpPr/>
            <p:nvPr/>
          </p:nvSpPr>
          <p:spPr>
            <a:xfrm>
              <a:off x="-61354875" y="2322300"/>
              <a:ext cx="316650" cy="290650"/>
            </a:xfrm>
            <a:custGeom>
              <a:avLst/>
              <a:gdLst/>
              <a:ahLst/>
              <a:cxnLst/>
              <a:rect l="l" t="t" r="r" b="b"/>
              <a:pathLst>
                <a:path w="12666" h="11626" extrusionOk="0">
                  <a:moveTo>
                    <a:pt x="11405" y="788"/>
                  </a:moveTo>
                  <a:cubicBezTo>
                    <a:pt x="11657" y="788"/>
                    <a:pt x="11847" y="1009"/>
                    <a:pt x="11847" y="1229"/>
                  </a:cubicBezTo>
                  <a:lnTo>
                    <a:pt x="11847" y="10334"/>
                  </a:lnTo>
                  <a:cubicBezTo>
                    <a:pt x="11847" y="10555"/>
                    <a:pt x="11657" y="10775"/>
                    <a:pt x="11405" y="10775"/>
                  </a:cubicBezTo>
                  <a:lnTo>
                    <a:pt x="1198" y="10775"/>
                  </a:lnTo>
                  <a:cubicBezTo>
                    <a:pt x="977" y="10775"/>
                    <a:pt x="820" y="10555"/>
                    <a:pt x="820" y="10334"/>
                  </a:cubicBezTo>
                  <a:lnTo>
                    <a:pt x="820" y="1229"/>
                  </a:lnTo>
                  <a:cubicBezTo>
                    <a:pt x="820" y="1009"/>
                    <a:pt x="1009" y="788"/>
                    <a:pt x="1198" y="788"/>
                  </a:cubicBezTo>
                  <a:close/>
                  <a:moveTo>
                    <a:pt x="1198" y="0"/>
                  </a:moveTo>
                  <a:cubicBezTo>
                    <a:pt x="536" y="0"/>
                    <a:pt x="1" y="568"/>
                    <a:pt x="1" y="1261"/>
                  </a:cubicBezTo>
                  <a:lnTo>
                    <a:pt x="1" y="10366"/>
                  </a:lnTo>
                  <a:cubicBezTo>
                    <a:pt x="1" y="11027"/>
                    <a:pt x="536" y="11626"/>
                    <a:pt x="1198" y="11626"/>
                  </a:cubicBezTo>
                  <a:lnTo>
                    <a:pt x="11405" y="11626"/>
                  </a:lnTo>
                  <a:cubicBezTo>
                    <a:pt x="12067" y="11626"/>
                    <a:pt x="12666" y="11059"/>
                    <a:pt x="12666" y="10366"/>
                  </a:cubicBezTo>
                  <a:lnTo>
                    <a:pt x="12666" y="1261"/>
                  </a:lnTo>
                  <a:cubicBezTo>
                    <a:pt x="12666" y="568"/>
                    <a:pt x="12130"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6" name="Google Shape;9546;p77"/>
            <p:cNvSpPr/>
            <p:nvPr/>
          </p:nvSpPr>
          <p:spPr>
            <a:xfrm>
              <a:off x="-61313925" y="2364050"/>
              <a:ext cx="234750" cy="206375"/>
            </a:xfrm>
            <a:custGeom>
              <a:avLst/>
              <a:gdLst/>
              <a:ahLst/>
              <a:cxnLst/>
              <a:rect l="l" t="t" r="r" b="b"/>
              <a:pathLst>
                <a:path w="9390" h="8255" extrusionOk="0">
                  <a:moveTo>
                    <a:pt x="8539" y="819"/>
                  </a:moveTo>
                  <a:lnTo>
                    <a:pt x="8539" y="7435"/>
                  </a:lnTo>
                  <a:lnTo>
                    <a:pt x="820" y="7435"/>
                  </a:lnTo>
                  <a:lnTo>
                    <a:pt x="820" y="6207"/>
                  </a:lnTo>
                  <a:lnTo>
                    <a:pt x="1671" y="6207"/>
                  </a:lnTo>
                  <a:cubicBezTo>
                    <a:pt x="1891" y="6207"/>
                    <a:pt x="2080" y="6018"/>
                    <a:pt x="2080" y="5797"/>
                  </a:cubicBezTo>
                  <a:cubicBezTo>
                    <a:pt x="2080" y="5545"/>
                    <a:pt x="1891" y="5356"/>
                    <a:pt x="1671" y="5356"/>
                  </a:cubicBezTo>
                  <a:lnTo>
                    <a:pt x="820" y="5356"/>
                  </a:lnTo>
                  <a:lnTo>
                    <a:pt x="820" y="2867"/>
                  </a:lnTo>
                  <a:lnTo>
                    <a:pt x="1671" y="2867"/>
                  </a:lnTo>
                  <a:cubicBezTo>
                    <a:pt x="1891" y="2867"/>
                    <a:pt x="2080" y="2678"/>
                    <a:pt x="2080" y="2426"/>
                  </a:cubicBezTo>
                  <a:cubicBezTo>
                    <a:pt x="2080" y="2206"/>
                    <a:pt x="1891" y="2048"/>
                    <a:pt x="1671" y="2048"/>
                  </a:cubicBezTo>
                  <a:lnTo>
                    <a:pt x="820" y="2048"/>
                  </a:lnTo>
                  <a:lnTo>
                    <a:pt x="820" y="819"/>
                  </a:lnTo>
                  <a:close/>
                  <a:moveTo>
                    <a:pt x="410" y="0"/>
                  </a:moveTo>
                  <a:cubicBezTo>
                    <a:pt x="158" y="0"/>
                    <a:pt x="1" y="189"/>
                    <a:pt x="1" y="378"/>
                  </a:cubicBezTo>
                  <a:lnTo>
                    <a:pt x="1" y="7845"/>
                  </a:lnTo>
                  <a:cubicBezTo>
                    <a:pt x="1" y="8065"/>
                    <a:pt x="190" y="8255"/>
                    <a:pt x="410" y="8255"/>
                  </a:cubicBezTo>
                  <a:lnTo>
                    <a:pt x="8948" y="8255"/>
                  </a:lnTo>
                  <a:cubicBezTo>
                    <a:pt x="9169" y="8255"/>
                    <a:pt x="9326" y="8065"/>
                    <a:pt x="9326" y="7845"/>
                  </a:cubicBezTo>
                  <a:lnTo>
                    <a:pt x="9326" y="378"/>
                  </a:lnTo>
                  <a:cubicBezTo>
                    <a:pt x="9389" y="158"/>
                    <a:pt x="9169" y="0"/>
                    <a:pt x="89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77"/>
            <p:cNvSpPr/>
            <p:nvPr/>
          </p:nvSpPr>
          <p:spPr>
            <a:xfrm>
              <a:off x="-61234375" y="2416225"/>
              <a:ext cx="104775" cy="102225"/>
            </a:xfrm>
            <a:custGeom>
              <a:avLst/>
              <a:gdLst/>
              <a:ahLst/>
              <a:cxnLst/>
              <a:rect l="l" t="t" r="r" b="b"/>
              <a:pathLst>
                <a:path w="4191" h="4089" extrusionOk="0">
                  <a:moveTo>
                    <a:pt x="2175" y="1221"/>
                  </a:moveTo>
                  <a:cubicBezTo>
                    <a:pt x="2647" y="1221"/>
                    <a:pt x="2994" y="1568"/>
                    <a:pt x="2994" y="2040"/>
                  </a:cubicBezTo>
                  <a:cubicBezTo>
                    <a:pt x="2994" y="2513"/>
                    <a:pt x="2647" y="2859"/>
                    <a:pt x="2175" y="2859"/>
                  </a:cubicBezTo>
                  <a:cubicBezTo>
                    <a:pt x="1702" y="2859"/>
                    <a:pt x="1356" y="2513"/>
                    <a:pt x="1356" y="2040"/>
                  </a:cubicBezTo>
                  <a:cubicBezTo>
                    <a:pt x="1356" y="1568"/>
                    <a:pt x="1702" y="1221"/>
                    <a:pt x="2175" y="1221"/>
                  </a:cubicBezTo>
                  <a:close/>
                  <a:moveTo>
                    <a:pt x="458" y="0"/>
                  </a:moveTo>
                  <a:cubicBezTo>
                    <a:pt x="347" y="0"/>
                    <a:pt x="237" y="40"/>
                    <a:pt x="158" y="119"/>
                  </a:cubicBezTo>
                  <a:cubicBezTo>
                    <a:pt x="1" y="276"/>
                    <a:pt x="1" y="560"/>
                    <a:pt x="158" y="717"/>
                  </a:cubicBezTo>
                  <a:lnTo>
                    <a:pt x="694" y="1221"/>
                  </a:lnTo>
                  <a:cubicBezTo>
                    <a:pt x="536" y="1442"/>
                    <a:pt x="442" y="1757"/>
                    <a:pt x="442" y="2040"/>
                  </a:cubicBezTo>
                  <a:cubicBezTo>
                    <a:pt x="442" y="2324"/>
                    <a:pt x="536" y="2639"/>
                    <a:pt x="694" y="2859"/>
                  </a:cubicBezTo>
                  <a:lnTo>
                    <a:pt x="158" y="3395"/>
                  </a:lnTo>
                  <a:cubicBezTo>
                    <a:pt x="95" y="3553"/>
                    <a:pt x="95" y="3805"/>
                    <a:pt x="253" y="3962"/>
                  </a:cubicBezTo>
                  <a:cubicBezTo>
                    <a:pt x="316" y="4057"/>
                    <a:pt x="442" y="4088"/>
                    <a:pt x="536" y="4088"/>
                  </a:cubicBezTo>
                  <a:cubicBezTo>
                    <a:pt x="631" y="4088"/>
                    <a:pt x="726" y="4057"/>
                    <a:pt x="789" y="3962"/>
                  </a:cubicBezTo>
                  <a:lnTo>
                    <a:pt x="1324" y="3458"/>
                  </a:lnTo>
                  <a:cubicBezTo>
                    <a:pt x="1545" y="3616"/>
                    <a:pt x="1860" y="3710"/>
                    <a:pt x="2143" y="3710"/>
                  </a:cubicBezTo>
                  <a:cubicBezTo>
                    <a:pt x="2427" y="3710"/>
                    <a:pt x="2742" y="3616"/>
                    <a:pt x="2962" y="3458"/>
                  </a:cubicBezTo>
                  <a:lnTo>
                    <a:pt x="3498" y="3962"/>
                  </a:lnTo>
                  <a:cubicBezTo>
                    <a:pt x="3561" y="4057"/>
                    <a:pt x="3687" y="4088"/>
                    <a:pt x="3750" y="4088"/>
                  </a:cubicBezTo>
                  <a:cubicBezTo>
                    <a:pt x="3876" y="4088"/>
                    <a:pt x="3971" y="4057"/>
                    <a:pt x="4034" y="3962"/>
                  </a:cubicBezTo>
                  <a:cubicBezTo>
                    <a:pt x="4191" y="3805"/>
                    <a:pt x="4191" y="3553"/>
                    <a:pt x="4034" y="3395"/>
                  </a:cubicBezTo>
                  <a:lnTo>
                    <a:pt x="3529" y="2859"/>
                  </a:lnTo>
                  <a:cubicBezTo>
                    <a:pt x="3687" y="2639"/>
                    <a:pt x="3750" y="2324"/>
                    <a:pt x="3750" y="2040"/>
                  </a:cubicBezTo>
                  <a:cubicBezTo>
                    <a:pt x="3750" y="1757"/>
                    <a:pt x="3687" y="1442"/>
                    <a:pt x="3529" y="1221"/>
                  </a:cubicBezTo>
                  <a:lnTo>
                    <a:pt x="4034" y="717"/>
                  </a:lnTo>
                  <a:cubicBezTo>
                    <a:pt x="4191" y="560"/>
                    <a:pt x="4191" y="276"/>
                    <a:pt x="4034" y="119"/>
                  </a:cubicBezTo>
                  <a:cubicBezTo>
                    <a:pt x="3955" y="40"/>
                    <a:pt x="3845" y="0"/>
                    <a:pt x="3734" y="0"/>
                  </a:cubicBezTo>
                  <a:cubicBezTo>
                    <a:pt x="3624" y="0"/>
                    <a:pt x="3514" y="40"/>
                    <a:pt x="3435" y="119"/>
                  </a:cubicBezTo>
                  <a:lnTo>
                    <a:pt x="2931" y="623"/>
                  </a:lnTo>
                  <a:cubicBezTo>
                    <a:pt x="2679" y="465"/>
                    <a:pt x="2395" y="402"/>
                    <a:pt x="2112" y="402"/>
                  </a:cubicBezTo>
                  <a:cubicBezTo>
                    <a:pt x="1828" y="402"/>
                    <a:pt x="1513" y="465"/>
                    <a:pt x="1261" y="623"/>
                  </a:cubicBezTo>
                  <a:lnTo>
                    <a:pt x="757" y="119"/>
                  </a:ln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8" name="Google Shape;9548;p77"/>
          <p:cNvGrpSpPr/>
          <p:nvPr/>
        </p:nvGrpSpPr>
        <p:grpSpPr>
          <a:xfrm>
            <a:off x="1737098" y="3839066"/>
            <a:ext cx="366269" cy="366269"/>
            <a:chOff x="-61354875" y="2671225"/>
            <a:chExt cx="316650" cy="316650"/>
          </a:xfrm>
        </p:grpSpPr>
        <p:sp>
          <p:nvSpPr>
            <p:cNvPr id="9549" name="Google Shape;9549;p77"/>
            <p:cNvSpPr/>
            <p:nvPr/>
          </p:nvSpPr>
          <p:spPr>
            <a:xfrm>
              <a:off x="-61354875" y="2671225"/>
              <a:ext cx="316650" cy="316650"/>
            </a:xfrm>
            <a:custGeom>
              <a:avLst/>
              <a:gdLst/>
              <a:ahLst/>
              <a:cxnLst/>
              <a:rect l="l" t="t" r="r" b="b"/>
              <a:pathLst>
                <a:path w="12666" h="12666" extrusionOk="0">
                  <a:moveTo>
                    <a:pt x="11405" y="1701"/>
                  </a:moveTo>
                  <a:cubicBezTo>
                    <a:pt x="11657" y="1701"/>
                    <a:pt x="11847" y="1890"/>
                    <a:pt x="11847" y="2111"/>
                  </a:cubicBezTo>
                  <a:lnTo>
                    <a:pt x="11847" y="3340"/>
                  </a:lnTo>
                  <a:lnTo>
                    <a:pt x="820" y="3340"/>
                  </a:lnTo>
                  <a:lnTo>
                    <a:pt x="820" y="2111"/>
                  </a:lnTo>
                  <a:cubicBezTo>
                    <a:pt x="820" y="1890"/>
                    <a:pt x="1009" y="1701"/>
                    <a:pt x="1198" y="1701"/>
                  </a:cubicBezTo>
                  <a:lnTo>
                    <a:pt x="1639" y="1701"/>
                  </a:lnTo>
                  <a:lnTo>
                    <a:pt x="1639" y="2111"/>
                  </a:lnTo>
                  <a:cubicBezTo>
                    <a:pt x="1639" y="2363"/>
                    <a:pt x="1828" y="2552"/>
                    <a:pt x="2048" y="2552"/>
                  </a:cubicBezTo>
                  <a:cubicBezTo>
                    <a:pt x="2237" y="2552"/>
                    <a:pt x="2427" y="2363"/>
                    <a:pt x="2427" y="2111"/>
                  </a:cubicBezTo>
                  <a:lnTo>
                    <a:pt x="2427" y="1701"/>
                  </a:lnTo>
                  <a:lnTo>
                    <a:pt x="5892" y="1701"/>
                  </a:lnTo>
                  <a:lnTo>
                    <a:pt x="5892" y="2111"/>
                  </a:lnTo>
                  <a:cubicBezTo>
                    <a:pt x="5892" y="2363"/>
                    <a:pt x="6081" y="2552"/>
                    <a:pt x="6333" y="2552"/>
                  </a:cubicBezTo>
                  <a:cubicBezTo>
                    <a:pt x="6585" y="2552"/>
                    <a:pt x="6743" y="2363"/>
                    <a:pt x="6743" y="2111"/>
                  </a:cubicBezTo>
                  <a:lnTo>
                    <a:pt x="6743" y="1701"/>
                  </a:lnTo>
                  <a:lnTo>
                    <a:pt x="10208" y="1701"/>
                  </a:lnTo>
                  <a:lnTo>
                    <a:pt x="10208" y="2111"/>
                  </a:lnTo>
                  <a:cubicBezTo>
                    <a:pt x="10208" y="2363"/>
                    <a:pt x="10397" y="2552"/>
                    <a:pt x="10618" y="2552"/>
                  </a:cubicBezTo>
                  <a:cubicBezTo>
                    <a:pt x="10870" y="2552"/>
                    <a:pt x="11027" y="2363"/>
                    <a:pt x="11027" y="2111"/>
                  </a:cubicBezTo>
                  <a:lnTo>
                    <a:pt x="11027" y="1701"/>
                  </a:lnTo>
                  <a:close/>
                  <a:moveTo>
                    <a:pt x="11878" y="4159"/>
                  </a:moveTo>
                  <a:lnTo>
                    <a:pt x="11878" y="6112"/>
                  </a:lnTo>
                  <a:lnTo>
                    <a:pt x="11847" y="6112"/>
                  </a:lnTo>
                  <a:cubicBezTo>
                    <a:pt x="11090" y="5072"/>
                    <a:pt x="9862" y="4442"/>
                    <a:pt x="8538" y="4442"/>
                  </a:cubicBezTo>
                  <a:cubicBezTo>
                    <a:pt x="6239" y="4442"/>
                    <a:pt x="4411" y="6301"/>
                    <a:pt x="4411" y="8569"/>
                  </a:cubicBezTo>
                  <a:cubicBezTo>
                    <a:pt x="4411" y="9168"/>
                    <a:pt x="4506" y="9735"/>
                    <a:pt x="4758" y="10239"/>
                  </a:cubicBezTo>
                  <a:lnTo>
                    <a:pt x="1261" y="10239"/>
                  </a:lnTo>
                  <a:cubicBezTo>
                    <a:pt x="1009" y="10239"/>
                    <a:pt x="851" y="10050"/>
                    <a:pt x="851" y="9830"/>
                  </a:cubicBezTo>
                  <a:lnTo>
                    <a:pt x="851" y="4159"/>
                  </a:lnTo>
                  <a:close/>
                  <a:moveTo>
                    <a:pt x="8538" y="5261"/>
                  </a:moveTo>
                  <a:cubicBezTo>
                    <a:pt x="10334" y="5261"/>
                    <a:pt x="11847" y="6774"/>
                    <a:pt x="11847" y="8569"/>
                  </a:cubicBezTo>
                  <a:cubicBezTo>
                    <a:pt x="11847" y="10397"/>
                    <a:pt x="10334" y="11877"/>
                    <a:pt x="8538" y="11877"/>
                  </a:cubicBezTo>
                  <a:cubicBezTo>
                    <a:pt x="6711" y="11877"/>
                    <a:pt x="5230" y="10397"/>
                    <a:pt x="5230" y="8569"/>
                  </a:cubicBezTo>
                  <a:cubicBezTo>
                    <a:pt x="5230" y="6774"/>
                    <a:pt x="6743" y="5261"/>
                    <a:pt x="8538" y="5261"/>
                  </a:cubicBezTo>
                  <a:close/>
                  <a:moveTo>
                    <a:pt x="2048" y="0"/>
                  </a:moveTo>
                  <a:cubicBezTo>
                    <a:pt x="1828" y="0"/>
                    <a:pt x="1639" y="189"/>
                    <a:pt x="1639" y="441"/>
                  </a:cubicBezTo>
                  <a:lnTo>
                    <a:pt x="1639" y="851"/>
                  </a:lnTo>
                  <a:lnTo>
                    <a:pt x="1198" y="851"/>
                  </a:lnTo>
                  <a:cubicBezTo>
                    <a:pt x="536" y="851"/>
                    <a:pt x="1" y="1418"/>
                    <a:pt x="1" y="2079"/>
                  </a:cubicBezTo>
                  <a:lnTo>
                    <a:pt x="1" y="9798"/>
                  </a:lnTo>
                  <a:cubicBezTo>
                    <a:pt x="1" y="10460"/>
                    <a:pt x="536" y="11027"/>
                    <a:pt x="1198" y="11027"/>
                  </a:cubicBezTo>
                  <a:lnTo>
                    <a:pt x="5230" y="11027"/>
                  </a:lnTo>
                  <a:cubicBezTo>
                    <a:pt x="5987" y="12003"/>
                    <a:pt x="7184" y="12665"/>
                    <a:pt x="8538" y="12665"/>
                  </a:cubicBezTo>
                  <a:cubicBezTo>
                    <a:pt x="10807" y="12665"/>
                    <a:pt x="12666" y="10838"/>
                    <a:pt x="12666" y="8538"/>
                  </a:cubicBezTo>
                  <a:lnTo>
                    <a:pt x="12666" y="2079"/>
                  </a:lnTo>
                  <a:cubicBezTo>
                    <a:pt x="12666" y="1418"/>
                    <a:pt x="12130" y="851"/>
                    <a:pt x="11405" y="851"/>
                  </a:cubicBezTo>
                  <a:lnTo>
                    <a:pt x="11027" y="851"/>
                  </a:lnTo>
                  <a:lnTo>
                    <a:pt x="11027" y="441"/>
                  </a:lnTo>
                  <a:cubicBezTo>
                    <a:pt x="11027" y="189"/>
                    <a:pt x="10807" y="0"/>
                    <a:pt x="10618" y="0"/>
                  </a:cubicBezTo>
                  <a:cubicBezTo>
                    <a:pt x="10397" y="0"/>
                    <a:pt x="10177" y="189"/>
                    <a:pt x="10177" y="441"/>
                  </a:cubicBezTo>
                  <a:lnTo>
                    <a:pt x="10177" y="851"/>
                  </a:lnTo>
                  <a:lnTo>
                    <a:pt x="6711" y="851"/>
                  </a:lnTo>
                  <a:lnTo>
                    <a:pt x="6711" y="441"/>
                  </a:lnTo>
                  <a:cubicBezTo>
                    <a:pt x="6711" y="189"/>
                    <a:pt x="6522" y="0"/>
                    <a:pt x="6333" y="0"/>
                  </a:cubicBezTo>
                  <a:cubicBezTo>
                    <a:pt x="6081" y="0"/>
                    <a:pt x="5892" y="189"/>
                    <a:pt x="5892" y="441"/>
                  </a:cubicBezTo>
                  <a:lnTo>
                    <a:pt x="5892" y="851"/>
                  </a:lnTo>
                  <a:lnTo>
                    <a:pt x="2427" y="851"/>
                  </a:lnTo>
                  <a:lnTo>
                    <a:pt x="2427" y="441"/>
                  </a:lnTo>
                  <a:cubicBezTo>
                    <a:pt x="2427" y="189"/>
                    <a:pt x="2237" y="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77"/>
            <p:cNvSpPr/>
            <p:nvPr/>
          </p:nvSpPr>
          <p:spPr>
            <a:xfrm>
              <a:off x="-61172925" y="2813775"/>
              <a:ext cx="62225" cy="145725"/>
            </a:xfrm>
            <a:custGeom>
              <a:avLst/>
              <a:gdLst/>
              <a:ahLst/>
              <a:cxnLst/>
              <a:rect l="l" t="t" r="r" b="b"/>
              <a:pathLst>
                <a:path w="2489" h="5829" extrusionOk="0">
                  <a:moveTo>
                    <a:pt x="1260" y="0"/>
                  </a:moveTo>
                  <a:cubicBezTo>
                    <a:pt x="1008" y="0"/>
                    <a:pt x="819" y="190"/>
                    <a:pt x="819" y="410"/>
                  </a:cubicBezTo>
                  <a:lnTo>
                    <a:pt x="819" y="662"/>
                  </a:lnTo>
                  <a:cubicBezTo>
                    <a:pt x="347" y="820"/>
                    <a:pt x="0" y="1292"/>
                    <a:pt x="0" y="1859"/>
                  </a:cubicBezTo>
                  <a:cubicBezTo>
                    <a:pt x="0" y="2521"/>
                    <a:pt x="536" y="2899"/>
                    <a:pt x="977" y="3245"/>
                  </a:cubicBezTo>
                  <a:cubicBezTo>
                    <a:pt x="1292" y="3466"/>
                    <a:pt x="1639" y="3687"/>
                    <a:pt x="1639" y="3939"/>
                  </a:cubicBezTo>
                  <a:cubicBezTo>
                    <a:pt x="1639" y="4191"/>
                    <a:pt x="1450" y="4380"/>
                    <a:pt x="1260" y="4380"/>
                  </a:cubicBezTo>
                  <a:cubicBezTo>
                    <a:pt x="1008" y="4380"/>
                    <a:pt x="819" y="4191"/>
                    <a:pt x="819" y="3939"/>
                  </a:cubicBezTo>
                  <a:cubicBezTo>
                    <a:pt x="819" y="3718"/>
                    <a:pt x="630" y="3498"/>
                    <a:pt x="441" y="3498"/>
                  </a:cubicBezTo>
                  <a:cubicBezTo>
                    <a:pt x="189" y="3498"/>
                    <a:pt x="0" y="3718"/>
                    <a:pt x="0" y="3939"/>
                  </a:cubicBezTo>
                  <a:cubicBezTo>
                    <a:pt x="0" y="4506"/>
                    <a:pt x="347" y="4915"/>
                    <a:pt x="819" y="5136"/>
                  </a:cubicBezTo>
                  <a:lnTo>
                    <a:pt x="819" y="5388"/>
                  </a:lnTo>
                  <a:cubicBezTo>
                    <a:pt x="819" y="5640"/>
                    <a:pt x="1008" y="5829"/>
                    <a:pt x="1260" y="5829"/>
                  </a:cubicBezTo>
                  <a:cubicBezTo>
                    <a:pt x="1481" y="5829"/>
                    <a:pt x="1639" y="5640"/>
                    <a:pt x="1639" y="5388"/>
                  </a:cubicBezTo>
                  <a:lnTo>
                    <a:pt x="1639" y="5136"/>
                  </a:lnTo>
                  <a:cubicBezTo>
                    <a:pt x="2111" y="4978"/>
                    <a:pt x="2489" y="4506"/>
                    <a:pt x="2489" y="3939"/>
                  </a:cubicBezTo>
                  <a:cubicBezTo>
                    <a:pt x="2489" y="3277"/>
                    <a:pt x="1922" y="2867"/>
                    <a:pt x="1481" y="2552"/>
                  </a:cubicBezTo>
                  <a:cubicBezTo>
                    <a:pt x="1166" y="2332"/>
                    <a:pt x="819" y="2080"/>
                    <a:pt x="819" y="1859"/>
                  </a:cubicBezTo>
                  <a:cubicBezTo>
                    <a:pt x="819" y="1607"/>
                    <a:pt x="1008" y="1418"/>
                    <a:pt x="1260" y="1418"/>
                  </a:cubicBezTo>
                  <a:cubicBezTo>
                    <a:pt x="1513" y="1418"/>
                    <a:pt x="1639" y="1607"/>
                    <a:pt x="1639" y="1859"/>
                  </a:cubicBezTo>
                  <a:cubicBezTo>
                    <a:pt x="1639" y="2080"/>
                    <a:pt x="1859" y="2269"/>
                    <a:pt x="2048" y="2269"/>
                  </a:cubicBezTo>
                  <a:cubicBezTo>
                    <a:pt x="2300" y="2269"/>
                    <a:pt x="2489" y="2080"/>
                    <a:pt x="2489" y="1859"/>
                  </a:cubicBezTo>
                  <a:cubicBezTo>
                    <a:pt x="2489" y="1292"/>
                    <a:pt x="2143" y="883"/>
                    <a:pt x="1639" y="662"/>
                  </a:cubicBezTo>
                  <a:lnTo>
                    <a:pt x="1639" y="410"/>
                  </a:lnTo>
                  <a:cubicBezTo>
                    <a:pt x="1639" y="158"/>
                    <a:pt x="1450"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77"/>
            <p:cNvSpPr/>
            <p:nvPr/>
          </p:nvSpPr>
          <p:spPr>
            <a:xfrm>
              <a:off x="-61313925" y="2796450"/>
              <a:ext cx="40975" cy="20500"/>
            </a:xfrm>
            <a:custGeom>
              <a:avLst/>
              <a:gdLst/>
              <a:ahLst/>
              <a:cxnLst/>
              <a:rect l="l" t="t" r="r" b="b"/>
              <a:pathLst>
                <a:path w="1639" h="820" extrusionOk="0">
                  <a:moveTo>
                    <a:pt x="410" y="0"/>
                  </a:moveTo>
                  <a:cubicBezTo>
                    <a:pt x="158" y="0"/>
                    <a:pt x="1" y="189"/>
                    <a:pt x="1" y="378"/>
                  </a:cubicBezTo>
                  <a:cubicBezTo>
                    <a:pt x="1" y="630"/>
                    <a:pt x="158" y="820"/>
                    <a:pt x="410" y="820"/>
                  </a:cubicBezTo>
                  <a:lnTo>
                    <a:pt x="1230" y="820"/>
                  </a:lnTo>
                  <a:cubicBezTo>
                    <a:pt x="1482" y="820"/>
                    <a:pt x="1639" y="630"/>
                    <a:pt x="1639" y="378"/>
                  </a:cubicBezTo>
                  <a:cubicBezTo>
                    <a:pt x="1639" y="158"/>
                    <a:pt x="1419" y="0"/>
                    <a:pt x="1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77"/>
            <p:cNvSpPr/>
            <p:nvPr/>
          </p:nvSpPr>
          <p:spPr>
            <a:xfrm>
              <a:off x="-61313925" y="2837400"/>
              <a:ext cx="40975" cy="20500"/>
            </a:xfrm>
            <a:custGeom>
              <a:avLst/>
              <a:gdLst/>
              <a:ahLst/>
              <a:cxnLst/>
              <a:rect l="l" t="t" r="r" b="b"/>
              <a:pathLst>
                <a:path w="1639" h="820" extrusionOk="0">
                  <a:moveTo>
                    <a:pt x="410" y="1"/>
                  </a:moveTo>
                  <a:cubicBezTo>
                    <a:pt x="158" y="1"/>
                    <a:pt x="1" y="190"/>
                    <a:pt x="1" y="442"/>
                  </a:cubicBezTo>
                  <a:cubicBezTo>
                    <a:pt x="1" y="631"/>
                    <a:pt x="158" y="820"/>
                    <a:pt x="410" y="820"/>
                  </a:cubicBezTo>
                  <a:lnTo>
                    <a:pt x="1230" y="820"/>
                  </a:lnTo>
                  <a:cubicBezTo>
                    <a:pt x="1482" y="820"/>
                    <a:pt x="1639" y="631"/>
                    <a:pt x="1639" y="442"/>
                  </a:cubicBezTo>
                  <a:cubicBezTo>
                    <a:pt x="1639" y="190"/>
                    <a:pt x="1419" y="1"/>
                    <a:pt x="12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77"/>
            <p:cNvSpPr/>
            <p:nvPr/>
          </p:nvSpPr>
          <p:spPr>
            <a:xfrm>
              <a:off x="-61313925" y="2877575"/>
              <a:ext cx="40975" cy="22075"/>
            </a:xfrm>
            <a:custGeom>
              <a:avLst/>
              <a:gdLst/>
              <a:ahLst/>
              <a:cxnLst/>
              <a:rect l="l" t="t" r="r" b="b"/>
              <a:pathLst>
                <a:path w="1639" h="883" extrusionOk="0">
                  <a:moveTo>
                    <a:pt x="410" y="0"/>
                  </a:moveTo>
                  <a:cubicBezTo>
                    <a:pt x="158" y="0"/>
                    <a:pt x="1" y="221"/>
                    <a:pt x="1" y="441"/>
                  </a:cubicBezTo>
                  <a:cubicBezTo>
                    <a:pt x="1" y="693"/>
                    <a:pt x="158" y="883"/>
                    <a:pt x="410" y="883"/>
                  </a:cubicBezTo>
                  <a:lnTo>
                    <a:pt x="1230" y="883"/>
                  </a:lnTo>
                  <a:cubicBezTo>
                    <a:pt x="1482" y="883"/>
                    <a:pt x="1639" y="693"/>
                    <a:pt x="1639" y="441"/>
                  </a:cubicBezTo>
                  <a:cubicBezTo>
                    <a:pt x="1639" y="221"/>
                    <a:pt x="1419" y="0"/>
                    <a:pt x="1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54" name="Google Shape;9554;p77"/>
          <p:cNvGrpSpPr/>
          <p:nvPr/>
        </p:nvGrpSpPr>
        <p:grpSpPr>
          <a:xfrm>
            <a:off x="3952502" y="2958801"/>
            <a:ext cx="368987" cy="369566"/>
            <a:chOff x="-59502375" y="1904375"/>
            <a:chExt cx="319000" cy="319500"/>
          </a:xfrm>
        </p:grpSpPr>
        <p:sp>
          <p:nvSpPr>
            <p:cNvPr id="9555" name="Google Shape;9555;p77"/>
            <p:cNvSpPr/>
            <p:nvPr/>
          </p:nvSpPr>
          <p:spPr>
            <a:xfrm>
              <a:off x="-59455125" y="2097050"/>
              <a:ext cx="227650" cy="62225"/>
            </a:xfrm>
            <a:custGeom>
              <a:avLst/>
              <a:gdLst/>
              <a:ahLst/>
              <a:cxnLst/>
              <a:rect l="l" t="t" r="r" b="b"/>
              <a:pathLst>
                <a:path w="9106" h="2489" extrusionOk="0">
                  <a:moveTo>
                    <a:pt x="1670" y="819"/>
                  </a:moveTo>
                  <a:lnTo>
                    <a:pt x="1670" y="1670"/>
                  </a:lnTo>
                  <a:lnTo>
                    <a:pt x="820" y="1670"/>
                  </a:lnTo>
                  <a:lnTo>
                    <a:pt x="820" y="819"/>
                  </a:lnTo>
                  <a:close/>
                  <a:moveTo>
                    <a:pt x="3309" y="819"/>
                  </a:moveTo>
                  <a:lnTo>
                    <a:pt x="3309" y="1670"/>
                  </a:lnTo>
                  <a:lnTo>
                    <a:pt x="2489" y="1670"/>
                  </a:lnTo>
                  <a:lnTo>
                    <a:pt x="2489" y="819"/>
                  </a:lnTo>
                  <a:close/>
                  <a:moveTo>
                    <a:pt x="4978" y="819"/>
                  </a:moveTo>
                  <a:lnTo>
                    <a:pt x="4978" y="1670"/>
                  </a:lnTo>
                  <a:lnTo>
                    <a:pt x="4128" y="1670"/>
                  </a:lnTo>
                  <a:lnTo>
                    <a:pt x="4128" y="819"/>
                  </a:lnTo>
                  <a:close/>
                  <a:moveTo>
                    <a:pt x="6617" y="819"/>
                  </a:moveTo>
                  <a:lnTo>
                    <a:pt x="6617" y="1670"/>
                  </a:lnTo>
                  <a:lnTo>
                    <a:pt x="5798" y="1670"/>
                  </a:lnTo>
                  <a:lnTo>
                    <a:pt x="5798" y="819"/>
                  </a:lnTo>
                  <a:close/>
                  <a:moveTo>
                    <a:pt x="8286" y="819"/>
                  </a:moveTo>
                  <a:lnTo>
                    <a:pt x="8286" y="1670"/>
                  </a:lnTo>
                  <a:lnTo>
                    <a:pt x="7436" y="1670"/>
                  </a:lnTo>
                  <a:lnTo>
                    <a:pt x="7436" y="819"/>
                  </a:lnTo>
                  <a:close/>
                  <a:moveTo>
                    <a:pt x="410" y="0"/>
                  </a:moveTo>
                  <a:cubicBezTo>
                    <a:pt x="158" y="0"/>
                    <a:pt x="1" y="189"/>
                    <a:pt x="1" y="410"/>
                  </a:cubicBezTo>
                  <a:lnTo>
                    <a:pt x="1" y="2048"/>
                  </a:lnTo>
                  <a:cubicBezTo>
                    <a:pt x="1" y="2300"/>
                    <a:pt x="190" y="2489"/>
                    <a:pt x="410" y="2489"/>
                  </a:cubicBezTo>
                  <a:lnTo>
                    <a:pt x="8664" y="2489"/>
                  </a:lnTo>
                  <a:cubicBezTo>
                    <a:pt x="8917" y="2489"/>
                    <a:pt x="9106" y="2300"/>
                    <a:pt x="9106" y="2048"/>
                  </a:cubicBezTo>
                  <a:lnTo>
                    <a:pt x="9106" y="410"/>
                  </a:lnTo>
                  <a:cubicBezTo>
                    <a:pt x="9106" y="158"/>
                    <a:pt x="8917" y="0"/>
                    <a:pt x="8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6" name="Google Shape;9556;p77"/>
            <p:cNvSpPr/>
            <p:nvPr/>
          </p:nvSpPr>
          <p:spPr>
            <a:xfrm>
              <a:off x="-59502375" y="1966300"/>
              <a:ext cx="319000" cy="257575"/>
            </a:xfrm>
            <a:custGeom>
              <a:avLst/>
              <a:gdLst/>
              <a:ahLst/>
              <a:cxnLst/>
              <a:rect l="l" t="t" r="r" b="b"/>
              <a:pathLst>
                <a:path w="12760" h="10303" extrusionOk="0">
                  <a:moveTo>
                    <a:pt x="8633" y="1639"/>
                  </a:moveTo>
                  <a:lnTo>
                    <a:pt x="8633" y="3592"/>
                  </a:lnTo>
                  <a:lnTo>
                    <a:pt x="7814" y="3592"/>
                  </a:lnTo>
                  <a:lnTo>
                    <a:pt x="7814" y="1639"/>
                  </a:lnTo>
                  <a:close/>
                  <a:moveTo>
                    <a:pt x="11941" y="819"/>
                  </a:moveTo>
                  <a:lnTo>
                    <a:pt x="11941" y="3592"/>
                  </a:lnTo>
                  <a:lnTo>
                    <a:pt x="11122" y="3592"/>
                  </a:lnTo>
                  <a:lnTo>
                    <a:pt x="11122" y="819"/>
                  </a:lnTo>
                  <a:close/>
                  <a:moveTo>
                    <a:pt x="5041" y="3119"/>
                  </a:moveTo>
                  <a:lnTo>
                    <a:pt x="5041" y="3970"/>
                  </a:lnTo>
                  <a:cubicBezTo>
                    <a:pt x="5041" y="4222"/>
                    <a:pt x="5230" y="4411"/>
                    <a:pt x="5482" y="4411"/>
                  </a:cubicBezTo>
                  <a:lnTo>
                    <a:pt x="11941" y="4411"/>
                  </a:lnTo>
                  <a:lnTo>
                    <a:pt x="11941" y="9357"/>
                  </a:lnTo>
                  <a:lnTo>
                    <a:pt x="914" y="9357"/>
                  </a:lnTo>
                  <a:lnTo>
                    <a:pt x="914" y="4222"/>
                  </a:lnTo>
                  <a:lnTo>
                    <a:pt x="2552" y="3119"/>
                  </a:lnTo>
                  <a:lnTo>
                    <a:pt x="2552" y="3970"/>
                  </a:lnTo>
                  <a:cubicBezTo>
                    <a:pt x="2552" y="4207"/>
                    <a:pt x="2767" y="4373"/>
                    <a:pt x="2980" y="4373"/>
                  </a:cubicBezTo>
                  <a:cubicBezTo>
                    <a:pt x="3050" y="4373"/>
                    <a:pt x="3120" y="4355"/>
                    <a:pt x="3182" y="4316"/>
                  </a:cubicBezTo>
                  <a:lnTo>
                    <a:pt x="5041" y="3119"/>
                  </a:lnTo>
                  <a:close/>
                  <a:moveTo>
                    <a:pt x="10712" y="0"/>
                  </a:moveTo>
                  <a:cubicBezTo>
                    <a:pt x="10491" y="0"/>
                    <a:pt x="10334" y="189"/>
                    <a:pt x="10334" y="441"/>
                  </a:cubicBezTo>
                  <a:lnTo>
                    <a:pt x="10334" y="3592"/>
                  </a:lnTo>
                  <a:lnTo>
                    <a:pt x="9483" y="3592"/>
                  </a:lnTo>
                  <a:lnTo>
                    <a:pt x="9483" y="1261"/>
                  </a:lnTo>
                  <a:cubicBezTo>
                    <a:pt x="9483" y="1008"/>
                    <a:pt x="9294" y="819"/>
                    <a:pt x="9074" y="819"/>
                  </a:cubicBezTo>
                  <a:lnTo>
                    <a:pt x="7404" y="819"/>
                  </a:lnTo>
                  <a:cubicBezTo>
                    <a:pt x="7183" y="819"/>
                    <a:pt x="6963" y="1008"/>
                    <a:pt x="6963" y="1261"/>
                  </a:cubicBezTo>
                  <a:lnTo>
                    <a:pt x="6963" y="3592"/>
                  </a:lnTo>
                  <a:lnTo>
                    <a:pt x="5860" y="3592"/>
                  </a:lnTo>
                  <a:lnTo>
                    <a:pt x="5860" y="2363"/>
                  </a:lnTo>
                  <a:cubicBezTo>
                    <a:pt x="5860" y="2206"/>
                    <a:pt x="5797" y="2080"/>
                    <a:pt x="5640" y="2017"/>
                  </a:cubicBezTo>
                  <a:cubicBezTo>
                    <a:pt x="5581" y="1973"/>
                    <a:pt x="5509" y="1949"/>
                    <a:pt x="5436" y="1949"/>
                  </a:cubicBezTo>
                  <a:cubicBezTo>
                    <a:pt x="5352" y="1949"/>
                    <a:pt x="5266" y="1981"/>
                    <a:pt x="5199" y="2048"/>
                  </a:cubicBezTo>
                  <a:lnTo>
                    <a:pt x="3340" y="3245"/>
                  </a:lnTo>
                  <a:lnTo>
                    <a:pt x="3340" y="2395"/>
                  </a:lnTo>
                  <a:cubicBezTo>
                    <a:pt x="3340" y="2237"/>
                    <a:pt x="3277" y="2111"/>
                    <a:pt x="3119" y="2048"/>
                  </a:cubicBezTo>
                  <a:cubicBezTo>
                    <a:pt x="3061" y="2004"/>
                    <a:pt x="2989" y="1981"/>
                    <a:pt x="2916" y="1981"/>
                  </a:cubicBezTo>
                  <a:cubicBezTo>
                    <a:pt x="2831" y="1981"/>
                    <a:pt x="2746" y="2012"/>
                    <a:pt x="2678" y="2080"/>
                  </a:cubicBezTo>
                  <a:lnTo>
                    <a:pt x="189" y="3718"/>
                  </a:lnTo>
                  <a:cubicBezTo>
                    <a:pt x="95" y="3812"/>
                    <a:pt x="0" y="3938"/>
                    <a:pt x="0" y="4096"/>
                  </a:cubicBezTo>
                  <a:lnTo>
                    <a:pt x="0" y="9861"/>
                  </a:lnTo>
                  <a:cubicBezTo>
                    <a:pt x="0" y="10113"/>
                    <a:pt x="189" y="10302"/>
                    <a:pt x="441" y="10302"/>
                  </a:cubicBezTo>
                  <a:lnTo>
                    <a:pt x="12287" y="10302"/>
                  </a:lnTo>
                  <a:cubicBezTo>
                    <a:pt x="12539" y="10302"/>
                    <a:pt x="12697" y="10113"/>
                    <a:pt x="12697" y="9861"/>
                  </a:cubicBezTo>
                  <a:lnTo>
                    <a:pt x="12697" y="504"/>
                  </a:lnTo>
                  <a:cubicBezTo>
                    <a:pt x="12760" y="158"/>
                    <a:pt x="12602" y="0"/>
                    <a:pt x="123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7" name="Google Shape;9557;p77"/>
            <p:cNvSpPr/>
            <p:nvPr/>
          </p:nvSpPr>
          <p:spPr>
            <a:xfrm>
              <a:off x="-59322800" y="1904375"/>
              <a:ext cx="106350" cy="41175"/>
            </a:xfrm>
            <a:custGeom>
              <a:avLst/>
              <a:gdLst/>
              <a:ahLst/>
              <a:cxnLst/>
              <a:rect l="l" t="t" r="r" b="b"/>
              <a:pathLst>
                <a:path w="4254" h="1647" extrusionOk="0">
                  <a:moveTo>
                    <a:pt x="1291" y="0"/>
                  </a:moveTo>
                  <a:cubicBezTo>
                    <a:pt x="890" y="0"/>
                    <a:pt x="485" y="181"/>
                    <a:pt x="158" y="556"/>
                  </a:cubicBezTo>
                  <a:cubicBezTo>
                    <a:pt x="0" y="713"/>
                    <a:pt x="32" y="965"/>
                    <a:pt x="189" y="1123"/>
                  </a:cubicBezTo>
                  <a:cubicBezTo>
                    <a:pt x="265" y="1198"/>
                    <a:pt x="369" y="1237"/>
                    <a:pt x="474" y="1237"/>
                  </a:cubicBezTo>
                  <a:cubicBezTo>
                    <a:pt x="589" y="1237"/>
                    <a:pt x="706" y="1190"/>
                    <a:pt x="788" y="1091"/>
                  </a:cubicBezTo>
                  <a:cubicBezTo>
                    <a:pt x="946" y="918"/>
                    <a:pt x="1119" y="831"/>
                    <a:pt x="1292" y="831"/>
                  </a:cubicBezTo>
                  <a:cubicBezTo>
                    <a:pt x="1465" y="831"/>
                    <a:pt x="1639" y="918"/>
                    <a:pt x="1796" y="1091"/>
                  </a:cubicBezTo>
                  <a:cubicBezTo>
                    <a:pt x="2115" y="1457"/>
                    <a:pt x="2530" y="1646"/>
                    <a:pt x="2948" y="1646"/>
                  </a:cubicBezTo>
                  <a:cubicBezTo>
                    <a:pt x="3357" y="1646"/>
                    <a:pt x="3769" y="1465"/>
                    <a:pt x="4096" y="1091"/>
                  </a:cubicBezTo>
                  <a:cubicBezTo>
                    <a:pt x="4254" y="902"/>
                    <a:pt x="4191" y="650"/>
                    <a:pt x="4033" y="493"/>
                  </a:cubicBezTo>
                  <a:cubicBezTo>
                    <a:pt x="3975" y="420"/>
                    <a:pt x="3885" y="381"/>
                    <a:pt x="3788" y="381"/>
                  </a:cubicBezTo>
                  <a:cubicBezTo>
                    <a:pt x="3674" y="381"/>
                    <a:pt x="3551" y="436"/>
                    <a:pt x="3466" y="556"/>
                  </a:cubicBezTo>
                  <a:cubicBezTo>
                    <a:pt x="3308" y="729"/>
                    <a:pt x="3127" y="815"/>
                    <a:pt x="2946" y="815"/>
                  </a:cubicBezTo>
                  <a:cubicBezTo>
                    <a:pt x="2765" y="815"/>
                    <a:pt x="2584" y="729"/>
                    <a:pt x="2426" y="556"/>
                  </a:cubicBezTo>
                  <a:cubicBezTo>
                    <a:pt x="2108" y="189"/>
                    <a:pt x="1701" y="0"/>
                    <a:pt x="12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58" name="Google Shape;9558;p77"/>
          <p:cNvGrpSpPr/>
          <p:nvPr/>
        </p:nvGrpSpPr>
        <p:grpSpPr>
          <a:xfrm>
            <a:off x="1298621" y="1543007"/>
            <a:ext cx="368987" cy="363666"/>
            <a:chOff x="-64774725" y="1916550"/>
            <a:chExt cx="319000" cy="314400"/>
          </a:xfrm>
        </p:grpSpPr>
        <p:sp>
          <p:nvSpPr>
            <p:cNvPr id="9559" name="Google Shape;9559;p77"/>
            <p:cNvSpPr/>
            <p:nvPr/>
          </p:nvSpPr>
          <p:spPr>
            <a:xfrm>
              <a:off x="-64774725" y="1916550"/>
              <a:ext cx="319000" cy="314400"/>
            </a:xfrm>
            <a:custGeom>
              <a:avLst/>
              <a:gdLst/>
              <a:ahLst/>
              <a:cxnLst/>
              <a:rect l="l" t="t" r="r" b="b"/>
              <a:pathLst>
                <a:path w="12760" h="12576" extrusionOk="0">
                  <a:moveTo>
                    <a:pt x="11436" y="856"/>
                  </a:moveTo>
                  <a:cubicBezTo>
                    <a:pt x="11562" y="856"/>
                    <a:pt x="11657" y="888"/>
                    <a:pt x="11783" y="951"/>
                  </a:cubicBezTo>
                  <a:cubicBezTo>
                    <a:pt x="11877" y="1077"/>
                    <a:pt x="11940" y="1203"/>
                    <a:pt x="11909" y="1329"/>
                  </a:cubicBezTo>
                  <a:cubicBezTo>
                    <a:pt x="11814" y="2431"/>
                    <a:pt x="11562" y="3440"/>
                    <a:pt x="11090" y="4416"/>
                  </a:cubicBezTo>
                  <a:lnTo>
                    <a:pt x="8317" y="1675"/>
                  </a:lnTo>
                  <a:cubicBezTo>
                    <a:pt x="9263" y="1234"/>
                    <a:pt x="10334" y="951"/>
                    <a:pt x="11436" y="856"/>
                  </a:cubicBezTo>
                  <a:close/>
                  <a:moveTo>
                    <a:pt x="3781" y="4542"/>
                  </a:moveTo>
                  <a:lnTo>
                    <a:pt x="3781" y="4542"/>
                  </a:lnTo>
                  <a:cubicBezTo>
                    <a:pt x="3529" y="4983"/>
                    <a:pt x="3245" y="5456"/>
                    <a:pt x="3056" y="5960"/>
                  </a:cubicBezTo>
                  <a:cubicBezTo>
                    <a:pt x="2878" y="5949"/>
                    <a:pt x="2699" y="5942"/>
                    <a:pt x="2522" y="5942"/>
                  </a:cubicBezTo>
                  <a:cubicBezTo>
                    <a:pt x="2167" y="5942"/>
                    <a:pt x="1817" y="5970"/>
                    <a:pt x="1481" y="6054"/>
                  </a:cubicBezTo>
                  <a:cubicBezTo>
                    <a:pt x="1544" y="5928"/>
                    <a:pt x="1670" y="5802"/>
                    <a:pt x="1733" y="5739"/>
                  </a:cubicBezTo>
                  <a:cubicBezTo>
                    <a:pt x="2331" y="5141"/>
                    <a:pt x="2993" y="4731"/>
                    <a:pt x="3781" y="4542"/>
                  </a:cubicBezTo>
                  <a:close/>
                  <a:moveTo>
                    <a:pt x="7561" y="2022"/>
                  </a:moveTo>
                  <a:lnTo>
                    <a:pt x="10680" y="5141"/>
                  </a:lnTo>
                  <a:cubicBezTo>
                    <a:pt x="9546" y="7157"/>
                    <a:pt x="7687" y="8669"/>
                    <a:pt x="5419" y="9331"/>
                  </a:cubicBezTo>
                  <a:lnTo>
                    <a:pt x="3403" y="7346"/>
                  </a:lnTo>
                  <a:cubicBezTo>
                    <a:pt x="4064" y="5109"/>
                    <a:pt x="5576" y="3219"/>
                    <a:pt x="7561" y="2022"/>
                  </a:cubicBezTo>
                  <a:close/>
                  <a:moveTo>
                    <a:pt x="2899" y="8008"/>
                  </a:moveTo>
                  <a:lnTo>
                    <a:pt x="4789" y="9898"/>
                  </a:lnTo>
                  <a:lnTo>
                    <a:pt x="4316" y="10623"/>
                  </a:lnTo>
                  <a:lnTo>
                    <a:pt x="2142" y="8449"/>
                  </a:lnTo>
                  <a:lnTo>
                    <a:pt x="2899" y="8008"/>
                  </a:lnTo>
                  <a:close/>
                  <a:moveTo>
                    <a:pt x="2363" y="9867"/>
                  </a:moveTo>
                  <a:lnTo>
                    <a:pt x="2899" y="10371"/>
                  </a:lnTo>
                  <a:cubicBezTo>
                    <a:pt x="2741" y="10497"/>
                    <a:pt x="2520" y="10654"/>
                    <a:pt x="2300" y="10780"/>
                  </a:cubicBezTo>
                  <a:cubicBezTo>
                    <a:pt x="1985" y="10969"/>
                    <a:pt x="1733" y="11095"/>
                    <a:pt x="1638" y="11127"/>
                  </a:cubicBezTo>
                  <a:cubicBezTo>
                    <a:pt x="1701" y="10969"/>
                    <a:pt x="1796" y="10780"/>
                    <a:pt x="1985" y="10465"/>
                  </a:cubicBezTo>
                  <a:cubicBezTo>
                    <a:pt x="2142" y="10213"/>
                    <a:pt x="2268" y="10024"/>
                    <a:pt x="2363" y="9867"/>
                  </a:cubicBezTo>
                  <a:close/>
                  <a:moveTo>
                    <a:pt x="8191" y="8984"/>
                  </a:moveTo>
                  <a:lnTo>
                    <a:pt x="8191" y="8984"/>
                  </a:lnTo>
                  <a:cubicBezTo>
                    <a:pt x="7971" y="9867"/>
                    <a:pt x="7467" y="10686"/>
                    <a:pt x="6711" y="11284"/>
                  </a:cubicBezTo>
                  <a:cubicBezTo>
                    <a:pt x="6837" y="10749"/>
                    <a:pt x="6837" y="10245"/>
                    <a:pt x="6774" y="9741"/>
                  </a:cubicBezTo>
                  <a:cubicBezTo>
                    <a:pt x="7309" y="9551"/>
                    <a:pt x="7782" y="9268"/>
                    <a:pt x="8191" y="8984"/>
                  </a:cubicBezTo>
                  <a:close/>
                  <a:moveTo>
                    <a:pt x="11509" y="1"/>
                  </a:moveTo>
                  <a:cubicBezTo>
                    <a:pt x="11474" y="1"/>
                    <a:pt x="11440" y="2"/>
                    <a:pt x="11405" y="6"/>
                  </a:cubicBezTo>
                  <a:cubicBezTo>
                    <a:pt x="10365" y="100"/>
                    <a:pt x="9389" y="321"/>
                    <a:pt x="8412" y="730"/>
                  </a:cubicBezTo>
                  <a:cubicBezTo>
                    <a:pt x="7498" y="1077"/>
                    <a:pt x="6616" y="1644"/>
                    <a:pt x="5797" y="2274"/>
                  </a:cubicBezTo>
                  <a:cubicBezTo>
                    <a:pt x="5324" y="2652"/>
                    <a:pt x="4852" y="3093"/>
                    <a:pt x="4474" y="3566"/>
                  </a:cubicBezTo>
                  <a:cubicBezTo>
                    <a:pt x="3245" y="3629"/>
                    <a:pt x="2048" y="4196"/>
                    <a:pt x="1166" y="5109"/>
                  </a:cubicBezTo>
                  <a:cubicBezTo>
                    <a:pt x="725" y="5519"/>
                    <a:pt x="378" y="6054"/>
                    <a:pt x="95" y="6590"/>
                  </a:cubicBezTo>
                  <a:cubicBezTo>
                    <a:pt x="0" y="6748"/>
                    <a:pt x="63" y="6937"/>
                    <a:pt x="158" y="7063"/>
                  </a:cubicBezTo>
                  <a:cubicBezTo>
                    <a:pt x="252" y="7157"/>
                    <a:pt x="378" y="7189"/>
                    <a:pt x="441" y="7189"/>
                  </a:cubicBezTo>
                  <a:cubicBezTo>
                    <a:pt x="536" y="7189"/>
                    <a:pt x="567" y="7189"/>
                    <a:pt x="630" y="7157"/>
                  </a:cubicBezTo>
                  <a:cubicBezTo>
                    <a:pt x="1198" y="6873"/>
                    <a:pt x="1842" y="6743"/>
                    <a:pt x="2471" y="6743"/>
                  </a:cubicBezTo>
                  <a:cubicBezTo>
                    <a:pt x="2540" y="6743"/>
                    <a:pt x="2609" y="6744"/>
                    <a:pt x="2678" y="6748"/>
                  </a:cubicBezTo>
                  <a:cubicBezTo>
                    <a:pt x="2647" y="6905"/>
                    <a:pt x="2615" y="7031"/>
                    <a:pt x="2584" y="7189"/>
                  </a:cubicBezTo>
                  <a:lnTo>
                    <a:pt x="1229" y="7976"/>
                  </a:lnTo>
                  <a:cubicBezTo>
                    <a:pt x="1008" y="8134"/>
                    <a:pt x="945" y="8449"/>
                    <a:pt x="1166" y="8606"/>
                  </a:cubicBezTo>
                  <a:lnTo>
                    <a:pt x="1733" y="9173"/>
                  </a:lnTo>
                  <a:cubicBezTo>
                    <a:pt x="1544" y="9425"/>
                    <a:pt x="1323" y="9772"/>
                    <a:pt x="1103" y="10119"/>
                  </a:cubicBezTo>
                  <a:cubicBezTo>
                    <a:pt x="945" y="10465"/>
                    <a:pt x="788" y="10717"/>
                    <a:pt x="725" y="10906"/>
                  </a:cubicBezTo>
                  <a:cubicBezTo>
                    <a:pt x="599" y="11316"/>
                    <a:pt x="630" y="11599"/>
                    <a:pt x="851" y="11788"/>
                  </a:cubicBezTo>
                  <a:cubicBezTo>
                    <a:pt x="981" y="11918"/>
                    <a:pt x="1144" y="11961"/>
                    <a:pt x="1320" y="11961"/>
                  </a:cubicBezTo>
                  <a:cubicBezTo>
                    <a:pt x="1443" y="11961"/>
                    <a:pt x="1572" y="11940"/>
                    <a:pt x="1701" y="11914"/>
                  </a:cubicBezTo>
                  <a:cubicBezTo>
                    <a:pt x="1953" y="11820"/>
                    <a:pt x="2174" y="11694"/>
                    <a:pt x="2489" y="11505"/>
                  </a:cubicBezTo>
                  <a:cubicBezTo>
                    <a:pt x="2836" y="11316"/>
                    <a:pt x="3151" y="11095"/>
                    <a:pt x="3434" y="10875"/>
                  </a:cubicBezTo>
                  <a:lnTo>
                    <a:pt x="4033" y="11473"/>
                  </a:lnTo>
                  <a:cubicBezTo>
                    <a:pt x="4116" y="11557"/>
                    <a:pt x="4225" y="11597"/>
                    <a:pt x="4330" y="11597"/>
                  </a:cubicBezTo>
                  <a:cubicBezTo>
                    <a:pt x="4464" y="11597"/>
                    <a:pt x="4593" y="11533"/>
                    <a:pt x="4663" y="11410"/>
                  </a:cubicBezTo>
                  <a:lnTo>
                    <a:pt x="5450" y="10056"/>
                  </a:lnTo>
                  <a:cubicBezTo>
                    <a:pt x="5608" y="10024"/>
                    <a:pt x="5734" y="9993"/>
                    <a:pt x="5892" y="9930"/>
                  </a:cubicBezTo>
                  <a:lnTo>
                    <a:pt x="5892" y="9930"/>
                  </a:lnTo>
                  <a:cubicBezTo>
                    <a:pt x="5923" y="10591"/>
                    <a:pt x="5797" y="11316"/>
                    <a:pt x="5482" y="11977"/>
                  </a:cubicBezTo>
                  <a:cubicBezTo>
                    <a:pt x="5419" y="12135"/>
                    <a:pt x="5450" y="12324"/>
                    <a:pt x="5576" y="12450"/>
                  </a:cubicBezTo>
                  <a:cubicBezTo>
                    <a:pt x="5639" y="12534"/>
                    <a:pt x="5759" y="12576"/>
                    <a:pt x="5878" y="12576"/>
                  </a:cubicBezTo>
                  <a:cubicBezTo>
                    <a:pt x="5937" y="12576"/>
                    <a:pt x="5997" y="12565"/>
                    <a:pt x="6049" y="12544"/>
                  </a:cubicBezTo>
                  <a:cubicBezTo>
                    <a:pt x="6585" y="12261"/>
                    <a:pt x="7089" y="11914"/>
                    <a:pt x="7530" y="11473"/>
                  </a:cubicBezTo>
                  <a:cubicBezTo>
                    <a:pt x="8443" y="10560"/>
                    <a:pt x="8979" y="9394"/>
                    <a:pt x="9074" y="8165"/>
                  </a:cubicBezTo>
                  <a:cubicBezTo>
                    <a:pt x="9546" y="7756"/>
                    <a:pt x="9987" y="7346"/>
                    <a:pt x="10365" y="6811"/>
                  </a:cubicBezTo>
                  <a:cubicBezTo>
                    <a:pt x="11027" y="5991"/>
                    <a:pt x="11562" y="5141"/>
                    <a:pt x="11940" y="4227"/>
                  </a:cubicBezTo>
                  <a:cubicBezTo>
                    <a:pt x="12350" y="3282"/>
                    <a:pt x="12571" y="2242"/>
                    <a:pt x="12665" y="1234"/>
                  </a:cubicBezTo>
                  <a:cubicBezTo>
                    <a:pt x="12760" y="1014"/>
                    <a:pt x="12665" y="636"/>
                    <a:pt x="12382" y="384"/>
                  </a:cubicBezTo>
                  <a:cubicBezTo>
                    <a:pt x="12126" y="128"/>
                    <a:pt x="11820" y="1"/>
                    <a:pt x="115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77"/>
            <p:cNvSpPr/>
            <p:nvPr/>
          </p:nvSpPr>
          <p:spPr>
            <a:xfrm>
              <a:off x="-64636900" y="2010600"/>
              <a:ext cx="89800" cy="82525"/>
            </a:xfrm>
            <a:custGeom>
              <a:avLst/>
              <a:gdLst/>
              <a:ahLst/>
              <a:cxnLst/>
              <a:rect l="l" t="t" r="r" b="b"/>
              <a:pathLst>
                <a:path w="3592" h="3301" extrusionOk="0">
                  <a:moveTo>
                    <a:pt x="1828" y="827"/>
                  </a:moveTo>
                  <a:cubicBezTo>
                    <a:pt x="2048" y="827"/>
                    <a:pt x="2269" y="906"/>
                    <a:pt x="2426" y="1064"/>
                  </a:cubicBezTo>
                  <a:cubicBezTo>
                    <a:pt x="2741" y="1410"/>
                    <a:pt x="2741" y="1914"/>
                    <a:pt x="2426" y="2229"/>
                  </a:cubicBezTo>
                  <a:cubicBezTo>
                    <a:pt x="2269" y="2387"/>
                    <a:pt x="2048" y="2466"/>
                    <a:pt x="1828" y="2466"/>
                  </a:cubicBezTo>
                  <a:cubicBezTo>
                    <a:pt x="1607" y="2466"/>
                    <a:pt x="1387" y="2387"/>
                    <a:pt x="1229" y="2229"/>
                  </a:cubicBezTo>
                  <a:cubicBezTo>
                    <a:pt x="914" y="1914"/>
                    <a:pt x="914" y="1379"/>
                    <a:pt x="1229" y="1064"/>
                  </a:cubicBezTo>
                  <a:cubicBezTo>
                    <a:pt x="1387" y="906"/>
                    <a:pt x="1607" y="827"/>
                    <a:pt x="1828" y="827"/>
                  </a:cubicBezTo>
                  <a:close/>
                  <a:moveTo>
                    <a:pt x="1820" y="0"/>
                  </a:moveTo>
                  <a:cubicBezTo>
                    <a:pt x="1402" y="0"/>
                    <a:pt x="977" y="166"/>
                    <a:pt x="631" y="497"/>
                  </a:cubicBezTo>
                  <a:cubicBezTo>
                    <a:pt x="0" y="1127"/>
                    <a:pt x="0" y="2198"/>
                    <a:pt x="631" y="2828"/>
                  </a:cubicBezTo>
                  <a:cubicBezTo>
                    <a:pt x="946" y="3143"/>
                    <a:pt x="1371" y="3301"/>
                    <a:pt x="1796" y="3301"/>
                  </a:cubicBezTo>
                  <a:cubicBezTo>
                    <a:pt x="2222" y="3301"/>
                    <a:pt x="2647" y="3143"/>
                    <a:pt x="2962" y="2828"/>
                  </a:cubicBezTo>
                  <a:cubicBezTo>
                    <a:pt x="3592" y="2198"/>
                    <a:pt x="3592" y="1127"/>
                    <a:pt x="2962" y="497"/>
                  </a:cubicBezTo>
                  <a:cubicBezTo>
                    <a:pt x="2647" y="166"/>
                    <a:pt x="2237" y="0"/>
                    <a:pt x="1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1" name="Google Shape;9561;p77"/>
          <p:cNvGrpSpPr/>
          <p:nvPr/>
        </p:nvGrpSpPr>
        <p:grpSpPr>
          <a:xfrm>
            <a:off x="1299979" y="2020186"/>
            <a:ext cx="366269" cy="369913"/>
            <a:chOff x="-64764500" y="2280550"/>
            <a:chExt cx="316650" cy="319800"/>
          </a:xfrm>
        </p:grpSpPr>
        <p:sp>
          <p:nvSpPr>
            <p:cNvPr id="9562" name="Google Shape;9562;p77"/>
            <p:cNvSpPr/>
            <p:nvPr/>
          </p:nvSpPr>
          <p:spPr>
            <a:xfrm>
              <a:off x="-64764500" y="2280550"/>
              <a:ext cx="316650" cy="319800"/>
            </a:xfrm>
            <a:custGeom>
              <a:avLst/>
              <a:gdLst/>
              <a:ahLst/>
              <a:cxnLst/>
              <a:rect l="l" t="t" r="r" b="b"/>
              <a:pathLst>
                <a:path w="12666" h="12792" extrusionOk="0">
                  <a:moveTo>
                    <a:pt x="11405" y="820"/>
                  </a:moveTo>
                  <a:cubicBezTo>
                    <a:pt x="11657" y="820"/>
                    <a:pt x="11815" y="1009"/>
                    <a:pt x="11815" y="1261"/>
                  </a:cubicBezTo>
                  <a:cubicBezTo>
                    <a:pt x="11815" y="1481"/>
                    <a:pt x="11657" y="1670"/>
                    <a:pt x="11405" y="1670"/>
                  </a:cubicBezTo>
                  <a:lnTo>
                    <a:pt x="1229" y="1670"/>
                  </a:lnTo>
                  <a:cubicBezTo>
                    <a:pt x="977" y="1670"/>
                    <a:pt x="788" y="1481"/>
                    <a:pt x="788" y="1261"/>
                  </a:cubicBezTo>
                  <a:cubicBezTo>
                    <a:pt x="788" y="1009"/>
                    <a:pt x="977" y="820"/>
                    <a:pt x="1229" y="820"/>
                  </a:cubicBezTo>
                  <a:close/>
                  <a:moveTo>
                    <a:pt x="10996" y="2521"/>
                  </a:moveTo>
                  <a:lnTo>
                    <a:pt x="10996" y="8286"/>
                  </a:lnTo>
                  <a:lnTo>
                    <a:pt x="1607" y="8286"/>
                  </a:lnTo>
                  <a:lnTo>
                    <a:pt x="1607" y="2521"/>
                  </a:lnTo>
                  <a:close/>
                  <a:moveTo>
                    <a:pt x="6302" y="11027"/>
                  </a:moveTo>
                  <a:cubicBezTo>
                    <a:pt x="6554" y="11027"/>
                    <a:pt x="6743" y="11216"/>
                    <a:pt x="6743" y="11437"/>
                  </a:cubicBezTo>
                  <a:cubicBezTo>
                    <a:pt x="6743" y="11689"/>
                    <a:pt x="6522" y="11878"/>
                    <a:pt x="6302" y="11878"/>
                  </a:cubicBezTo>
                  <a:cubicBezTo>
                    <a:pt x="6050" y="11878"/>
                    <a:pt x="5892" y="11689"/>
                    <a:pt x="5892" y="11437"/>
                  </a:cubicBezTo>
                  <a:cubicBezTo>
                    <a:pt x="5892" y="11216"/>
                    <a:pt x="6113" y="11027"/>
                    <a:pt x="6302" y="11027"/>
                  </a:cubicBezTo>
                  <a:close/>
                  <a:moveTo>
                    <a:pt x="1229" y="1"/>
                  </a:moveTo>
                  <a:cubicBezTo>
                    <a:pt x="536" y="1"/>
                    <a:pt x="1" y="536"/>
                    <a:pt x="1" y="1261"/>
                  </a:cubicBezTo>
                  <a:cubicBezTo>
                    <a:pt x="1" y="1797"/>
                    <a:pt x="347" y="2238"/>
                    <a:pt x="820" y="2427"/>
                  </a:cubicBezTo>
                  <a:lnTo>
                    <a:pt x="820" y="8286"/>
                  </a:lnTo>
                  <a:lnTo>
                    <a:pt x="442" y="8286"/>
                  </a:lnTo>
                  <a:cubicBezTo>
                    <a:pt x="190" y="8286"/>
                    <a:pt x="32" y="8507"/>
                    <a:pt x="32" y="8728"/>
                  </a:cubicBezTo>
                  <a:cubicBezTo>
                    <a:pt x="32" y="8980"/>
                    <a:pt x="221" y="9169"/>
                    <a:pt x="442" y="9169"/>
                  </a:cubicBezTo>
                  <a:lnTo>
                    <a:pt x="5955" y="9169"/>
                  </a:lnTo>
                  <a:lnTo>
                    <a:pt x="5955" y="10334"/>
                  </a:lnTo>
                  <a:cubicBezTo>
                    <a:pt x="5483" y="10492"/>
                    <a:pt x="5104" y="10964"/>
                    <a:pt x="5104" y="11531"/>
                  </a:cubicBezTo>
                  <a:cubicBezTo>
                    <a:pt x="5104" y="12193"/>
                    <a:pt x="5672" y="12792"/>
                    <a:pt x="6333" y="12792"/>
                  </a:cubicBezTo>
                  <a:cubicBezTo>
                    <a:pt x="6995" y="12792"/>
                    <a:pt x="7593" y="12225"/>
                    <a:pt x="7593" y="11531"/>
                  </a:cubicBezTo>
                  <a:cubicBezTo>
                    <a:pt x="7593" y="10964"/>
                    <a:pt x="7247" y="10555"/>
                    <a:pt x="6774" y="10334"/>
                  </a:cubicBezTo>
                  <a:lnTo>
                    <a:pt x="6774" y="9169"/>
                  </a:lnTo>
                  <a:lnTo>
                    <a:pt x="12288" y="9169"/>
                  </a:lnTo>
                  <a:cubicBezTo>
                    <a:pt x="12508" y="9169"/>
                    <a:pt x="12666" y="8980"/>
                    <a:pt x="12666" y="8728"/>
                  </a:cubicBezTo>
                  <a:cubicBezTo>
                    <a:pt x="12666" y="8507"/>
                    <a:pt x="12477" y="8286"/>
                    <a:pt x="12288" y="8286"/>
                  </a:cubicBezTo>
                  <a:lnTo>
                    <a:pt x="11847" y="8286"/>
                  </a:lnTo>
                  <a:lnTo>
                    <a:pt x="11847" y="2427"/>
                  </a:lnTo>
                  <a:cubicBezTo>
                    <a:pt x="12319" y="2238"/>
                    <a:pt x="12634" y="1797"/>
                    <a:pt x="12634" y="1261"/>
                  </a:cubicBezTo>
                  <a:cubicBezTo>
                    <a:pt x="12634" y="568"/>
                    <a:pt x="12099" y="1"/>
                    <a:pt x="114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3" name="Google Shape;9563;p77"/>
            <p:cNvSpPr/>
            <p:nvPr/>
          </p:nvSpPr>
          <p:spPr>
            <a:xfrm>
              <a:off x="-64679425" y="2364825"/>
              <a:ext cx="146500" cy="102450"/>
            </a:xfrm>
            <a:custGeom>
              <a:avLst/>
              <a:gdLst/>
              <a:ahLst/>
              <a:cxnLst/>
              <a:rect l="l" t="t" r="r" b="b"/>
              <a:pathLst>
                <a:path w="5860" h="4098" extrusionOk="0">
                  <a:moveTo>
                    <a:pt x="3749" y="1"/>
                  </a:moveTo>
                  <a:cubicBezTo>
                    <a:pt x="3529" y="1"/>
                    <a:pt x="3371" y="190"/>
                    <a:pt x="3371" y="442"/>
                  </a:cubicBezTo>
                  <a:cubicBezTo>
                    <a:pt x="3371" y="662"/>
                    <a:pt x="3560" y="820"/>
                    <a:pt x="3749" y="820"/>
                  </a:cubicBezTo>
                  <a:lnTo>
                    <a:pt x="4442" y="820"/>
                  </a:lnTo>
                  <a:lnTo>
                    <a:pt x="2930" y="2332"/>
                  </a:lnTo>
                  <a:lnTo>
                    <a:pt x="2395" y="1765"/>
                  </a:lnTo>
                  <a:cubicBezTo>
                    <a:pt x="2316" y="1686"/>
                    <a:pt x="2206" y="1647"/>
                    <a:pt x="2095" y="1647"/>
                  </a:cubicBezTo>
                  <a:cubicBezTo>
                    <a:pt x="1985" y="1647"/>
                    <a:pt x="1875" y="1686"/>
                    <a:pt x="1796" y="1765"/>
                  </a:cubicBezTo>
                  <a:lnTo>
                    <a:pt x="126" y="3435"/>
                  </a:lnTo>
                  <a:cubicBezTo>
                    <a:pt x="0" y="3592"/>
                    <a:pt x="0" y="3844"/>
                    <a:pt x="126" y="4033"/>
                  </a:cubicBezTo>
                  <a:cubicBezTo>
                    <a:pt x="195" y="4075"/>
                    <a:pt x="288" y="4098"/>
                    <a:pt x="384" y="4098"/>
                  </a:cubicBezTo>
                  <a:cubicBezTo>
                    <a:pt x="507" y="4098"/>
                    <a:pt x="636" y="4059"/>
                    <a:pt x="725" y="3970"/>
                  </a:cubicBezTo>
                  <a:lnTo>
                    <a:pt x="2111" y="2616"/>
                  </a:lnTo>
                  <a:lnTo>
                    <a:pt x="2647" y="3151"/>
                  </a:lnTo>
                  <a:cubicBezTo>
                    <a:pt x="2725" y="3230"/>
                    <a:pt x="2836" y="3269"/>
                    <a:pt x="2946" y="3269"/>
                  </a:cubicBezTo>
                  <a:cubicBezTo>
                    <a:pt x="3056" y="3269"/>
                    <a:pt x="3166" y="3230"/>
                    <a:pt x="3245" y="3151"/>
                  </a:cubicBezTo>
                  <a:lnTo>
                    <a:pt x="5009" y="1387"/>
                  </a:lnTo>
                  <a:lnTo>
                    <a:pt x="5009" y="2049"/>
                  </a:lnTo>
                  <a:cubicBezTo>
                    <a:pt x="5009" y="2269"/>
                    <a:pt x="5230" y="2490"/>
                    <a:pt x="5451" y="2490"/>
                  </a:cubicBezTo>
                  <a:cubicBezTo>
                    <a:pt x="5703" y="2490"/>
                    <a:pt x="5860" y="2269"/>
                    <a:pt x="5860" y="2049"/>
                  </a:cubicBezTo>
                  <a:lnTo>
                    <a:pt x="5860" y="410"/>
                  </a:lnTo>
                  <a:cubicBezTo>
                    <a:pt x="5860" y="158"/>
                    <a:pt x="5640" y="1"/>
                    <a:pt x="5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64" name="Google Shape;9564;p77"/>
          <p:cNvSpPr/>
          <p:nvPr/>
        </p:nvSpPr>
        <p:spPr>
          <a:xfrm>
            <a:off x="1316753" y="2487454"/>
            <a:ext cx="319799" cy="366269"/>
          </a:xfrm>
          <a:custGeom>
            <a:avLst/>
            <a:gdLst/>
            <a:ahLst/>
            <a:cxnLst/>
            <a:rect l="l" t="t" r="r" b="b"/>
            <a:pathLst>
              <a:path w="11059" h="12666" extrusionOk="0">
                <a:moveTo>
                  <a:pt x="4285" y="789"/>
                </a:moveTo>
                <a:cubicBezTo>
                  <a:pt x="4758" y="789"/>
                  <a:pt x="5136" y="1135"/>
                  <a:pt x="5136" y="1608"/>
                </a:cubicBezTo>
                <a:lnTo>
                  <a:pt x="5136" y="4128"/>
                </a:lnTo>
                <a:cubicBezTo>
                  <a:pt x="4190" y="4317"/>
                  <a:pt x="3466" y="5168"/>
                  <a:pt x="3466" y="6144"/>
                </a:cubicBezTo>
                <a:cubicBezTo>
                  <a:pt x="3466" y="6365"/>
                  <a:pt x="3655" y="6585"/>
                  <a:pt x="3907" y="6585"/>
                </a:cubicBezTo>
                <a:cubicBezTo>
                  <a:pt x="4127" y="6585"/>
                  <a:pt x="4285" y="6365"/>
                  <a:pt x="4285" y="6144"/>
                </a:cubicBezTo>
                <a:cubicBezTo>
                  <a:pt x="4285" y="5577"/>
                  <a:pt x="4663" y="5168"/>
                  <a:pt x="5136" y="4947"/>
                </a:cubicBezTo>
                <a:lnTo>
                  <a:pt x="5136" y="8192"/>
                </a:lnTo>
                <a:cubicBezTo>
                  <a:pt x="5136" y="8665"/>
                  <a:pt x="4758" y="9011"/>
                  <a:pt x="4285" y="9011"/>
                </a:cubicBezTo>
                <a:cubicBezTo>
                  <a:pt x="3938" y="9011"/>
                  <a:pt x="3592" y="8791"/>
                  <a:pt x="3497" y="8381"/>
                </a:cubicBezTo>
                <a:cubicBezTo>
                  <a:pt x="3434" y="8318"/>
                  <a:pt x="3277" y="8192"/>
                  <a:pt x="3119" y="8192"/>
                </a:cubicBezTo>
                <a:cubicBezTo>
                  <a:pt x="2962" y="8192"/>
                  <a:pt x="2899" y="8255"/>
                  <a:pt x="2647" y="8255"/>
                </a:cubicBezTo>
                <a:cubicBezTo>
                  <a:pt x="1544" y="8255"/>
                  <a:pt x="1544" y="6617"/>
                  <a:pt x="2647" y="6617"/>
                </a:cubicBezTo>
                <a:cubicBezTo>
                  <a:pt x="2867" y="6617"/>
                  <a:pt x="3025" y="6428"/>
                  <a:pt x="3025" y="6176"/>
                </a:cubicBezTo>
                <a:cubicBezTo>
                  <a:pt x="3025" y="5955"/>
                  <a:pt x="2836" y="5735"/>
                  <a:pt x="2647" y="5735"/>
                </a:cubicBezTo>
                <a:cubicBezTo>
                  <a:pt x="2080" y="5735"/>
                  <a:pt x="1607" y="6018"/>
                  <a:pt x="1292" y="6428"/>
                </a:cubicBezTo>
                <a:cubicBezTo>
                  <a:pt x="1103" y="6270"/>
                  <a:pt x="977" y="6018"/>
                  <a:pt x="977" y="5735"/>
                </a:cubicBezTo>
                <a:cubicBezTo>
                  <a:pt x="977" y="5483"/>
                  <a:pt x="1103" y="5325"/>
                  <a:pt x="1166" y="5199"/>
                </a:cubicBezTo>
                <a:cubicBezTo>
                  <a:pt x="1323" y="5042"/>
                  <a:pt x="1323" y="4790"/>
                  <a:pt x="1166" y="4632"/>
                </a:cubicBezTo>
                <a:cubicBezTo>
                  <a:pt x="662" y="4097"/>
                  <a:pt x="1103" y="3277"/>
                  <a:pt x="1828" y="3277"/>
                </a:cubicBezTo>
                <a:cubicBezTo>
                  <a:pt x="2048" y="3277"/>
                  <a:pt x="2237" y="3340"/>
                  <a:pt x="2395" y="3498"/>
                </a:cubicBezTo>
                <a:cubicBezTo>
                  <a:pt x="2473" y="3577"/>
                  <a:pt x="2584" y="3616"/>
                  <a:pt x="2694" y="3616"/>
                </a:cubicBezTo>
                <a:cubicBezTo>
                  <a:pt x="2804" y="3616"/>
                  <a:pt x="2914" y="3577"/>
                  <a:pt x="2993" y="3498"/>
                </a:cubicBezTo>
                <a:cubicBezTo>
                  <a:pt x="3151" y="3340"/>
                  <a:pt x="3151" y="3057"/>
                  <a:pt x="2993" y="2899"/>
                </a:cubicBezTo>
                <a:cubicBezTo>
                  <a:pt x="2678" y="2584"/>
                  <a:pt x="2269" y="2427"/>
                  <a:pt x="1828" y="2427"/>
                </a:cubicBezTo>
                <a:cubicBezTo>
                  <a:pt x="1828" y="1954"/>
                  <a:pt x="2174" y="1608"/>
                  <a:pt x="2647" y="1608"/>
                </a:cubicBezTo>
                <a:cubicBezTo>
                  <a:pt x="2773" y="1608"/>
                  <a:pt x="2836" y="1639"/>
                  <a:pt x="2962" y="1702"/>
                </a:cubicBezTo>
                <a:cubicBezTo>
                  <a:pt x="3000" y="1713"/>
                  <a:pt x="3040" y="1718"/>
                  <a:pt x="3079" y="1718"/>
                </a:cubicBezTo>
                <a:cubicBezTo>
                  <a:pt x="3264" y="1718"/>
                  <a:pt x="3445" y="1601"/>
                  <a:pt x="3497" y="1419"/>
                </a:cubicBezTo>
                <a:cubicBezTo>
                  <a:pt x="3592" y="1072"/>
                  <a:pt x="3938" y="789"/>
                  <a:pt x="4285" y="789"/>
                </a:cubicBezTo>
                <a:close/>
                <a:moveTo>
                  <a:pt x="6711" y="915"/>
                </a:moveTo>
                <a:cubicBezTo>
                  <a:pt x="7057" y="915"/>
                  <a:pt x="7404" y="1135"/>
                  <a:pt x="7498" y="1545"/>
                </a:cubicBezTo>
                <a:cubicBezTo>
                  <a:pt x="7547" y="1715"/>
                  <a:pt x="7708" y="1828"/>
                  <a:pt x="7880" y="1828"/>
                </a:cubicBezTo>
                <a:cubicBezTo>
                  <a:pt x="7931" y="1828"/>
                  <a:pt x="7983" y="1818"/>
                  <a:pt x="8034" y="1797"/>
                </a:cubicBezTo>
                <a:cubicBezTo>
                  <a:pt x="8160" y="1765"/>
                  <a:pt x="8223" y="1734"/>
                  <a:pt x="8349" y="1734"/>
                </a:cubicBezTo>
                <a:cubicBezTo>
                  <a:pt x="8822" y="1734"/>
                  <a:pt x="9168" y="2080"/>
                  <a:pt x="9168" y="2553"/>
                </a:cubicBezTo>
                <a:cubicBezTo>
                  <a:pt x="8759" y="2553"/>
                  <a:pt x="8318" y="2710"/>
                  <a:pt x="8003" y="3025"/>
                </a:cubicBezTo>
                <a:cubicBezTo>
                  <a:pt x="7845" y="3183"/>
                  <a:pt x="7845" y="3467"/>
                  <a:pt x="8003" y="3624"/>
                </a:cubicBezTo>
                <a:cubicBezTo>
                  <a:pt x="8081" y="3703"/>
                  <a:pt x="8192" y="3742"/>
                  <a:pt x="8302" y="3742"/>
                </a:cubicBezTo>
                <a:cubicBezTo>
                  <a:pt x="8412" y="3742"/>
                  <a:pt x="8522" y="3703"/>
                  <a:pt x="8601" y="3624"/>
                </a:cubicBezTo>
                <a:cubicBezTo>
                  <a:pt x="8759" y="3467"/>
                  <a:pt x="8948" y="3372"/>
                  <a:pt x="9168" y="3372"/>
                </a:cubicBezTo>
                <a:cubicBezTo>
                  <a:pt x="9893" y="3372"/>
                  <a:pt x="10271" y="4191"/>
                  <a:pt x="9798" y="4758"/>
                </a:cubicBezTo>
                <a:cubicBezTo>
                  <a:pt x="9735" y="4853"/>
                  <a:pt x="9735" y="5073"/>
                  <a:pt x="9830" y="5231"/>
                </a:cubicBezTo>
                <a:cubicBezTo>
                  <a:pt x="9956" y="5357"/>
                  <a:pt x="10050" y="5514"/>
                  <a:pt x="10050" y="5798"/>
                </a:cubicBezTo>
                <a:cubicBezTo>
                  <a:pt x="10050" y="6050"/>
                  <a:pt x="9924" y="6302"/>
                  <a:pt x="9735" y="6459"/>
                </a:cubicBezTo>
                <a:cubicBezTo>
                  <a:pt x="9420" y="6050"/>
                  <a:pt x="8948" y="5798"/>
                  <a:pt x="8381" y="5798"/>
                </a:cubicBezTo>
                <a:cubicBezTo>
                  <a:pt x="8160" y="5798"/>
                  <a:pt x="8003" y="5987"/>
                  <a:pt x="8003" y="6207"/>
                </a:cubicBezTo>
                <a:cubicBezTo>
                  <a:pt x="8003" y="6459"/>
                  <a:pt x="8192" y="6648"/>
                  <a:pt x="8381" y="6648"/>
                </a:cubicBezTo>
                <a:cubicBezTo>
                  <a:pt x="9483" y="6648"/>
                  <a:pt x="9483" y="8318"/>
                  <a:pt x="8381" y="8318"/>
                </a:cubicBezTo>
                <a:cubicBezTo>
                  <a:pt x="8255" y="8318"/>
                  <a:pt x="8192" y="8255"/>
                  <a:pt x="8066" y="8224"/>
                </a:cubicBezTo>
                <a:cubicBezTo>
                  <a:pt x="8021" y="8211"/>
                  <a:pt x="7976" y="8205"/>
                  <a:pt x="7931" y="8205"/>
                </a:cubicBezTo>
                <a:cubicBezTo>
                  <a:pt x="7752" y="8205"/>
                  <a:pt x="7580" y="8306"/>
                  <a:pt x="7530" y="8507"/>
                </a:cubicBezTo>
                <a:cubicBezTo>
                  <a:pt x="7435" y="8854"/>
                  <a:pt x="7089" y="9137"/>
                  <a:pt x="6742" y="9137"/>
                </a:cubicBezTo>
                <a:cubicBezTo>
                  <a:pt x="6270" y="9137"/>
                  <a:pt x="5892" y="8759"/>
                  <a:pt x="5892" y="8318"/>
                </a:cubicBezTo>
                <a:lnTo>
                  <a:pt x="5892" y="5073"/>
                </a:lnTo>
                <a:cubicBezTo>
                  <a:pt x="6364" y="5231"/>
                  <a:pt x="6742" y="5703"/>
                  <a:pt x="6742" y="6270"/>
                </a:cubicBezTo>
                <a:cubicBezTo>
                  <a:pt x="6742" y="6491"/>
                  <a:pt x="6931" y="6680"/>
                  <a:pt x="7120" y="6680"/>
                </a:cubicBezTo>
                <a:cubicBezTo>
                  <a:pt x="7341" y="6680"/>
                  <a:pt x="7530" y="6491"/>
                  <a:pt x="7530" y="6270"/>
                </a:cubicBezTo>
                <a:cubicBezTo>
                  <a:pt x="7530" y="5262"/>
                  <a:pt x="6805" y="4412"/>
                  <a:pt x="5860" y="4254"/>
                </a:cubicBezTo>
                <a:lnTo>
                  <a:pt x="5860" y="1734"/>
                </a:lnTo>
                <a:cubicBezTo>
                  <a:pt x="5860" y="1261"/>
                  <a:pt x="6207" y="915"/>
                  <a:pt x="6711" y="915"/>
                </a:cubicBezTo>
                <a:close/>
                <a:moveTo>
                  <a:pt x="5514" y="9358"/>
                </a:moveTo>
                <a:cubicBezTo>
                  <a:pt x="5829" y="9736"/>
                  <a:pt x="6270" y="9925"/>
                  <a:pt x="6774" y="9925"/>
                </a:cubicBezTo>
                <a:lnTo>
                  <a:pt x="6774" y="10209"/>
                </a:lnTo>
                <a:lnTo>
                  <a:pt x="4285" y="10209"/>
                </a:lnTo>
                <a:lnTo>
                  <a:pt x="4285" y="9925"/>
                </a:lnTo>
                <a:cubicBezTo>
                  <a:pt x="4789" y="9925"/>
                  <a:pt x="5230" y="9673"/>
                  <a:pt x="5514" y="9358"/>
                </a:cubicBezTo>
                <a:close/>
                <a:moveTo>
                  <a:pt x="6648" y="11028"/>
                </a:moveTo>
                <a:cubicBezTo>
                  <a:pt x="6522" y="11500"/>
                  <a:pt x="6049" y="11847"/>
                  <a:pt x="5514" y="11847"/>
                </a:cubicBezTo>
                <a:cubicBezTo>
                  <a:pt x="4978" y="11847"/>
                  <a:pt x="4537" y="11500"/>
                  <a:pt x="4316" y="11028"/>
                </a:cubicBezTo>
                <a:close/>
                <a:moveTo>
                  <a:pt x="4285" y="1"/>
                </a:moveTo>
                <a:cubicBezTo>
                  <a:pt x="3686" y="1"/>
                  <a:pt x="3151" y="316"/>
                  <a:pt x="2867" y="820"/>
                </a:cubicBezTo>
                <a:cubicBezTo>
                  <a:pt x="2796" y="811"/>
                  <a:pt x="2724" y="806"/>
                  <a:pt x="2654" y="806"/>
                </a:cubicBezTo>
                <a:cubicBezTo>
                  <a:pt x="1762" y="806"/>
                  <a:pt x="977" y="1526"/>
                  <a:pt x="977" y="2490"/>
                </a:cubicBezTo>
                <a:lnTo>
                  <a:pt x="977" y="2679"/>
                </a:lnTo>
                <a:cubicBezTo>
                  <a:pt x="851" y="2742"/>
                  <a:pt x="756" y="2836"/>
                  <a:pt x="630" y="2962"/>
                </a:cubicBezTo>
                <a:cubicBezTo>
                  <a:pt x="63" y="3498"/>
                  <a:pt x="0" y="4286"/>
                  <a:pt x="347" y="4947"/>
                </a:cubicBezTo>
                <a:cubicBezTo>
                  <a:pt x="189" y="5199"/>
                  <a:pt x="126" y="5514"/>
                  <a:pt x="126" y="5766"/>
                </a:cubicBezTo>
                <a:cubicBezTo>
                  <a:pt x="126" y="6365"/>
                  <a:pt x="441" y="6932"/>
                  <a:pt x="945" y="7184"/>
                </a:cubicBezTo>
                <a:cubicBezTo>
                  <a:pt x="819" y="8192"/>
                  <a:pt x="1576" y="9043"/>
                  <a:pt x="2584" y="9043"/>
                </a:cubicBezTo>
                <a:lnTo>
                  <a:pt x="2836" y="9043"/>
                </a:lnTo>
                <a:cubicBezTo>
                  <a:pt x="2993" y="9326"/>
                  <a:pt x="3182" y="9515"/>
                  <a:pt x="3434" y="9673"/>
                </a:cubicBezTo>
                <a:lnTo>
                  <a:pt x="3434" y="10587"/>
                </a:lnTo>
                <a:cubicBezTo>
                  <a:pt x="3434" y="11721"/>
                  <a:pt x="4379" y="12666"/>
                  <a:pt x="5514" y="12666"/>
                </a:cubicBezTo>
                <a:cubicBezTo>
                  <a:pt x="6648" y="12666"/>
                  <a:pt x="7593" y="11721"/>
                  <a:pt x="7593" y="10587"/>
                </a:cubicBezTo>
                <a:lnTo>
                  <a:pt x="7593" y="9673"/>
                </a:lnTo>
                <a:cubicBezTo>
                  <a:pt x="7845" y="9515"/>
                  <a:pt x="8066" y="9326"/>
                  <a:pt x="8192" y="9043"/>
                </a:cubicBezTo>
                <a:lnTo>
                  <a:pt x="8444" y="9043"/>
                </a:lnTo>
                <a:cubicBezTo>
                  <a:pt x="9420" y="9043"/>
                  <a:pt x="10208" y="8129"/>
                  <a:pt x="10082" y="7153"/>
                </a:cubicBezTo>
                <a:cubicBezTo>
                  <a:pt x="10586" y="6869"/>
                  <a:pt x="10901" y="6333"/>
                  <a:pt x="10901" y="5735"/>
                </a:cubicBezTo>
                <a:cubicBezTo>
                  <a:pt x="10901" y="5451"/>
                  <a:pt x="10838" y="5136"/>
                  <a:pt x="10680" y="4916"/>
                </a:cubicBezTo>
                <a:cubicBezTo>
                  <a:pt x="11059" y="4317"/>
                  <a:pt x="10933" y="3498"/>
                  <a:pt x="10428" y="2962"/>
                </a:cubicBezTo>
                <a:cubicBezTo>
                  <a:pt x="10302" y="2836"/>
                  <a:pt x="10208" y="2742"/>
                  <a:pt x="10082" y="2679"/>
                </a:cubicBezTo>
                <a:lnTo>
                  <a:pt x="10082" y="2490"/>
                </a:lnTo>
                <a:cubicBezTo>
                  <a:pt x="10082" y="1576"/>
                  <a:pt x="9326" y="820"/>
                  <a:pt x="8444" y="820"/>
                </a:cubicBezTo>
                <a:lnTo>
                  <a:pt x="8192" y="820"/>
                </a:lnTo>
                <a:cubicBezTo>
                  <a:pt x="7908" y="316"/>
                  <a:pt x="7372" y="1"/>
                  <a:pt x="6774" y="1"/>
                </a:cubicBezTo>
                <a:cubicBezTo>
                  <a:pt x="6270" y="1"/>
                  <a:pt x="5829" y="222"/>
                  <a:pt x="5514" y="537"/>
                </a:cubicBezTo>
                <a:cubicBezTo>
                  <a:pt x="5199" y="190"/>
                  <a:pt x="4758" y="1"/>
                  <a:pt x="4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565" name="Google Shape;9565;p77"/>
          <p:cNvGrpSpPr/>
          <p:nvPr/>
        </p:nvGrpSpPr>
        <p:grpSpPr>
          <a:xfrm>
            <a:off x="3512023" y="1579963"/>
            <a:ext cx="365344" cy="289753"/>
            <a:chOff x="-62882850" y="1999375"/>
            <a:chExt cx="315850" cy="250500"/>
          </a:xfrm>
        </p:grpSpPr>
        <p:sp>
          <p:nvSpPr>
            <p:cNvPr id="9566" name="Google Shape;9566;p77"/>
            <p:cNvSpPr/>
            <p:nvPr/>
          </p:nvSpPr>
          <p:spPr>
            <a:xfrm>
              <a:off x="-62882850" y="1999375"/>
              <a:ext cx="315850" cy="250500"/>
            </a:xfrm>
            <a:custGeom>
              <a:avLst/>
              <a:gdLst/>
              <a:ahLst/>
              <a:cxnLst/>
              <a:rect l="l" t="t" r="r" b="b"/>
              <a:pathLst>
                <a:path w="12634" h="10020" extrusionOk="0">
                  <a:moveTo>
                    <a:pt x="10586" y="851"/>
                  </a:moveTo>
                  <a:cubicBezTo>
                    <a:pt x="10838" y="851"/>
                    <a:pt x="11027" y="1040"/>
                    <a:pt x="11027" y="1261"/>
                  </a:cubicBezTo>
                  <a:lnTo>
                    <a:pt x="11027" y="7499"/>
                  </a:lnTo>
                  <a:lnTo>
                    <a:pt x="1638" y="7499"/>
                  </a:lnTo>
                  <a:lnTo>
                    <a:pt x="1638" y="1261"/>
                  </a:lnTo>
                  <a:lnTo>
                    <a:pt x="1607" y="1261"/>
                  </a:lnTo>
                  <a:cubicBezTo>
                    <a:pt x="1607" y="1040"/>
                    <a:pt x="1796" y="851"/>
                    <a:pt x="2048" y="851"/>
                  </a:cubicBezTo>
                  <a:close/>
                  <a:moveTo>
                    <a:pt x="11814" y="8318"/>
                  </a:moveTo>
                  <a:lnTo>
                    <a:pt x="11814" y="8727"/>
                  </a:lnTo>
                  <a:cubicBezTo>
                    <a:pt x="11814" y="8948"/>
                    <a:pt x="11594" y="9137"/>
                    <a:pt x="11405" y="9137"/>
                  </a:cubicBezTo>
                  <a:lnTo>
                    <a:pt x="1197" y="9137"/>
                  </a:lnTo>
                  <a:cubicBezTo>
                    <a:pt x="977" y="9137"/>
                    <a:pt x="788" y="8948"/>
                    <a:pt x="788" y="8727"/>
                  </a:cubicBezTo>
                  <a:lnTo>
                    <a:pt x="788" y="8318"/>
                  </a:lnTo>
                  <a:close/>
                  <a:moveTo>
                    <a:pt x="2048" y="1"/>
                  </a:moveTo>
                  <a:cubicBezTo>
                    <a:pt x="1355" y="1"/>
                    <a:pt x="788" y="568"/>
                    <a:pt x="788" y="1261"/>
                  </a:cubicBezTo>
                  <a:lnTo>
                    <a:pt x="788" y="7499"/>
                  </a:lnTo>
                  <a:lnTo>
                    <a:pt x="378" y="7499"/>
                  </a:lnTo>
                  <a:cubicBezTo>
                    <a:pt x="158" y="7499"/>
                    <a:pt x="0" y="7688"/>
                    <a:pt x="0" y="7940"/>
                  </a:cubicBezTo>
                  <a:lnTo>
                    <a:pt x="0" y="8759"/>
                  </a:lnTo>
                  <a:cubicBezTo>
                    <a:pt x="0" y="9420"/>
                    <a:pt x="536" y="10019"/>
                    <a:pt x="1197" y="10019"/>
                  </a:cubicBezTo>
                  <a:lnTo>
                    <a:pt x="11405" y="10019"/>
                  </a:lnTo>
                  <a:cubicBezTo>
                    <a:pt x="12066" y="10019"/>
                    <a:pt x="12634" y="9452"/>
                    <a:pt x="12634" y="8759"/>
                  </a:cubicBezTo>
                  <a:lnTo>
                    <a:pt x="12634" y="7940"/>
                  </a:lnTo>
                  <a:cubicBezTo>
                    <a:pt x="12634" y="7656"/>
                    <a:pt x="12444" y="7499"/>
                    <a:pt x="12224" y="7499"/>
                  </a:cubicBezTo>
                  <a:lnTo>
                    <a:pt x="11814" y="7499"/>
                  </a:lnTo>
                  <a:lnTo>
                    <a:pt x="11814" y="1261"/>
                  </a:lnTo>
                  <a:cubicBezTo>
                    <a:pt x="11814" y="599"/>
                    <a:pt x="11247" y="1"/>
                    <a:pt x="105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77"/>
            <p:cNvSpPr/>
            <p:nvPr/>
          </p:nvSpPr>
          <p:spPr>
            <a:xfrm>
              <a:off x="-62806475" y="2062375"/>
              <a:ext cx="146525" cy="103800"/>
            </a:xfrm>
            <a:custGeom>
              <a:avLst/>
              <a:gdLst/>
              <a:ahLst/>
              <a:cxnLst/>
              <a:rect l="l" t="t" r="r" b="b"/>
              <a:pathLst>
                <a:path w="5861" h="4152" extrusionOk="0">
                  <a:moveTo>
                    <a:pt x="3782" y="1"/>
                  </a:moveTo>
                  <a:cubicBezTo>
                    <a:pt x="3561" y="1"/>
                    <a:pt x="3341" y="221"/>
                    <a:pt x="3341" y="410"/>
                  </a:cubicBezTo>
                  <a:cubicBezTo>
                    <a:pt x="3341" y="631"/>
                    <a:pt x="3561" y="852"/>
                    <a:pt x="3782" y="852"/>
                  </a:cubicBezTo>
                  <a:lnTo>
                    <a:pt x="4443" y="852"/>
                  </a:lnTo>
                  <a:lnTo>
                    <a:pt x="2962" y="2332"/>
                  </a:lnTo>
                  <a:lnTo>
                    <a:pt x="2395" y="1765"/>
                  </a:lnTo>
                  <a:cubicBezTo>
                    <a:pt x="2332" y="1686"/>
                    <a:pt x="2230" y="1647"/>
                    <a:pt x="2124" y="1647"/>
                  </a:cubicBezTo>
                  <a:cubicBezTo>
                    <a:pt x="2017" y="1647"/>
                    <a:pt x="1907" y="1686"/>
                    <a:pt x="1828" y="1765"/>
                  </a:cubicBezTo>
                  <a:lnTo>
                    <a:pt x="159" y="3435"/>
                  </a:lnTo>
                  <a:cubicBezTo>
                    <a:pt x="1" y="3592"/>
                    <a:pt x="1" y="3876"/>
                    <a:pt x="159" y="4034"/>
                  </a:cubicBezTo>
                  <a:cubicBezTo>
                    <a:pt x="237" y="4112"/>
                    <a:pt x="348" y="4152"/>
                    <a:pt x="458" y="4152"/>
                  </a:cubicBezTo>
                  <a:cubicBezTo>
                    <a:pt x="568" y="4152"/>
                    <a:pt x="678" y="4112"/>
                    <a:pt x="757" y="4034"/>
                  </a:cubicBezTo>
                  <a:lnTo>
                    <a:pt x="2143" y="2647"/>
                  </a:lnTo>
                  <a:lnTo>
                    <a:pt x="2679" y="3183"/>
                  </a:lnTo>
                  <a:cubicBezTo>
                    <a:pt x="2758" y="3262"/>
                    <a:pt x="2868" y="3301"/>
                    <a:pt x="2978" y="3301"/>
                  </a:cubicBezTo>
                  <a:cubicBezTo>
                    <a:pt x="3088" y="3301"/>
                    <a:pt x="3199" y="3262"/>
                    <a:pt x="3278" y="3183"/>
                  </a:cubicBezTo>
                  <a:lnTo>
                    <a:pt x="5042" y="1419"/>
                  </a:lnTo>
                  <a:lnTo>
                    <a:pt x="5042" y="2080"/>
                  </a:lnTo>
                  <a:cubicBezTo>
                    <a:pt x="5042" y="2332"/>
                    <a:pt x="5231" y="2521"/>
                    <a:pt x="5451" y="2521"/>
                  </a:cubicBezTo>
                  <a:cubicBezTo>
                    <a:pt x="5640" y="2521"/>
                    <a:pt x="5861" y="2332"/>
                    <a:pt x="5861" y="2080"/>
                  </a:cubicBezTo>
                  <a:lnTo>
                    <a:pt x="5861" y="442"/>
                  </a:lnTo>
                  <a:cubicBezTo>
                    <a:pt x="5861" y="158"/>
                    <a:pt x="5672" y="1"/>
                    <a:pt x="54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8" name="Google Shape;9568;p77"/>
          <p:cNvGrpSpPr/>
          <p:nvPr/>
        </p:nvGrpSpPr>
        <p:grpSpPr>
          <a:xfrm>
            <a:off x="3503362" y="2021545"/>
            <a:ext cx="382665" cy="367194"/>
            <a:chOff x="-62890750" y="2296300"/>
            <a:chExt cx="330825" cy="317450"/>
          </a:xfrm>
        </p:grpSpPr>
        <p:sp>
          <p:nvSpPr>
            <p:cNvPr id="9569" name="Google Shape;9569;p77"/>
            <p:cNvSpPr/>
            <p:nvPr/>
          </p:nvSpPr>
          <p:spPr>
            <a:xfrm>
              <a:off x="-62890750" y="2296300"/>
              <a:ext cx="313500" cy="195375"/>
            </a:xfrm>
            <a:custGeom>
              <a:avLst/>
              <a:gdLst/>
              <a:ahLst/>
              <a:cxnLst/>
              <a:rect l="l" t="t" r="r" b="b"/>
              <a:pathLst>
                <a:path w="12540" h="7815" extrusionOk="0">
                  <a:moveTo>
                    <a:pt x="11437" y="2080"/>
                  </a:moveTo>
                  <a:lnTo>
                    <a:pt x="11658" y="2931"/>
                  </a:lnTo>
                  <a:lnTo>
                    <a:pt x="10776" y="2742"/>
                  </a:lnTo>
                  <a:lnTo>
                    <a:pt x="11437" y="2080"/>
                  </a:lnTo>
                  <a:close/>
                  <a:moveTo>
                    <a:pt x="6617" y="1"/>
                  </a:moveTo>
                  <a:cubicBezTo>
                    <a:pt x="4916" y="1"/>
                    <a:pt x="3340" y="662"/>
                    <a:pt x="2112" y="1828"/>
                  </a:cubicBezTo>
                  <a:cubicBezTo>
                    <a:pt x="663" y="3277"/>
                    <a:pt x="1" y="5420"/>
                    <a:pt x="379" y="7467"/>
                  </a:cubicBezTo>
                  <a:cubicBezTo>
                    <a:pt x="442" y="7656"/>
                    <a:pt x="568" y="7814"/>
                    <a:pt x="789" y="7814"/>
                  </a:cubicBezTo>
                  <a:lnTo>
                    <a:pt x="852" y="7814"/>
                  </a:lnTo>
                  <a:cubicBezTo>
                    <a:pt x="1104" y="7783"/>
                    <a:pt x="1198" y="7562"/>
                    <a:pt x="1167" y="7341"/>
                  </a:cubicBezTo>
                  <a:cubicBezTo>
                    <a:pt x="852" y="5577"/>
                    <a:pt x="1419" y="3718"/>
                    <a:pt x="2710" y="2458"/>
                  </a:cubicBezTo>
                  <a:cubicBezTo>
                    <a:pt x="3719" y="1450"/>
                    <a:pt x="5136" y="851"/>
                    <a:pt x="6617" y="851"/>
                  </a:cubicBezTo>
                  <a:cubicBezTo>
                    <a:pt x="7940" y="851"/>
                    <a:pt x="9200" y="1324"/>
                    <a:pt x="10177" y="2206"/>
                  </a:cubicBezTo>
                  <a:lnTo>
                    <a:pt x="9610" y="2773"/>
                  </a:lnTo>
                  <a:cubicBezTo>
                    <a:pt x="9484" y="2899"/>
                    <a:pt x="9452" y="3057"/>
                    <a:pt x="9484" y="3183"/>
                  </a:cubicBezTo>
                  <a:cubicBezTo>
                    <a:pt x="9515" y="3340"/>
                    <a:pt x="9641" y="3403"/>
                    <a:pt x="9799" y="3466"/>
                  </a:cubicBezTo>
                  <a:lnTo>
                    <a:pt x="12036" y="3939"/>
                  </a:lnTo>
                  <a:lnTo>
                    <a:pt x="12130" y="3939"/>
                  </a:lnTo>
                  <a:cubicBezTo>
                    <a:pt x="12225" y="3939"/>
                    <a:pt x="12319" y="3876"/>
                    <a:pt x="12382" y="3813"/>
                  </a:cubicBezTo>
                  <a:cubicBezTo>
                    <a:pt x="12508" y="3687"/>
                    <a:pt x="12540" y="3561"/>
                    <a:pt x="12508" y="3403"/>
                  </a:cubicBezTo>
                  <a:lnTo>
                    <a:pt x="12036" y="1167"/>
                  </a:lnTo>
                  <a:cubicBezTo>
                    <a:pt x="12004" y="1009"/>
                    <a:pt x="11878" y="883"/>
                    <a:pt x="11752" y="851"/>
                  </a:cubicBezTo>
                  <a:cubicBezTo>
                    <a:pt x="11715" y="844"/>
                    <a:pt x="11678" y="840"/>
                    <a:pt x="11642" y="840"/>
                  </a:cubicBezTo>
                  <a:cubicBezTo>
                    <a:pt x="11526" y="840"/>
                    <a:pt x="11422" y="881"/>
                    <a:pt x="11374" y="977"/>
                  </a:cubicBezTo>
                  <a:lnTo>
                    <a:pt x="10776" y="1576"/>
                  </a:lnTo>
                  <a:cubicBezTo>
                    <a:pt x="9641" y="536"/>
                    <a:pt x="8129" y="1"/>
                    <a:pt x="66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0" name="Google Shape;9570;p77"/>
            <p:cNvSpPr/>
            <p:nvPr/>
          </p:nvSpPr>
          <p:spPr>
            <a:xfrm>
              <a:off x="-62874975" y="2417475"/>
              <a:ext cx="315050" cy="196275"/>
            </a:xfrm>
            <a:custGeom>
              <a:avLst/>
              <a:gdLst/>
              <a:ahLst/>
              <a:cxnLst/>
              <a:rect l="l" t="t" r="r" b="b"/>
              <a:pathLst>
                <a:path w="12602" h="7851" extrusionOk="0">
                  <a:moveTo>
                    <a:pt x="977" y="4857"/>
                  </a:moveTo>
                  <a:lnTo>
                    <a:pt x="1827" y="5078"/>
                  </a:lnTo>
                  <a:lnTo>
                    <a:pt x="1166" y="5739"/>
                  </a:lnTo>
                  <a:lnTo>
                    <a:pt x="977" y="4857"/>
                  </a:lnTo>
                  <a:close/>
                  <a:moveTo>
                    <a:pt x="11779" y="1"/>
                  </a:moveTo>
                  <a:cubicBezTo>
                    <a:pt x="11759" y="1"/>
                    <a:pt x="11739" y="2"/>
                    <a:pt x="11720" y="6"/>
                  </a:cubicBezTo>
                  <a:cubicBezTo>
                    <a:pt x="11499" y="69"/>
                    <a:pt x="11373" y="289"/>
                    <a:pt x="11405" y="478"/>
                  </a:cubicBezTo>
                  <a:cubicBezTo>
                    <a:pt x="11720" y="2274"/>
                    <a:pt x="11184" y="4101"/>
                    <a:pt x="9861" y="5361"/>
                  </a:cubicBezTo>
                  <a:cubicBezTo>
                    <a:pt x="8853" y="6401"/>
                    <a:pt x="7435" y="7000"/>
                    <a:pt x="5986" y="7000"/>
                  </a:cubicBezTo>
                  <a:cubicBezTo>
                    <a:pt x="4631" y="7000"/>
                    <a:pt x="3371" y="6527"/>
                    <a:pt x="2394" y="5645"/>
                  </a:cubicBezTo>
                  <a:lnTo>
                    <a:pt x="2993" y="5046"/>
                  </a:lnTo>
                  <a:cubicBezTo>
                    <a:pt x="3088" y="4952"/>
                    <a:pt x="3151" y="4794"/>
                    <a:pt x="3088" y="4668"/>
                  </a:cubicBezTo>
                  <a:cubicBezTo>
                    <a:pt x="3056" y="4511"/>
                    <a:pt x="2962" y="4416"/>
                    <a:pt x="2772" y="4385"/>
                  </a:cubicBezTo>
                  <a:lnTo>
                    <a:pt x="536" y="3912"/>
                  </a:lnTo>
                  <a:cubicBezTo>
                    <a:pt x="506" y="3905"/>
                    <a:pt x="476" y="3901"/>
                    <a:pt x="446" y="3901"/>
                  </a:cubicBezTo>
                  <a:cubicBezTo>
                    <a:pt x="350" y="3901"/>
                    <a:pt x="254" y="3942"/>
                    <a:pt x="158" y="4038"/>
                  </a:cubicBezTo>
                  <a:cubicBezTo>
                    <a:pt x="32" y="4164"/>
                    <a:pt x="0" y="4290"/>
                    <a:pt x="32" y="4448"/>
                  </a:cubicBezTo>
                  <a:lnTo>
                    <a:pt x="504" y="6685"/>
                  </a:lnTo>
                  <a:cubicBezTo>
                    <a:pt x="536" y="6842"/>
                    <a:pt x="662" y="6937"/>
                    <a:pt x="788" y="7000"/>
                  </a:cubicBezTo>
                  <a:lnTo>
                    <a:pt x="882" y="7000"/>
                  </a:lnTo>
                  <a:cubicBezTo>
                    <a:pt x="1008" y="7000"/>
                    <a:pt x="1103" y="6968"/>
                    <a:pt x="1166" y="6874"/>
                  </a:cubicBezTo>
                  <a:lnTo>
                    <a:pt x="1764" y="6275"/>
                  </a:lnTo>
                  <a:cubicBezTo>
                    <a:pt x="2899" y="7315"/>
                    <a:pt x="4411" y="7850"/>
                    <a:pt x="5923" y="7850"/>
                  </a:cubicBezTo>
                  <a:cubicBezTo>
                    <a:pt x="7624" y="7850"/>
                    <a:pt x="9200" y="7189"/>
                    <a:pt x="10428" y="6023"/>
                  </a:cubicBezTo>
                  <a:cubicBezTo>
                    <a:pt x="11909" y="4511"/>
                    <a:pt x="12602" y="2400"/>
                    <a:pt x="12192" y="321"/>
                  </a:cubicBezTo>
                  <a:cubicBezTo>
                    <a:pt x="12164" y="123"/>
                    <a:pt x="11958" y="1"/>
                    <a:pt x="117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77"/>
            <p:cNvSpPr/>
            <p:nvPr/>
          </p:nvSpPr>
          <p:spPr>
            <a:xfrm>
              <a:off x="-62822225" y="2357750"/>
              <a:ext cx="193000" cy="192975"/>
            </a:xfrm>
            <a:custGeom>
              <a:avLst/>
              <a:gdLst/>
              <a:ahLst/>
              <a:cxnLst/>
              <a:rect l="l" t="t" r="r" b="b"/>
              <a:pathLst>
                <a:path w="7720" h="7719" extrusionOk="0">
                  <a:moveTo>
                    <a:pt x="2238" y="1323"/>
                  </a:moveTo>
                  <a:lnTo>
                    <a:pt x="2238" y="1323"/>
                  </a:lnTo>
                  <a:cubicBezTo>
                    <a:pt x="2143" y="1544"/>
                    <a:pt x="2049" y="1827"/>
                    <a:pt x="1986" y="2111"/>
                  </a:cubicBezTo>
                  <a:lnTo>
                    <a:pt x="1419" y="2111"/>
                  </a:lnTo>
                  <a:cubicBezTo>
                    <a:pt x="1671" y="1796"/>
                    <a:pt x="1923" y="1512"/>
                    <a:pt x="2238" y="1323"/>
                  </a:cubicBezTo>
                  <a:close/>
                  <a:moveTo>
                    <a:pt x="3466" y="1040"/>
                  </a:moveTo>
                  <a:lnTo>
                    <a:pt x="3466" y="2111"/>
                  </a:lnTo>
                  <a:lnTo>
                    <a:pt x="2836" y="2111"/>
                  </a:lnTo>
                  <a:cubicBezTo>
                    <a:pt x="2994" y="1575"/>
                    <a:pt x="3246" y="1229"/>
                    <a:pt x="3466" y="1040"/>
                  </a:cubicBezTo>
                  <a:close/>
                  <a:moveTo>
                    <a:pt x="4254" y="1040"/>
                  </a:moveTo>
                  <a:cubicBezTo>
                    <a:pt x="4538" y="1229"/>
                    <a:pt x="4727" y="1575"/>
                    <a:pt x="4884" y="2111"/>
                  </a:cubicBezTo>
                  <a:lnTo>
                    <a:pt x="4254" y="2111"/>
                  </a:lnTo>
                  <a:lnTo>
                    <a:pt x="4254" y="1040"/>
                  </a:lnTo>
                  <a:close/>
                  <a:moveTo>
                    <a:pt x="5483" y="1323"/>
                  </a:moveTo>
                  <a:lnTo>
                    <a:pt x="5483" y="1323"/>
                  </a:lnTo>
                  <a:cubicBezTo>
                    <a:pt x="5798" y="1512"/>
                    <a:pt x="6081" y="1796"/>
                    <a:pt x="6302" y="2111"/>
                  </a:cubicBezTo>
                  <a:lnTo>
                    <a:pt x="5766" y="2111"/>
                  </a:lnTo>
                  <a:cubicBezTo>
                    <a:pt x="5672" y="1827"/>
                    <a:pt x="5609" y="1544"/>
                    <a:pt x="5483" y="1323"/>
                  </a:cubicBezTo>
                  <a:close/>
                  <a:moveTo>
                    <a:pt x="1765" y="2930"/>
                  </a:moveTo>
                  <a:cubicBezTo>
                    <a:pt x="1734" y="3245"/>
                    <a:pt x="1702" y="3560"/>
                    <a:pt x="1702" y="3875"/>
                  </a:cubicBezTo>
                  <a:cubicBezTo>
                    <a:pt x="1702" y="4190"/>
                    <a:pt x="1734" y="4537"/>
                    <a:pt x="1765" y="4820"/>
                  </a:cubicBezTo>
                  <a:lnTo>
                    <a:pt x="978" y="4820"/>
                  </a:lnTo>
                  <a:cubicBezTo>
                    <a:pt x="883" y="4537"/>
                    <a:pt x="820" y="4222"/>
                    <a:pt x="820" y="3875"/>
                  </a:cubicBezTo>
                  <a:cubicBezTo>
                    <a:pt x="820" y="3497"/>
                    <a:pt x="883" y="3214"/>
                    <a:pt x="978" y="2930"/>
                  </a:cubicBezTo>
                  <a:close/>
                  <a:moveTo>
                    <a:pt x="5136" y="2930"/>
                  </a:moveTo>
                  <a:cubicBezTo>
                    <a:pt x="5168" y="3245"/>
                    <a:pt x="5199" y="3560"/>
                    <a:pt x="5199" y="3875"/>
                  </a:cubicBezTo>
                  <a:cubicBezTo>
                    <a:pt x="5199" y="4222"/>
                    <a:pt x="5168" y="4537"/>
                    <a:pt x="5136" y="4820"/>
                  </a:cubicBezTo>
                  <a:lnTo>
                    <a:pt x="4286" y="4820"/>
                  </a:lnTo>
                  <a:lnTo>
                    <a:pt x="4286" y="2930"/>
                  </a:lnTo>
                  <a:close/>
                  <a:moveTo>
                    <a:pt x="6743" y="2930"/>
                  </a:moveTo>
                  <a:cubicBezTo>
                    <a:pt x="6869" y="3245"/>
                    <a:pt x="6900" y="3560"/>
                    <a:pt x="6900" y="3875"/>
                  </a:cubicBezTo>
                  <a:cubicBezTo>
                    <a:pt x="6900" y="4222"/>
                    <a:pt x="6869" y="4537"/>
                    <a:pt x="6743" y="4820"/>
                  </a:cubicBezTo>
                  <a:lnTo>
                    <a:pt x="5955" y="4820"/>
                  </a:lnTo>
                  <a:cubicBezTo>
                    <a:pt x="5987" y="4505"/>
                    <a:pt x="6018" y="4190"/>
                    <a:pt x="6018" y="3875"/>
                  </a:cubicBezTo>
                  <a:cubicBezTo>
                    <a:pt x="6018" y="3560"/>
                    <a:pt x="5987" y="3214"/>
                    <a:pt x="5955" y="2930"/>
                  </a:cubicBezTo>
                  <a:close/>
                  <a:moveTo>
                    <a:pt x="3466" y="2930"/>
                  </a:moveTo>
                  <a:lnTo>
                    <a:pt x="3466" y="4852"/>
                  </a:lnTo>
                  <a:lnTo>
                    <a:pt x="2647" y="4852"/>
                  </a:lnTo>
                  <a:cubicBezTo>
                    <a:pt x="2553" y="4537"/>
                    <a:pt x="2553" y="4222"/>
                    <a:pt x="2553" y="3875"/>
                  </a:cubicBezTo>
                  <a:cubicBezTo>
                    <a:pt x="2553" y="3497"/>
                    <a:pt x="2616" y="3214"/>
                    <a:pt x="2647" y="2930"/>
                  </a:cubicBezTo>
                  <a:close/>
                  <a:moveTo>
                    <a:pt x="6302" y="5640"/>
                  </a:moveTo>
                  <a:cubicBezTo>
                    <a:pt x="6081" y="5955"/>
                    <a:pt x="5798" y="6238"/>
                    <a:pt x="5483" y="6427"/>
                  </a:cubicBezTo>
                  <a:cubicBezTo>
                    <a:pt x="5609" y="6207"/>
                    <a:pt x="5672" y="5923"/>
                    <a:pt x="5766" y="5640"/>
                  </a:cubicBezTo>
                  <a:close/>
                  <a:moveTo>
                    <a:pt x="1986" y="5671"/>
                  </a:moveTo>
                  <a:cubicBezTo>
                    <a:pt x="2049" y="5955"/>
                    <a:pt x="2143" y="6238"/>
                    <a:pt x="2238" y="6459"/>
                  </a:cubicBezTo>
                  <a:cubicBezTo>
                    <a:pt x="1923" y="6238"/>
                    <a:pt x="1671" y="5955"/>
                    <a:pt x="1419" y="5671"/>
                  </a:cubicBezTo>
                  <a:close/>
                  <a:moveTo>
                    <a:pt x="4916" y="5640"/>
                  </a:moveTo>
                  <a:cubicBezTo>
                    <a:pt x="4727" y="6144"/>
                    <a:pt x="4538" y="6522"/>
                    <a:pt x="4286" y="6711"/>
                  </a:cubicBezTo>
                  <a:lnTo>
                    <a:pt x="4286" y="5640"/>
                  </a:lnTo>
                  <a:close/>
                  <a:moveTo>
                    <a:pt x="3466" y="5671"/>
                  </a:moveTo>
                  <a:lnTo>
                    <a:pt x="3466" y="6742"/>
                  </a:lnTo>
                  <a:cubicBezTo>
                    <a:pt x="3246" y="6553"/>
                    <a:pt x="2994" y="6144"/>
                    <a:pt x="2836" y="5671"/>
                  </a:cubicBezTo>
                  <a:close/>
                  <a:moveTo>
                    <a:pt x="3876" y="0"/>
                  </a:moveTo>
                  <a:cubicBezTo>
                    <a:pt x="2301" y="0"/>
                    <a:pt x="915" y="945"/>
                    <a:pt x="316" y="2332"/>
                  </a:cubicBezTo>
                  <a:cubicBezTo>
                    <a:pt x="127" y="2804"/>
                    <a:pt x="1" y="3308"/>
                    <a:pt x="1" y="3875"/>
                  </a:cubicBezTo>
                  <a:cubicBezTo>
                    <a:pt x="1" y="4411"/>
                    <a:pt x="127" y="4946"/>
                    <a:pt x="316" y="5419"/>
                  </a:cubicBezTo>
                  <a:cubicBezTo>
                    <a:pt x="915" y="6774"/>
                    <a:pt x="2301" y="7719"/>
                    <a:pt x="3876" y="7719"/>
                  </a:cubicBezTo>
                  <a:cubicBezTo>
                    <a:pt x="5451" y="7719"/>
                    <a:pt x="6806" y="6774"/>
                    <a:pt x="7405" y="5419"/>
                  </a:cubicBezTo>
                  <a:cubicBezTo>
                    <a:pt x="7594" y="4946"/>
                    <a:pt x="7720" y="4411"/>
                    <a:pt x="7720" y="3875"/>
                  </a:cubicBezTo>
                  <a:cubicBezTo>
                    <a:pt x="7720" y="3308"/>
                    <a:pt x="7594" y="2804"/>
                    <a:pt x="7405" y="2332"/>
                  </a:cubicBezTo>
                  <a:cubicBezTo>
                    <a:pt x="6806" y="945"/>
                    <a:pt x="5451" y="0"/>
                    <a:pt x="38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2" name="Google Shape;9572;p77"/>
          <p:cNvGrpSpPr/>
          <p:nvPr/>
        </p:nvGrpSpPr>
        <p:grpSpPr>
          <a:xfrm>
            <a:off x="3512023" y="2487006"/>
            <a:ext cx="365344" cy="367165"/>
            <a:chOff x="-62882850" y="2664925"/>
            <a:chExt cx="315850" cy="317425"/>
          </a:xfrm>
        </p:grpSpPr>
        <p:sp>
          <p:nvSpPr>
            <p:cNvPr id="9573" name="Google Shape;9573;p77"/>
            <p:cNvSpPr/>
            <p:nvPr/>
          </p:nvSpPr>
          <p:spPr>
            <a:xfrm>
              <a:off x="-62882850" y="2664925"/>
              <a:ext cx="315850" cy="317425"/>
            </a:xfrm>
            <a:custGeom>
              <a:avLst/>
              <a:gdLst/>
              <a:ahLst/>
              <a:cxnLst/>
              <a:rect l="l" t="t" r="r" b="b"/>
              <a:pathLst>
                <a:path w="12634" h="12697" extrusionOk="0">
                  <a:moveTo>
                    <a:pt x="11405" y="851"/>
                  </a:moveTo>
                  <a:cubicBezTo>
                    <a:pt x="11657" y="851"/>
                    <a:pt x="11814" y="1040"/>
                    <a:pt x="11814" y="1260"/>
                  </a:cubicBezTo>
                  <a:lnTo>
                    <a:pt x="11814" y="7719"/>
                  </a:lnTo>
                  <a:lnTo>
                    <a:pt x="788" y="7719"/>
                  </a:lnTo>
                  <a:lnTo>
                    <a:pt x="788" y="1260"/>
                  </a:lnTo>
                  <a:cubicBezTo>
                    <a:pt x="788" y="1040"/>
                    <a:pt x="977" y="851"/>
                    <a:pt x="1197" y="851"/>
                  </a:cubicBezTo>
                  <a:close/>
                  <a:moveTo>
                    <a:pt x="11814" y="8506"/>
                  </a:moveTo>
                  <a:lnTo>
                    <a:pt x="11814" y="8947"/>
                  </a:lnTo>
                  <a:cubicBezTo>
                    <a:pt x="11814" y="9199"/>
                    <a:pt x="11594" y="9389"/>
                    <a:pt x="11405" y="9389"/>
                  </a:cubicBezTo>
                  <a:lnTo>
                    <a:pt x="1197" y="9389"/>
                  </a:lnTo>
                  <a:cubicBezTo>
                    <a:pt x="977" y="9389"/>
                    <a:pt x="788" y="9199"/>
                    <a:pt x="788" y="8947"/>
                  </a:cubicBezTo>
                  <a:lnTo>
                    <a:pt x="788" y="8506"/>
                  </a:lnTo>
                  <a:close/>
                  <a:moveTo>
                    <a:pt x="7782" y="10208"/>
                  </a:moveTo>
                  <a:lnTo>
                    <a:pt x="8349" y="11877"/>
                  </a:lnTo>
                  <a:lnTo>
                    <a:pt x="4253" y="11877"/>
                  </a:lnTo>
                  <a:lnTo>
                    <a:pt x="4789" y="10208"/>
                  </a:lnTo>
                  <a:close/>
                  <a:moveTo>
                    <a:pt x="1197" y="0"/>
                  </a:moveTo>
                  <a:cubicBezTo>
                    <a:pt x="536" y="0"/>
                    <a:pt x="0" y="567"/>
                    <a:pt x="0" y="1229"/>
                  </a:cubicBezTo>
                  <a:lnTo>
                    <a:pt x="0" y="8947"/>
                  </a:lnTo>
                  <a:cubicBezTo>
                    <a:pt x="0" y="9609"/>
                    <a:pt x="536" y="10176"/>
                    <a:pt x="1197" y="10176"/>
                  </a:cubicBezTo>
                  <a:lnTo>
                    <a:pt x="3938" y="10176"/>
                  </a:lnTo>
                  <a:lnTo>
                    <a:pt x="3371" y="11814"/>
                  </a:lnTo>
                  <a:lnTo>
                    <a:pt x="2867" y="11814"/>
                  </a:lnTo>
                  <a:cubicBezTo>
                    <a:pt x="2615" y="11814"/>
                    <a:pt x="2457" y="12003"/>
                    <a:pt x="2457" y="12255"/>
                  </a:cubicBezTo>
                  <a:cubicBezTo>
                    <a:pt x="2457" y="12476"/>
                    <a:pt x="2678" y="12697"/>
                    <a:pt x="2867" y="12697"/>
                  </a:cubicBezTo>
                  <a:lnTo>
                    <a:pt x="9767" y="12697"/>
                  </a:lnTo>
                  <a:cubicBezTo>
                    <a:pt x="9987" y="12697"/>
                    <a:pt x="10176" y="12476"/>
                    <a:pt x="10176" y="12255"/>
                  </a:cubicBezTo>
                  <a:cubicBezTo>
                    <a:pt x="10176" y="12003"/>
                    <a:pt x="9987" y="11814"/>
                    <a:pt x="9767" y="11814"/>
                  </a:cubicBezTo>
                  <a:lnTo>
                    <a:pt x="9231" y="11814"/>
                  </a:lnTo>
                  <a:lnTo>
                    <a:pt x="8695" y="10176"/>
                  </a:lnTo>
                  <a:lnTo>
                    <a:pt x="11405" y="10176"/>
                  </a:lnTo>
                  <a:cubicBezTo>
                    <a:pt x="12066" y="10176"/>
                    <a:pt x="12634" y="9609"/>
                    <a:pt x="12634" y="8947"/>
                  </a:cubicBezTo>
                  <a:lnTo>
                    <a:pt x="12634" y="1229"/>
                  </a:lnTo>
                  <a:cubicBezTo>
                    <a:pt x="12634" y="567"/>
                    <a:pt x="12066"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77"/>
            <p:cNvSpPr/>
            <p:nvPr/>
          </p:nvSpPr>
          <p:spPr>
            <a:xfrm>
              <a:off x="-62756050" y="2702725"/>
              <a:ext cx="62225" cy="146525"/>
            </a:xfrm>
            <a:custGeom>
              <a:avLst/>
              <a:gdLst/>
              <a:ahLst/>
              <a:cxnLst/>
              <a:rect l="l" t="t" r="r" b="b"/>
              <a:pathLst>
                <a:path w="2489" h="5861" extrusionOk="0">
                  <a:moveTo>
                    <a:pt x="1229" y="0"/>
                  </a:moveTo>
                  <a:cubicBezTo>
                    <a:pt x="977" y="0"/>
                    <a:pt x="819" y="189"/>
                    <a:pt x="819" y="441"/>
                  </a:cubicBezTo>
                  <a:lnTo>
                    <a:pt x="819" y="693"/>
                  </a:lnTo>
                  <a:cubicBezTo>
                    <a:pt x="347" y="851"/>
                    <a:pt x="0" y="1324"/>
                    <a:pt x="0" y="1891"/>
                  </a:cubicBezTo>
                  <a:cubicBezTo>
                    <a:pt x="0" y="2552"/>
                    <a:pt x="536" y="2962"/>
                    <a:pt x="977" y="3277"/>
                  </a:cubicBezTo>
                  <a:cubicBezTo>
                    <a:pt x="1292" y="3497"/>
                    <a:pt x="1639" y="3749"/>
                    <a:pt x="1639" y="3970"/>
                  </a:cubicBezTo>
                  <a:cubicBezTo>
                    <a:pt x="1639" y="4222"/>
                    <a:pt x="1450" y="4411"/>
                    <a:pt x="1229" y="4411"/>
                  </a:cubicBezTo>
                  <a:cubicBezTo>
                    <a:pt x="977" y="4411"/>
                    <a:pt x="819" y="4222"/>
                    <a:pt x="819" y="3970"/>
                  </a:cubicBezTo>
                  <a:cubicBezTo>
                    <a:pt x="819" y="3749"/>
                    <a:pt x="630" y="3529"/>
                    <a:pt x="441" y="3529"/>
                  </a:cubicBezTo>
                  <a:cubicBezTo>
                    <a:pt x="189" y="3529"/>
                    <a:pt x="0" y="3749"/>
                    <a:pt x="0" y="3970"/>
                  </a:cubicBezTo>
                  <a:cubicBezTo>
                    <a:pt x="0" y="4537"/>
                    <a:pt x="347" y="4947"/>
                    <a:pt x="819" y="5167"/>
                  </a:cubicBezTo>
                  <a:lnTo>
                    <a:pt x="819" y="5419"/>
                  </a:lnTo>
                  <a:cubicBezTo>
                    <a:pt x="819" y="5671"/>
                    <a:pt x="1008" y="5860"/>
                    <a:pt x="1229" y="5860"/>
                  </a:cubicBezTo>
                  <a:cubicBezTo>
                    <a:pt x="1450" y="5860"/>
                    <a:pt x="1639" y="5671"/>
                    <a:pt x="1639" y="5419"/>
                  </a:cubicBezTo>
                  <a:lnTo>
                    <a:pt x="1639" y="5167"/>
                  </a:lnTo>
                  <a:cubicBezTo>
                    <a:pt x="2111" y="5010"/>
                    <a:pt x="2489" y="4537"/>
                    <a:pt x="2489" y="3970"/>
                  </a:cubicBezTo>
                  <a:cubicBezTo>
                    <a:pt x="2489" y="3308"/>
                    <a:pt x="1922" y="2899"/>
                    <a:pt x="1481" y="2584"/>
                  </a:cubicBezTo>
                  <a:cubicBezTo>
                    <a:pt x="1166" y="2363"/>
                    <a:pt x="819" y="2111"/>
                    <a:pt x="819" y="1891"/>
                  </a:cubicBezTo>
                  <a:cubicBezTo>
                    <a:pt x="819" y="1639"/>
                    <a:pt x="977" y="1450"/>
                    <a:pt x="1229" y="1450"/>
                  </a:cubicBezTo>
                  <a:cubicBezTo>
                    <a:pt x="1450" y="1450"/>
                    <a:pt x="1639" y="1639"/>
                    <a:pt x="1639" y="1891"/>
                  </a:cubicBezTo>
                  <a:cubicBezTo>
                    <a:pt x="1639" y="2111"/>
                    <a:pt x="1859" y="2332"/>
                    <a:pt x="2048" y="2332"/>
                  </a:cubicBezTo>
                  <a:cubicBezTo>
                    <a:pt x="2237" y="2332"/>
                    <a:pt x="2489" y="2111"/>
                    <a:pt x="2489" y="1891"/>
                  </a:cubicBezTo>
                  <a:cubicBezTo>
                    <a:pt x="2489" y="1324"/>
                    <a:pt x="2143" y="914"/>
                    <a:pt x="1639" y="693"/>
                  </a:cubicBezTo>
                  <a:lnTo>
                    <a:pt x="1639" y="441"/>
                  </a:lnTo>
                  <a:cubicBezTo>
                    <a:pt x="1639" y="189"/>
                    <a:pt x="1450"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75" name="Google Shape;9575;p77"/>
          <p:cNvSpPr/>
          <p:nvPr/>
        </p:nvSpPr>
        <p:spPr>
          <a:xfrm>
            <a:off x="2175712" y="2961302"/>
            <a:ext cx="369016" cy="364563"/>
          </a:xfrm>
          <a:custGeom>
            <a:avLst/>
            <a:gdLst/>
            <a:ahLst/>
            <a:cxnLst/>
            <a:rect l="l" t="t" r="r" b="b"/>
            <a:pathLst>
              <a:path w="12761" h="12607" extrusionOk="0">
                <a:moveTo>
                  <a:pt x="1860" y="2084"/>
                </a:moveTo>
                <a:lnTo>
                  <a:pt x="7373" y="2997"/>
                </a:lnTo>
                <a:lnTo>
                  <a:pt x="5861" y="4509"/>
                </a:lnTo>
                <a:lnTo>
                  <a:pt x="1261" y="2682"/>
                </a:lnTo>
                <a:lnTo>
                  <a:pt x="1860" y="2084"/>
                </a:lnTo>
                <a:close/>
                <a:moveTo>
                  <a:pt x="11229" y="836"/>
                </a:moveTo>
                <a:cubicBezTo>
                  <a:pt x="11412" y="836"/>
                  <a:pt x="11578" y="881"/>
                  <a:pt x="11689" y="981"/>
                </a:cubicBezTo>
                <a:cubicBezTo>
                  <a:pt x="11847" y="1107"/>
                  <a:pt x="11878" y="1359"/>
                  <a:pt x="11847" y="1611"/>
                </a:cubicBezTo>
                <a:cubicBezTo>
                  <a:pt x="11815" y="1894"/>
                  <a:pt x="11658" y="2210"/>
                  <a:pt x="11500" y="2367"/>
                </a:cubicBezTo>
                <a:lnTo>
                  <a:pt x="7405" y="6463"/>
                </a:lnTo>
                <a:lnTo>
                  <a:pt x="5168" y="8700"/>
                </a:lnTo>
                <a:cubicBezTo>
                  <a:pt x="5073" y="8794"/>
                  <a:pt x="5010" y="8952"/>
                  <a:pt x="5042" y="9078"/>
                </a:cubicBezTo>
                <a:lnTo>
                  <a:pt x="5262" y="10306"/>
                </a:lnTo>
                <a:lnTo>
                  <a:pt x="4223" y="11377"/>
                </a:lnTo>
                <a:lnTo>
                  <a:pt x="3782" y="9204"/>
                </a:lnTo>
                <a:cubicBezTo>
                  <a:pt x="3750" y="9046"/>
                  <a:pt x="3624" y="8952"/>
                  <a:pt x="3466" y="8889"/>
                </a:cubicBezTo>
                <a:lnTo>
                  <a:pt x="1293" y="8479"/>
                </a:lnTo>
                <a:lnTo>
                  <a:pt x="2364" y="7408"/>
                </a:lnTo>
                <a:lnTo>
                  <a:pt x="3624" y="7628"/>
                </a:lnTo>
                <a:cubicBezTo>
                  <a:pt x="3659" y="7646"/>
                  <a:pt x="3697" y="7654"/>
                  <a:pt x="3734" y="7654"/>
                </a:cubicBezTo>
                <a:cubicBezTo>
                  <a:pt x="3831" y="7654"/>
                  <a:pt x="3925" y="7602"/>
                  <a:pt x="3971" y="7534"/>
                </a:cubicBezTo>
                <a:lnTo>
                  <a:pt x="6207" y="5266"/>
                </a:lnTo>
                <a:lnTo>
                  <a:pt x="10272" y="1233"/>
                </a:lnTo>
                <a:cubicBezTo>
                  <a:pt x="10496" y="988"/>
                  <a:pt x="10892" y="836"/>
                  <a:pt x="11229" y="836"/>
                </a:cubicBezTo>
                <a:close/>
                <a:moveTo>
                  <a:pt x="9641" y="5360"/>
                </a:moveTo>
                <a:lnTo>
                  <a:pt x="10587" y="10873"/>
                </a:lnTo>
                <a:lnTo>
                  <a:pt x="9988" y="11472"/>
                </a:lnTo>
                <a:lnTo>
                  <a:pt x="8161" y="6872"/>
                </a:lnTo>
                <a:lnTo>
                  <a:pt x="9641" y="5360"/>
                </a:lnTo>
                <a:close/>
                <a:moveTo>
                  <a:pt x="11241" y="1"/>
                </a:moveTo>
                <a:cubicBezTo>
                  <a:pt x="10688" y="1"/>
                  <a:pt x="10104" y="248"/>
                  <a:pt x="9736" y="634"/>
                </a:cubicBezTo>
                <a:lnTo>
                  <a:pt x="8066" y="2304"/>
                </a:lnTo>
                <a:lnTo>
                  <a:pt x="1765" y="1233"/>
                </a:lnTo>
                <a:cubicBezTo>
                  <a:pt x="1742" y="1227"/>
                  <a:pt x="1718" y="1225"/>
                  <a:pt x="1693" y="1225"/>
                </a:cubicBezTo>
                <a:cubicBezTo>
                  <a:pt x="1585" y="1225"/>
                  <a:pt x="1470" y="1276"/>
                  <a:pt x="1419" y="1327"/>
                </a:cubicBezTo>
                <a:lnTo>
                  <a:pt x="221" y="2525"/>
                </a:lnTo>
                <a:cubicBezTo>
                  <a:pt x="158" y="2588"/>
                  <a:pt x="64" y="2745"/>
                  <a:pt x="127" y="2903"/>
                </a:cubicBezTo>
                <a:cubicBezTo>
                  <a:pt x="158" y="3029"/>
                  <a:pt x="221" y="3155"/>
                  <a:pt x="348" y="3218"/>
                </a:cubicBezTo>
                <a:lnTo>
                  <a:pt x="5199" y="5171"/>
                </a:lnTo>
                <a:lnTo>
                  <a:pt x="3561" y="6809"/>
                </a:lnTo>
                <a:lnTo>
                  <a:pt x="2301" y="6589"/>
                </a:lnTo>
                <a:cubicBezTo>
                  <a:pt x="2267" y="6572"/>
                  <a:pt x="2231" y="6564"/>
                  <a:pt x="2195" y="6564"/>
                </a:cubicBezTo>
                <a:cubicBezTo>
                  <a:pt x="2095" y="6564"/>
                  <a:pt x="1992" y="6622"/>
                  <a:pt x="1923" y="6715"/>
                </a:cubicBezTo>
                <a:lnTo>
                  <a:pt x="158" y="8479"/>
                </a:lnTo>
                <a:cubicBezTo>
                  <a:pt x="32" y="8605"/>
                  <a:pt x="1" y="8731"/>
                  <a:pt x="32" y="8857"/>
                </a:cubicBezTo>
                <a:cubicBezTo>
                  <a:pt x="95" y="9015"/>
                  <a:pt x="190" y="9109"/>
                  <a:pt x="348" y="9141"/>
                </a:cubicBezTo>
                <a:lnTo>
                  <a:pt x="2994" y="9645"/>
                </a:lnTo>
                <a:lnTo>
                  <a:pt x="3498" y="12291"/>
                </a:lnTo>
                <a:cubicBezTo>
                  <a:pt x="3561" y="12449"/>
                  <a:pt x="3656" y="12575"/>
                  <a:pt x="3782" y="12606"/>
                </a:cubicBezTo>
                <a:lnTo>
                  <a:pt x="3908" y="12606"/>
                </a:lnTo>
                <a:cubicBezTo>
                  <a:pt x="4034" y="12606"/>
                  <a:pt x="4097" y="12575"/>
                  <a:pt x="4191" y="12480"/>
                </a:cubicBezTo>
                <a:lnTo>
                  <a:pt x="5955" y="10716"/>
                </a:lnTo>
                <a:cubicBezTo>
                  <a:pt x="6018" y="10653"/>
                  <a:pt x="6113" y="10464"/>
                  <a:pt x="6081" y="10369"/>
                </a:cubicBezTo>
                <a:lnTo>
                  <a:pt x="5829" y="9109"/>
                </a:lnTo>
                <a:lnTo>
                  <a:pt x="7499" y="7439"/>
                </a:lnTo>
                <a:lnTo>
                  <a:pt x="9421" y="12291"/>
                </a:lnTo>
                <a:cubicBezTo>
                  <a:pt x="9452" y="12417"/>
                  <a:pt x="9578" y="12543"/>
                  <a:pt x="9736" y="12543"/>
                </a:cubicBezTo>
                <a:lnTo>
                  <a:pt x="9799" y="12543"/>
                </a:lnTo>
                <a:cubicBezTo>
                  <a:pt x="9925" y="12543"/>
                  <a:pt x="9988" y="12480"/>
                  <a:pt x="10083" y="12417"/>
                </a:cubicBezTo>
                <a:lnTo>
                  <a:pt x="11248" y="11220"/>
                </a:lnTo>
                <a:cubicBezTo>
                  <a:pt x="11343" y="11157"/>
                  <a:pt x="11374" y="10999"/>
                  <a:pt x="11374" y="10873"/>
                </a:cubicBezTo>
                <a:lnTo>
                  <a:pt x="10303" y="4572"/>
                </a:lnTo>
                <a:lnTo>
                  <a:pt x="11973" y="2903"/>
                </a:lnTo>
                <a:cubicBezTo>
                  <a:pt x="12288" y="2588"/>
                  <a:pt x="12477" y="2178"/>
                  <a:pt x="12571" y="1705"/>
                </a:cubicBezTo>
                <a:cubicBezTo>
                  <a:pt x="12760" y="1201"/>
                  <a:pt x="12603" y="729"/>
                  <a:pt x="12288" y="414"/>
                </a:cubicBezTo>
                <a:cubicBezTo>
                  <a:pt x="12013" y="126"/>
                  <a:pt x="11635" y="1"/>
                  <a:pt x="112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576" name="Google Shape;9576;p77"/>
          <p:cNvGrpSpPr/>
          <p:nvPr/>
        </p:nvGrpSpPr>
        <p:grpSpPr>
          <a:xfrm>
            <a:off x="2183172" y="3399646"/>
            <a:ext cx="366269" cy="359907"/>
            <a:chOff x="-60988625" y="2310475"/>
            <a:chExt cx="316650" cy="311150"/>
          </a:xfrm>
        </p:grpSpPr>
        <p:sp>
          <p:nvSpPr>
            <p:cNvPr id="9577" name="Google Shape;9577;p77"/>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77"/>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77"/>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77"/>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1" name="Google Shape;9581;p77"/>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2" name="Google Shape;9582;p77"/>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83" name="Google Shape;9583;p77"/>
          <p:cNvGrpSpPr/>
          <p:nvPr/>
        </p:nvGrpSpPr>
        <p:grpSpPr>
          <a:xfrm>
            <a:off x="2183634" y="3837809"/>
            <a:ext cx="365344" cy="368785"/>
            <a:chOff x="-60987050" y="2671400"/>
            <a:chExt cx="315850" cy="318825"/>
          </a:xfrm>
        </p:grpSpPr>
        <p:sp>
          <p:nvSpPr>
            <p:cNvPr id="9584" name="Google Shape;9584;p77"/>
            <p:cNvSpPr/>
            <p:nvPr/>
          </p:nvSpPr>
          <p:spPr>
            <a:xfrm>
              <a:off x="-60987050" y="2671400"/>
              <a:ext cx="315850" cy="318825"/>
            </a:xfrm>
            <a:custGeom>
              <a:avLst/>
              <a:gdLst/>
              <a:ahLst/>
              <a:cxnLst/>
              <a:rect l="l" t="t" r="r" b="b"/>
              <a:pathLst>
                <a:path w="12634" h="12753" extrusionOk="0">
                  <a:moveTo>
                    <a:pt x="6270" y="844"/>
                  </a:moveTo>
                  <a:lnTo>
                    <a:pt x="11783" y="3175"/>
                  </a:lnTo>
                  <a:lnTo>
                    <a:pt x="11783" y="4152"/>
                  </a:lnTo>
                  <a:lnTo>
                    <a:pt x="757" y="4152"/>
                  </a:lnTo>
                  <a:lnTo>
                    <a:pt x="757" y="3175"/>
                  </a:lnTo>
                  <a:lnTo>
                    <a:pt x="6270" y="844"/>
                  </a:lnTo>
                  <a:close/>
                  <a:moveTo>
                    <a:pt x="2552" y="5002"/>
                  </a:moveTo>
                  <a:lnTo>
                    <a:pt x="2552" y="10232"/>
                  </a:lnTo>
                  <a:lnTo>
                    <a:pt x="1733" y="10232"/>
                  </a:lnTo>
                  <a:lnTo>
                    <a:pt x="1733" y="5002"/>
                  </a:lnTo>
                  <a:close/>
                  <a:moveTo>
                    <a:pt x="5041" y="5002"/>
                  </a:moveTo>
                  <a:lnTo>
                    <a:pt x="5041" y="10232"/>
                  </a:lnTo>
                  <a:lnTo>
                    <a:pt x="3403" y="10232"/>
                  </a:lnTo>
                  <a:lnTo>
                    <a:pt x="3403" y="5002"/>
                  </a:lnTo>
                  <a:close/>
                  <a:moveTo>
                    <a:pt x="6711" y="5002"/>
                  </a:moveTo>
                  <a:lnTo>
                    <a:pt x="6711" y="10232"/>
                  </a:lnTo>
                  <a:lnTo>
                    <a:pt x="5860" y="10232"/>
                  </a:lnTo>
                  <a:lnTo>
                    <a:pt x="5860" y="5002"/>
                  </a:lnTo>
                  <a:close/>
                  <a:moveTo>
                    <a:pt x="9168" y="5002"/>
                  </a:moveTo>
                  <a:lnTo>
                    <a:pt x="9168" y="10232"/>
                  </a:lnTo>
                  <a:lnTo>
                    <a:pt x="7530" y="10232"/>
                  </a:lnTo>
                  <a:lnTo>
                    <a:pt x="7530" y="5002"/>
                  </a:lnTo>
                  <a:close/>
                  <a:moveTo>
                    <a:pt x="10838" y="5002"/>
                  </a:moveTo>
                  <a:lnTo>
                    <a:pt x="10838" y="10232"/>
                  </a:lnTo>
                  <a:lnTo>
                    <a:pt x="10019" y="10232"/>
                  </a:lnTo>
                  <a:lnTo>
                    <a:pt x="10019" y="5002"/>
                  </a:lnTo>
                  <a:close/>
                  <a:moveTo>
                    <a:pt x="11374" y="11020"/>
                  </a:moveTo>
                  <a:cubicBezTo>
                    <a:pt x="11594" y="11051"/>
                    <a:pt x="11783" y="11209"/>
                    <a:pt x="11783" y="11461"/>
                  </a:cubicBezTo>
                  <a:lnTo>
                    <a:pt x="11783" y="11870"/>
                  </a:lnTo>
                  <a:lnTo>
                    <a:pt x="757" y="11870"/>
                  </a:lnTo>
                  <a:lnTo>
                    <a:pt x="757" y="11461"/>
                  </a:lnTo>
                  <a:cubicBezTo>
                    <a:pt x="757" y="11209"/>
                    <a:pt x="946" y="11020"/>
                    <a:pt x="1198" y="11020"/>
                  </a:cubicBezTo>
                  <a:close/>
                  <a:moveTo>
                    <a:pt x="6290" y="1"/>
                  </a:moveTo>
                  <a:cubicBezTo>
                    <a:pt x="6238" y="1"/>
                    <a:pt x="6191" y="9"/>
                    <a:pt x="6144" y="25"/>
                  </a:cubicBezTo>
                  <a:lnTo>
                    <a:pt x="252" y="2514"/>
                  </a:lnTo>
                  <a:cubicBezTo>
                    <a:pt x="95" y="2577"/>
                    <a:pt x="0" y="2703"/>
                    <a:pt x="0" y="2892"/>
                  </a:cubicBezTo>
                  <a:lnTo>
                    <a:pt x="0" y="4561"/>
                  </a:lnTo>
                  <a:cubicBezTo>
                    <a:pt x="0" y="4782"/>
                    <a:pt x="189" y="5002"/>
                    <a:pt x="410" y="5002"/>
                  </a:cubicBezTo>
                  <a:lnTo>
                    <a:pt x="946" y="5002"/>
                  </a:lnTo>
                  <a:lnTo>
                    <a:pt x="946" y="10264"/>
                  </a:lnTo>
                  <a:cubicBezTo>
                    <a:pt x="410" y="10390"/>
                    <a:pt x="0" y="10894"/>
                    <a:pt x="0" y="11492"/>
                  </a:cubicBezTo>
                  <a:lnTo>
                    <a:pt x="0" y="12311"/>
                  </a:lnTo>
                  <a:cubicBezTo>
                    <a:pt x="0" y="12532"/>
                    <a:pt x="189" y="12753"/>
                    <a:pt x="410" y="12753"/>
                  </a:cubicBezTo>
                  <a:lnTo>
                    <a:pt x="12256" y="12753"/>
                  </a:lnTo>
                  <a:cubicBezTo>
                    <a:pt x="12476" y="12753"/>
                    <a:pt x="12634" y="12532"/>
                    <a:pt x="12634" y="12311"/>
                  </a:cubicBezTo>
                  <a:lnTo>
                    <a:pt x="12634" y="11492"/>
                  </a:lnTo>
                  <a:cubicBezTo>
                    <a:pt x="12634" y="10894"/>
                    <a:pt x="12256" y="10390"/>
                    <a:pt x="11689" y="10264"/>
                  </a:cubicBezTo>
                  <a:lnTo>
                    <a:pt x="11689" y="5002"/>
                  </a:lnTo>
                  <a:lnTo>
                    <a:pt x="12256" y="5002"/>
                  </a:lnTo>
                  <a:cubicBezTo>
                    <a:pt x="12476" y="5002"/>
                    <a:pt x="12634" y="4782"/>
                    <a:pt x="12634" y="4561"/>
                  </a:cubicBezTo>
                  <a:lnTo>
                    <a:pt x="12634" y="2892"/>
                  </a:lnTo>
                  <a:cubicBezTo>
                    <a:pt x="12602" y="2734"/>
                    <a:pt x="12539" y="2577"/>
                    <a:pt x="12382" y="2514"/>
                  </a:cubicBezTo>
                  <a:lnTo>
                    <a:pt x="6459" y="25"/>
                  </a:lnTo>
                  <a:cubicBezTo>
                    <a:pt x="6396" y="9"/>
                    <a:pt x="6341" y="1"/>
                    <a:pt x="62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77"/>
            <p:cNvSpPr/>
            <p:nvPr/>
          </p:nvSpPr>
          <p:spPr>
            <a:xfrm>
              <a:off x="-60839775" y="2731075"/>
              <a:ext cx="19725" cy="19725"/>
            </a:xfrm>
            <a:custGeom>
              <a:avLst/>
              <a:gdLst/>
              <a:ahLst/>
              <a:cxnLst/>
              <a:rect l="l" t="t" r="r" b="b"/>
              <a:pathLst>
                <a:path w="789" h="789" extrusionOk="0">
                  <a:moveTo>
                    <a:pt x="379" y="0"/>
                  </a:moveTo>
                  <a:cubicBezTo>
                    <a:pt x="158" y="0"/>
                    <a:pt x="1" y="190"/>
                    <a:pt x="1" y="379"/>
                  </a:cubicBezTo>
                  <a:cubicBezTo>
                    <a:pt x="1" y="599"/>
                    <a:pt x="158" y="788"/>
                    <a:pt x="379" y="788"/>
                  </a:cubicBezTo>
                  <a:cubicBezTo>
                    <a:pt x="599" y="788"/>
                    <a:pt x="789" y="599"/>
                    <a:pt x="789" y="379"/>
                  </a:cubicBezTo>
                  <a:cubicBezTo>
                    <a:pt x="789" y="190"/>
                    <a:pt x="599"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86" name="Google Shape;9586;p77"/>
          <p:cNvGrpSpPr/>
          <p:nvPr/>
        </p:nvGrpSpPr>
        <p:grpSpPr>
          <a:xfrm>
            <a:off x="3952500" y="3400571"/>
            <a:ext cx="368987" cy="358056"/>
            <a:chOff x="-59481900" y="2290800"/>
            <a:chExt cx="319000" cy="309550"/>
          </a:xfrm>
        </p:grpSpPr>
        <p:sp>
          <p:nvSpPr>
            <p:cNvPr id="9587" name="Google Shape;9587;p77"/>
            <p:cNvSpPr/>
            <p:nvPr/>
          </p:nvSpPr>
          <p:spPr>
            <a:xfrm>
              <a:off x="-59481900" y="2290800"/>
              <a:ext cx="319000" cy="309550"/>
            </a:xfrm>
            <a:custGeom>
              <a:avLst/>
              <a:gdLst/>
              <a:ahLst/>
              <a:cxnLst/>
              <a:rect l="l" t="t" r="r" b="b"/>
              <a:pathLst>
                <a:path w="12760" h="12382" extrusionOk="0">
                  <a:moveTo>
                    <a:pt x="6427" y="851"/>
                  </a:moveTo>
                  <a:cubicBezTo>
                    <a:pt x="6900" y="851"/>
                    <a:pt x="7247" y="1197"/>
                    <a:pt x="7247" y="1670"/>
                  </a:cubicBezTo>
                  <a:lnTo>
                    <a:pt x="7247" y="4159"/>
                  </a:lnTo>
                  <a:lnTo>
                    <a:pt x="5608" y="4159"/>
                  </a:lnTo>
                  <a:lnTo>
                    <a:pt x="5608" y="1670"/>
                  </a:lnTo>
                  <a:cubicBezTo>
                    <a:pt x="5608" y="1197"/>
                    <a:pt x="5955" y="851"/>
                    <a:pt x="6427" y="851"/>
                  </a:cubicBezTo>
                  <a:close/>
                  <a:moveTo>
                    <a:pt x="11594" y="3308"/>
                  </a:moveTo>
                  <a:cubicBezTo>
                    <a:pt x="11846" y="3308"/>
                    <a:pt x="12004" y="3529"/>
                    <a:pt x="12004" y="3749"/>
                  </a:cubicBezTo>
                  <a:lnTo>
                    <a:pt x="12004" y="11185"/>
                  </a:lnTo>
                  <a:lnTo>
                    <a:pt x="11941" y="11185"/>
                  </a:lnTo>
                  <a:cubicBezTo>
                    <a:pt x="11941" y="11437"/>
                    <a:pt x="11752" y="11594"/>
                    <a:pt x="11563" y="11594"/>
                  </a:cubicBezTo>
                  <a:lnTo>
                    <a:pt x="1355" y="11594"/>
                  </a:lnTo>
                  <a:cubicBezTo>
                    <a:pt x="1103" y="11594"/>
                    <a:pt x="914" y="11405"/>
                    <a:pt x="914" y="11185"/>
                  </a:cubicBezTo>
                  <a:lnTo>
                    <a:pt x="914" y="3749"/>
                  </a:lnTo>
                  <a:cubicBezTo>
                    <a:pt x="914" y="3529"/>
                    <a:pt x="1103" y="3308"/>
                    <a:pt x="1355" y="3308"/>
                  </a:cubicBezTo>
                  <a:lnTo>
                    <a:pt x="4821" y="3308"/>
                  </a:lnTo>
                  <a:lnTo>
                    <a:pt x="4821" y="4568"/>
                  </a:lnTo>
                  <a:cubicBezTo>
                    <a:pt x="4821" y="4821"/>
                    <a:pt x="5010" y="5010"/>
                    <a:pt x="5199" y="5010"/>
                  </a:cubicBezTo>
                  <a:lnTo>
                    <a:pt x="7688" y="5010"/>
                  </a:lnTo>
                  <a:cubicBezTo>
                    <a:pt x="7940" y="5010"/>
                    <a:pt x="8129" y="4821"/>
                    <a:pt x="8129" y="4568"/>
                  </a:cubicBezTo>
                  <a:lnTo>
                    <a:pt x="8129" y="3308"/>
                  </a:lnTo>
                  <a:close/>
                  <a:moveTo>
                    <a:pt x="6396" y="0"/>
                  </a:moveTo>
                  <a:cubicBezTo>
                    <a:pt x="5482" y="0"/>
                    <a:pt x="4726" y="756"/>
                    <a:pt x="4726" y="1670"/>
                  </a:cubicBezTo>
                  <a:lnTo>
                    <a:pt x="4726" y="2489"/>
                  </a:lnTo>
                  <a:lnTo>
                    <a:pt x="1261" y="2489"/>
                  </a:lnTo>
                  <a:cubicBezTo>
                    <a:pt x="599" y="2489"/>
                    <a:pt x="0" y="3056"/>
                    <a:pt x="0" y="3718"/>
                  </a:cubicBezTo>
                  <a:lnTo>
                    <a:pt x="0" y="11153"/>
                  </a:lnTo>
                  <a:cubicBezTo>
                    <a:pt x="0" y="11815"/>
                    <a:pt x="568" y="12382"/>
                    <a:pt x="1261" y="12382"/>
                  </a:cubicBezTo>
                  <a:lnTo>
                    <a:pt x="11468" y="12382"/>
                  </a:lnTo>
                  <a:cubicBezTo>
                    <a:pt x="12130" y="12382"/>
                    <a:pt x="12697" y="11815"/>
                    <a:pt x="12697" y="11153"/>
                  </a:cubicBezTo>
                  <a:lnTo>
                    <a:pt x="12697" y="3749"/>
                  </a:lnTo>
                  <a:cubicBezTo>
                    <a:pt x="12760" y="3025"/>
                    <a:pt x="12193" y="2489"/>
                    <a:pt x="11500" y="2489"/>
                  </a:cubicBezTo>
                  <a:lnTo>
                    <a:pt x="8034" y="2489"/>
                  </a:lnTo>
                  <a:lnTo>
                    <a:pt x="8034" y="1670"/>
                  </a:lnTo>
                  <a:cubicBezTo>
                    <a:pt x="8034" y="756"/>
                    <a:pt x="7310"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77"/>
            <p:cNvSpPr/>
            <p:nvPr/>
          </p:nvSpPr>
          <p:spPr>
            <a:xfrm>
              <a:off x="-59287350" y="2456200"/>
              <a:ext cx="83500" cy="21275"/>
            </a:xfrm>
            <a:custGeom>
              <a:avLst/>
              <a:gdLst/>
              <a:ahLst/>
              <a:cxnLst/>
              <a:rect l="l" t="t" r="r" b="b"/>
              <a:pathLst>
                <a:path w="3340" h="851" extrusionOk="0">
                  <a:moveTo>
                    <a:pt x="410" y="0"/>
                  </a:moveTo>
                  <a:cubicBezTo>
                    <a:pt x="189" y="0"/>
                    <a:pt x="0" y="221"/>
                    <a:pt x="0" y="441"/>
                  </a:cubicBezTo>
                  <a:cubicBezTo>
                    <a:pt x="0" y="693"/>
                    <a:pt x="189" y="851"/>
                    <a:pt x="410" y="851"/>
                  </a:cubicBezTo>
                  <a:lnTo>
                    <a:pt x="2899" y="851"/>
                  </a:lnTo>
                  <a:cubicBezTo>
                    <a:pt x="3151" y="851"/>
                    <a:pt x="3308" y="630"/>
                    <a:pt x="3308" y="441"/>
                  </a:cubicBezTo>
                  <a:cubicBezTo>
                    <a:pt x="3340" y="221"/>
                    <a:pt x="3151"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77"/>
            <p:cNvSpPr/>
            <p:nvPr/>
          </p:nvSpPr>
          <p:spPr>
            <a:xfrm>
              <a:off x="-59287350" y="2497950"/>
              <a:ext cx="83500" cy="21275"/>
            </a:xfrm>
            <a:custGeom>
              <a:avLst/>
              <a:gdLst/>
              <a:ahLst/>
              <a:cxnLst/>
              <a:rect l="l" t="t" r="r" b="b"/>
              <a:pathLst>
                <a:path w="3340" h="851" extrusionOk="0">
                  <a:moveTo>
                    <a:pt x="410" y="0"/>
                  </a:moveTo>
                  <a:cubicBezTo>
                    <a:pt x="189" y="0"/>
                    <a:pt x="0" y="189"/>
                    <a:pt x="0" y="441"/>
                  </a:cubicBezTo>
                  <a:cubicBezTo>
                    <a:pt x="0" y="662"/>
                    <a:pt x="189" y="851"/>
                    <a:pt x="410" y="851"/>
                  </a:cubicBezTo>
                  <a:lnTo>
                    <a:pt x="2899" y="851"/>
                  </a:lnTo>
                  <a:cubicBezTo>
                    <a:pt x="3151" y="851"/>
                    <a:pt x="3308" y="662"/>
                    <a:pt x="3308" y="441"/>
                  </a:cubicBezTo>
                  <a:cubicBezTo>
                    <a:pt x="3340" y="189"/>
                    <a:pt x="3151"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77"/>
            <p:cNvSpPr/>
            <p:nvPr/>
          </p:nvSpPr>
          <p:spPr>
            <a:xfrm>
              <a:off x="-59287350" y="2538900"/>
              <a:ext cx="82700" cy="22075"/>
            </a:xfrm>
            <a:custGeom>
              <a:avLst/>
              <a:gdLst/>
              <a:ahLst/>
              <a:cxnLst/>
              <a:rect l="l" t="t" r="r" b="b"/>
              <a:pathLst>
                <a:path w="3308" h="883" extrusionOk="0">
                  <a:moveTo>
                    <a:pt x="410" y="0"/>
                  </a:moveTo>
                  <a:cubicBezTo>
                    <a:pt x="189" y="0"/>
                    <a:pt x="0" y="221"/>
                    <a:pt x="0" y="441"/>
                  </a:cubicBezTo>
                  <a:cubicBezTo>
                    <a:pt x="0" y="662"/>
                    <a:pt x="189" y="882"/>
                    <a:pt x="410" y="882"/>
                  </a:cubicBezTo>
                  <a:lnTo>
                    <a:pt x="2899" y="882"/>
                  </a:lnTo>
                  <a:cubicBezTo>
                    <a:pt x="3151" y="882"/>
                    <a:pt x="3308" y="662"/>
                    <a:pt x="3308" y="441"/>
                  </a:cubicBezTo>
                  <a:cubicBezTo>
                    <a:pt x="3308" y="221"/>
                    <a:pt x="3151"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77"/>
            <p:cNvSpPr/>
            <p:nvPr/>
          </p:nvSpPr>
          <p:spPr>
            <a:xfrm>
              <a:off x="-59439375" y="2425425"/>
              <a:ext cx="125250" cy="134750"/>
            </a:xfrm>
            <a:custGeom>
              <a:avLst/>
              <a:gdLst/>
              <a:ahLst/>
              <a:cxnLst/>
              <a:rect l="l" t="t" r="r" b="b"/>
              <a:pathLst>
                <a:path w="5010" h="5390" extrusionOk="0">
                  <a:moveTo>
                    <a:pt x="2518" y="855"/>
                  </a:moveTo>
                  <a:cubicBezTo>
                    <a:pt x="2722" y="855"/>
                    <a:pt x="2928" y="925"/>
                    <a:pt x="3088" y="1074"/>
                  </a:cubicBezTo>
                  <a:cubicBezTo>
                    <a:pt x="3277" y="1294"/>
                    <a:pt x="3340" y="1609"/>
                    <a:pt x="3277" y="1924"/>
                  </a:cubicBezTo>
                  <a:cubicBezTo>
                    <a:pt x="3183" y="2176"/>
                    <a:pt x="2994" y="2428"/>
                    <a:pt x="2710" y="2460"/>
                  </a:cubicBezTo>
                  <a:cubicBezTo>
                    <a:pt x="2626" y="2485"/>
                    <a:pt x="2546" y="2497"/>
                    <a:pt x="2469" y="2497"/>
                  </a:cubicBezTo>
                  <a:cubicBezTo>
                    <a:pt x="2260" y="2497"/>
                    <a:pt x="2076" y="2409"/>
                    <a:pt x="1891" y="2271"/>
                  </a:cubicBezTo>
                  <a:cubicBezTo>
                    <a:pt x="1702" y="2019"/>
                    <a:pt x="1607" y="1704"/>
                    <a:pt x="1702" y="1452"/>
                  </a:cubicBezTo>
                  <a:cubicBezTo>
                    <a:pt x="1802" y="1070"/>
                    <a:pt x="2158" y="855"/>
                    <a:pt x="2518" y="855"/>
                  </a:cubicBezTo>
                  <a:close/>
                  <a:moveTo>
                    <a:pt x="2521" y="3342"/>
                  </a:moveTo>
                  <a:cubicBezTo>
                    <a:pt x="3309" y="3342"/>
                    <a:pt x="3939" y="3846"/>
                    <a:pt x="4159" y="4539"/>
                  </a:cubicBezTo>
                  <a:lnTo>
                    <a:pt x="914" y="4539"/>
                  </a:lnTo>
                  <a:cubicBezTo>
                    <a:pt x="1103" y="3846"/>
                    <a:pt x="1733" y="3342"/>
                    <a:pt x="2521" y="3342"/>
                  </a:cubicBezTo>
                  <a:close/>
                  <a:moveTo>
                    <a:pt x="2473" y="0"/>
                  </a:moveTo>
                  <a:cubicBezTo>
                    <a:pt x="1781" y="0"/>
                    <a:pt x="1110" y="436"/>
                    <a:pt x="914" y="1200"/>
                  </a:cubicBezTo>
                  <a:cubicBezTo>
                    <a:pt x="757" y="1798"/>
                    <a:pt x="914" y="2334"/>
                    <a:pt x="1292" y="2775"/>
                  </a:cubicBezTo>
                  <a:cubicBezTo>
                    <a:pt x="568" y="3216"/>
                    <a:pt x="1" y="4004"/>
                    <a:pt x="1" y="4949"/>
                  </a:cubicBezTo>
                  <a:cubicBezTo>
                    <a:pt x="1" y="5169"/>
                    <a:pt x="190" y="5390"/>
                    <a:pt x="410" y="5390"/>
                  </a:cubicBezTo>
                  <a:lnTo>
                    <a:pt x="4537" y="5390"/>
                  </a:lnTo>
                  <a:cubicBezTo>
                    <a:pt x="4758" y="5390"/>
                    <a:pt x="4978" y="5169"/>
                    <a:pt x="4978" y="4949"/>
                  </a:cubicBezTo>
                  <a:cubicBezTo>
                    <a:pt x="5010" y="4035"/>
                    <a:pt x="4506" y="3216"/>
                    <a:pt x="3718" y="2807"/>
                  </a:cubicBezTo>
                  <a:cubicBezTo>
                    <a:pt x="3907" y="2618"/>
                    <a:pt x="4033" y="2397"/>
                    <a:pt x="4096" y="2113"/>
                  </a:cubicBezTo>
                  <a:cubicBezTo>
                    <a:pt x="4254" y="1515"/>
                    <a:pt x="4096" y="916"/>
                    <a:pt x="3655" y="507"/>
                  </a:cubicBezTo>
                  <a:cubicBezTo>
                    <a:pt x="3322" y="161"/>
                    <a:pt x="2894" y="0"/>
                    <a:pt x="24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77"/>
            <p:cNvSpPr/>
            <p:nvPr/>
          </p:nvSpPr>
          <p:spPr>
            <a:xfrm>
              <a:off x="-59327525" y="2325450"/>
              <a:ext cx="13400" cy="13425"/>
            </a:xfrm>
            <a:custGeom>
              <a:avLst/>
              <a:gdLst/>
              <a:ahLst/>
              <a:cxnLst/>
              <a:rect l="l" t="t" r="r" b="b"/>
              <a:pathLst>
                <a:path w="536" h="537" extrusionOk="0">
                  <a:moveTo>
                    <a:pt x="252" y="1"/>
                  </a:moveTo>
                  <a:cubicBezTo>
                    <a:pt x="95" y="1"/>
                    <a:pt x="0" y="127"/>
                    <a:pt x="0" y="284"/>
                  </a:cubicBezTo>
                  <a:cubicBezTo>
                    <a:pt x="0" y="442"/>
                    <a:pt x="95" y="536"/>
                    <a:pt x="252" y="536"/>
                  </a:cubicBezTo>
                  <a:cubicBezTo>
                    <a:pt x="410" y="536"/>
                    <a:pt x="536" y="442"/>
                    <a:pt x="536" y="284"/>
                  </a:cubicBezTo>
                  <a:cubicBezTo>
                    <a:pt x="536" y="127"/>
                    <a:pt x="410" y="1"/>
                    <a:pt x="2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93" name="Google Shape;9593;p77"/>
          <p:cNvGrpSpPr/>
          <p:nvPr/>
        </p:nvGrpSpPr>
        <p:grpSpPr>
          <a:xfrm>
            <a:off x="1741805" y="1541344"/>
            <a:ext cx="368987" cy="366992"/>
            <a:chOff x="-64401400" y="1914475"/>
            <a:chExt cx="319000" cy="317275"/>
          </a:xfrm>
        </p:grpSpPr>
        <p:sp>
          <p:nvSpPr>
            <p:cNvPr id="9594" name="Google Shape;9594;p77"/>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77"/>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77"/>
            <p:cNvSpPr/>
            <p:nvPr/>
          </p:nvSpPr>
          <p:spPr>
            <a:xfrm>
              <a:off x="-64212375" y="2210450"/>
              <a:ext cx="5525" cy="25"/>
            </a:xfrm>
            <a:custGeom>
              <a:avLst/>
              <a:gdLst/>
              <a:ahLst/>
              <a:cxnLst/>
              <a:rect l="l" t="t" r="r" b="b"/>
              <a:pathLst>
                <a:path w="221" h="1" extrusionOk="0">
                  <a:moveTo>
                    <a:pt x="1" y="1"/>
                  </a:moveTo>
                  <a:lnTo>
                    <a:pt x="221" y="1"/>
                  </a:lnTo>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97" name="Google Shape;9597;p77"/>
          <p:cNvGrpSpPr/>
          <p:nvPr/>
        </p:nvGrpSpPr>
        <p:grpSpPr>
          <a:xfrm>
            <a:off x="1806493" y="2022383"/>
            <a:ext cx="239610" cy="365517"/>
            <a:chOff x="-64343900" y="2282125"/>
            <a:chExt cx="207150" cy="316000"/>
          </a:xfrm>
        </p:grpSpPr>
        <p:sp>
          <p:nvSpPr>
            <p:cNvPr id="9598" name="Google Shape;9598;p77"/>
            <p:cNvSpPr/>
            <p:nvPr/>
          </p:nvSpPr>
          <p:spPr>
            <a:xfrm>
              <a:off x="-64270650" y="2310475"/>
              <a:ext cx="61450" cy="147325"/>
            </a:xfrm>
            <a:custGeom>
              <a:avLst/>
              <a:gdLst/>
              <a:ahLst/>
              <a:cxnLst/>
              <a:rect l="l" t="t" r="r" b="b"/>
              <a:pathLst>
                <a:path w="2458" h="5893" extrusionOk="0">
                  <a:moveTo>
                    <a:pt x="1229" y="1"/>
                  </a:moveTo>
                  <a:cubicBezTo>
                    <a:pt x="1008" y="1"/>
                    <a:pt x="851" y="221"/>
                    <a:pt x="851" y="442"/>
                  </a:cubicBezTo>
                  <a:lnTo>
                    <a:pt x="851" y="726"/>
                  </a:lnTo>
                  <a:cubicBezTo>
                    <a:pt x="378" y="883"/>
                    <a:pt x="0" y="1356"/>
                    <a:pt x="0" y="1891"/>
                  </a:cubicBezTo>
                  <a:cubicBezTo>
                    <a:pt x="0" y="2584"/>
                    <a:pt x="567" y="2962"/>
                    <a:pt x="1008" y="3277"/>
                  </a:cubicBezTo>
                  <a:cubicBezTo>
                    <a:pt x="1323" y="3529"/>
                    <a:pt x="1670" y="3750"/>
                    <a:pt x="1670" y="4002"/>
                  </a:cubicBezTo>
                  <a:cubicBezTo>
                    <a:pt x="1670" y="4223"/>
                    <a:pt x="1481" y="4412"/>
                    <a:pt x="1229" y="4412"/>
                  </a:cubicBezTo>
                  <a:cubicBezTo>
                    <a:pt x="1008" y="4412"/>
                    <a:pt x="851" y="4223"/>
                    <a:pt x="851" y="4002"/>
                  </a:cubicBezTo>
                  <a:cubicBezTo>
                    <a:pt x="851" y="3750"/>
                    <a:pt x="630" y="3592"/>
                    <a:pt x="441" y="3592"/>
                  </a:cubicBezTo>
                  <a:cubicBezTo>
                    <a:pt x="221" y="3592"/>
                    <a:pt x="0" y="3781"/>
                    <a:pt x="0" y="4002"/>
                  </a:cubicBezTo>
                  <a:cubicBezTo>
                    <a:pt x="0" y="4538"/>
                    <a:pt x="378" y="4979"/>
                    <a:pt x="851" y="5168"/>
                  </a:cubicBezTo>
                  <a:lnTo>
                    <a:pt x="851" y="5451"/>
                  </a:lnTo>
                  <a:cubicBezTo>
                    <a:pt x="851" y="5672"/>
                    <a:pt x="1040" y="5892"/>
                    <a:pt x="1229" y="5892"/>
                  </a:cubicBezTo>
                  <a:cubicBezTo>
                    <a:pt x="1481" y="5829"/>
                    <a:pt x="1639" y="5640"/>
                    <a:pt x="1639" y="5451"/>
                  </a:cubicBezTo>
                  <a:lnTo>
                    <a:pt x="1639" y="5168"/>
                  </a:lnTo>
                  <a:cubicBezTo>
                    <a:pt x="2111" y="5010"/>
                    <a:pt x="2458" y="4538"/>
                    <a:pt x="2458" y="4002"/>
                  </a:cubicBezTo>
                  <a:cubicBezTo>
                    <a:pt x="2458" y="3309"/>
                    <a:pt x="1891" y="2931"/>
                    <a:pt x="1481" y="2616"/>
                  </a:cubicBezTo>
                  <a:cubicBezTo>
                    <a:pt x="1166" y="2364"/>
                    <a:pt x="788" y="2143"/>
                    <a:pt x="788" y="1891"/>
                  </a:cubicBezTo>
                  <a:cubicBezTo>
                    <a:pt x="788" y="1671"/>
                    <a:pt x="1008" y="1513"/>
                    <a:pt x="1197" y="1513"/>
                  </a:cubicBezTo>
                  <a:cubicBezTo>
                    <a:pt x="1418" y="1513"/>
                    <a:pt x="1639" y="1702"/>
                    <a:pt x="1639" y="1891"/>
                  </a:cubicBezTo>
                  <a:cubicBezTo>
                    <a:pt x="1639" y="2143"/>
                    <a:pt x="1828" y="2332"/>
                    <a:pt x="2017" y="2332"/>
                  </a:cubicBezTo>
                  <a:cubicBezTo>
                    <a:pt x="2269" y="2332"/>
                    <a:pt x="2458" y="2143"/>
                    <a:pt x="2458" y="1891"/>
                  </a:cubicBezTo>
                  <a:cubicBezTo>
                    <a:pt x="2458" y="1356"/>
                    <a:pt x="2111" y="915"/>
                    <a:pt x="1639" y="726"/>
                  </a:cubicBezTo>
                  <a:lnTo>
                    <a:pt x="1639" y="442"/>
                  </a:lnTo>
                  <a:cubicBezTo>
                    <a:pt x="1639" y="221"/>
                    <a:pt x="1418"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77"/>
            <p:cNvSpPr/>
            <p:nvPr/>
          </p:nvSpPr>
          <p:spPr>
            <a:xfrm>
              <a:off x="-64343900" y="2282125"/>
              <a:ext cx="207150" cy="316000"/>
            </a:xfrm>
            <a:custGeom>
              <a:avLst/>
              <a:gdLst/>
              <a:ahLst/>
              <a:cxnLst/>
              <a:rect l="l" t="t" r="r" b="b"/>
              <a:pathLst>
                <a:path w="8286" h="12640" extrusionOk="0">
                  <a:moveTo>
                    <a:pt x="4159" y="788"/>
                  </a:moveTo>
                  <a:cubicBezTo>
                    <a:pt x="5986" y="788"/>
                    <a:pt x="7467" y="2301"/>
                    <a:pt x="7467" y="4096"/>
                  </a:cubicBezTo>
                  <a:cubicBezTo>
                    <a:pt x="7467" y="5924"/>
                    <a:pt x="5986" y="7404"/>
                    <a:pt x="4159" y="7404"/>
                  </a:cubicBezTo>
                  <a:cubicBezTo>
                    <a:pt x="2300" y="7404"/>
                    <a:pt x="851" y="5924"/>
                    <a:pt x="851" y="4096"/>
                  </a:cubicBezTo>
                  <a:cubicBezTo>
                    <a:pt x="851" y="2301"/>
                    <a:pt x="2363" y="788"/>
                    <a:pt x="4159" y="788"/>
                  </a:cubicBezTo>
                  <a:close/>
                  <a:moveTo>
                    <a:pt x="851" y="8917"/>
                  </a:moveTo>
                  <a:cubicBezTo>
                    <a:pt x="1513" y="8980"/>
                    <a:pt x="2206" y="9295"/>
                    <a:pt x="2773" y="9862"/>
                  </a:cubicBezTo>
                  <a:cubicBezTo>
                    <a:pt x="3340" y="10429"/>
                    <a:pt x="3655" y="11122"/>
                    <a:pt x="3718" y="11784"/>
                  </a:cubicBezTo>
                  <a:cubicBezTo>
                    <a:pt x="3056" y="11689"/>
                    <a:pt x="2395" y="11374"/>
                    <a:pt x="1796" y="10838"/>
                  </a:cubicBezTo>
                  <a:cubicBezTo>
                    <a:pt x="1261" y="10271"/>
                    <a:pt x="945" y="9578"/>
                    <a:pt x="851" y="8917"/>
                  </a:cubicBezTo>
                  <a:close/>
                  <a:moveTo>
                    <a:pt x="7467" y="8917"/>
                  </a:moveTo>
                  <a:lnTo>
                    <a:pt x="7467" y="8917"/>
                  </a:lnTo>
                  <a:cubicBezTo>
                    <a:pt x="7404" y="9578"/>
                    <a:pt x="7089" y="10240"/>
                    <a:pt x="6522" y="10838"/>
                  </a:cubicBezTo>
                  <a:cubicBezTo>
                    <a:pt x="5923" y="11374"/>
                    <a:pt x="5262" y="11689"/>
                    <a:pt x="4600" y="11784"/>
                  </a:cubicBezTo>
                  <a:cubicBezTo>
                    <a:pt x="4663" y="11122"/>
                    <a:pt x="4947" y="10429"/>
                    <a:pt x="5545" y="9862"/>
                  </a:cubicBezTo>
                  <a:cubicBezTo>
                    <a:pt x="6081" y="9295"/>
                    <a:pt x="6805" y="8980"/>
                    <a:pt x="7467" y="8917"/>
                  </a:cubicBezTo>
                  <a:close/>
                  <a:moveTo>
                    <a:pt x="4159" y="1"/>
                  </a:moveTo>
                  <a:cubicBezTo>
                    <a:pt x="1891" y="1"/>
                    <a:pt x="32" y="1860"/>
                    <a:pt x="32" y="4128"/>
                  </a:cubicBezTo>
                  <a:cubicBezTo>
                    <a:pt x="32" y="6270"/>
                    <a:pt x="1670" y="8034"/>
                    <a:pt x="3781" y="8223"/>
                  </a:cubicBezTo>
                  <a:lnTo>
                    <a:pt x="3781" y="9736"/>
                  </a:lnTo>
                  <a:cubicBezTo>
                    <a:pt x="3623" y="9578"/>
                    <a:pt x="3497" y="9421"/>
                    <a:pt x="3371" y="9295"/>
                  </a:cubicBezTo>
                  <a:cubicBezTo>
                    <a:pt x="2584" y="8507"/>
                    <a:pt x="1576" y="8066"/>
                    <a:pt x="410" y="8066"/>
                  </a:cubicBezTo>
                  <a:cubicBezTo>
                    <a:pt x="189" y="8066"/>
                    <a:pt x="32" y="8287"/>
                    <a:pt x="32" y="8476"/>
                  </a:cubicBezTo>
                  <a:cubicBezTo>
                    <a:pt x="0" y="9578"/>
                    <a:pt x="410" y="10649"/>
                    <a:pt x="1261" y="11437"/>
                  </a:cubicBezTo>
                  <a:cubicBezTo>
                    <a:pt x="2048" y="12225"/>
                    <a:pt x="3056" y="12634"/>
                    <a:pt x="4096" y="12634"/>
                  </a:cubicBezTo>
                  <a:lnTo>
                    <a:pt x="4159" y="12634"/>
                  </a:lnTo>
                  <a:cubicBezTo>
                    <a:pt x="4225" y="12638"/>
                    <a:pt x="4290" y="12640"/>
                    <a:pt x="4355" y="12640"/>
                  </a:cubicBezTo>
                  <a:cubicBezTo>
                    <a:pt x="5385" y="12640"/>
                    <a:pt x="6348" y="12178"/>
                    <a:pt x="7089" y="11437"/>
                  </a:cubicBezTo>
                  <a:cubicBezTo>
                    <a:pt x="7877" y="10649"/>
                    <a:pt x="8286" y="9610"/>
                    <a:pt x="8286" y="8476"/>
                  </a:cubicBezTo>
                  <a:cubicBezTo>
                    <a:pt x="8286" y="8223"/>
                    <a:pt x="8097" y="8066"/>
                    <a:pt x="7908" y="8066"/>
                  </a:cubicBezTo>
                  <a:cubicBezTo>
                    <a:pt x="7872" y="8065"/>
                    <a:pt x="7837" y="8064"/>
                    <a:pt x="7801" y="8064"/>
                  </a:cubicBezTo>
                  <a:cubicBezTo>
                    <a:pt x="6709" y="8064"/>
                    <a:pt x="5709" y="8532"/>
                    <a:pt x="4947" y="9295"/>
                  </a:cubicBezTo>
                  <a:cubicBezTo>
                    <a:pt x="4821" y="9452"/>
                    <a:pt x="4663" y="9578"/>
                    <a:pt x="4569" y="9736"/>
                  </a:cubicBezTo>
                  <a:lnTo>
                    <a:pt x="4569" y="8223"/>
                  </a:lnTo>
                  <a:cubicBezTo>
                    <a:pt x="6648" y="8034"/>
                    <a:pt x="8286" y="6270"/>
                    <a:pt x="8286" y="4128"/>
                  </a:cubicBezTo>
                  <a:cubicBezTo>
                    <a:pt x="8286" y="1860"/>
                    <a:pt x="6459"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600" name="Google Shape;9600;p77"/>
          <p:cNvSpPr/>
          <p:nvPr/>
        </p:nvSpPr>
        <p:spPr>
          <a:xfrm>
            <a:off x="1736288" y="2485633"/>
            <a:ext cx="367165" cy="369913"/>
          </a:xfrm>
          <a:custGeom>
            <a:avLst/>
            <a:gdLst/>
            <a:ahLst/>
            <a:cxnLst/>
            <a:rect l="l" t="t" r="r" b="b"/>
            <a:pathLst>
              <a:path w="12697" h="12792" extrusionOk="0">
                <a:moveTo>
                  <a:pt x="7310" y="3435"/>
                </a:moveTo>
                <a:cubicBezTo>
                  <a:pt x="7404" y="3435"/>
                  <a:pt x="7467" y="3498"/>
                  <a:pt x="7436" y="3624"/>
                </a:cubicBezTo>
                <a:cubicBezTo>
                  <a:pt x="7310" y="3939"/>
                  <a:pt x="7247" y="4223"/>
                  <a:pt x="7215" y="4538"/>
                </a:cubicBezTo>
                <a:lnTo>
                  <a:pt x="5419" y="4538"/>
                </a:lnTo>
                <a:cubicBezTo>
                  <a:pt x="5388" y="4223"/>
                  <a:pt x="5293" y="3908"/>
                  <a:pt x="5199" y="3624"/>
                </a:cubicBezTo>
                <a:cubicBezTo>
                  <a:pt x="5167" y="3498"/>
                  <a:pt x="5230" y="3435"/>
                  <a:pt x="5325" y="3435"/>
                </a:cubicBezTo>
                <a:close/>
                <a:moveTo>
                  <a:pt x="7121" y="5357"/>
                </a:moveTo>
                <a:cubicBezTo>
                  <a:pt x="7089" y="6428"/>
                  <a:pt x="7310" y="7436"/>
                  <a:pt x="7845" y="8381"/>
                </a:cubicBezTo>
                <a:lnTo>
                  <a:pt x="8003" y="8665"/>
                </a:lnTo>
                <a:lnTo>
                  <a:pt x="4726" y="8665"/>
                </a:lnTo>
                <a:lnTo>
                  <a:pt x="4852" y="8381"/>
                </a:lnTo>
                <a:cubicBezTo>
                  <a:pt x="5356" y="7436"/>
                  <a:pt x="5577" y="6396"/>
                  <a:pt x="5545" y="5357"/>
                </a:cubicBezTo>
                <a:close/>
                <a:moveTo>
                  <a:pt x="8381" y="9484"/>
                </a:moveTo>
                <a:cubicBezTo>
                  <a:pt x="8633" y="9484"/>
                  <a:pt x="8790" y="9704"/>
                  <a:pt x="8790" y="9925"/>
                </a:cubicBezTo>
                <a:lnTo>
                  <a:pt x="8790" y="10335"/>
                </a:lnTo>
                <a:lnTo>
                  <a:pt x="3813" y="10335"/>
                </a:lnTo>
                <a:lnTo>
                  <a:pt x="3813" y="9925"/>
                </a:lnTo>
                <a:lnTo>
                  <a:pt x="3844" y="9925"/>
                </a:lnTo>
                <a:cubicBezTo>
                  <a:pt x="3844" y="9704"/>
                  <a:pt x="4065" y="9484"/>
                  <a:pt x="4254" y="9484"/>
                </a:cubicBezTo>
                <a:close/>
                <a:moveTo>
                  <a:pt x="9200" y="11154"/>
                </a:moveTo>
                <a:cubicBezTo>
                  <a:pt x="9452" y="11154"/>
                  <a:pt x="9609" y="11343"/>
                  <a:pt x="9609" y="11595"/>
                </a:cubicBezTo>
                <a:lnTo>
                  <a:pt x="9609" y="12004"/>
                </a:lnTo>
                <a:lnTo>
                  <a:pt x="2993" y="12004"/>
                </a:lnTo>
                <a:lnTo>
                  <a:pt x="2993" y="11595"/>
                </a:lnTo>
                <a:lnTo>
                  <a:pt x="3025" y="11595"/>
                </a:lnTo>
                <a:cubicBezTo>
                  <a:pt x="3025" y="11343"/>
                  <a:pt x="3214" y="11154"/>
                  <a:pt x="3435" y="11154"/>
                </a:cubicBezTo>
                <a:close/>
                <a:moveTo>
                  <a:pt x="6333" y="1"/>
                </a:moveTo>
                <a:cubicBezTo>
                  <a:pt x="6144" y="1"/>
                  <a:pt x="5955" y="190"/>
                  <a:pt x="5955" y="442"/>
                </a:cubicBezTo>
                <a:lnTo>
                  <a:pt x="5955" y="883"/>
                </a:lnTo>
                <a:lnTo>
                  <a:pt x="5514" y="883"/>
                </a:lnTo>
                <a:cubicBezTo>
                  <a:pt x="5262" y="883"/>
                  <a:pt x="5104" y="1072"/>
                  <a:pt x="5104" y="1261"/>
                </a:cubicBezTo>
                <a:cubicBezTo>
                  <a:pt x="5104" y="1513"/>
                  <a:pt x="5325" y="1702"/>
                  <a:pt x="5514" y="1702"/>
                </a:cubicBezTo>
                <a:lnTo>
                  <a:pt x="5955" y="1702"/>
                </a:lnTo>
                <a:lnTo>
                  <a:pt x="5955" y="2521"/>
                </a:lnTo>
                <a:lnTo>
                  <a:pt x="5356" y="2521"/>
                </a:lnTo>
                <a:cubicBezTo>
                  <a:pt x="4695" y="2521"/>
                  <a:pt x="4222" y="3183"/>
                  <a:pt x="4443" y="3813"/>
                </a:cubicBezTo>
                <a:cubicBezTo>
                  <a:pt x="4537" y="4034"/>
                  <a:pt x="4569" y="4254"/>
                  <a:pt x="4632" y="4443"/>
                </a:cubicBezTo>
                <a:lnTo>
                  <a:pt x="4285" y="4443"/>
                </a:lnTo>
                <a:cubicBezTo>
                  <a:pt x="4065" y="4443"/>
                  <a:pt x="3907" y="4664"/>
                  <a:pt x="3907" y="4884"/>
                </a:cubicBezTo>
                <a:cubicBezTo>
                  <a:pt x="3907" y="5136"/>
                  <a:pt x="4096" y="5325"/>
                  <a:pt x="4285" y="5325"/>
                </a:cubicBezTo>
                <a:lnTo>
                  <a:pt x="4726" y="5325"/>
                </a:lnTo>
                <a:cubicBezTo>
                  <a:pt x="4821" y="6901"/>
                  <a:pt x="4191" y="7846"/>
                  <a:pt x="3718" y="8791"/>
                </a:cubicBezTo>
                <a:cubicBezTo>
                  <a:pt x="3308" y="8980"/>
                  <a:pt x="3025" y="9421"/>
                  <a:pt x="3025" y="9893"/>
                </a:cubicBezTo>
                <a:lnTo>
                  <a:pt x="3025" y="10366"/>
                </a:lnTo>
                <a:cubicBezTo>
                  <a:pt x="2552" y="10524"/>
                  <a:pt x="2206" y="10996"/>
                  <a:pt x="2206" y="11532"/>
                </a:cubicBezTo>
                <a:lnTo>
                  <a:pt x="2206" y="11973"/>
                </a:lnTo>
                <a:lnTo>
                  <a:pt x="442" y="11973"/>
                </a:lnTo>
                <a:cubicBezTo>
                  <a:pt x="189" y="11973"/>
                  <a:pt x="0" y="12162"/>
                  <a:pt x="0" y="12382"/>
                </a:cubicBezTo>
                <a:cubicBezTo>
                  <a:pt x="0" y="12603"/>
                  <a:pt x="158" y="12792"/>
                  <a:pt x="379" y="12792"/>
                </a:cubicBezTo>
                <a:lnTo>
                  <a:pt x="12256" y="12792"/>
                </a:lnTo>
                <a:cubicBezTo>
                  <a:pt x="12476" y="12792"/>
                  <a:pt x="12697" y="12603"/>
                  <a:pt x="12697" y="12382"/>
                </a:cubicBezTo>
                <a:cubicBezTo>
                  <a:pt x="12697" y="12130"/>
                  <a:pt x="12476" y="11973"/>
                  <a:pt x="12256" y="11973"/>
                </a:cubicBezTo>
                <a:lnTo>
                  <a:pt x="10460" y="11973"/>
                </a:lnTo>
                <a:lnTo>
                  <a:pt x="10460" y="11532"/>
                </a:lnTo>
                <a:cubicBezTo>
                  <a:pt x="10460" y="10996"/>
                  <a:pt x="10114" y="10555"/>
                  <a:pt x="9641" y="10366"/>
                </a:cubicBezTo>
                <a:lnTo>
                  <a:pt x="9641" y="9893"/>
                </a:lnTo>
                <a:cubicBezTo>
                  <a:pt x="9641" y="9421"/>
                  <a:pt x="9357" y="8980"/>
                  <a:pt x="8979" y="8791"/>
                </a:cubicBezTo>
                <a:cubicBezTo>
                  <a:pt x="8507" y="7877"/>
                  <a:pt x="7877" y="6932"/>
                  <a:pt x="7940" y="5325"/>
                </a:cubicBezTo>
                <a:lnTo>
                  <a:pt x="8381" y="5325"/>
                </a:lnTo>
                <a:cubicBezTo>
                  <a:pt x="8633" y="5325"/>
                  <a:pt x="8790" y="5136"/>
                  <a:pt x="8790" y="4884"/>
                </a:cubicBezTo>
                <a:cubicBezTo>
                  <a:pt x="8790" y="4664"/>
                  <a:pt x="8570" y="4443"/>
                  <a:pt x="8381" y="4443"/>
                </a:cubicBezTo>
                <a:lnTo>
                  <a:pt x="8034" y="4443"/>
                </a:lnTo>
                <a:cubicBezTo>
                  <a:pt x="8066" y="4254"/>
                  <a:pt x="8160" y="4034"/>
                  <a:pt x="8223" y="3813"/>
                </a:cubicBezTo>
                <a:cubicBezTo>
                  <a:pt x="8475" y="3183"/>
                  <a:pt x="8003" y="2521"/>
                  <a:pt x="7310" y="2521"/>
                </a:cubicBezTo>
                <a:lnTo>
                  <a:pt x="6743" y="2521"/>
                </a:lnTo>
                <a:lnTo>
                  <a:pt x="6743" y="1702"/>
                </a:lnTo>
                <a:lnTo>
                  <a:pt x="7184" y="1702"/>
                </a:lnTo>
                <a:cubicBezTo>
                  <a:pt x="7404" y="1702"/>
                  <a:pt x="7562" y="1513"/>
                  <a:pt x="7562" y="1261"/>
                </a:cubicBezTo>
                <a:cubicBezTo>
                  <a:pt x="7562" y="1041"/>
                  <a:pt x="7373" y="883"/>
                  <a:pt x="7184" y="883"/>
                </a:cubicBezTo>
                <a:lnTo>
                  <a:pt x="6743" y="883"/>
                </a:lnTo>
                <a:lnTo>
                  <a:pt x="6743" y="442"/>
                </a:lnTo>
                <a:cubicBezTo>
                  <a:pt x="6743" y="190"/>
                  <a:pt x="6522"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601" name="Google Shape;9601;p77"/>
          <p:cNvGrpSpPr/>
          <p:nvPr/>
        </p:nvGrpSpPr>
        <p:grpSpPr>
          <a:xfrm>
            <a:off x="3986941" y="1541604"/>
            <a:ext cx="318873" cy="366471"/>
            <a:chOff x="-62496925" y="1931475"/>
            <a:chExt cx="275675" cy="316825"/>
          </a:xfrm>
        </p:grpSpPr>
        <p:sp>
          <p:nvSpPr>
            <p:cNvPr id="9602" name="Google Shape;9602;p77"/>
            <p:cNvSpPr/>
            <p:nvPr/>
          </p:nvSpPr>
          <p:spPr>
            <a:xfrm>
              <a:off x="-62496925" y="1931475"/>
              <a:ext cx="275675" cy="316825"/>
            </a:xfrm>
            <a:custGeom>
              <a:avLst/>
              <a:gdLst/>
              <a:ahLst/>
              <a:cxnLst/>
              <a:rect l="l" t="t" r="r" b="b"/>
              <a:pathLst>
                <a:path w="11027" h="12673" extrusionOk="0">
                  <a:moveTo>
                    <a:pt x="5514" y="1047"/>
                  </a:moveTo>
                  <a:cubicBezTo>
                    <a:pt x="6238" y="1519"/>
                    <a:pt x="7215" y="1834"/>
                    <a:pt x="8003" y="1834"/>
                  </a:cubicBezTo>
                  <a:cubicBezTo>
                    <a:pt x="8538" y="1834"/>
                    <a:pt x="9294" y="1708"/>
                    <a:pt x="10208" y="1204"/>
                  </a:cubicBezTo>
                  <a:lnTo>
                    <a:pt x="10208" y="5237"/>
                  </a:lnTo>
                  <a:cubicBezTo>
                    <a:pt x="10177" y="8198"/>
                    <a:pt x="8349" y="10845"/>
                    <a:pt x="5514" y="11821"/>
                  </a:cubicBezTo>
                  <a:cubicBezTo>
                    <a:pt x="2710" y="10845"/>
                    <a:pt x="820" y="8198"/>
                    <a:pt x="820" y="5237"/>
                  </a:cubicBezTo>
                  <a:lnTo>
                    <a:pt x="820" y="1204"/>
                  </a:lnTo>
                  <a:cubicBezTo>
                    <a:pt x="1513" y="1582"/>
                    <a:pt x="2269" y="1834"/>
                    <a:pt x="3025" y="1834"/>
                  </a:cubicBezTo>
                  <a:cubicBezTo>
                    <a:pt x="3844" y="1834"/>
                    <a:pt x="4758" y="1551"/>
                    <a:pt x="5514" y="1047"/>
                  </a:cubicBezTo>
                  <a:close/>
                  <a:moveTo>
                    <a:pt x="10654" y="1"/>
                  </a:moveTo>
                  <a:cubicBezTo>
                    <a:pt x="10567" y="1"/>
                    <a:pt x="10476" y="33"/>
                    <a:pt x="10397" y="102"/>
                  </a:cubicBezTo>
                  <a:cubicBezTo>
                    <a:pt x="9389" y="826"/>
                    <a:pt x="8538" y="952"/>
                    <a:pt x="8034" y="952"/>
                  </a:cubicBezTo>
                  <a:cubicBezTo>
                    <a:pt x="7310" y="952"/>
                    <a:pt x="6396" y="637"/>
                    <a:pt x="5766" y="165"/>
                  </a:cubicBezTo>
                  <a:cubicBezTo>
                    <a:pt x="5703" y="102"/>
                    <a:pt x="5616" y="70"/>
                    <a:pt x="5526" y="70"/>
                  </a:cubicBezTo>
                  <a:cubicBezTo>
                    <a:pt x="5435" y="70"/>
                    <a:pt x="5341" y="102"/>
                    <a:pt x="5262" y="165"/>
                  </a:cubicBezTo>
                  <a:cubicBezTo>
                    <a:pt x="4632" y="637"/>
                    <a:pt x="3781" y="952"/>
                    <a:pt x="3025" y="952"/>
                  </a:cubicBezTo>
                  <a:cubicBezTo>
                    <a:pt x="2237" y="952"/>
                    <a:pt x="1450" y="637"/>
                    <a:pt x="662" y="102"/>
                  </a:cubicBezTo>
                  <a:cubicBezTo>
                    <a:pt x="582" y="40"/>
                    <a:pt x="495" y="13"/>
                    <a:pt x="411" y="13"/>
                  </a:cubicBezTo>
                  <a:cubicBezTo>
                    <a:pt x="196" y="13"/>
                    <a:pt x="0" y="190"/>
                    <a:pt x="0" y="417"/>
                  </a:cubicBezTo>
                  <a:lnTo>
                    <a:pt x="0" y="5237"/>
                  </a:lnTo>
                  <a:cubicBezTo>
                    <a:pt x="0" y="8608"/>
                    <a:pt x="2080" y="11601"/>
                    <a:pt x="5388" y="12641"/>
                  </a:cubicBezTo>
                  <a:cubicBezTo>
                    <a:pt x="5419" y="12641"/>
                    <a:pt x="5451" y="12672"/>
                    <a:pt x="5514" y="12672"/>
                  </a:cubicBezTo>
                  <a:cubicBezTo>
                    <a:pt x="5545" y="12672"/>
                    <a:pt x="5577" y="12672"/>
                    <a:pt x="5640" y="12641"/>
                  </a:cubicBezTo>
                  <a:cubicBezTo>
                    <a:pt x="8979" y="11538"/>
                    <a:pt x="11027" y="8513"/>
                    <a:pt x="11027" y="5237"/>
                  </a:cubicBezTo>
                  <a:lnTo>
                    <a:pt x="11027" y="417"/>
                  </a:lnTo>
                  <a:cubicBezTo>
                    <a:pt x="11027" y="157"/>
                    <a:pt x="10848" y="1"/>
                    <a:pt x="106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3" name="Google Shape;9603;p77"/>
            <p:cNvSpPr/>
            <p:nvPr/>
          </p:nvSpPr>
          <p:spPr>
            <a:xfrm>
              <a:off x="-62390600" y="2016700"/>
              <a:ext cx="63025" cy="146525"/>
            </a:xfrm>
            <a:custGeom>
              <a:avLst/>
              <a:gdLst/>
              <a:ahLst/>
              <a:cxnLst/>
              <a:rect l="l" t="t" r="r" b="b"/>
              <a:pathLst>
                <a:path w="2521" h="5861" extrusionOk="0">
                  <a:moveTo>
                    <a:pt x="1261" y="1"/>
                  </a:moveTo>
                  <a:cubicBezTo>
                    <a:pt x="1009" y="1"/>
                    <a:pt x="820" y="190"/>
                    <a:pt x="820" y="410"/>
                  </a:cubicBezTo>
                  <a:lnTo>
                    <a:pt x="820" y="694"/>
                  </a:lnTo>
                  <a:cubicBezTo>
                    <a:pt x="347" y="851"/>
                    <a:pt x="1" y="1324"/>
                    <a:pt x="1" y="1891"/>
                  </a:cubicBezTo>
                  <a:cubicBezTo>
                    <a:pt x="1" y="2553"/>
                    <a:pt x="536" y="2931"/>
                    <a:pt x="977" y="3246"/>
                  </a:cubicBezTo>
                  <a:cubicBezTo>
                    <a:pt x="1292" y="3498"/>
                    <a:pt x="1639" y="3718"/>
                    <a:pt x="1639" y="3970"/>
                  </a:cubicBezTo>
                  <a:cubicBezTo>
                    <a:pt x="1639" y="4191"/>
                    <a:pt x="1450" y="4411"/>
                    <a:pt x="1261" y="4411"/>
                  </a:cubicBezTo>
                  <a:cubicBezTo>
                    <a:pt x="1040" y="4411"/>
                    <a:pt x="820" y="4191"/>
                    <a:pt x="820" y="3970"/>
                  </a:cubicBezTo>
                  <a:cubicBezTo>
                    <a:pt x="820" y="3718"/>
                    <a:pt x="631" y="3561"/>
                    <a:pt x="410" y="3561"/>
                  </a:cubicBezTo>
                  <a:cubicBezTo>
                    <a:pt x="221" y="3561"/>
                    <a:pt x="32" y="3781"/>
                    <a:pt x="32" y="3970"/>
                  </a:cubicBezTo>
                  <a:cubicBezTo>
                    <a:pt x="32" y="4506"/>
                    <a:pt x="379" y="4947"/>
                    <a:pt x="851" y="5136"/>
                  </a:cubicBezTo>
                  <a:lnTo>
                    <a:pt x="851" y="5419"/>
                  </a:lnTo>
                  <a:cubicBezTo>
                    <a:pt x="851" y="5671"/>
                    <a:pt x="1040" y="5861"/>
                    <a:pt x="1292" y="5861"/>
                  </a:cubicBezTo>
                  <a:cubicBezTo>
                    <a:pt x="1513" y="5861"/>
                    <a:pt x="1670" y="5671"/>
                    <a:pt x="1670" y="5419"/>
                  </a:cubicBezTo>
                  <a:lnTo>
                    <a:pt x="1670" y="5136"/>
                  </a:lnTo>
                  <a:cubicBezTo>
                    <a:pt x="2143" y="4978"/>
                    <a:pt x="2521" y="4506"/>
                    <a:pt x="2521" y="3970"/>
                  </a:cubicBezTo>
                  <a:cubicBezTo>
                    <a:pt x="2521" y="3309"/>
                    <a:pt x="1954" y="2899"/>
                    <a:pt x="1513" y="2584"/>
                  </a:cubicBezTo>
                  <a:cubicBezTo>
                    <a:pt x="1198" y="2363"/>
                    <a:pt x="851" y="2111"/>
                    <a:pt x="851" y="1891"/>
                  </a:cubicBezTo>
                  <a:cubicBezTo>
                    <a:pt x="851" y="1670"/>
                    <a:pt x="1040" y="1481"/>
                    <a:pt x="1261" y="1481"/>
                  </a:cubicBezTo>
                  <a:cubicBezTo>
                    <a:pt x="1481" y="1481"/>
                    <a:pt x="1639" y="1670"/>
                    <a:pt x="1639" y="1891"/>
                  </a:cubicBezTo>
                  <a:cubicBezTo>
                    <a:pt x="1639" y="2111"/>
                    <a:pt x="1828" y="2300"/>
                    <a:pt x="2080" y="2300"/>
                  </a:cubicBezTo>
                  <a:cubicBezTo>
                    <a:pt x="2300" y="2300"/>
                    <a:pt x="2458" y="2111"/>
                    <a:pt x="2458" y="1891"/>
                  </a:cubicBezTo>
                  <a:cubicBezTo>
                    <a:pt x="2458" y="1324"/>
                    <a:pt x="2111" y="883"/>
                    <a:pt x="1639" y="694"/>
                  </a:cubicBezTo>
                  <a:lnTo>
                    <a:pt x="1639" y="410"/>
                  </a:lnTo>
                  <a:cubicBezTo>
                    <a:pt x="1639" y="190"/>
                    <a:pt x="1450"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4" name="Google Shape;9604;p77"/>
          <p:cNvGrpSpPr/>
          <p:nvPr/>
        </p:nvGrpSpPr>
        <p:grpSpPr>
          <a:xfrm>
            <a:off x="3963691" y="2021429"/>
            <a:ext cx="365373" cy="367426"/>
            <a:chOff x="-62516625" y="2297875"/>
            <a:chExt cx="315875" cy="317650"/>
          </a:xfrm>
        </p:grpSpPr>
        <p:sp>
          <p:nvSpPr>
            <p:cNvPr id="9605" name="Google Shape;9605;p77"/>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6" name="Google Shape;9606;p77"/>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7" name="Google Shape;9607;p77"/>
          <p:cNvGrpSpPr/>
          <p:nvPr/>
        </p:nvGrpSpPr>
        <p:grpSpPr>
          <a:xfrm>
            <a:off x="3962332" y="2503388"/>
            <a:ext cx="368091" cy="334402"/>
            <a:chOff x="-62518200" y="2692475"/>
            <a:chExt cx="318225" cy="289100"/>
          </a:xfrm>
        </p:grpSpPr>
        <p:sp>
          <p:nvSpPr>
            <p:cNvPr id="9608" name="Google Shape;9608;p77"/>
            <p:cNvSpPr/>
            <p:nvPr/>
          </p:nvSpPr>
          <p:spPr>
            <a:xfrm>
              <a:off x="-62518200" y="2692475"/>
              <a:ext cx="318225" cy="289100"/>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77"/>
            <p:cNvSpPr/>
            <p:nvPr/>
          </p:nvSpPr>
          <p:spPr>
            <a:xfrm>
              <a:off x="-62335475" y="2804325"/>
              <a:ext cx="62250" cy="146525"/>
            </a:xfrm>
            <a:custGeom>
              <a:avLst/>
              <a:gdLst/>
              <a:ahLst/>
              <a:cxnLst/>
              <a:rect l="l" t="t" r="r" b="b"/>
              <a:pathLst>
                <a:path w="2490" h="5861" extrusionOk="0">
                  <a:moveTo>
                    <a:pt x="1261" y="0"/>
                  </a:moveTo>
                  <a:cubicBezTo>
                    <a:pt x="1009" y="0"/>
                    <a:pt x="820" y="189"/>
                    <a:pt x="820" y="410"/>
                  </a:cubicBezTo>
                  <a:lnTo>
                    <a:pt x="820" y="694"/>
                  </a:lnTo>
                  <a:cubicBezTo>
                    <a:pt x="348" y="851"/>
                    <a:pt x="1" y="1324"/>
                    <a:pt x="1" y="1891"/>
                  </a:cubicBezTo>
                  <a:cubicBezTo>
                    <a:pt x="1" y="2552"/>
                    <a:pt x="537" y="2930"/>
                    <a:pt x="978" y="3245"/>
                  </a:cubicBezTo>
                  <a:cubicBezTo>
                    <a:pt x="1293" y="3497"/>
                    <a:pt x="1639" y="3718"/>
                    <a:pt x="1639" y="3970"/>
                  </a:cubicBezTo>
                  <a:cubicBezTo>
                    <a:pt x="1671" y="4254"/>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19"/>
                  </a:lnTo>
                  <a:cubicBezTo>
                    <a:pt x="820" y="5671"/>
                    <a:pt x="1009" y="5860"/>
                    <a:pt x="1261" y="5860"/>
                  </a:cubicBezTo>
                  <a:cubicBezTo>
                    <a:pt x="1482" y="5860"/>
                    <a:pt x="1639" y="5671"/>
                    <a:pt x="1639" y="5419"/>
                  </a:cubicBezTo>
                  <a:lnTo>
                    <a:pt x="1639" y="5136"/>
                  </a:lnTo>
                  <a:cubicBezTo>
                    <a:pt x="2112" y="4978"/>
                    <a:pt x="2458" y="4506"/>
                    <a:pt x="2458" y="3970"/>
                  </a:cubicBezTo>
                  <a:cubicBezTo>
                    <a:pt x="2458" y="3308"/>
                    <a:pt x="1923" y="2899"/>
                    <a:pt x="1482" y="2584"/>
                  </a:cubicBezTo>
                  <a:cubicBezTo>
                    <a:pt x="1167" y="2363"/>
                    <a:pt x="820" y="2111"/>
                    <a:pt x="820" y="1891"/>
                  </a:cubicBezTo>
                  <a:cubicBezTo>
                    <a:pt x="820" y="1639"/>
                    <a:pt x="1009" y="1450"/>
                    <a:pt x="1261" y="1450"/>
                  </a:cubicBezTo>
                  <a:cubicBezTo>
                    <a:pt x="1482" y="1450"/>
                    <a:pt x="1639" y="1639"/>
                    <a:pt x="1639" y="1891"/>
                  </a:cubicBezTo>
                  <a:cubicBezTo>
                    <a:pt x="1639" y="2111"/>
                    <a:pt x="1860" y="2300"/>
                    <a:pt x="2049" y="2300"/>
                  </a:cubicBezTo>
                  <a:cubicBezTo>
                    <a:pt x="2269" y="2300"/>
                    <a:pt x="2490" y="2111"/>
                    <a:pt x="2490" y="1891"/>
                  </a:cubicBezTo>
                  <a:cubicBezTo>
                    <a:pt x="2490" y="1324"/>
                    <a:pt x="2112" y="883"/>
                    <a:pt x="1639" y="694"/>
                  </a:cubicBezTo>
                  <a:lnTo>
                    <a:pt x="1639" y="410"/>
                  </a:lnTo>
                  <a:cubicBezTo>
                    <a:pt x="1639" y="189"/>
                    <a:pt x="1450"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0" name="Google Shape;9610;p77"/>
          <p:cNvGrpSpPr/>
          <p:nvPr/>
        </p:nvGrpSpPr>
        <p:grpSpPr>
          <a:xfrm>
            <a:off x="2648986" y="2960912"/>
            <a:ext cx="309793" cy="365344"/>
            <a:chOff x="-60597975" y="1939525"/>
            <a:chExt cx="267825" cy="315850"/>
          </a:xfrm>
        </p:grpSpPr>
        <p:sp>
          <p:nvSpPr>
            <p:cNvPr id="9611" name="Google Shape;9611;p77"/>
            <p:cNvSpPr/>
            <p:nvPr/>
          </p:nvSpPr>
          <p:spPr>
            <a:xfrm>
              <a:off x="-60597975" y="1939525"/>
              <a:ext cx="267825" cy="315850"/>
            </a:xfrm>
            <a:custGeom>
              <a:avLst/>
              <a:gdLst/>
              <a:ahLst/>
              <a:cxnLst/>
              <a:rect l="l" t="t" r="r" b="b"/>
              <a:pathLst>
                <a:path w="10713" h="12634" extrusionOk="0">
                  <a:moveTo>
                    <a:pt x="7436" y="788"/>
                  </a:moveTo>
                  <a:lnTo>
                    <a:pt x="7436" y="1859"/>
                  </a:lnTo>
                  <a:cubicBezTo>
                    <a:pt x="7310" y="1733"/>
                    <a:pt x="7247" y="1607"/>
                    <a:pt x="6995" y="1607"/>
                  </a:cubicBezTo>
                  <a:cubicBezTo>
                    <a:pt x="6806" y="1607"/>
                    <a:pt x="6743" y="1733"/>
                    <a:pt x="6617" y="1859"/>
                  </a:cubicBezTo>
                  <a:lnTo>
                    <a:pt x="6617" y="788"/>
                  </a:lnTo>
                  <a:close/>
                  <a:moveTo>
                    <a:pt x="9515" y="788"/>
                  </a:moveTo>
                  <a:cubicBezTo>
                    <a:pt x="9767" y="788"/>
                    <a:pt x="9925" y="977"/>
                    <a:pt x="9925" y="1197"/>
                  </a:cubicBezTo>
                  <a:lnTo>
                    <a:pt x="9925" y="4222"/>
                  </a:lnTo>
                  <a:lnTo>
                    <a:pt x="2490" y="4222"/>
                  </a:lnTo>
                  <a:lnTo>
                    <a:pt x="2490" y="788"/>
                  </a:lnTo>
                  <a:lnTo>
                    <a:pt x="5798" y="788"/>
                  </a:lnTo>
                  <a:lnTo>
                    <a:pt x="5798" y="2867"/>
                  </a:lnTo>
                  <a:cubicBezTo>
                    <a:pt x="5798" y="3119"/>
                    <a:pt x="5980" y="3287"/>
                    <a:pt x="6185" y="3287"/>
                  </a:cubicBezTo>
                  <a:cubicBezTo>
                    <a:pt x="6288" y="3287"/>
                    <a:pt x="6396" y="3245"/>
                    <a:pt x="6491" y="3151"/>
                  </a:cubicBezTo>
                  <a:lnTo>
                    <a:pt x="7058" y="2615"/>
                  </a:lnTo>
                  <a:lnTo>
                    <a:pt x="7594" y="3151"/>
                  </a:lnTo>
                  <a:cubicBezTo>
                    <a:pt x="7688" y="3245"/>
                    <a:pt x="7800" y="3287"/>
                    <a:pt x="7907" y="3287"/>
                  </a:cubicBezTo>
                  <a:cubicBezTo>
                    <a:pt x="8122" y="3287"/>
                    <a:pt x="8318" y="3119"/>
                    <a:pt x="8318" y="2867"/>
                  </a:cubicBezTo>
                  <a:lnTo>
                    <a:pt x="8318" y="788"/>
                  </a:lnTo>
                  <a:close/>
                  <a:moveTo>
                    <a:pt x="9925" y="5041"/>
                  </a:moveTo>
                  <a:lnTo>
                    <a:pt x="9925" y="8349"/>
                  </a:lnTo>
                  <a:lnTo>
                    <a:pt x="2490" y="8349"/>
                  </a:lnTo>
                  <a:lnTo>
                    <a:pt x="2490" y="5041"/>
                  </a:lnTo>
                  <a:close/>
                  <a:moveTo>
                    <a:pt x="9925" y="9168"/>
                  </a:moveTo>
                  <a:lnTo>
                    <a:pt x="9925" y="11373"/>
                  </a:lnTo>
                  <a:cubicBezTo>
                    <a:pt x="9925" y="11625"/>
                    <a:pt x="9736" y="11783"/>
                    <a:pt x="9515" y="11783"/>
                  </a:cubicBezTo>
                  <a:lnTo>
                    <a:pt x="2490" y="11783"/>
                  </a:lnTo>
                  <a:lnTo>
                    <a:pt x="2490" y="9168"/>
                  </a:lnTo>
                  <a:close/>
                  <a:moveTo>
                    <a:pt x="1639" y="788"/>
                  </a:moveTo>
                  <a:lnTo>
                    <a:pt x="1639" y="11814"/>
                  </a:lnTo>
                  <a:lnTo>
                    <a:pt x="820" y="11814"/>
                  </a:lnTo>
                  <a:lnTo>
                    <a:pt x="820" y="788"/>
                  </a:lnTo>
                  <a:close/>
                  <a:moveTo>
                    <a:pt x="379" y="0"/>
                  </a:moveTo>
                  <a:cubicBezTo>
                    <a:pt x="158" y="0"/>
                    <a:pt x="1" y="189"/>
                    <a:pt x="1" y="410"/>
                  </a:cubicBezTo>
                  <a:lnTo>
                    <a:pt x="1" y="12256"/>
                  </a:lnTo>
                  <a:cubicBezTo>
                    <a:pt x="1" y="12445"/>
                    <a:pt x="190" y="12634"/>
                    <a:pt x="379" y="12634"/>
                  </a:cubicBezTo>
                  <a:lnTo>
                    <a:pt x="9484" y="12634"/>
                  </a:lnTo>
                  <a:cubicBezTo>
                    <a:pt x="10146" y="12634"/>
                    <a:pt x="10713" y="12098"/>
                    <a:pt x="10713" y="11436"/>
                  </a:cubicBezTo>
                  <a:lnTo>
                    <a:pt x="10713" y="1229"/>
                  </a:lnTo>
                  <a:cubicBezTo>
                    <a:pt x="10713" y="567"/>
                    <a:pt x="10177" y="0"/>
                    <a:pt x="94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77"/>
            <p:cNvSpPr/>
            <p:nvPr/>
          </p:nvSpPr>
          <p:spPr>
            <a:xfrm>
              <a:off x="-60494775" y="2097050"/>
              <a:ext cx="103175" cy="20500"/>
            </a:xfrm>
            <a:custGeom>
              <a:avLst/>
              <a:gdLst/>
              <a:ahLst/>
              <a:cxnLst/>
              <a:rect l="l" t="t" r="r" b="b"/>
              <a:pathLst>
                <a:path w="4127" h="820" extrusionOk="0">
                  <a:moveTo>
                    <a:pt x="410" y="0"/>
                  </a:moveTo>
                  <a:cubicBezTo>
                    <a:pt x="158" y="0"/>
                    <a:pt x="0" y="189"/>
                    <a:pt x="0" y="410"/>
                  </a:cubicBezTo>
                  <a:cubicBezTo>
                    <a:pt x="0" y="630"/>
                    <a:pt x="189" y="819"/>
                    <a:pt x="410" y="819"/>
                  </a:cubicBezTo>
                  <a:lnTo>
                    <a:pt x="3718" y="819"/>
                  </a:lnTo>
                  <a:cubicBezTo>
                    <a:pt x="3938" y="819"/>
                    <a:pt x="4127" y="630"/>
                    <a:pt x="4127" y="410"/>
                  </a:cubicBezTo>
                  <a:cubicBezTo>
                    <a:pt x="4127" y="158"/>
                    <a:pt x="3938"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3" name="Google Shape;9613;p77"/>
          <p:cNvGrpSpPr/>
          <p:nvPr/>
        </p:nvGrpSpPr>
        <p:grpSpPr>
          <a:xfrm>
            <a:off x="2619389" y="3395337"/>
            <a:ext cx="368987" cy="368525"/>
            <a:chOff x="-60620800" y="2304600"/>
            <a:chExt cx="319000" cy="318600"/>
          </a:xfrm>
        </p:grpSpPr>
        <p:sp>
          <p:nvSpPr>
            <p:cNvPr id="9614" name="Google Shape;9614;p77"/>
            <p:cNvSpPr/>
            <p:nvPr/>
          </p:nvSpPr>
          <p:spPr>
            <a:xfrm>
              <a:off x="-60620800" y="2304600"/>
              <a:ext cx="319000" cy="318600"/>
            </a:xfrm>
            <a:custGeom>
              <a:avLst/>
              <a:gdLst/>
              <a:ahLst/>
              <a:cxnLst/>
              <a:rect l="l" t="t" r="r" b="b"/>
              <a:pathLst>
                <a:path w="12760" h="12744" extrusionOk="0">
                  <a:moveTo>
                    <a:pt x="10939" y="845"/>
                  </a:moveTo>
                  <a:cubicBezTo>
                    <a:pt x="10969" y="845"/>
                    <a:pt x="11001" y="853"/>
                    <a:pt x="11027" y="866"/>
                  </a:cubicBezTo>
                  <a:lnTo>
                    <a:pt x="11752" y="1276"/>
                  </a:lnTo>
                  <a:cubicBezTo>
                    <a:pt x="11783" y="1339"/>
                    <a:pt x="11815" y="1433"/>
                    <a:pt x="11783" y="1465"/>
                  </a:cubicBezTo>
                  <a:lnTo>
                    <a:pt x="11437" y="2063"/>
                  </a:lnTo>
                  <a:lnTo>
                    <a:pt x="10491" y="1496"/>
                  </a:lnTo>
                  <a:lnTo>
                    <a:pt x="10838" y="898"/>
                  </a:lnTo>
                  <a:cubicBezTo>
                    <a:pt x="10856" y="861"/>
                    <a:pt x="10897" y="845"/>
                    <a:pt x="10939" y="845"/>
                  </a:cubicBezTo>
                  <a:close/>
                  <a:moveTo>
                    <a:pt x="10050" y="2252"/>
                  </a:moveTo>
                  <a:lnTo>
                    <a:pt x="10995" y="2819"/>
                  </a:lnTo>
                  <a:lnTo>
                    <a:pt x="8916" y="6379"/>
                  </a:lnTo>
                  <a:lnTo>
                    <a:pt x="7971" y="5844"/>
                  </a:lnTo>
                  <a:lnTo>
                    <a:pt x="10050" y="2252"/>
                  </a:lnTo>
                  <a:close/>
                  <a:moveTo>
                    <a:pt x="7813" y="6663"/>
                  </a:moveTo>
                  <a:lnTo>
                    <a:pt x="8318" y="6978"/>
                  </a:lnTo>
                  <a:lnTo>
                    <a:pt x="7782" y="7324"/>
                  </a:lnTo>
                  <a:lnTo>
                    <a:pt x="7813" y="6663"/>
                  </a:lnTo>
                  <a:close/>
                  <a:moveTo>
                    <a:pt x="11342" y="5245"/>
                  </a:moveTo>
                  <a:cubicBezTo>
                    <a:pt x="11594" y="5245"/>
                    <a:pt x="11752" y="5434"/>
                    <a:pt x="11752" y="5686"/>
                  </a:cubicBezTo>
                  <a:lnTo>
                    <a:pt x="11752" y="11483"/>
                  </a:lnTo>
                  <a:cubicBezTo>
                    <a:pt x="11752" y="11704"/>
                    <a:pt x="11531" y="11893"/>
                    <a:pt x="11342" y="11893"/>
                  </a:cubicBezTo>
                  <a:lnTo>
                    <a:pt x="1197" y="11893"/>
                  </a:lnTo>
                  <a:cubicBezTo>
                    <a:pt x="945" y="11893"/>
                    <a:pt x="788" y="11704"/>
                    <a:pt x="788" y="11483"/>
                  </a:cubicBezTo>
                  <a:lnTo>
                    <a:pt x="788" y="5686"/>
                  </a:lnTo>
                  <a:cubicBezTo>
                    <a:pt x="788" y="5434"/>
                    <a:pt x="977" y="5245"/>
                    <a:pt x="1197" y="5245"/>
                  </a:cubicBezTo>
                  <a:lnTo>
                    <a:pt x="7372" y="5245"/>
                  </a:lnTo>
                  <a:lnTo>
                    <a:pt x="7057" y="5749"/>
                  </a:lnTo>
                  <a:cubicBezTo>
                    <a:pt x="7026" y="5812"/>
                    <a:pt x="7026" y="5875"/>
                    <a:pt x="7026" y="5970"/>
                  </a:cubicBezTo>
                  <a:lnTo>
                    <a:pt x="6900" y="7734"/>
                  </a:lnTo>
                  <a:lnTo>
                    <a:pt x="5545" y="7734"/>
                  </a:lnTo>
                  <a:cubicBezTo>
                    <a:pt x="5325" y="7734"/>
                    <a:pt x="5167" y="7923"/>
                    <a:pt x="5167" y="8175"/>
                  </a:cubicBezTo>
                  <a:cubicBezTo>
                    <a:pt x="5167" y="8396"/>
                    <a:pt x="5356" y="8585"/>
                    <a:pt x="5545" y="8585"/>
                  </a:cubicBezTo>
                  <a:lnTo>
                    <a:pt x="10523" y="8585"/>
                  </a:lnTo>
                  <a:cubicBezTo>
                    <a:pt x="10743" y="8585"/>
                    <a:pt x="10964" y="8396"/>
                    <a:pt x="10964" y="8175"/>
                  </a:cubicBezTo>
                  <a:cubicBezTo>
                    <a:pt x="10964" y="7923"/>
                    <a:pt x="10743" y="7734"/>
                    <a:pt x="10523" y="7734"/>
                  </a:cubicBezTo>
                  <a:lnTo>
                    <a:pt x="8633" y="7734"/>
                  </a:lnTo>
                  <a:lnTo>
                    <a:pt x="9294" y="7293"/>
                  </a:lnTo>
                  <a:cubicBezTo>
                    <a:pt x="9326" y="7261"/>
                    <a:pt x="9420" y="7230"/>
                    <a:pt x="9420" y="7135"/>
                  </a:cubicBezTo>
                  <a:lnTo>
                    <a:pt x="10523" y="5245"/>
                  </a:lnTo>
                  <a:close/>
                  <a:moveTo>
                    <a:pt x="10933" y="0"/>
                  </a:moveTo>
                  <a:cubicBezTo>
                    <a:pt x="10599" y="0"/>
                    <a:pt x="10280" y="175"/>
                    <a:pt x="10113" y="488"/>
                  </a:cubicBezTo>
                  <a:lnTo>
                    <a:pt x="9578" y="1433"/>
                  </a:lnTo>
                  <a:lnTo>
                    <a:pt x="7877" y="4395"/>
                  </a:lnTo>
                  <a:lnTo>
                    <a:pt x="1229" y="4395"/>
                  </a:lnTo>
                  <a:cubicBezTo>
                    <a:pt x="567" y="4395"/>
                    <a:pt x="0" y="4930"/>
                    <a:pt x="0" y="5592"/>
                  </a:cubicBezTo>
                  <a:lnTo>
                    <a:pt x="0" y="11483"/>
                  </a:lnTo>
                  <a:cubicBezTo>
                    <a:pt x="0" y="12145"/>
                    <a:pt x="567" y="12743"/>
                    <a:pt x="1229" y="12743"/>
                  </a:cubicBezTo>
                  <a:lnTo>
                    <a:pt x="11374" y="12743"/>
                  </a:lnTo>
                  <a:cubicBezTo>
                    <a:pt x="12067" y="12743"/>
                    <a:pt x="12602" y="12176"/>
                    <a:pt x="12602" y="11483"/>
                  </a:cubicBezTo>
                  <a:lnTo>
                    <a:pt x="12602" y="5686"/>
                  </a:lnTo>
                  <a:cubicBezTo>
                    <a:pt x="12602" y="5025"/>
                    <a:pt x="12067" y="4458"/>
                    <a:pt x="11374" y="4458"/>
                  </a:cubicBezTo>
                  <a:lnTo>
                    <a:pt x="11027" y="4458"/>
                  </a:lnTo>
                  <a:lnTo>
                    <a:pt x="12508" y="1937"/>
                  </a:lnTo>
                  <a:cubicBezTo>
                    <a:pt x="12760" y="1433"/>
                    <a:pt x="12602" y="835"/>
                    <a:pt x="12130" y="551"/>
                  </a:cubicBezTo>
                  <a:lnTo>
                    <a:pt x="11437" y="141"/>
                  </a:lnTo>
                  <a:cubicBezTo>
                    <a:pt x="11277" y="46"/>
                    <a:pt x="11103" y="0"/>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5" name="Google Shape;9615;p77"/>
            <p:cNvSpPr/>
            <p:nvPr/>
          </p:nvSpPr>
          <p:spPr>
            <a:xfrm>
              <a:off x="-60491625" y="2560150"/>
              <a:ext cx="144925" cy="20525"/>
            </a:xfrm>
            <a:custGeom>
              <a:avLst/>
              <a:gdLst/>
              <a:ahLst/>
              <a:cxnLst/>
              <a:rect l="l" t="t" r="r" b="b"/>
              <a:pathLst>
                <a:path w="5797" h="821" extrusionOk="0">
                  <a:moveTo>
                    <a:pt x="378" y="1"/>
                  </a:moveTo>
                  <a:cubicBezTo>
                    <a:pt x="158" y="1"/>
                    <a:pt x="0" y="190"/>
                    <a:pt x="0" y="411"/>
                  </a:cubicBezTo>
                  <a:cubicBezTo>
                    <a:pt x="0" y="663"/>
                    <a:pt x="189" y="820"/>
                    <a:pt x="378" y="820"/>
                  </a:cubicBezTo>
                  <a:lnTo>
                    <a:pt x="5356" y="820"/>
                  </a:lnTo>
                  <a:cubicBezTo>
                    <a:pt x="5576" y="820"/>
                    <a:pt x="5797" y="631"/>
                    <a:pt x="5797" y="411"/>
                  </a:cubicBezTo>
                  <a:cubicBezTo>
                    <a:pt x="5797" y="190"/>
                    <a:pt x="5576"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6" name="Google Shape;9616;p77"/>
            <p:cNvSpPr/>
            <p:nvPr/>
          </p:nvSpPr>
          <p:spPr>
            <a:xfrm>
              <a:off x="-60573550" y="2445950"/>
              <a:ext cx="62250" cy="146525"/>
            </a:xfrm>
            <a:custGeom>
              <a:avLst/>
              <a:gdLst/>
              <a:ahLst/>
              <a:cxnLst/>
              <a:rect l="l" t="t" r="r" b="b"/>
              <a:pathLst>
                <a:path w="2490" h="5861" extrusionOk="0">
                  <a:moveTo>
                    <a:pt x="1229" y="1"/>
                  </a:moveTo>
                  <a:cubicBezTo>
                    <a:pt x="977" y="1"/>
                    <a:pt x="820" y="190"/>
                    <a:pt x="820" y="410"/>
                  </a:cubicBezTo>
                  <a:lnTo>
                    <a:pt x="820" y="694"/>
                  </a:lnTo>
                  <a:cubicBezTo>
                    <a:pt x="347" y="851"/>
                    <a:pt x="1" y="1324"/>
                    <a:pt x="1" y="1891"/>
                  </a:cubicBezTo>
                  <a:cubicBezTo>
                    <a:pt x="1" y="2553"/>
                    <a:pt x="568" y="2931"/>
                    <a:pt x="977" y="3246"/>
                  </a:cubicBezTo>
                  <a:cubicBezTo>
                    <a:pt x="1292" y="3498"/>
                    <a:pt x="1670" y="3718"/>
                    <a:pt x="1670" y="3970"/>
                  </a:cubicBezTo>
                  <a:cubicBezTo>
                    <a:pt x="1670" y="4191"/>
                    <a:pt x="1450" y="4348"/>
                    <a:pt x="1229" y="4348"/>
                  </a:cubicBezTo>
                  <a:cubicBezTo>
                    <a:pt x="977" y="4348"/>
                    <a:pt x="820" y="4159"/>
                    <a:pt x="820" y="3970"/>
                  </a:cubicBezTo>
                  <a:cubicBezTo>
                    <a:pt x="820" y="3718"/>
                    <a:pt x="631" y="3529"/>
                    <a:pt x="442" y="3529"/>
                  </a:cubicBezTo>
                  <a:cubicBezTo>
                    <a:pt x="190" y="3529"/>
                    <a:pt x="1" y="3718"/>
                    <a:pt x="1" y="3970"/>
                  </a:cubicBezTo>
                  <a:cubicBezTo>
                    <a:pt x="1" y="4506"/>
                    <a:pt x="347" y="4947"/>
                    <a:pt x="820" y="5136"/>
                  </a:cubicBezTo>
                  <a:lnTo>
                    <a:pt x="820" y="5420"/>
                  </a:lnTo>
                  <a:cubicBezTo>
                    <a:pt x="820" y="5672"/>
                    <a:pt x="1040" y="5861"/>
                    <a:pt x="1229" y="5861"/>
                  </a:cubicBezTo>
                  <a:cubicBezTo>
                    <a:pt x="1450" y="5861"/>
                    <a:pt x="1670" y="5672"/>
                    <a:pt x="1670" y="5420"/>
                  </a:cubicBezTo>
                  <a:lnTo>
                    <a:pt x="1670" y="5136"/>
                  </a:lnTo>
                  <a:cubicBezTo>
                    <a:pt x="2143" y="4979"/>
                    <a:pt x="2489" y="4506"/>
                    <a:pt x="2489" y="3970"/>
                  </a:cubicBezTo>
                  <a:cubicBezTo>
                    <a:pt x="2489" y="3309"/>
                    <a:pt x="1922" y="2899"/>
                    <a:pt x="1513" y="2584"/>
                  </a:cubicBezTo>
                  <a:cubicBezTo>
                    <a:pt x="1198" y="2364"/>
                    <a:pt x="820" y="2112"/>
                    <a:pt x="820" y="1891"/>
                  </a:cubicBezTo>
                  <a:cubicBezTo>
                    <a:pt x="788" y="1639"/>
                    <a:pt x="977" y="1450"/>
                    <a:pt x="1229" y="1450"/>
                  </a:cubicBezTo>
                  <a:cubicBezTo>
                    <a:pt x="1450" y="1450"/>
                    <a:pt x="1670" y="1639"/>
                    <a:pt x="1670" y="1891"/>
                  </a:cubicBezTo>
                  <a:cubicBezTo>
                    <a:pt x="1670" y="2112"/>
                    <a:pt x="1859" y="2269"/>
                    <a:pt x="2048" y="2269"/>
                  </a:cubicBezTo>
                  <a:cubicBezTo>
                    <a:pt x="2300" y="2269"/>
                    <a:pt x="2489" y="2080"/>
                    <a:pt x="2489" y="1891"/>
                  </a:cubicBezTo>
                  <a:cubicBezTo>
                    <a:pt x="2489" y="1324"/>
                    <a:pt x="2143" y="883"/>
                    <a:pt x="1670" y="694"/>
                  </a:cubicBezTo>
                  <a:lnTo>
                    <a:pt x="1670" y="410"/>
                  </a:lnTo>
                  <a:cubicBezTo>
                    <a:pt x="1670" y="190"/>
                    <a:pt x="1450"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7" name="Google Shape;9617;p77"/>
          <p:cNvGrpSpPr/>
          <p:nvPr/>
        </p:nvGrpSpPr>
        <p:grpSpPr>
          <a:xfrm>
            <a:off x="2620748" y="3890988"/>
            <a:ext cx="366269" cy="262426"/>
            <a:chOff x="-60621600" y="2716100"/>
            <a:chExt cx="316650" cy="226875"/>
          </a:xfrm>
        </p:grpSpPr>
        <p:sp>
          <p:nvSpPr>
            <p:cNvPr id="9618" name="Google Shape;9618;p77"/>
            <p:cNvSpPr/>
            <p:nvPr/>
          </p:nvSpPr>
          <p:spPr>
            <a:xfrm>
              <a:off x="-60621600" y="2716100"/>
              <a:ext cx="316650" cy="226875"/>
            </a:xfrm>
            <a:custGeom>
              <a:avLst/>
              <a:gdLst/>
              <a:ahLst/>
              <a:cxnLst/>
              <a:rect l="l" t="t" r="r" b="b"/>
              <a:pathLst>
                <a:path w="12666" h="9075" extrusionOk="0">
                  <a:moveTo>
                    <a:pt x="11374" y="789"/>
                  </a:moveTo>
                  <a:cubicBezTo>
                    <a:pt x="11626" y="789"/>
                    <a:pt x="11815" y="1009"/>
                    <a:pt x="11815" y="1230"/>
                  </a:cubicBezTo>
                  <a:lnTo>
                    <a:pt x="11815" y="1671"/>
                  </a:lnTo>
                  <a:lnTo>
                    <a:pt x="788" y="1671"/>
                  </a:lnTo>
                  <a:lnTo>
                    <a:pt x="788" y="1230"/>
                  </a:lnTo>
                  <a:cubicBezTo>
                    <a:pt x="788" y="1009"/>
                    <a:pt x="977" y="789"/>
                    <a:pt x="1166" y="789"/>
                  </a:cubicBezTo>
                  <a:close/>
                  <a:moveTo>
                    <a:pt x="11815" y="2490"/>
                  </a:moveTo>
                  <a:lnTo>
                    <a:pt x="11815" y="7877"/>
                  </a:lnTo>
                  <a:cubicBezTo>
                    <a:pt x="11815" y="8129"/>
                    <a:pt x="11626" y="8318"/>
                    <a:pt x="11374" y="8318"/>
                  </a:cubicBezTo>
                  <a:lnTo>
                    <a:pt x="1166" y="8318"/>
                  </a:lnTo>
                  <a:cubicBezTo>
                    <a:pt x="946" y="8318"/>
                    <a:pt x="788" y="8129"/>
                    <a:pt x="788" y="7877"/>
                  </a:cubicBezTo>
                  <a:lnTo>
                    <a:pt x="788" y="2490"/>
                  </a:lnTo>
                  <a:close/>
                  <a:moveTo>
                    <a:pt x="1229" y="1"/>
                  </a:moveTo>
                  <a:cubicBezTo>
                    <a:pt x="536" y="1"/>
                    <a:pt x="1" y="568"/>
                    <a:pt x="1" y="1230"/>
                  </a:cubicBezTo>
                  <a:lnTo>
                    <a:pt x="1" y="7846"/>
                  </a:lnTo>
                  <a:cubicBezTo>
                    <a:pt x="1" y="8507"/>
                    <a:pt x="536" y="9074"/>
                    <a:pt x="1229" y="9074"/>
                  </a:cubicBezTo>
                  <a:lnTo>
                    <a:pt x="11406" y="9074"/>
                  </a:lnTo>
                  <a:cubicBezTo>
                    <a:pt x="12099" y="9074"/>
                    <a:pt x="12666" y="8507"/>
                    <a:pt x="12666" y="7846"/>
                  </a:cubicBezTo>
                  <a:lnTo>
                    <a:pt x="12666" y="1230"/>
                  </a:lnTo>
                  <a:cubicBezTo>
                    <a:pt x="12634" y="568"/>
                    <a:pt x="12099" y="1"/>
                    <a:pt x="11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77"/>
            <p:cNvSpPr/>
            <p:nvPr/>
          </p:nvSpPr>
          <p:spPr>
            <a:xfrm>
              <a:off x="-60546775" y="2798025"/>
              <a:ext cx="166225" cy="104775"/>
            </a:xfrm>
            <a:custGeom>
              <a:avLst/>
              <a:gdLst/>
              <a:ahLst/>
              <a:cxnLst/>
              <a:rect l="l" t="t" r="r" b="b"/>
              <a:pathLst>
                <a:path w="6649" h="4191" extrusionOk="0">
                  <a:moveTo>
                    <a:pt x="2080" y="883"/>
                  </a:moveTo>
                  <a:cubicBezTo>
                    <a:pt x="2332" y="883"/>
                    <a:pt x="2553" y="946"/>
                    <a:pt x="2805" y="1072"/>
                  </a:cubicBezTo>
                  <a:cubicBezTo>
                    <a:pt x="2647" y="1387"/>
                    <a:pt x="2521" y="1733"/>
                    <a:pt x="2521" y="2080"/>
                  </a:cubicBezTo>
                  <a:cubicBezTo>
                    <a:pt x="2521" y="2489"/>
                    <a:pt x="2647" y="2804"/>
                    <a:pt x="2805" y="3119"/>
                  </a:cubicBezTo>
                  <a:cubicBezTo>
                    <a:pt x="2584" y="3245"/>
                    <a:pt x="2364" y="3308"/>
                    <a:pt x="2080" y="3308"/>
                  </a:cubicBezTo>
                  <a:cubicBezTo>
                    <a:pt x="1418" y="3308"/>
                    <a:pt x="820" y="2741"/>
                    <a:pt x="820" y="2048"/>
                  </a:cubicBezTo>
                  <a:cubicBezTo>
                    <a:pt x="820" y="1418"/>
                    <a:pt x="1418" y="883"/>
                    <a:pt x="2080" y="883"/>
                  </a:cubicBezTo>
                  <a:close/>
                  <a:moveTo>
                    <a:pt x="4569" y="883"/>
                  </a:moveTo>
                  <a:cubicBezTo>
                    <a:pt x="5231" y="883"/>
                    <a:pt x="5798" y="1418"/>
                    <a:pt x="5798" y="2080"/>
                  </a:cubicBezTo>
                  <a:cubicBezTo>
                    <a:pt x="5798" y="2741"/>
                    <a:pt x="5231" y="3340"/>
                    <a:pt x="4569" y="3340"/>
                  </a:cubicBezTo>
                  <a:cubicBezTo>
                    <a:pt x="3907" y="3340"/>
                    <a:pt x="3340" y="2804"/>
                    <a:pt x="3340" y="2080"/>
                  </a:cubicBezTo>
                  <a:cubicBezTo>
                    <a:pt x="3309" y="1418"/>
                    <a:pt x="3907" y="883"/>
                    <a:pt x="4569" y="883"/>
                  </a:cubicBezTo>
                  <a:close/>
                  <a:moveTo>
                    <a:pt x="2080" y="0"/>
                  </a:moveTo>
                  <a:cubicBezTo>
                    <a:pt x="946" y="0"/>
                    <a:pt x="1" y="946"/>
                    <a:pt x="1" y="2080"/>
                  </a:cubicBezTo>
                  <a:cubicBezTo>
                    <a:pt x="1" y="3245"/>
                    <a:pt x="946" y="4191"/>
                    <a:pt x="2080" y="4191"/>
                  </a:cubicBezTo>
                  <a:cubicBezTo>
                    <a:pt x="2521" y="4191"/>
                    <a:pt x="2962" y="4033"/>
                    <a:pt x="3340" y="3749"/>
                  </a:cubicBezTo>
                  <a:cubicBezTo>
                    <a:pt x="3687" y="4033"/>
                    <a:pt x="4128" y="4191"/>
                    <a:pt x="4569" y="4191"/>
                  </a:cubicBezTo>
                  <a:cubicBezTo>
                    <a:pt x="5703" y="4191"/>
                    <a:pt x="6648" y="3245"/>
                    <a:pt x="6648" y="2080"/>
                  </a:cubicBezTo>
                  <a:cubicBezTo>
                    <a:pt x="6648" y="946"/>
                    <a:pt x="5703" y="0"/>
                    <a:pt x="4569" y="0"/>
                  </a:cubicBezTo>
                  <a:cubicBezTo>
                    <a:pt x="4096" y="0"/>
                    <a:pt x="3655" y="158"/>
                    <a:pt x="3340" y="441"/>
                  </a:cubicBezTo>
                  <a:cubicBezTo>
                    <a:pt x="2994" y="158"/>
                    <a:pt x="2553"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0" name="Google Shape;9620;p77"/>
          <p:cNvGrpSpPr/>
          <p:nvPr/>
        </p:nvGrpSpPr>
        <p:grpSpPr>
          <a:xfrm>
            <a:off x="3957965" y="3839081"/>
            <a:ext cx="358056" cy="366240"/>
            <a:chOff x="-59475600" y="2658625"/>
            <a:chExt cx="309550" cy="316625"/>
          </a:xfrm>
        </p:grpSpPr>
        <p:sp>
          <p:nvSpPr>
            <p:cNvPr id="9621" name="Google Shape;9621;p77"/>
            <p:cNvSpPr/>
            <p:nvPr/>
          </p:nvSpPr>
          <p:spPr>
            <a:xfrm>
              <a:off x="-59427550" y="291302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630" y="788"/>
                    <a:pt x="788" y="630"/>
                    <a:pt x="788" y="410"/>
                  </a:cubicBezTo>
                  <a:cubicBezTo>
                    <a:pt x="788"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2" name="Google Shape;9622;p77"/>
            <p:cNvSpPr/>
            <p:nvPr/>
          </p:nvSpPr>
          <p:spPr>
            <a:xfrm>
              <a:off x="-59428350" y="2699575"/>
              <a:ext cx="20500" cy="152825"/>
            </a:xfrm>
            <a:custGeom>
              <a:avLst/>
              <a:gdLst/>
              <a:ahLst/>
              <a:cxnLst/>
              <a:rect l="l" t="t" r="r" b="b"/>
              <a:pathLst>
                <a:path w="820" h="6113" extrusionOk="0">
                  <a:moveTo>
                    <a:pt x="442" y="0"/>
                  </a:moveTo>
                  <a:cubicBezTo>
                    <a:pt x="190" y="0"/>
                    <a:pt x="1" y="189"/>
                    <a:pt x="1" y="441"/>
                  </a:cubicBezTo>
                  <a:lnTo>
                    <a:pt x="1" y="5671"/>
                  </a:lnTo>
                  <a:cubicBezTo>
                    <a:pt x="1"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77"/>
            <p:cNvSpPr/>
            <p:nvPr/>
          </p:nvSpPr>
          <p:spPr>
            <a:xfrm>
              <a:off x="-59330675" y="2913025"/>
              <a:ext cx="19700" cy="19700"/>
            </a:xfrm>
            <a:custGeom>
              <a:avLst/>
              <a:gdLst/>
              <a:ahLst/>
              <a:cxnLst/>
              <a:rect l="l" t="t" r="r" b="b"/>
              <a:pathLst>
                <a:path w="788" h="788" extrusionOk="0">
                  <a:moveTo>
                    <a:pt x="378" y="0"/>
                  </a:moveTo>
                  <a:cubicBezTo>
                    <a:pt x="158" y="0"/>
                    <a:pt x="0" y="189"/>
                    <a:pt x="0" y="410"/>
                  </a:cubicBezTo>
                  <a:cubicBezTo>
                    <a:pt x="0" y="630"/>
                    <a:pt x="158"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77"/>
            <p:cNvSpPr/>
            <p:nvPr/>
          </p:nvSpPr>
          <p:spPr>
            <a:xfrm>
              <a:off x="-59330675" y="2699575"/>
              <a:ext cx="20500" cy="152825"/>
            </a:xfrm>
            <a:custGeom>
              <a:avLst/>
              <a:gdLst/>
              <a:ahLst/>
              <a:cxnLst/>
              <a:rect l="l" t="t" r="r" b="b"/>
              <a:pathLst>
                <a:path w="820" h="6113" extrusionOk="0">
                  <a:moveTo>
                    <a:pt x="378" y="0"/>
                  </a:moveTo>
                  <a:cubicBezTo>
                    <a:pt x="158" y="0"/>
                    <a:pt x="0" y="189"/>
                    <a:pt x="0" y="441"/>
                  </a:cubicBezTo>
                  <a:lnTo>
                    <a:pt x="0" y="5671"/>
                  </a:lnTo>
                  <a:cubicBezTo>
                    <a:pt x="0" y="5923"/>
                    <a:pt x="189" y="6112"/>
                    <a:pt x="378" y="6112"/>
                  </a:cubicBezTo>
                  <a:cubicBezTo>
                    <a:pt x="630" y="6112"/>
                    <a:pt x="820" y="5923"/>
                    <a:pt x="820" y="5671"/>
                  </a:cubicBezTo>
                  <a:lnTo>
                    <a:pt x="820" y="410"/>
                  </a:lnTo>
                  <a:cubicBezTo>
                    <a:pt x="788"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77"/>
            <p:cNvSpPr/>
            <p:nvPr/>
          </p:nvSpPr>
          <p:spPr>
            <a:xfrm>
              <a:off x="-59475600" y="2658625"/>
              <a:ext cx="309550" cy="316625"/>
            </a:xfrm>
            <a:custGeom>
              <a:avLst/>
              <a:gdLst/>
              <a:ahLst/>
              <a:cxnLst/>
              <a:rect l="l" t="t" r="r" b="b"/>
              <a:pathLst>
                <a:path w="12382" h="12665" extrusionOk="0">
                  <a:moveTo>
                    <a:pt x="3372" y="788"/>
                  </a:moveTo>
                  <a:cubicBezTo>
                    <a:pt x="3624" y="788"/>
                    <a:pt x="3813" y="977"/>
                    <a:pt x="3813" y="1197"/>
                  </a:cubicBezTo>
                  <a:lnTo>
                    <a:pt x="3813" y="8538"/>
                  </a:lnTo>
                  <a:lnTo>
                    <a:pt x="788" y="8538"/>
                  </a:lnTo>
                  <a:lnTo>
                    <a:pt x="788" y="1197"/>
                  </a:lnTo>
                  <a:cubicBezTo>
                    <a:pt x="788" y="977"/>
                    <a:pt x="977" y="788"/>
                    <a:pt x="1166" y="788"/>
                  </a:cubicBezTo>
                  <a:close/>
                  <a:moveTo>
                    <a:pt x="7278" y="788"/>
                  </a:moveTo>
                  <a:cubicBezTo>
                    <a:pt x="7530" y="788"/>
                    <a:pt x="7688" y="977"/>
                    <a:pt x="7688" y="1197"/>
                  </a:cubicBezTo>
                  <a:lnTo>
                    <a:pt x="7688" y="8538"/>
                  </a:lnTo>
                  <a:lnTo>
                    <a:pt x="4632" y="8538"/>
                  </a:lnTo>
                  <a:lnTo>
                    <a:pt x="4632" y="1197"/>
                  </a:lnTo>
                  <a:cubicBezTo>
                    <a:pt x="4632" y="977"/>
                    <a:pt x="4852" y="788"/>
                    <a:pt x="5073" y="788"/>
                  </a:cubicBezTo>
                  <a:close/>
                  <a:moveTo>
                    <a:pt x="11122" y="788"/>
                  </a:moveTo>
                  <a:cubicBezTo>
                    <a:pt x="11342" y="788"/>
                    <a:pt x="11500" y="977"/>
                    <a:pt x="11500" y="1197"/>
                  </a:cubicBezTo>
                  <a:lnTo>
                    <a:pt x="11500" y="8538"/>
                  </a:lnTo>
                  <a:lnTo>
                    <a:pt x="8507" y="8538"/>
                  </a:lnTo>
                  <a:lnTo>
                    <a:pt x="8507" y="1197"/>
                  </a:lnTo>
                  <a:cubicBezTo>
                    <a:pt x="8507" y="977"/>
                    <a:pt x="8696" y="788"/>
                    <a:pt x="8885" y="788"/>
                  </a:cubicBezTo>
                  <a:close/>
                  <a:moveTo>
                    <a:pt x="3813" y="9325"/>
                  </a:moveTo>
                  <a:lnTo>
                    <a:pt x="3813" y="11405"/>
                  </a:lnTo>
                  <a:cubicBezTo>
                    <a:pt x="3813" y="11657"/>
                    <a:pt x="3624" y="11846"/>
                    <a:pt x="3372" y="11846"/>
                  </a:cubicBezTo>
                  <a:lnTo>
                    <a:pt x="1166" y="11846"/>
                  </a:lnTo>
                  <a:cubicBezTo>
                    <a:pt x="946" y="11846"/>
                    <a:pt x="788" y="11657"/>
                    <a:pt x="788" y="11405"/>
                  </a:cubicBezTo>
                  <a:lnTo>
                    <a:pt x="788" y="9325"/>
                  </a:lnTo>
                  <a:close/>
                  <a:moveTo>
                    <a:pt x="7688" y="9325"/>
                  </a:moveTo>
                  <a:lnTo>
                    <a:pt x="7688" y="11405"/>
                  </a:lnTo>
                  <a:cubicBezTo>
                    <a:pt x="7688" y="11657"/>
                    <a:pt x="7467" y="11846"/>
                    <a:pt x="7278" y="11846"/>
                  </a:cubicBezTo>
                  <a:lnTo>
                    <a:pt x="5073" y="11846"/>
                  </a:lnTo>
                  <a:cubicBezTo>
                    <a:pt x="4852" y="11846"/>
                    <a:pt x="4632" y="11657"/>
                    <a:pt x="4632" y="11405"/>
                  </a:cubicBezTo>
                  <a:lnTo>
                    <a:pt x="4632" y="9325"/>
                  </a:lnTo>
                  <a:close/>
                  <a:moveTo>
                    <a:pt x="11563" y="9325"/>
                  </a:moveTo>
                  <a:lnTo>
                    <a:pt x="11563" y="11405"/>
                  </a:lnTo>
                  <a:lnTo>
                    <a:pt x="11531" y="11405"/>
                  </a:lnTo>
                  <a:cubicBezTo>
                    <a:pt x="11531" y="11657"/>
                    <a:pt x="11342" y="11846"/>
                    <a:pt x="11153" y="11846"/>
                  </a:cubicBezTo>
                  <a:lnTo>
                    <a:pt x="8948" y="11846"/>
                  </a:lnTo>
                  <a:cubicBezTo>
                    <a:pt x="8696" y="11846"/>
                    <a:pt x="8538" y="11657"/>
                    <a:pt x="8538" y="11405"/>
                  </a:cubicBezTo>
                  <a:lnTo>
                    <a:pt x="8538" y="9325"/>
                  </a:lnTo>
                  <a:close/>
                  <a:moveTo>
                    <a:pt x="1229" y="0"/>
                  </a:moveTo>
                  <a:cubicBezTo>
                    <a:pt x="536" y="0"/>
                    <a:pt x="0" y="536"/>
                    <a:pt x="0" y="1197"/>
                  </a:cubicBezTo>
                  <a:lnTo>
                    <a:pt x="0" y="11405"/>
                  </a:lnTo>
                  <a:cubicBezTo>
                    <a:pt x="0" y="12066"/>
                    <a:pt x="536" y="12665"/>
                    <a:pt x="1229" y="12665"/>
                  </a:cubicBezTo>
                  <a:lnTo>
                    <a:pt x="3435" y="12665"/>
                  </a:lnTo>
                  <a:cubicBezTo>
                    <a:pt x="3750" y="12665"/>
                    <a:pt x="4002" y="12539"/>
                    <a:pt x="4254" y="12350"/>
                  </a:cubicBezTo>
                  <a:cubicBezTo>
                    <a:pt x="4474" y="12539"/>
                    <a:pt x="4758" y="12665"/>
                    <a:pt x="5073" y="12665"/>
                  </a:cubicBezTo>
                  <a:lnTo>
                    <a:pt x="7278" y="12665"/>
                  </a:lnTo>
                  <a:cubicBezTo>
                    <a:pt x="7593" y="12665"/>
                    <a:pt x="7877" y="12539"/>
                    <a:pt x="8097" y="12350"/>
                  </a:cubicBezTo>
                  <a:cubicBezTo>
                    <a:pt x="8349" y="12539"/>
                    <a:pt x="8633" y="12665"/>
                    <a:pt x="8948" y="12665"/>
                  </a:cubicBezTo>
                  <a:lnTo>
                    <a:pt x="11153" y="12665"/>
                  </a:lnTo>
                  <a:cubicBezTo>
                    <a:pt x="11815" y="12665"/>
                    <a:pt x="12382" y="12129"/>
                    <a:pt x="12382" y="11405"/>
                  </a:cubicBezTo>
                  <a:lnTo>
                    <a:pt x="12382" y="1197"/>
                  </a:lnTo>
                  <a:cubicBezTo>
                    <a:pt x="12350" y="536"/>
                    <a:pt x="11815" y="0"/>
                    <a:pt x="11153" y="0"/>
                  </a:cubicBezTo>
                  <a:lnTo>
                    <a:pt x="8948" y="0"/>
                  </a:lnTo>
                  <a:cubicBezTo>
                    <a:pt x="8633" y="0"/>
                    <a:pt x="8349" y="95"/>
                    <a:pt x="8097" y="315"/>
                  </a:cubicBezTo>
                  <a:cubicBezTo>
                    <a:pt x="7877" y="95"/>
                    <a:pt x="7593" y="0"/>
                    <a:pt x="7278" y="0"/>
                  </a:cubicBezTo>
                  <a:lnTo>
                    <a:pt x="5073" y="0"/>
                  </a:lnTo>
                  <a:cubicBezTo>
                    <a:pt x="4758" y="0"/>
                    <a:pt x="4474" y="95"/>
                    <a:pt x="4254" y="315"/>
                  </a:cubicBezTo>
                  <a:cubicBezTo>
                    <a:pt x="4002" y="95"/>
                    <a:pt x="3750" y="0"/>
                    <a:pt x="34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77"/>
            <p:cNvSpPr/>
            <p:nvPr/>
          </p:nvSpPr>
          <p:spPr>
            <a:xfrm>
              <a:off x="-59234600" y="2913025"/>
              <a:ext cx="19725" cy="19700"/>
            </a:xfrm>
            <a:custGeom>
              <a:avLst/>
              <a:gdLst/>
              <a:ahLst/>
              <a:cxnLst/>
              <a:rect l="l" t="t" r="r" b="b"/>
              <a:pathLst>
                <a:path w="789" h="788" extrusionOk="0">
                  <a:moveTo>
                    <a:pt x="411" y="0"/>
                  </a:moveTo>
                  <a:cubicBezTo>
                    <a:pt x="190" y="0"/>
                    <a:pt x="1" y="189"/>
                    <a:pt x="1" y="410"/>
                  </a:cubicBezTo>
                  <a:cubicBezTo>
                    <a:pt x="1" y="630"/>
                    <a:pt x="190" y="788"/>
                    <a:pt x="411" y="788"/>
                  </a:cubicBezTo>
                  <a:cubicBezTo>
                    <a:pt x="631" y="788"/>
                    <a:pt x="789" y="630"/>
                    <a:pt x="789" y="410"/>
                  </a:cubicBezTo>
                  <a:cubicBezTo>
                    <a:pt x="789" y="189"/>
                    <a:pt x="631" y="0"/>
                    <a:pt x="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7" name="Google Shape;9627;p77"/>
            <p:cNvSpPr/>
            <p:nvPr/>
          </p:nvSpPr>
          <p:spPr>
            <a:xfrm>
              <a:off x="-59235375" y="2699575"/>
              <a:ext cx="20500" cy="152825"/>
            </a:xfrm>
            <a:custGeom>
              <a:avLst/>
              <a:gdLst/>
              <a:ahLst/>
              <a:cxnLst/>
              <a:rect l="l" t="t" r="r" b="b"/>
              <a:pathLst>
                <a:path w="820" h="6113" extrusionOk="0">
                  <a:moveTo>
                    <a:pt x="442" y="0"/>
                  </a:moveTo>
                  <a:cubicBezTo>
                    <a:pt x="190" y="0"/>
                    <a:pt x="0" y="189"/>
                    <a:pt x="0" y="441"/>
                  </a:cubicBezTo>
                  <a:lnTo>
                    <a:pt x="0" y="5671"/>
                  </a:lnTo>
                  <a:cubicBezTo>
                    <a:pt x="0"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628" name="Google Shape;9628;p77"/>
          <p:cNvSpPr/>
          <p:nvPr/>
        </p:nvSpPr>
        <p:spPr>
          <a:xfrm>
            <a:off x="2175657" y="1542168"/>
            <a:ext cx="365373" cy="365344"/>
          </a:xfrm>
          <a:custGeom>
            <a:avLst/>
            <a:gdLst/>
            <a:ahLst/>
            <a:cxnLst/>
            <a:rect l="l" t="t" r="r" b="b"/>
            <a:pathLst>
              <a:path w="12635" h="12634" extrusionOk="0">
                <a:moveTo>
                  <a:pt x="6302" y="2741"/>
                </a:moveTo>
                <a:cubicBezTo>
                  <a:pt x="6774" y="2741"/>
                  <a:pt x="7152" y="3087"/>
                  <a:pt x="7152" y="3560"/>
                </a:cubicBezTo>
                <a:cubicBezTo>
                  <a:pt x="7152" y="4033"/>
                  <a:pt x="6774" y="4411"/>
                  <a:pt x="6302" y="4411"/>
                </a:cubicBezTo>
                <a:cubicBezTo>
                  <a:pt x="5861" y="4411"/>
                  <a:pt x="5483" y="4033"/>
                  <a:pt x="5483" y="3560"/>
                </a:cubicBezTo>
                <a:cubicBezTo>
                  <a:pt x="5483" y="3087"/>
                  <a:pt x="5829" y="2741"/>
                  <a:pt x="6302" y="2741"/>
                </a:cubicBezTo>
                <a:close/>
                <a:moveTo>
                  <a:pt x="11910" y="819"/>
                </a:moveTo>
                <a:lnTo>
                  <a:pt x="11910" y="5230"/>
                </a:lnTo>
                <a:lnTo>
                  <a:pt x="8161" y="5230"/>
                </a:lnTo>
                <a:cubicBezTo>
                  <a:pt x="7972" y="5041"/>
                  <a:pt x="7751" y="4820"/>
                  <a:pt x="7530" y="4726"/>
                </a:cubicBezTo>
                <a:cubicBezTo>
                  <a:pt x="7814" y="4411"/>
                  <a:pt x="8003" y="4001"/>
                  <a:pt x="8003" y="3560"/>
                </a:cubicBezTo>
                <a:cubicBezTo>
                  <a:pt x="8003" y="2678"/>
                  <a:pt x="7247" y="1922"/>
                  <a:pt x="6333" y="1922"/>
                </a:cubicBezTo>
                <a:cubicBezTo>
                  <a:pt x="5451" y="1922"/>
                  <a:pt x="4695" y="2678"/>
                  <a:pt x="4695" y="3560"/>
                </a:cubicBezTo>
                <a:cubicBezTo>
                  <a:pt x="4695" y="4001"/>
                  <a:pt x="4853" y="4411"/>
                  <a:pt x="5168" y="4726"/>
                </a:cubicBezTo>
                <a:cubicBezTo>
                  <a:pt x="4916" y="4820"/>
                  <a:pt x="4695" y="5041"/>
                  <a:pt x="4537" y="5230"/>
                </a:cubicBezTo>
                <a:lnTo>
                  <a:pt x="883" y="5230"/>
                </a:lnTo>
                <a:lnTo>
                  <a:pt x="883" y="819"/>
                </a:lnTo>
                <a:close/>
                <a:moveTo>
                  <a:pt x="6302" y="5230"/>
                </a:moveTo>
                <a:cubicBezTo>
                  <a:pt x="7215" y="5230"/>
                  <a:pt x="7972" y="5986"/>
                  <a:pt x="7972" y="6868"/>
                </a:cubicBezTo>
                <a:lnTo>
                  <a:pt x="4664" y="6868"/>
                </a:lnTo>
                <a:cubicBezTo>
                  <a:pt x="4664" y="5986"/>
                  <a:pt x="5388" y="5230"/>
                  <a:pt x="6302" y="5230"/>
                </a:cubicBezTo>
                <a:close/>
                <a:moveTo>
                  <a:pt x="8287" y="7719"/>
                </a:moveTo>
                <a:lnTo>
                  <a:pt x="7593" y="11846"/>
                </a:lnTo>
                <a:lnTo>
                  <a:pt x="5010" y="11846"/>
                </a:lnTo>
                <a:lnTo>
                  <a:pt x="4285" y="7719"/>
                </a:lnTo>
                <a:close/>
                <a:moveTo>
                  <a:pt x="410" y="0"/>
                </a:moveTo>
                <a:cubicBezTo>
                  <a:pt x="158" y="0"/>
                  <a:pt x="1" y="189"/>
                  <a:pt x="1" y="378"/>
                </a:cubicBezTo>
                <a:lnTo>
                  <a:pt x="1" y="5608"/>
                </a:lnTo>
                <a:cubicBezTo>
                  <a:pt x="1" y="5860"/>
                  <a:pt x="190" y="6017"/>
                  <a:pt x="410" y="6017"/>
                </a:cubicBezTo>
                <a:lnTo>
                  <a:pt x="3970" y="6017"/>
                </a:lnTo>
                <a:cubicBezTo>
                  <a:pt x="3907" y="6301"/>
                  <a:pt x="3813" y="6553"/>
                  <a:pt x="3813" y="6837"/>
                </a:cubicBezTo>
                <a:lnTo>
                  <a:pt x="2994" y="6837"/>
                </a:lnTo>
                <a:cubicBezTo>
                  <a:pt x="2773" y="6837"/>
                  <a:pt x="2616" y="7026"/>
                  <a:pt x="2616" y="7246"/>
                </a:cubicBezTo>
                <a:cubicBezTo>
                  <a:pt x="2616" y="7467"/>
                  <a:pt x="2805" y="7656"/>
                  <a:pt x="2994" y="7656"/>
                </a:cubicBezTo>
                <a:lnTo>
                  <a:pt x="3466" y="7656"/>
                </a:lnTo>
                <a:lnTo>
                  <a:pt x="4254" y="12255"/>
                </a:lnTo>
                <a:cubicBezTo>
                  <a:pt x="4285" y="12476"/>
                  <a:pt x="4443" y="12633"/>
                  <a:pt x="4664" y="12633"/>
                </a:cubicBezTo>
                <a:lnTo>
                  <a:pt x="7972" y="12633"/>
                </a:lnTo>
                <a:cubicBezTo>
                  <a:pt x="8161" y="12633"/>
                  <a:pt x="8350" y="12476"/>
                  <a:pt x="8350" y="12255"/>
                </a:cubicBezTo>
                <a:lnTo>
                  <a:pt x="9137" y="7656"/>
                </a:lnTo>
                <a:lnTo>
                  <a:pt x="9610" y="7656"/>
                </a:lnTo>
                <a:cubicBezTo>
                  <a:pt x="9862" y="7656"/>
                  <a:pt x="10019" y="7467"/>
                  <a:pt x="10019" y="7215"/>
                </a:cubicBezTo>
                <a:cubicBezTo>
                  <a:pt x="10019" y="6994"/>
                  <a:pt x="9799" y="6837"/>
                  <a:pt x="9610" y="6837"/>
                </a:cubicBezTo>
                <a:lnTo>
                  <a:pt x="8791" y="6837"/>
                </a:lnTo>
                <a:cubicBezTo>
                  <a:pt x="8791" y="6553"/>
                  <a:pt x="8759" y="6269"/>
                  <a:pt x="8633" y="6017"/>
                </a:cubicBezTo>
                <a:lnTo>
                  <a:pt x="12225" y="6017"/>
                </a:lnTo>
                <a:cubicBezTo>
                  <a:pt x="12445" y="6017"/>
                  <a:pt x="12603" y="5797"/>
                  <a:pt x="12603" y="5608"/>
                </a:cubicBezTo>
                <a:lnTo>
                  <a:pt x="12603" y="378"/>
                </a:lnTo>
                <a:cubicBezTo>
                  <a:pt x="12634" y="189"/>
                  <a:pt x="12445" y="0"/>
                  <a:pt x="122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9" name="Google Shape;9629;p77"/>
          <p:cNvSpPr/>
          <p:nvPr/>
        </p:nvSpPr>
        <p:spPr>
          <a:xfrm>
            <a:off x="2203001" y="2020634"/>
            <a:ext cx="310690" cy="369016"/>
          </a:xfrm>
          <a:custGeom>
            <a:avLst/>
            <a:gdLst/>
            <a:ahLst/>
            <a:cxnLst/>
            <a:rect l="l" t="t" r="r" b="b"/>
            <a:pathLst>
              <a:path w="10744" h="12761" extrusionOk="0">
                <a:moveTo>
                  <a:pt x="5419" y="820"/>
                </a:moveTo>
                <a:cubicBezTo>
                  <a:pt x="6585" y="820"/>
                  <a:pt x="7530" y="1765"/>
                  <a:pt x="7530" y="2899"/>
                </a:cubicBezTo>
                <a:cubicBezTo>
                  <a:pt x="7530" y="3655"/>
                  <a:pt x="7121" y="4317"/>
                  <a:pt x="6490" y="4663"/>
                </a:cubicBezTo>
                <a:cubicBezTo>
                  <a:pt x="6364" y="4758"/>
                  <a:pt x="6301" y="4884"/>
                  <a:pt x="6301" y="5042"/>
                </a:cubicBezTo>
                <a:lnTo>
                  <a:pt x="6301" y="7436"/>
                </a:lnTo>
                <a:lnTo>
                  <a:pt x="4632" y="7436"/>
                </a:lnTo>
                <a:lnTo>
                  <a:pt x="4632" y="5042"/>
                </a:lnTo>
                <a:cubicBezTo>
                  <a:pt x="4632" y="4884"/>
                  <a:pt x="4569" y="4758"/>
                  <a:pt x="4443" y="4663"/>
                </a:cubicBezTo>
                <a:cubicBezTo>
                  <a:pt x="3687" y="4317"/>
                  <a:pt x="3340" y="3655"/>
                  <a:pt x="3340" y="2899"/>
                </a:cubicBezTo>
                <a:cubicBezTo>
                  <a:pt x="3340" y="1765"/>
                  <a:pt x="4285" y="820"/>
                  <a:pt x="5419" y="820"/>
                </a:cubicBezTo>
                <a:close/>
                <a:moveTo>
                  <a:pt x="8696" y="8286"/>
                </a:moveTo>
                <a:cubicBezTo>
                  <a:pt x="9357" y="8286"/>
                  <a:pt x="9924" y="8854"/>
                  <a:pt x="9924" y="9547"/>
                </a:cubicBezTo>
                <a:lnTo>
                  <a:pt x="9924" y="10271"/>
                </a:lnTo>
                <a:lnTo>
                  <a:pt x="820" y="10271"/>
                </a:lnTo>
                <a:lnTo>
                  <a:pt x="820" y="9547"/>
                </a:lnTo>
                <a:cubicBezTo>
                  <a:pt x="820" y="8885"/>
                  <a:pt x="1387" y="8286"/>
                  <a:pt x="2048" y="8286"/>
                </a:cubicBezTo>
                <a:close/>
                <a:moveTo>
                  <a:pt x="9137" y="11059"/>
                </a:moveTo>
                <a:lnTo>
                  <a:pt x="9137" y="11878"/>
                </a:lnTo>
                <a:lnTo>
                  <a:pt x="1702" y="11878"/>
                </a:lnTo>
                <a:lnTo>
                  <a:pt x="1702" y="11059"/>
                </a:lnTo>
                <a:close/>
                <a:moveTo>
                  <a:pt x="5325" y="1"/>
                </a:moveTo>
                <a:cubicBezTo>
                  <a:pt x="3718" y="1"/>
                  <a:pt x="2458" y="1292"/>
                  <a:pt x="2458" y="2899"/>
                </a:cubicBezTo>
                <a:cubicBezTo>
                  <a:pt x="2458" y="3403"/>
                  <a:pt x="2615" y="3939"/>
                  <a:pt x="2836" y="4348"/>
                </a:cubicBezTo>
                <a:cubicBezTo>
                  <a:pt x="3025" y="4726"/>
                  <a:pt x="3340" y="5010"/>
                  <a:pt x="3655" y="5262"/>
                </a:cubicBezTo>
                <a:lnTo>
                  <a:pt x="3655" y="7467"/>
                </a:lnTo>
                <a:lnTo>
                  <a:pt x="2080" y="7467"/>
                </a:lnTo>
                <a:cubicBezTo>
                  <a:pt x="946" y="7467"/>
                  <a:pt x="0" y="8413"/>
                  <a:pt x="0" y="9547"/>
                </a:cubicBezTo>
                <a:lnTo>
                  <a:pt x="0" y="10649"/>
                </a:lnTo>
                <a:cubicBezTo>
                  <a:pt x="0" y="10901"/>
                  <a:pt x="189" y="11059"/>
                  <a:pt x="441" y="11059"/>
                </a:cubicBezTo>
                <a:lnTo>
                  <a:pt x="820" y="11059"/>
                </a:lnTo>
                <a:lnTo>
                  <a:pt x="820" y="12319"/>
                </a:lnTo>
                <a:cubicBezTo>
                  <a:pt x="820" y="12540"/>
                  <a:pt x="1009" y="12760"/>
                  <a:pt x="1229" y="12760"/>
                </a:cubicBezTo>
                <a:lnTo>
                  <a:pt x="9483" y="12760"/>
                </a:lnTo>
                <a:cubicBezTo>
                  <a:pt x="9735" y="12760"/>
                  <a:pt x="9924" y="12540"/>
                  <a:pt x="9924" y="12319"/>
                </a:cubicBezTo>
                <a:lnTo>
                  <a:pt x="9924" y="11059"/>
                </a:lnTo>
                <a:lnTo>
                  <a:pt x="10303" y="11059"/>
                </a:lnTo>
                <a:cubicBezTo>
                  <a:pt x="10555" y="11059"/>
                  <a:pt x="10744" y="10870"/>
                  <a:pt x="10744" y="10649"/>
                </a:cubicBezTo>
                <a:lnTo>
                  <a:pt x="10744" y="9547"/>
                </a:lnTo>
                <a:cubicBezTo>
                  <a:pt x="10744" y="8413"/>
                  <a:pt x="9798" y="7467"/>
                  <a:pt x="8664" y="7467"/>
                </a:cubicBezTo>
                <a:lnTo>
                  <a:pt x="7026" y="7467"/>
                </a:lnTo>
                <a:lnTo>
                  <a:pt x="7026" y="5262"/>
                </a:lnTo>
                <a:cubicBezTo>
                  <a:pt x="7373" y="5042"/>
                  <a:pt x="7656" y="4726"/>
                  <a:pt x="7845" y="4348"/>
                </a:cubicBezTo>
                <a:cubicBezTo>
                  <a:pt x="8129" y="3939"/>
                  <a:pt x="8223" y="3403"/>
                  <a:pt x="8223" y="2899"/>
                </a:cubicBezTo>
                <a:cubicBezTo>
                  <a:pt x="8223" y="1292"/>
                  <a:pt x="6932"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630" name="Google Shape;9630;p77"/>
          <p:cNvGrpSpPr/>
          <p:nvPr/>
        </p:nvGrpSpPr>
        <p:grpSpPr>
          <a:xfrm>
            <a:off x="2233086" y="2487006"/>
            <a:ext cx="263294" cy="367165"/>
            <a:chOff x="-63987100" y="2646800"/>
            <a:chExt cx="227625" cy="317425"/>
          </a:xfrm>
        </p:grpSpPr>
        <p:sp>
          <p:nvSpPr>
            <p:cNvPr id="9631" name="Google Shape;9631;p77"/>
            <p:cNvSpPr/>
            <p:nvPr/>
          </p:nvSpPr>
          <p:spPr>
            <a:xfrm>
              <a:off x="-63987100" y="2646800"/>
              <a:ext cx="227625" cy="317425"/>
            </a:xfrm>
            <a:custGeom>
              <a:avLst/>
              <a:gdLst/>
              <a:ahLst/>
              <a:cxnLst/>
              <a:rect l="l" t="t" r="r" b="b"/>
              <a:pathLst>
                <a:path w="9105" h="12697" extrusionOk="0">
                  <a:moveTo>
                    <a:pt x="7467" y="851"/>
                  </a:moveTo>
                  <a:lnTo>
                    <a:pt x="7467" y="2426"/>
                  </a:lnTo>
                  <a:cubicBezTo>
                    <a:pt x="7152" y="2300"/>
                    <a:pt x="6711" y="2237"/>
                    <a:pt x="6238" y="2237"/>
                  </a:cubicBezTo>
                  <a:cubicBezTo>
                    <a:pt x="5198" y="2237"/>
                    <a:pt x="4411" y="2678"/>
                    <a:pt x="4379" y="2710"/>
                  </a:cubicBezTo>
                  <a:cubicBezTo>
                    <a:pt x="4379" y="2710"/>
                    <a:pt x="3718" y="3056"/>
                    <a:pt x="2930" y="3056"/>
                  </a:cubicBezTo>
                  <a:cubicBezTo>
                    <a:pt x="2426" y="3056"/>
                    <a:pt x="1953" y="2899"/>
                    <a:pt x="1701" y="2773"/>
                  </a:cubicBezTo>
                  <a:lnTo>
                    <a:pt x="1701" y="851"/>
                  </a:lnTo>
                  <a:close/>
                  <a:moveTo>
                    <a:pt x="6207" y="3088"/>
                  </a:moveTo>
                  <a:cubicBezTo>
                    <a:pt x="6711" y="3088"/>
                    <a:pt x="7183" y="3245"/>
                    <a:pt x="7404" y="3371"/>
                  </a:cubicBezTo>
                  <a:cubicBezTo>
                    <a:pt x="7309" y="4789"/>
                    <a:pt x="6049" y="5986"/>
                    <a:pt x="4537" y="5986"/>
                  </a:cubicBezTo>
                  <a:cubicBezTo>
                    <a:pt x="3151" y="5986"/>
                    <a:pt x="2016" y="5041"/>
                    <a:pt x="1701" y="3718"/>
                  </a:cubicBezTo>
                  <a:lnTo>
                    <a:pt x="1701" y="3718"/>
                  </a:lnTo>
                  <a:cubicBezTo>
                    <a:pt x="2016" y="3844"/>
                    <a:pt x="2426" y="3939"/>
                    <a:pt x="2899" y="3939"/>
                  </a:cubicBezTo>
                  <a:cubicBezTo>
                    <a:pt x="3907" y="3939"/>
                    <a:pt x="4694" y="3498"/>
                    <a:pt x="4726" y="3466"/>
                  </a:cubicBezTo>
                  <a:cubicBezTo>
                    <a:pt x="4726" y="3466"/>
                    <a:pt x="5419" y="3088"/>
                    <a:pt x="6207" y="3088"/>
                  </a:cubicBezTo>
                  <a:close/>
                  <a:moveTo>
                    <a:pt x="4537" y="10240"/>
                  </a:moveTo>
                  <a:cubicBezTo>
                    <a:pt x="5135" y="10240"/>
                    <a:pt x="5639" y="10933"/>
                    <a:pt x="5765" y="11878"/>
                  </a:cubicBezTo>
                  <a:lnTo>
                    <a:pt x="3308" y="11878"/>
                  </a:lnTo>
                  <a:cubicBezTo>
                    <a:pt x="3434" y="10933"/>
                    <a:pt x="3938" y="10240"/>
                    <a:pt x="4537" y="10240"/>
                  </a:cubicBezTo>
                  <a:close/>
                  <a:moveTo>
                    <a:pt x="4505" y="6774"/>
                  </a:moveTo>
                  <a:cubicBezTo>
                    <a:pt x="6144" y="6806"/>
                    <a:pt x="7467" y="8066"/>
                    <a:pt x="7467" y="9672"/>
                  </a:cubicBezTo>
                  <a:lnTo>
                    <a:pt x="7467" y="11878"/>
                  </a:lnTo>
                  <a:lnTo>
                    <a:pt x="6585" y="11878"/>
                  </a:lnTo>
                  <a:cubicBezTo>
                    <a:pt x="6553" y="11279"/>
                    <a:pt x="6364" y="10744"/>
                    <a:pt x="6049" y="10303"/>
                  </a:cubicBezTo>
                  <a:cubicBezTo>
                    <a:pt x="5639" y="9704"/>
                    <a:pt x="5104" y="9389"/>
                    <a:pt x="4537" y="9389"/>
                  </a:cubicBezTo>
                  <a:cubicBezTo>
                    <a:pt x="3938" y="9389"/>
                    <a:pt x="3434" y="9704"/>
                    <a:pt x="3056" y="10303"/>
                  </a:cubicBezTo>
                  <a:cubicBezTo>
                    <a:pt x="2772" y="10744"/>
                    <a:pt x="2583" y="11279"/>
                    <a:pt x="2489" y="11878"/>
                  </a:cubicBezTo>
                  <a:lnTo>
                    <a:pt x="1638" y="11878"/>
                  </a:lnTo>
                  <a:lnTo>
                    <a:pt x="1638" y="9672"/>
                  </a:lnTo>
                  <a:cubicBezTo>
                    <a:pt x="1638" y="8066"/>
                    <a:pt x="2930" y="6774"/>
                    <a:pt x="4505" y="6774"/>
                  </a:cubicBezTo>
                  <a:close/>
                  <a:moveTo>
                    <a:pt x="410" y="0"/>
                  </a:moveTo>
                  <a:cubicBezTo>
                    <a:pt x="158" y="0"/>
                    <a:pt x="0" y="189"/>
                    <a:pt x="0" y="410"/>
                  </a:cubicBezTo>
                  <a:cubicBezTo>
                    <a:pt x="0" y="662"/>
                    <a:pt x="221" y="851"/>
                    <a:pt x="410" y="851"/>
                  </a:cubicBezTo>
                  <a:lnTo>
                    <a:pt x="851" y="851"/>
                  </a:lnTo>
                  <a:lnTo>
                    <a:pt x="851" y="3056"/>
                  </a:lnTo>
                  <a:cubicBezTo>
                    <a:pt x="851" y="4506"/>
                    <a:pt x="1670" y="5734"/>
                    <a:pt x="2867" y="6364"/>
                  </a:cubicBezTo>
                  <a:cubicBezTo>
                    <a:pt x="1670" y="6995"/>
                    <a:pt x="851" y="8223"/>
                    <a:pt x="851" y="9672"/>
                  </a:cubicBezTo>
                  <a:lnTo>
                    <a:pt x="851" y="11878"/>
                  </a:lnTo>
                  <a:lnTo>
                    <a:pt x="410" y="11878"/>
                  </a:lnTo>
                  <a:cubicBezTo>
                    <a:pt x="158" y="11878"/>
                    <a:pt x="0" y="12067"/>
                    <a:pt x="0" y="12287"/>
                  </a:cubicBezTo>
                  <a:cubicBezTo>
                    <a:pt x="0" y="12508"/>
                    <a:pt x="221" y="12697"/>
                    <a:pt x="410" y="12697"/>
                  </a:cubicBezTo>
                  <a:lnTo>
                    <a:pt x="8664" y="12697"/>
                  </a:lnTo>
                  <a:cubicBezTo>
                    <a:pt x="8916" y="12697"/>
                    <a:pt x="9105" y="12508"/>
                    <a:pt x="9105" y="12287"/>
                  </a:cubicBezTo>
                  <a:cubicBezTo>
                    <a:pt x="9105" y="12035"/>
                    <a:pt x="8916" y="11878"/>
                    <a:pt x="8664" y="11878"/>
                  </a:cubicBezTo>
                  <a:lnTo>
                    <a:pt x="8286" y="11878"/>
                  </a:lnTo>
                  <a:lnTo>
                    <a:pt x="8286" y="9672"/>
                  </a:lnTo>
                  <a:cubicBezTo>
                    <a:pt x="8286" y="8223"/>
                    <a:pt x="7467" y="6995"/>
                    <a:pt x="6270" y="6364"/>
                  </a:cubicBezTo>
                  <a:cubicBezTo>
                    <a:pt x="7467" y="5734"/>
                    <a:pt x="8286" y="4506"/>
                    <a:pt x="8286" y="3056"/>
                  </a:cubicBezTo>
                  <a:lnTo>
                    <a:pt x="8286" y="851"/>
                  </a:lnTo>
                  <a:lnTo>
                    <a:pt x="8664" y="851"/>
                  </a:lnTo>
                  <a:cubicBezTo>
                    <a:pt x="8916" y="851"/>
                    <a:pt x="9105" y="662"/>
                    <a:pt x="9105" y="410"/>
                  </a:cubicBezTo>
                  <a:cubicBezTo>
                    <a:pt x="9105" y="189"/>
                    <a:pt x="8916" y="0"/>
                    <a:pt x="8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2" name="Google Shape;9632;p77"/>
            <p:cNvSpPr/>
            <p:nvPr/>
          </p:nvSpPr>
          <p:spPr>
            <a:xfrm>
              <a:off x="-63883150" y="2826375"/>
              <a:ext cx="20500" cy="41775"/>
            </a:xfrm>
            <a:custGeom>
              <a:avLst/>
              <a:gdLst/>
              <a:ahLst/>
              <a:cxnLst/>
              <a:rect l="l" t="t" r="r" b="b"/>
              <a:pathLst>
                <a:path w="820" h="1671" extrusionOk="0">
                  <a:moveTo>
                    <a:pt x="379" y="1"/>
                  </a:moveTo>
                  <a:cubicBezTo>
                    <a:pt x="158" y="1"/>
                    <a:pt x="1" y="221"/>
                    <a:pt x="1" y="442"/>
                  </a:cubicBezTo>
                  <a:lnTo>
                    <a:pt x="1" y="1261"/>
                  </a:lnTo>
                  <a:cubicBezTo>
                    <a:pt x="1" y="1513"/>
                    <a:pt x="190" y="1670"/>
                    <a:pt x="379" y="1670"/>
                  </a:cubicBezTo>
                  <a:cubicBezTo>
                    <a:pt x="631" y="1670"/>
                    <a:pt x="820" y="1481"/>
                    <a:pt x="820" y="1261"/>
                  </a:cubicBezTo>
                  <a:lnTo>
                    <a:pt x="820" y="442"/>
                  </a:lnTo>
                  <a:cubicBezTo>
                    <a:pt x="820" y="221"/>
                    <a:pt x="631"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3" name="Google Shape;9633;p77"/>
          <p:cNvGrpSpPr/>
          <p:nvPr/>
        </p:nvGrpSpPr>
        <p:grpSpPr>
          <a:xfrm>
            <a:off x="852428" y="2958627"/>
            <a:ext cx="358056" cy="369913"/>
            <a:chOff x="-62148000" y="1930075"/>
            <a:chExt cx="309550" cy="319800"/>
          </a:xfrm>
        </p:grpSpPr>
        <p:sp>
          <p:nvSpPr>
            <p:cNvPr id="9634" name="Google Shape;9634;p77"/>
            <p:cNvSpPr/>
            <p:nvPr/>
          </p:nvSpPr>
          <p:spPr>
            <a:xfrm>
              <a:off x="-62148000" y="1930075"/>
              <a:ext cx="309550" cy="319800"/>
            </a:xfrm>
            <a:custGeom>
              <a:avLst/>
              <a:gdLst/>
              <a:ahLst/>
              <a:cxnLst/>
              <a:rect l="l" t="t" r="r" b="b"/>
              <a:pathLst>
                <a:path w="12382" h="12792" extrusionOk="0">
                  <a:moveTo>
                    <a:pt x="11594" y="1670"/>
                  </a:moveTo>
                  <a:lnTo>
                    <a:pt x="11594" y="2899"/>
                  </a:lnTo>
                  <a:cubicBezTo>
                    <a:pt x="11594" y="3970"/>
                    <a:pt x="10775" y="4883"/>
                    <a:pt x="9735" y="4946"/>
                  </a:cubicBezTo>
                  <a:cubicBezTo>
                    <a:pt x="9861" y="4631"/>
                    <a:pt x="9924" y="4190"/>
                    <a:pt x="9924" y="3781"/>
                  </a:cubicBezTo>
                  <a:lnTo>
                    <a:pt x="9924" y="1670"/>
                  </a:lnTo>
                  <a:close/>
                  <a:moveTo>
                    <a:pt x="2489" y="1733"/>
                  </a:moveTo>
                  <a:lnTo>
                    <a:pt x="2489" y="3812"/>
                  </a:lnTo>
                  <a:cubicBezTo>
                    <a:pt x="2489" y="4253"/>
                    <a:pt x="2584" y="4631"/>
                    <a:pt x="2678" y="5041"/>
                  </a:cubicBezTo>
                  <a:cubicBezTo>
                    <a:pt x="1638" y="4915"/>
                    <a:pt x="851" y="4033"/>
                    <a:pt x="851" y="2993"/>
                  </a:cubicBezTo>
                  <a:lnTo>
                    <a:pt x="851" y="1733"/>
                  </a:lnTo>
                  <a:close/>
                  <a:moveTo>
                    <a:pt x="9105" y="882"/>
                  </a:moveTo>
                  <a:lnTo>
                    <a:pt x="9105" y="3812"/>
                  </a:lnTo>
                  <a:cubicBezTo>
                    <a:pt x="9105" y="5419"/>
                    <a:pt x="7813" y="6679"/>
                    <a:pt x="6207" y="6679"/>
                  </a:cubicBezTo>
                  <a:cubicBezTo>
                    <a:pt x="4600" y="6679"/>
                    <a:pt x="3308" y="5387"/>
                    <a:pt x="3308" y="3812"/>
                  </a:cubicBezTo>
                  <a:lnTo>
                    <a:pt x="3308" y="882"/>
                  </a:lnTo>
                  <a:close/>
                  <a:moveTo>
                    <a:pt x="6648" y="7467"/>
                  </a:moveTo>
                  <a:lnTo>
                    <a:pt x="6648" y="8601"/>
                  </a:lnTo>
                  <a:lnTo>
                    <a:pt x="5797" y="8601"/>
                  </a:lnTo>
                  <a:lnTo>
                    <a:pt x="5797" y="7467"/>
                  </a:lnTo>
                  <a:cubicBezTo>
                    <a:pt x="5923" y="7467"/>
                    <a:pt x="6081" y="7498"/>
                    <a:pt x="6207" y="7498"/>
                  </a:cubicBezTo>
                  <a:cubicBezTo>
                    <a:pt x="6301" y="7498"/>
                    <a:pt x="6459" y="7498"/>
                    <a:pt x="6648" y="7467"/>
                  </a:cubicBezTo>
                  <a:close/>
                  <a:moveTo>
                    <a:pt x="7057" y="9389"/>
                  </a:moveTo>
                  <a:cubicBezTo>
                    <a:pt x="7309" y="9389"/>
                    <a:pt x="7498" y="9609"/>
                    <a:pt x="7498" y="9830"/>
                  </a:cubicBezTo>
                  <a:lnTo>
                    <a:pt x="7498" y="10271"/>
                  </a:lnTo>
                  <a:lnTo>
                    <a:pt x="5009" y="10271"/>
                  </a:lnTo>
                  <a:lnTo>
                    <a:pt x="5009" y="9830"/>
                  </a:lnTo>
                  <a:lnTo>
                    <a:pt x="4978" y="9830"/>
                  </a:lnTo>
                  <a:cubicBezTo>
                    <a:pt x="4978" y="9609"/>
                    <a:pt x="5167" y="9389"/>
                    <a:pt x="5419" y="9389"/>
                  </a:cubicBezTo>
                  <a:close/>
                  <a:moveTo>
                    <a:pt x="8727" y="11090"/>
                  </a:moveTo>
                  <a:cubicBezTo>
                    <a:pt x="8948" y="11090"/>
                    <a:pt x="9105" y="11279"/>
                    <a:pt x="9105" y="11499"/>
                  </a:cubicBezTo>
                  <a:lnTo>
                    <a:pt x="9105" y="11909"/>
                  </a:lnTo>
                  <a:lnTo>
                    <a:pt x="3308" y="11909"/>
                  </a:lnTo>
                  <a:lnTo>
                    <a:pt x="3308" y="11499"/>
                  </a:lnTo>
                  <a:cubicBezTo>
                    <a:pt x="3308" y="11247"/>
                    <a:pt x="3529" y="11090"/>
                    <a:pt x="3718" y="11090"/>
                  </a:cubicBezTo>
                  <a:close/>
                  <a:moveTo>
                    <a:pt x="2899" y="0"/>
                  </a:moveTo>
                  <a:cubicBezTo>
                    <a:pt x="2647" y="0"/>
                    <a:pt x="2489" y="189"/>
                    <a:pt x="2489" y="410"/>
                  </a:cubicBezTo>
                  <a:lnTo>
                    <a:pt x="2489" y="819"/>
                  </a:lnTo>
                  <a:lnTo>
                    <a:pt x="410" y="819"/>
                  </a:lnTo>
                  <a:cubicBezTo>
                    <a:pt x="221" y="882"/>
                    <a:pt x="0" y="1040"/>
                    <a:pt x="0" y="1292"/>
                  </a:cubicBezTo>
                  <a:lnTo>
                    <a:pt x="0" y="2930"/>
                  </a:lnTo>
                  <a:cubicBezTo>
                    <a:pt x="0" y="4568"/>
                    <a:pt x="1323" y="5860"/>
                    <a:pt x="2930" y="5860"/>
                  </a:cubicBezTo>
                  <a:lnTo>
                    <a:pt x="3119" y="5860"/>
                  </a:lnTo>
                  <a:cubicBezTo>
                    <a:pt x="3560" y="6522"/>
                    <a:pt x="4222" y="7026"/>
                    <a:pt x="4978" y="7309"/>
                  </a:cubicBezTo>
                  <a:lnTo>
                    <a:pt x="4978" y="8695"/>
                  </a:lnTo>
                  <a:cubicBezTo>
                    <a:pt x="4505" y="8853"/>
                    <a:pt x="4159" y="9326"/>
                    <a:pt x="4159" y="9861"/>
                  </a:cubicBezTo>
                  <a:lnTo>
                    <a:pt x="4159" y="10302"/>
                  </a:lnTo>
                  <a:lnTo>
                    <a:pt x="3749" y="10302"/>
                  </a:lnTo>
                  <a:cubicBezTo>
                    <a:pt x="3088" y="10302"/>
                    <a:pt x="2521" y="10869"/>
                    <a:pt x="2521" y="11531"/>
                  </a:cubicBezTo>
                  <a:lnTo>
                    <a:pt x="2521" y="12350"/>
                  </a:lnTo>
                  <a:cubicBezTo>
                    <a:pt x="2521" y="12571"/>
                    <a:pt x="2741" y="12791"/>
                    <a:pt x="2930" y="12791"/>
                  </a:cubicBezTo>
                  <a:lnTo>
                    <a:pt x="9546" y="12791"/>
                  </a:lnTo>
                  <a:cubicBezTo>
                    <a:pt x="9767" y="12791"/>
                    <a:pt x="9924" y="12571"/>
                    <a:pt x="9924" y="12350"/>
                  </a:cubicBezTo>
                  <a:lnTo>
                    <a:pt x="9924" y="11499"/>
                  </a:lnTo>
                  <a:cubicBezTo>
                    <a:pt x="9924" y="10806"/>
                    <a:pt x="9389" y="10271"/>
                    <a:pt x="8727" y="10271"/>
                  </a:cubicBezTo>
                  <a:lnTo>
                    <a:pt x="8286" y="10271"/>
                  </a:lnTo>
                  <a:lnTo>
                    <a:pt x="8286" y="9830"/>
                  </a:lnTo>
                  <a:cubicBezTo>
                    <a:pt x="8286" y="9294"/>
                    <a:pt x="7939" y="8853"/>
                    <a:pt x="7467" y="8664"/>
                  </a:cubicBezTo>
                  <a:lnTo>
                    <a:pt x="7467" y="7278"/>
                  </a:lnTo>
                  <a:cubicBezTo>
                    <a:pt x="8191" y="6994"/>
                    <a:pt x="8885" y="6490"/>
                    <a:pt x="9294" y="5828"/>
                  </a:cubicBezTo>
                  <a:lnTo>
                    <a:pt x="9515" y="5828"/>
                  </a:lnTo>
                  <a:cubicBezTo>
                    <a:pt x="11121" y="5828"/>
                    <a:pt x="12382" y="4505"/>
                    <a:pt x="12382" y="2899"/>
                  </a:cubicBezTo>
                  <a:lnTo>
                    <a:pt x="12382" y="1260"/>
                  </a:lnTo>
                  <a:cubicBezTo>
                    <a:pt x="12382" y="1008"/>
                    <a:pt x="12193" y="819"/>
                    <a:pt x="11972" y="819"/>
                  </a:cubicBezTo>
                  <a:lnTo>
                    <a:pt x="9893" y="819"/>
                  </a:lnTo>
                  <a:lnTo>
                    <a:pt x="9893" y="410"/>
                  </a:lnTo>
                  <a:cubicBezTo>
                    <a:pt x="9893" y="189"/>
                    <a:pt x="9704" y="0"/>
                    <a:pt x="9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5" name="Google Shape;9635;p77"/>
            <p:cNvSpPr/>
            <p:nvPr/>
          </p:nvSpPr>
          <p:spPr>
            <a:xfrm>
              <a:off x="-62044825" y="1972200"/>
              <a:ext cx="107125" cy="97700"/>
            </a:xfrm>
            <a:custGeom>
              <a:avLst/>
              <a:gdLst/>
              <a:ahLst/>
              <a:cxnLst/>
              <a:rect l="l" t="t" r="r" b="b"/>
              <a:pathLst>
                <a:path w="4285" h="3908" extrusionOk="0">
                  <a:moveTo>
                    <a:pt x="2111" y="1308"/>
                  </a:moveTo>
                  <a:lnTo>
                    <a:pt x="2237" y="1560"/>
                  </a:lnTo>
                  <a:cubicBezTo>
                    <a:pt x="2300" y="1686"/>
                    <a:pt x="2395" y="1781"/>
                    <a:pt x="2552" y="1812"/>
                  </a:cubicBezTo>
                  <a:lnTo>
                    <a:pt x="2867" y="1844"/>
                  </a:lnTo>
                  <a:lnTo>
                    <a:pt x="2615" y="2033"/>
                  </a:lnTo>
                  <a:cubicBezTo>
                    <a:pt x="2552" y="2127"/>
                    <a:pt x="2458" y="2285"/>
                    <a:pt x="2521" y="2411"/>
                  </a:cubicBezTo>
                  <a:lnTo>
                    <a:pt x="2552" y="2726"/>
                  </a:lnTo>
                  <a:lnTo>
                    <a:pt x="2269" y="2568"/>
                  </a:lnTo>
                  <a:cubicBezTo>
                    <a:pt x="2206" y="2505"/>
                    <a:pt x="2143" y="2505"/>
                    <a:pt x="2080" y="2505"/>
                  </a:cubicBezTo>
                  <a:cubicBezTo>
                    <a:pt x="1985" y="2505"/>
                    <a:pt x="1954" y="2505"/>
                    <a:pt x="1891" y="2568"/>
                  </a:cubicBezTo>
                  <a:lnTo>
                    <a:pt x="1607" y="2726"/>
                  </a:lnTo>
                  <a:lnTo>
                    <a:pt x="1639" y="2411"/>
                  </a:lnTo>
                  <a:cubicBezTo>
                    <a:pt x="1670" y="2285"/>
                    <a:pt x="1607" y="2127"/>
                    <a:pt x="1513" y="2033"/>
                  </a:cubicBezTo>
                  <a:lnTo>
                    <a:pt x="1292" y="1844"/>
                  </a:lnTo>
                  <a:lnTo>
                    <a:pt x="1670" y="1812"/>
                  </a:lnTo>
                  <a:cubicBezTo>
                    <a:pt x="1796" y="1812"/>
                    <a:pt x="1922" y="1686"/>
                    <a:pt x="1985" y="1560"/>
                  </a:cubicBezTo>
                  <a:lnTo>
                    <a:pt x="2111" y="1308"/>
                  </a:lnTo>
                  <a:close/>
                  <a:moveTo>
                    <a:pt x="2143" y="1"/>
                  </a:moveTo>
                  <a:cubicBezTo>
                    <a:pt x="1993" y="1"/>
                    <a:pt x="1843" y="79"/>
                    <a:pt x="1765" y="237"/>
                  </a:cubicBezTo>
                  <a:lnTo>
                    <a:pt x="1355" y="1056"/>
                  </a:lnTo>
                  <a:lnTo>
                    <a:pt x="473" y="1182"/>
                  </a:lnTo>
                  <a:cubicBezTo>
                    <a:pt x="95" y="1214"/>
                    <a:pt x="0" y="1655"/>
                    <a:pt x="221" y="1875"/>
                  </a:cubicBezTo>
                  <a:lnTo>
                    <a:pt x="851" y="2505"/>
                  </a:lnTo>
                  <a:lnTo>
                    <a:pt x="693" y="3419"/>
                  </a:lnTo>
                  <a:cubicBezTo>
                    <a:pt x="668" y="3693"/>
                    <a:pt x="880" y="3908"/>
                    <a:pt x="1110" y="3908"/>
                  </a:cubicBezTo>
                  <a:cubicBezTo>
                    <a:pt x="1171" y="3908"/>
                    <a:pt x="1233" y="3893"/>
                    <a:pt x="1292" y="3860"/>
                  </a:cubicBezTo>
                  <a:lnTo>
                    <a:pt x="2111" y="3419"/>
                  </a:lnTo>
                  <a:lnTo>
                    <a:pt x="2930" y="3860"/>
                  </a:lnTo>
                  <a:cubicBezTo>
                    <a:pt x="2992" y="3891"/>
                    <a:pt x="3056" y="3905"/>
                    <a:pt x="3119" y="3905"/>
                  </a:cubicBezTo>
                  <a:cubicBezTo>
                    <a:pt x="3376" y="3905"/>
                    <a:pt x="3605" y="3672"/>
                    <a:pt x="3529" y="3419"/>
                  </a:cubicBezTo>
                  <a:lnTo>
                    <a:pt x="3371" y="2505"/>
                  </a:lnTo>
                  <a:lnTo>
                    <a:pt x="4033" y="1875"/>
                  </a:lnTo>
                  <a:cubicBezTo>
                    <a:pt x="4285" y="1655"/>
                    <a:pt x="4159" y="1214"/>
                    <a:pt x="3812" y="1182"/>
                  </a:cubicBezTo>
                  <a:lnTo>
                    <a:pt x="2899" y="1056"/>
                  </a:lnTo>
                  <a:lnTo>
                    <a:pt x="2521" y="237"/>
                  </a:lnTo>
                  <a:cubicBezTo>
                    <a:pt x="2442" y="79"/>
                    <a:pt x="2292" y="1"/>
                    <a:pt x="21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6" name="Google Shape;9636;p77"/>
          <p:cNvGrpSpPr/>
          <p:nvPr/>
        </p:nvGrpSpPr>
        <p:grpSpPr>
          <a:xfrm>
            <a:off x="849695" y="3396913"/>
            <a:ext cx="363522" cy="365373"/>
            <a:chOff x="-62150375" y="2297875"/>
            <a:chExt cx="314275" cy="315875"/>
          </a:xfrm>
        </p:grpSpPr>
        <p:sp>
          <p:nvSpPr>
            <p:cNvPr id="9637" name="Google Shape;9637;p77"/>
            <p:cNvSpPr/>
            <p:nvPr/>
          </p:nvSpPr>
          <p:spPr>
            <a:xfrm>
              <a:off x="-61994425" y="2297875"/>
              <a:ext cx="64600" cy="69925"/>
            </a:xfrm>
            <a:custGeom>
              <a:avLst/>
              <a:gdLst/>
              <a:ahLst/>
              <a:cxnLst/>
              <a:rect l="l" t="t" r="r" b="b"/>
              <a:pathLst>
                <a:path w="2584" h="2797" extrusionOk="0">
                  <a:moveTo>
                    <a:pt x="1324" y="1"/>
                  </a:moveTo>
                  <a:cubicBezTo>
                    <a:pt x="1072" y="1"/>
                    <a:pt x="883" y="190"/>
                    <a:pt x="883" y="442"/>
                  </a:cubicBezTo>
                  <a:lnTo>
                    <a:pt x="883" y="1387"/>
                  </a:lnTo>
                  <a:lnTo>
                    <a:pt x="757" y="1261"/>
                  </a:lnTo>
                  <a:cubicBezTo>
                    <a:pt x="678" y="1182"/>
                    <a:pt x="568" y="1143"/>
                    <a:pt x="457" y="1143"/>
                  </a:cubicBezTo>
                  <a:cubicBezTo>
                    <a:pt x="347" y="1143"/>
                    <a:pt x="237" y="1182"/>
                    <a:pt x="158" y="1261"/>
                  </a:cubicBezTo>
                  <a:cubicBezTo>
                    <a:pt x="1" y="1419"/>
                    <a:pt x="1" y="1702"/>
                    <a:pt x="158" y="1860"/>
                  </a:cubicBezTo>
                  <a:lnTo>
                    <a:pt x="1009" y="2679"/>
                  </a:lnTo>
                  <a:cubicBezTo>
                    <a:pt x="1088" y="2758"/>
                    <a:pt x="1190" y="2797"/>
                    <a:pt x="1292" y="2797"/>
                  </a:cubicBezTo>
                  <a:cubicBezTo>
                    <a:pt x="1395" y="2797"/>
                    <a:pt x="1497" y="2758"/>
                    <a:pt x="1576" y="2679"/>
                  </a:cubicBezTo>
                  <a:lnTo>
                    <a:pt x="2426" y="1860"/>
                  </a:lnTo>
                  <a:cubicBezTo>
                    <a:pt x="2584" y="1702"/>
                    <a:pt x="2584" y="1419"/>
                    <a:pt x="2426" y="1261"/>
                  </a:cubicBezTo>
                  <a:cubicBezTo>
                    <a:pt x="2348" y="1182"/>
                    <a:pt x="2237" y="1143"/>
                    <a:pt x="2127" y="1143"/>
                  </a:cubicBezTo>
                  <a:cubicBezTo>
                    <a:pt x="2017" y="1143"/>
                    <a:pt x="1907" y="1182"/>
                    <a:pt x="1828" y="1261"/>
                  </a:cubicBezTo>
                  <a:lnTo>
                    <a:pt x="1702" y="1387"/>
                  </a:lnTo>
                  <a:lnTo>
                    <a:pt x="1702" y="442"/>
                  </a:lnTo>
                  <a:cubicBezTo>
                    <a:pt x="1733" y="190"/>
                    <a:pt x="1544"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8" name="Google Shape;9638;p77"/>
            <p:cNvSpPr/>
            <p:nvPr/>
          </p:nvSpPr>
          <p:spPr>
            <a:xfrm>
              <a:off x="-62150375" y="2338050"/>
              <a:ext cx="314275" cy="275700"/>
            </a:xfrm>
            <a:custGeom>
              <a:avLst/>
              <a:gdLst/>
              <a:ahLst/>
              <a:cxnLst/>
              <a:rect l="l" t="t" r="r" b="b"/>
              <a:pathLst>
                <a:path w="12571" h="11028" extrusionOk="0">
                  <a:moveTo>
                    <a:pt x="11752" y="2805"/>
                  </a:moveTo>
                  <a:lnTo>
                    <a:pt x="11059" y="6932"/>
                  </a:lnTo>
                  <a:lnTo>
                    <a:pt x="3970" y="6932"/>
                  </a:lnTo>
                  <a:lnTo>
                    <a:pt x="3183" y="2805"/>
                  </a:lnTo>
                  <a:close/>
                  <a:moveTo>
                    <a:pt x="5199" y="9421"/>
                  </a:moveTo>
                  <a:cubicBezTo>
                    <a:pt x="5388" y="9452"/>
                    <a:pt x="5514" y="9610"/>
                    <a:pt x="5514" y="9830"/>
                  </a:cubicBezTo>
                  <a:cubicBezTo>
                    <a:pt x="5514" y="10051"/>
                    <a:pt x="5293" y="10240"/>
                    <a:pt x="5073" y="10240"/>
                  </a:cubicBezTo>
                  <a:cubicBezTo>
                    <a:pt x="4821" y="10240"/>
                    <a:pt x="4663" y="10051"/>
                    <a:pt x="4663" y="9830"/>
                  </a:cubicBezTo>
                  <a:cubicBezTo>
                    <a:pt x="4663" y="9610"/>
                    <a:pt x="4789" y="9452"/>
                    <a:pt x="4978" y="9421"/>
                  </a:cubicBezTo>
                  <a:close/>
                  <a:moveTo>
                    <a:pt x="9830" y="9421"/>
                  </a:moveTo>
                  <a:cubicBezTo>
                    <a:pt x="10019" y="9452"/>
                    <a:pt x="10145" y="9610"/>
                    <a:pt x="10145" y="9830"/>
                  </a:cubicBezTo>
                  <a:cubicBezTo>
                    <a:pt x="10145" y="10051"/>
                    <a:pt x="9956" y="10240"/>
                    <a:pt x="9704" y="10240"/>
                  </a:cubicBezTo>
                  <a:cubicBezTo>
                    <a:pt x="9484" y="10240"/>
                    <a:pt x="9326" y="10051"/>
                    <a:pt x="9326" y="9830"/>
                  </a:cubicBezTo>
                  <a:cubicBezTo>
                    <a:pt x="9358" y="9610"/>
                    <a:pt x="9484" y="9452"/>
                    <a:pt x="9673" y="9421"/>
                  </a:cubicBezTo>
                  <a:close/>
                  <a:moveTo>
                    <a:pt x="284" y="1"/>
                  </a:moveTo>
                  <a:cubicBezTo>
                    <a:pt x="190" y="64"/>
                    <a:pt x="1" y="253"/>
                    <a:pt x="1" y="473"/>
                  </a:cubicBezTo>
                  <a:cubicBezTo>
                    <a:pt x="1" y="725"/>
                    <a:pt x="190" y="883"/>
                    <a:pt x="379" y="883"/>
                  </a:cubicBezTo>
                  <a:lnTo>
                    <a:pt x="1954" y="883"/>
                  </a:lnTo>
                  <a:lnTo>
                    <a:pt x="3151" y="7058"/>
                  </a:lnTo>
                  <a:cubicBezTo>
                    <a:pt x="2710" y="7247"/>
                    <a:pt x="2427" y="7688"/>
                    <a:pt x="2427" y="8192"/>
                  </a:cubicBezTo>
                  <a:cubicBezTo>
                    <a:pt x="2427" y="8885"/>
                    <a:pt x="2994" y="9421"/>
                    <a:pt x="3655" y="9421"/>
                  </a:cubicBezTo>
                  <a:lnTo>
                    <a:pt x="3844" y="9421"/>
                  </a:lnTo>
                  <a:cubicBezTo>
                    <a:pt x="3813" y="9547"/>
                    <a:pt x="3781" y="9704"/>
                    <a:pt x="3781" y="9830"/>
                  </a:cubicBezTo>
                  <a:cubicBezTo>
                    <a:pt x="3781" y="10492"/>
                    <a:pt x="4317" y="11027"/>
                    <a:pt x="5010" y="11027"/>
                  </a:cubicBezTo>
                  <a:cubicBezTo>
                    <a:pt x="5672" y="11027"/>
                    <a:pt x="6207" y="10492"/>
                    <a:pt x="6207" y="9830"/>
                  </a:cubicBezTo>
                  <a:cubicBezTo>
                    <a:pt x="6207" y="9673"/>
                    <a:pt x="6176" y="9547"/>
                    <a:pt x="6144" y="9421"/>
                  </a:cubicBezTo>
                  <a:lnTo>
                    <a:pt x="8475" y="9421"/>
                  </a:lnTo>
                  <a:cubicBezTo>
                    <a:pt x="8412" y="9547"/>
                    <a:pt x="8381" y="9704"/>
                    <a:pt x="8381" y="9830"/>
                  </a:cubicBezTo>
                  <a:cubicBezTo>
                    <a:pt x="8381" y="10492"/>
                    <a:pt x="8948" y="11027"/>
                    <a:pt x="9610" y="11027"/>
                  </a:cubicBezTo>
                  <a:cubicBezTo>
                    <a:pt x="10271" y="11027"/>
                    <a:pt x="10870" y="10492"/>
                    <a:pt x="10870" y="9830"/>
                  </a:cubicBezTo>
                  <a:cubicBezTo>
                    <a:pt x="10870" y="9673"/>
                    <a:pt x="10838" y="9547"/>
                    <a:pt x="10775" y="9421"/>
                  </a:cubicBezTo>
                  <a:lnTo>
                    <a:pt x="11405" y="9421"/>
                  </a:lnTo>
                  <a:cubicBezTo>
                    <a:pt x="11657" y="9421"/>
                    <a:pt x="11815" y="9231"/>
                    <a:pt x="11815" y="9042"/>
                  </a:cubicBezTo>
                  <a:cubicBezTo>
                    <a:pt x="11815" y="8822"/>
                    <a:pt x="11626" y="8601"/>
                    <a:pt x="11405" y="8601"/>
                  </a:cubicBezTo>
                  <a:lnTo>
                    <a:pt x="3529" y="8601"/>
                  </a:lnTo>
                  <a:cubicBezTo>
                    <a:pt x="3309" y="8601"/>
                    <a:pt x="3151" y="8412"/>
                    <a:pt x="3151" y="8160"/>
                  </a:cubicBezTo>
                  <a:cubicBezTo>
                    <a:pt x="3151" y="7940"/>
                    <a:pt x="3340" y="7719"/>
                    <a:pt x="3529" y="7719"/>
                  </a:cubicBezTo>
                  <a:lnTo>
                    <a:pt x="11311" y="7719"/>
                  </a:lnTo>
                  <a:cubicBezTo>
                    <a:pt x="11500" y="7719"/>
                    <a:pt x="11689" y="7562"/>
                    <a:pt x="11689" y="7373"/>
                  </a:cubicBezTo>
                  <a:lnTo>
                    <a:pt x="12508" y="2426"/>
                  </a:lnTo>
                  <a:cubicBezTo>
                    <a:pt x="12571" y="2174"/>
                    <a:pt x="12351" y="1954"/>
                    <a:pt x="12130" y="1954"/>
                  </a:cubicBezTo>
                  <a:lnTo>
                    <a:pt x="2899" y="1954"/>
                  </a:lnTo>
                  <a:lnTo>
                    <a:pt x="2584" y="379"/>
                  </a:lnTo>
                  <a:cubicBezTo>
                    <a:pt x="2553" y="158"/>
                    <a:pt x="2395" y="1"/>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77"/>
            <p:cNvSpPr/>
            <p:nvPr/>
          </p:nvSpPr>
          <p:spPr>
            <a:xfrm>
              <a:off x="-61972375" y="2430200"/>
              <a:ext cx="20500" cy="60675"/>
            </a:xfrm>
            <a:custGeom>
              <a:avLst/>
              <a:gdLst/>
              <a:ahLst/>
              <a:cxnLst/>
              <a:rect l="l" t="t" r="r" b="b"/>
              <a:pathLst>
                <a:path w="820" h="2427" extrusionOk="0">
                  <a:moveTo>
                    <a:pt x="442" y="1"/>
                  </a:moveTo>
                  <a:cubicBezTo>
                    <a:pt x="190" y="1"/>
                    <a:pt x="1" y="190"/>
                    <a:pt x="1" y="379"/>
                  </a:cubicBezTo>
                  <a:lnTo>
                    <a:pt x="1" y="2048"/>
                  </a:lnTo>
                  <a:cubicBezTo>
                    <a:pt x="32" y="2269"/>
                    <a:pt x="221" y="2427"/>
                    <a:pt x="442" y="2427"/>
                  </a:cubicBezTo>
                  <a:cubicBezTo>
                    <a:pt x="662" y="2427"/>
                    <a:pt x="820" y="2237"/>
                    <a:pt x="820" y="2048"/>
                  </a:cubicBezTo>
                  <a:lnTo>
                    <a:pt x="820" y="379"/>
                  </a:lnTo>
                  <a:cubicBezTo>
                    <a:pt x="820" y="158"/>
                    <a:pt x="631"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0" name="Google Shape;9640;p77"/>
            <p:cNvSpPr/>
            <p:nvPr/>
          </p:nvSpPr>
          <p:spPr>
            <a:xfrm>
              <a:off x="-61909350" y="2430200"/>
              <a:ext cx="19700" cy="60675"/>
            </a:xfrm>
            <a:custGeom>
              <a:avLst/>
              <a:gdLst/>
              <a:ahLst/>
              <a:cxnLst/>
              <a:rect l="l" t="t" r="r" b="b"/>
              <a:pathLst>
                <a:path w="788" h="2427" extrusionOk="0">
                  <a:moveTo>
                    <a:pt x="378" y="1"/>
                  </a:moveTo>
                  <a:cubicBezTo>
                    <a:pt x="189" y="1"/>
                    <a:pt x="0" y="190"/>
                    <a:pt x="0" y="379"/>
                  </a:cubicBezTo>
                  <a:lnTo>
                    <a:pt x="0" y="2048"/>
                  </a:lnTo>
                  <a:cubicBezTo>
                    <a:pt x="0" y="2269"/>
                    <a:pt x="189" y="2427"/>
                    <a:pt x="378" y="2427"/>
                  </a:cubicBezTo>
                  <a:cubicBezTo>
                    <a:pt x="630" y="2427"/>
                    <a:pt x="788" y="2237"/>
                    <a:pt x="788" y="2048"/>
                  </a:cubicBezTo>
                  <a:lnTo>
                    <a:pt x="788" y="379"/>
                  </a:lnTo>
                  <a:cubicBezTo>
                    <a:pt x="788" y="158"/>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1" name="Google Shape;9641;p77"/>
            <p:cNvSpPr/>
            <p:nvPr/>
          </p:nvSpPr>
          <p:spPr>
            <a:xfrm>
              <a:off x="-62033800" y="2430200"/>
              <a:ext cx="21275" cy="60675"/>
            </a:xfrm>
            <a:custGeom>
              <a:avLst/>
              <a:gdLst/>
              <a:ahLst/>
              <a:cxnLst/>
              <a:rect l="l" t="t" r="r" b="b"/>
              <a:pathLst>
                <a:path w="851" h="2427" extrusionOk="0">
                  <a:moveTo>
                    <a:pt x="410" y="1"/>
                  </a:moveTo>
                  <a:cubicBezTo>
                    <a:pt x="158" y="1"/>
                    <a:pt x="0" y="190"/>
                    <a:pt x="0" y="379"/>
                  </a:cubicBezTo>
                  <a:lnTo>
                    <a:pt x="0" y="2048"/>
                  </a:lnTo>
                  <a:cubicBezTo>
                    <a:pt x="0" y="2269"/>
                    <a:pt x="221" y="2427"/>
                    <a:pt x="410" y="2427"/>
                  </a:cubicBezTo>
                  <a:cubicBezTo>
                    <a:pt x="630" y="2427"/>
                    <a:pt x="851" y="2237"/>
                    <a:pt x="851" y="2048"/>
                  </a:cubicBezTo>
                  <a:lnTo>
                    <a:pt x="851" y="379"/>
                  </a:lnTo>
                  <a:cubicBezTo>
                    <a:pt x="851" y="158"/>
                    <a:pt x="630"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2" name="Google Shape;9642;p77"/>
          <p:cNvGrpSpPr/>
          <p:nvPr/>
        </p:nvGrpSpPr>
        <p:grpSpPr>
          <a:xfrm>
            <a:off x="848322" y="3838156"/>
            <a:ext cx="366269" cy="368091"/>
            <a:chOff x="-62150375" y="2664925"/>
            <a:chExt cx="316650" cy="318225"/>
          </a:xfrm>
        </p:grpSpPr>
        <p:sp>
          <p:nvSpPr>
            <p:cNvPr id="9643" name="Google Shape;9643;p77"/>
            <p:cNvSpPr/>
            <p:nvPr/>
          </p:nvSpPr>
          <p:spPr>
            <a:xfrm>
              <a:off x="-62150375" y="2961850"/>
              <a:ext cx="316650" cy="21300"/>
            </a:xfrm>
            <a:custGeom>
              <a:avLst/>
              <a:gdLst/>
              <a:ahLst/>
              <a:cxnLst/>
              <a:rect l="l" t="t" r="r" b="b"/>
              <a:pathLst>
                <a:path w="12666" h="852" extrusionOk="0">
                  <a:moveTo>
                    <a:pt x="379" y="0"/>
                  </a:moveTo>
                  <a:cubicBezTo>
                    <a:pt x="158" y="0"/>
                    <a:pt x="1" y="189"/>
                    <a:pt x="1" y="410"/>
                  </a:cubicBezTo>
                  <a:cubicBezTo>
                    <a:pt x="1" y="662"/>
                    <a:pt x="190" y="851"/>
                    <a:pt x="379" y="851"/>
                  </a:cubicBezTo>
                  <a:lnTo>
                    <a:pt x="12225" y="851"/>
                  </a:lnTo>
                  <a:cubicBezTo>
                    <a:pt x="12477" y="851"/>
                    <a:pt x="12634" y="662"/>
                    <a:pt x="12634" y="410"/>
                  </a:cubicBezTo>
                  <a:cubicBezTo>
                    <a:pt x="12666" y="158"/>
                    <a:pt x="12477" y="0"/>
                    <a:pt x="122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4" name="Google Shape;9644;p77"/>
            <p:cNvSpPr/>
            <p:nvPr/>
          </p:nvSpPr>
          <p:spPr>
            <a:xfrm>
              <a:off x="-62150375" y="2838200"/>
              <a:ext cx="82725" cy="102400"/>
            </a:xfrm>
            <a:custGeom>
              <a:avLst/>
              <a:gdLst/>
              <a:ahLst/>
              <a:cxnLst/>
              <a:rect l="l" t="t" r="r" b="b"/>
              <a:pathLst>
                <a:path w="3309" h="4096" extrusionOk="0">
                  <a:moveTo>
                    <a:pt x="2363" y="756"/>
                  </a:moveTo>
                  <a:cubicBezTo>
                    <a:pt x="2427" y="756"/>
                    <a:pt x="2521" y="851"/>
                    <a:pt x="2521" y="914"/>
                  </a:cubicBezTo>
                  <a:lnTo>
                    <a:pt x="2521" y="3119"/>
                  </a:lnTo>
                  <a:cubicBezTo>
                    <a:pt x="2521" y="3214"/>
                    <a:pt x="2427" y="3245"/>
                    <a:pt x="2363" y="3245"/>
                  </a:cubicBezTo>
                  <a:lnTo>
                    <a:pt x="977" y="3245"/>
                  </a:lnTo>
                  <a:cubicBezTo>
                    <a:pt x="883" y="3245"/>
                    <a:pt x="820" y="3151"/>
                    <a:pt x="820" y="3119"/>
                  </a:cubicBezTo>
                  <a:lnTo>
                    <a:pt x="820" y="914"/>
                  </a:lnTo>
                  <a:cubicBezTo>
                    <a:pt x="820" y="851"/>
                    <a:pt x="883" y="756"/>
                    <a:pt x="977" y="756"/>
                  </a:cubicBezTo>
                  <a:close/>
                  <a:moveTo>
                    <a:pt x="946" y="0"/>
                  </a:moveTo>
                  <a:cubicBezTo>
                    <a:pt x="379" y="0"/>
                    <a:pt x="1" y="441"/>
                    <a:pt x="1" y="945"/>
                  </a:cubicBezTo>
                  <a:lnTo>
                    <a:pt x="1" y="3151"/>
                  </a:lnTo>
                  <a:cubicBezTo>
                    <a:pt x="1" y="3686"/>
                    <a:pt x="410" y="4096"/>
                    <a:pt x="946" y="4096"/>
                  </a:cubicBezTo>
                  <a:lnTo>
                    <a:pt x="2300" y="4096"/>
                  </a:lnTo>
                  <a:cubicBezTo>
                    <a:pt x="2868" y="4096"/>
                    <a:pt x="3309" y="3686"/>
                    <a:pt x="3309" y="3151"/>
                  </a:cubicBezTo>
                  <a:lnTo>
                    <a:pt x="3309" y="945"/>
                  </a:lnTo>
                  <a:cubicBezTo>
                    <a:pt x="3309" y="410"/>
                    <a:pt x="2868"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5" name="Google Shape;9645;p77"/>
            <p:cNvSpPr/>
            <p:nvPr/>
          </p:nvSpPr>
          <p:spPr>
            <a:xfrm>
              <a:off x="-62033800" y="2664925"/>
              <a:ext cx="82725" cy="274900"/>
            </a:xfrm>
            <a:custGeom>
              <a:avLst/>
              <a:gdLst/>
              <a:ahLst/>
              <a:cxnLst/>
              <a:rect l="l" t="t" r="r" b="b"/>
              <a:pathLst>
                <a:path w="3309" h="10996" extrusionOk="0">
                  <a:moveTo>
                    <a:pt x="2332" y="788"/>
                  </a:moveTo>
                  <a:cubicBezTo>
                    <a:pt x="2426" y="851"/>
                    <a:pt x="2489" y="882"/>
                    <a:pt x="2489" y="945"/>
                  </a:cubicBezTo>
                  <a:lnTo>
                    <a:pt x="2489" y="10050"/>
                  </a:lnTo>
                  <a:cubicBezTo>
                    <a:pt x="2489" y="10145"/>
                    <a:pt x="2426" y="10176"/>
                    <a:pt x="2332" y="10176"/>
                  </a:cubicBezTo>
                  <a:lnTo>
                    <a:pt x="946" y="10176"/>
                  </a:lnTo>
                  <a:cubicBezTo>
                    <a:pt x="882" y="10176"/>
                    <a:pt x="851" y="10082"/>
                    <a:pt x="851" y="10050"/>
                  </a:cubicBezTo>
                  <a:lnTo>
                    <a:pt x="851" y="945"/>
                  </a:lnTo>
                  <a:cubicBezTo>
                    <a:pt x="851" y="882"/>
                    <a:pt x="914" y="788"/>
                    <a:pt x="946" y="788"/>
                  </a:cubicBezTo>
                  <a:close/>
                  <a:moveTo>
                    <a:pt x="946" y="0"/>
                  </a:moveTo>
                  <a:cubicBezTo>
                    <a:pt x="410" y="0"/>
                    <a:pt x="0" y="441"/>
                    <a:pt x="0" y="945"/>
                  </a:cubicBezTo>
                  <a:lnTo>
                    <a:pt x="0" y="10050"/>
                  </a:lnTo>
                  <a:cubicBezTo>
                    <a:pt x="0" y="10617"/>
                    <a:pt x="441" y="10995"/>
                    <a:pt x="946" y="10995"/>
                  </a:cubicBezTo>
                  <a:lnTo>
                    <a:pt x="2332" y="10995"/>
                  </a:lnTo>
                  <a:cubicBezTo>
                    <a:pt x="2899" y="10995"/>
                    <a:pt x="3308" y="10554"/>
                    <a:pt x="3308" y="10050"/>
                  </a:cubicBezTo>
                  <a:lnTo>
                    <a:pt x="3308" y="945"/>
                  </a:lnTo>
                  <a:cubicBezTo>
                    <a:pt x="3308" y="410"/>
                    <a:pt x="2899"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6" name="Google Shape;9646;p77"/>
            <p:cNvSpPr/>
            <p:nvPr/>
          </p:nvSpPr>
          <p:spPr>
            <a:xfrm>
              <a:off x="-61917225" y="2754700"/>
              <a:ext cx="83500" cy="185900"/>
            </a:xfrm>
            <a:custGeom>
              <a:avLst/>
              <a:gdLst/>
              <a:ahLst/>
              <a:cxnLst/>
              <a:rect l="l" t="t" r="r" b="b"/>
              <a:pathLst>
                <a:path w="3340" h="7436" extrusionOk="0">
                  <a:moveTo>
                    <a:pt x="2394" y="788"/>
                  </a:moveTo>
                  <a:cubicBezTo>
                    <a:pt x="2489" y="788"/>
                    <a:pt x="2520" y="883"/>
                    <a:pt x="2520" y="946"/>
                  </a:cubicBezTo>
                  <a:lnTo>
                    <a:pt x="2520" y="6459"/>
                  </a:lnTo>
                  <a:cubicBezTo>
                    <a:pt x="2520" y="6554"/>
                    <a:pt x="2426" y="6585"/>
                    <a:pt x="2394" y="6585"/>
                  </a:cubicBezTo>
                  <a:lnTo>
                    <a:pt x="1008" y="6585"/>
                  </a:lnTo>
                  <a:cubicBezTo>
                    <a:pt x="945" y="6585"/>
                    <a:pt x="851" y="6491"/>
                    <a:pt x="851" y="6459"/>
                  </a:cubicBezTo>
                  <a:lnTo>
                    <a:pt x="851" y="946"/>
                  </a:lnTo>
                  <a:cubicBezTo>
                    <a:pt x="851" y="883"/>
                    <a:pt x="945" y="788"/>
                    <a:pt x="1008" y="788"/>
                  </a:cubicBezTo>
                  <a:close/>
                  <a:moveTo>
                    <a:pt x="977" y="1"/>
                  </a:moveTo>
                  <a:cubicBezTo>
                    <a:pt x="441" y="1"/>
                    <a:pt x="0" y="442"/>
                    <a:pt x="0" y="977"/>
                  </a:cubicBezTo>
                  <a:lnTo>
                    <a:pt x="0" y="6491"/>
                  </a:lnTo>
                  <a:cubicBezTo>
                    <a:pt x="0" y="7058"/>
                    <a:pt x="441" y="7436"/>
                    <a:pt x="977" y="7436"/>
                  </a:cubicBezTo>
                  <a:lnTo>
                    <a:pt x="2363" y="7436"/>
                  </a:lnTo>
                  <a:cubicBezTo>
                    <a:pt x="2899" y="7436"/>
                    <a:pt x="3308" y="7026"/>
                    <a:pt x="3308" y="6491"/>
                  </a:cubicBezTo>
                  <a:lnTo>
                    <a:pt x="3308" y="977"/>
                  </a:lnTo>
                  <a:cubicBezTo>
                    <a:pt x="3340" y="442"/>
                    <a:pt x="2899"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7" name="Google Shape;9647;p77"/>
          <p:cNvGrpSpPr/>
          <p:nvPr/>
        </p:nvGrpSpPr>
        <p:grpSpPr>
          <a:xfrm>
            <a:off x="3065911" y="2959133"/>
            <a:ext cx="367165" cy="368901"/>
            <a:chOff x="-60254550" y="1938025"/>
            <a:chExt cx="317425" cy="318925"/>
          </a:xfrm>
        </p:grpSpPr>
        <p:sp>
          <p:nvSpPr>
            <p:cNvPr id="9648" name="Google Shape;9648;p77"/>
            <p:cNvSpPr/>
            <p:nvPr/>
          </p:nvSpPr>
          <p:spPr>
            <a:xfrm>
              <a:off x="-60254550" y="2049000"/>
              <a:ext cx="317425" cy="207950"/>
            </a:xfrm>
            <a:custGeom>
              <a:avLst/>
              <a:gdLst/>
              <a:ahLst/>
              <a:cxnLst/>
              <a:rect l="l" t="t" r="r" b="b"/>
              <a:pathLst>
                <a:path w="12697" h="8318" extrusionOk="0">
                  <a:moveTo>
                    <a:pt x="10428" y="1639"/>
                  </a:moveTo>
                  <a:cubicBezTo>
                    <a:pt x="11184" y="1639"/>
                    <a:pt x="11814" y="2269"/>
                    <a:pt x="11814" y="3025"/>
                  </a:cubicBezTo>
                  <a:cubicBezTo>
                    <a:pt x="11814" y="3781"/>
                    <a:pt x="11184" y="4411"/>
                    <a:pt x="10428" y="4411"/>
                  </a:cubicBezTo>
                  <a:lnTo>
                    <a:pt x="9767" y="4411"/>
                  </a:lnTo>
                  <a:cubicBezTo>
                    <a:pt x="9861" y="4033"/>
                    <a:pt x="9893" y="3686"/>
                    <a:pt x="9893" y="3308"/>
                  </a:cubicBezTo>
                  <a:lnTo>
                    <a:pt x="9893" y="1639"/>
                  </a:lnTo>
                  <a:close/>
                  <a:moveTo>
                    <a:pt x="9073" y="819"/>
                  </a:moveTo>
                  <a:lnTo>
                    <a:pt x="9073" y="3308"/>
                  </a:lnTo>
                  <a:cubicBezTo>
                    <a:pt x="9073" y="5577"/>
                    <a:pt x="7215" y="7435"/>
                    <a:pt x="4915" y="7435"/>
                  </a:cubicBezTo>
                  <a:cubicBezTo>
                    <a:pt x="2646" y="7435"/>
                    <a:pt x="788" y="5577"/>
                    <a:pt x="788" y="3308"/>
                  </a:cubicBezTo>
                  <a:lnTo>
                    <a:pt x="788" y="819"/>
                  </a:lnTo>
                  <a:close/>
                  <a:moveTo>
                    <a:pt x="410" y="0"/>
                  </a:moveTo>
                  <a:cubicBezTo>
                    <a:pt x="158" y="0"/>
                    <a:pt x="0" y="189"/>
                    <a:pt x="0" y="441"/>
                  </a:cubicBezTo>
                  <a:lnTo>
                    <a:pt x="0" y="3308"/>
                  </a:lnTo>
                  <a:cubicBezTo>
                    <a:pt x="0" y="5041"/>
                    <a:pt x="882" y="6522"/>
                    <a:pt x="2205" y="7435"/>
                  </a:cubicBezTo>
                  <a:lnTo>
                    <a:pt x="410" y="7435"/>
                  </a:lnTo>
                  <a:cubicBezTo>
                    <a:pt x="158" y="7435"/>
                    <a:pt x="0" y="7624"/>
                    <a:pt x="0" y="7877"/>
                  </a:cubicBezTo>
                  <a:cubicBezTo>
                    <a:pt x="0" y="8097"/>
                    <a:pt x="189" y="8318"/>
                    <a:pt x="410" y="8318"/>
                  </a:cubicBezTo>
                  <a:lnTo>
                    <a:pt x="9483" y="8318"/>
                  </a:lnTo>
                  <a:cubicBezTo>
                    <a:pt x="9735" y="8318"/>
                    <a:pt x="9893" y="8097"/>
                    <a:pt x="9893" y="7877"/>
                  </a:cubicBezTo>
                  <a:cubicBezTo>
                    <a:pt x="9893" y="7624"/>
                    <a:pt x="9704" y="7435"/>
                    <a:pt x="9483" y="7435"/>
                  </a:cubicBezTo>
                  <a:lnTo>
                    <a:pt x="7687" y="7435"/>
                  </a:lnTo>
                  <a:cubicBezTo>
                    <a:pt x="8506" y="6900"/>
                    <a:pt x="9137" y="6144"/>
                    <a:pt x="9546" y="5230"/>
                  </a:cubicBezTo>
                  <a:lnTo>
                    <a:pt x="10491" y="5230"/>
                  </a:lnTo>
                  <a:cubicBezTo>
                    <a:pt x="11688" y="5230"/>
                    <a:pt x="12697" y="4253"/>
                    <a:pt x="12697" y="3025"/>
                  </a:cubicBezTo>
                  <a:cubicBezTo>
                    <a:pt x="12697" y="1796"/>
                    <a:pt x="11657" y="819"/>
                    <a:pt x="10428" y="819"/>
                  </a:cubicBezTo>
                  <a:lnTo>
                    <a:pt x="9893" y="819"/>
                  </a:lnTo>
                  <a:lnTo>
                    <a:pt x="9893" y="441"/>
                  </a:lnTo>
                  <a:cubicBezTo>
                    <a:pt x="9893" y="189"/>
                    <a:pt x="9704" y="0"/>
                    <a:pt x="94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9" name="Google Shape;9649;p77"/>
            <p:cNvSpPr/>
            <p:nvPr/>
          </p:nvSpPr>
          <p:spPr>
            <a:xfrm>
              <a:off x="-60219125" y="1938025"/>
              <a:ext cx="51225" cy="103625"/>
            </a:xfrm>
            <a:custGeom>
              <a:avLst/>
              <a:gdLst/>
              <a:ahLst/>
              <a:cxnLst/>
              <a:rect l="l" t="t" r="r" b="b"/>
              <a:pathLst>
                <a:path w="2049" h="4145" extrusionOk="0">
                  <a:moveTo>
                    <a:pt x="1068" y="0"/>
                  </a:moveTo>
                  <a:cubicBezTo>
                    <a:pt x="947" y="0"/>
                    <a:pt x="819" y="61"/>
                    <a:pt x="725" y="155"/>
                  </a:cubicBezTo>
                  <a:cubicBezTo>
                    <a:pt x="568" y="312"/>
                    <a:pt x="568" y="564"/>
                    <a:pt x="757" y="722"/>
                  </a:cubicBezTo>
                  <a:cubicBezTo>
                    <a:pt x="1103" y="1100"/>
                    <a:pt x="1103" y="1446"/>
                    <a:pt x="757" y="1761"/>
                  </a:cubicBezTo>
                  <a:cubicBezTo>
                    <a:pt x="32" y="2392"/>
                    <a:pt x="1" y="3368"/>
                    <a:pt x="757" y="4030"/>
                  </a:cubicBezTo>
                  <a:cubicBezTo>
                    <a:pt x="832" y="4105"/>
                    <a:pt x="936" y="4144"/>
                    <a:pt x="1041" y="4144"/>
                  </a:cubicBezTo>
                  <a:cubicBezTo>
                    <a:pt x="1156" y="4144"/>
                    <a:pt x="1273" y="4097"/>
                    <a:pt x="1356" y="3998"/>
                  </a:cubicBezTo>
                  <a:cubicBezTo>
                    <a:pt x="1513" y="3841"/>
                    <a:pt x="1513" y="3557"/>
                    <a:pt x="1292" y="3400"/>
                  </a:cubicBezTo>
                  <a:cubicBezTo>
                    <a:pt x="946" y="3085"/>
                    <a:pt x="946" y="2707"/>
                    <a:pt x="1292" y="2392"/>
                  </a:cubicBezTo>
                  <a:cubicBezTo>
                    <a:pt x="2017" y="1761"/>
                    <a:pt x="2049" y="785"/>
                    <a:pt x="1292" y="92"/>
                  </a:cubicBezTo>
                  <a:cubicBezTo>
                    <a:pt x="1229" y="28"/>
                    <a:pt x="1150" y="0"/>
                    <a:pt x="10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0" name="Google Shape;9650;p77"/>
            <p:cNvSpPr/>
            <p:nvPr/>
          </p:nvSpPr>
          <p:spPr>
            <a:xfrm>
              <a:off x="-60156900" y="1938025"/>
              <a:ext cx="51225" cy="103625"/>
            </a:xfrm>
            <a:custGeom>
              <a:avLst/>
              <a:gdLst/>
              <a:ahLst/>
              <a:cxnLst/>
              <a:rect l="l" t="t" r="r" b="b"/>
              <a:pathLst>
                <a:path w="2049" h="4145" extrusionOk="0">
                  <a:moveTo>
                    <a:pt x="1057" y="0"/>
                  </a:moveTo>
                  <a:cubicBezTo>
                    <a:pt x="926" y="0"/>
                    <a:pt x="788" y="61"/>
                    <a:pt x="694" y="155"/>
                  </a:cubicBezTo>
                  <a:cubicBezTo>
                    <a:pt x="536" y="312"/>
                    <a:pt x="536" y="564"/>
                    <a:pt x="757" y="722"/>
                  </a:cubicBezTo>
                  <a:cubicBezTo>
                    <a:pt x="1103" y="1100"/>
                    <a:pt x="1103" y="1446"/>
                    <a:pt x="757" y="1761"/>
                  </a:cubicBezTo>
                  <a:cubicBezTo>
                    <a:pt x="32" y="2392"/>
                    <a:pt x="1" y="3368"/>
                    <a:pt x="757" y="4030"/>
                  </a:cubicBezTo>
                  <a:cubicBezTo>
                    <a:pt x="832" y="4105"/>
                    <a:pt x="929" y="4144"/>
                    <a:pt x="1026" y="4144"/>
                  </a:cubicBezTo>
                  <a:cubicBezTo>
                    <a:pt x="1133" y="4144"/>
                    <a:pt x="1242" y="4097"/>
                    <a:pt x="1324" y="3998"/>
                  </a:cubicBezTo>
                  <a:cubicBezTo>
                    <a:pt x="1859" y="3463"/>
                    <a:pt x="473" y="3179"/>
                    <a:pt x="1292" y="2392"/>
                  </a:cubicBezTo>
                  <a:cubicBezTo>
                    <a:pt x="2017" y="1761"/>
                    <a:pt x="2049" y="785"/>
                    <a:pt x="1292" y="92"/>
                  </a:cubicBezTo>
                  <a:cubicBezTo>
                    <a:pt x="1229" y="28"/>
                    <a:pt x="1145" y="0"/>
                    <a:pt x="1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1" name="Google Shape;9651;p77"/>
            <p:cNvSpPr/>
            <p:nvPr/>
          </p:nvSpPr>
          <p:spPr>
            <a:xfrm>
              <a:off x="-60094675" y="1938025"/>
              <a:ext cx="51225" cy="103625"/>
            </a:xfrm>
            <a:custGeom>
              <a:avLst/>
              <a:gdLst/>
              <a:ahLst/>
              <a:cxnLst/>
              <a:rect l="l" t="t" r="r" b="b"/>
              <a:pathLst>
                <a:path w="2049" h="4145" extrusionOk="0">
                  <a:moveTo>
                    <a:pt x="1056" y="0"/>
                  </a:moveTo>
                  <a:cubicBezTo>
                    <a:pt x="926" y="0"/>
                    <a:pt x="788" y="61"/>
                    <a:pt x="694" y="155"/>
                  </a:cubicBezTo>
                  <a:cubicBezTo>
                    <a:pt x="536" y="312"/>
                    <a:pt x="536" y="564"/>
                    <a:pt x="725" y="722"/>
                  </a:cubicBezTo>
                  <a:cubicBezTo>
                    <a:pt x="1103" y="1100"/>
                    <a:pt x="1103" y="1446"/>
                    <a:pt x="725" y="1761"/>
                  </a:cubicBezTo>
                  <a:cubicBezTo>
                    <a:pt x="32" y="2392"/>
                    <a:pt x="1" y="3368"/>
                    <a:pt x="725" y="4030"/>
                  </a:cubicBezTo>
                  <a:cubicBezTo>
                    <a:pt x="800" y="4105"/>
                    <a:pt x="904" y="4144"/>
                    <a:pt x="1009" y="4144"/>
                  </a:cubicBezTo>
                  <a:cubicBezTo>
                    <a:pt x="1125" y="4144"/>
                    <a:pt x="1241" y="4097"/>
                    <a:pt x="1324" y="3998"/>
                  </a:cubicBezTo>
                  <a:cubicBezTo>
                    <a:pt x="1481" y="3841"/>
                    <a:pt x="1481" y="3557"/>
                    <a:pt x="1292" y="3400"/>
                  </a:cubicBezTo>
                  <a:cubicBezTo>
                    <a:pt x="946" y="3085"/>
                    <a:pt x="946" y="2707"/>
                    <a:pt x="1292" y="2392"/>
                  </a:cubicBezTo>
                  <a:cubicBezTo>
                    <a:pt x="1985" y="1761"/>
                    <a:pt x="2048" y="785"/>
                    <a:pt x="1292" y="92"/>
                  </a:cubicBezTo>
                  <a:cubicBezTo>
                    <a:pt x="1229" y="28"/>
                    <a:pt x="1145" y="0"/>
                    <a:pt x="10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52" name="Google Shape;9652;p77"/>
          <p:cNvGrpSpPr/>
          <p:nvPr/>
        </p:nvGrpSpPr>
        <p:grpSpPr>
          <a:xfrm>
            <a:off x="3040249" y="3396389"/>
            <a:ext cx="366648" cy="366420"/>
            <a:chOff x="6479471" y="2079003"/>
            <a:chExt cx="348923" cy="348706"/>
          </a:xfrm>
        </p:grpSpPr>
        <p:sp>
          <p:nvSpPr>
            <p:cNvPr id="9653" name="Google Shape;9653;p77"/>
            <p:cNvSpPr/>
            <p:nvPr/>
          </p:nvSpPr>
          <p:spPr>
            <a:xfrm>
              <a:off x="6479471" y="2200291"/>
              <a:ext cx="38170" cy="22566"/>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89"/>
                    <a:pt x="1166" y="0"/>
                    <a:pt x="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654" name="Google Shape;9654;p77"/>
            <p:cNvGrpSpPr/>
            <p:nvPr/>
          </p:nvGrpSpPr>
          <p:grpSpPr>
            <a:xfrm>
              <a:off x="6520582" y="2079003"/>
              <a:ext cx="307811" cy="348706"/>
              <a:chOff x="-60218325" y="2304850"/>
              <a:chExt cx="279625" cy="316775"/>
            </a:xfrm>
          </p:grpSpPr>
          <p:sp>
            <p:nvSpPr>
              <p:cNvPr id="9655" name="Google Shape;9655;p77"/>
              <p:cNvSpPr/>
              <p:nvPr/>
            </p:nvSpPr>
            <p:spPr>
              <a:xfrm>
                <a:off x="-60218325" y="2304850"/>
                <a:ext cx="235525" cy="316775"/>
              </a:xfrm>
              <a:custGeom>
                <a:avLst/>
                <a:gdLst/>
                <a:ahLst/>
                <a:cxnLst/>
                <a:rect l="l" t="t" r="r" b="b"/>
                <a:pathLst>
                  <a:path w="9421" h="12671" extrusionOk="0">
                    <a:moveTo>
                      <a:pt x="4884" y="825"/>
                    </a:moveTo>
                    <a:cubicBezTo>
                      <a:pt x="6994" y="825"/>
                      <a:pt x="8633" y="2463"/>
                      <a:pt x="8633" y="4542"/>
                    </a:cubicBezTo>
                    <a:cubicBezTo>
                      <a:pt x="8570" y="6023"/>
                      <a:pt x="7688" y="7378"/>
                      <a:pt x="6364" y="7945"/>
                    </a:cubicBezTo>
                    <a:cubicBezTo>
                      <a:pt x="6207" y="8039"/>
                      <a:pt x="6112" y="8165"/>
                      <a:pt x="6112" y="8354"/>
                    </a:cubicBezTo>
                    <a:lnTo>
                      <a:pt x="6112" y="8543"/>
                    </a:lnTo>
                    <a:lnTo>
                      <a:pt x="3623" y="8543"/>
                    </a:lnTo>
                    <a:lnTo>
                      <a:pt x="3623" y="8354"/>
                    </a:lnTo>
                    <a:cubicBezTo>
                      <a:pt x="3623" y="8197"/>
                      <a:pt x="3560" y="8039"/>
                      <a:pt x="3403" y="7945"/>
                    </a:cubicBezTo>
                    <a:cubicBezTo>
                      <a:pt x="1828" y="7251"/>
                      <a:pt x="914" y="5582"/>
                      <a:pt x="1229" y="3880"/>
                    </a:cubicBezTo>
                    <a:cubicBezTo>
                      <a:pt x="1481" y="2431"/>
                      <a:pt x="2647" y="1203"/>
                      <a:pt x="4096" y="888"/>
                    </a:cubicBezTo>
                    <a:cubicBezTo>
                      <a:pt x="4379" y="856"/>
                      <a:pt x="4663" y="825"/>
                      <a:pt x="4884" y="825"/>
                    </a:cubicBezTo>
                    <a:close/>
                    <a:moveTo>
                      <a:pt x="6081" y="9362"/>
                    </a:moveTo>
                    <a:lnTo>
                      <a:pt x="6081" y="10213"/>
                    </a:lnTo>
                    <a:lnTo>
                      <a:pt x="3592" y="10213"/>
                    </a:lnTo>
                    <a:lnTo>
                      <a:pt x="3592" y="9362"/>
                    </a:lnTo>
                    <a:close/>
                    <a:moveTo>
                      <a:pt x="5986" y="11032"/>
                    </a:moveTo>
                    <a:cubicBezTo>
                      <a:pt x="5829" y="11505"/>
                      <a:pt x="5419" y="11851"/>
                      <a:pt x="4852" y="11851"/>
                    </a:cubicBezTo>
                    <a:cubicBezTo>
                      <a:pt x="4316" y="11851"/>
                      <a:pt x="3875" y="11505"/>
                      <a:pt x="3686" y="11032"/>
                    </a:cubicBezTo>
                    <a:close/>
                    <a:moveTo>
                      <a:pt x="4842" y="0"/>
                    </a:moveTo>
                    <a:cubicBezTo>
                      <a:pt x="4526" y="0"/>
                      <a:pt x="4202" y="32"/>
                      <a:pt x="3875" y="100"/>
                    </a:cubicBezTo>
                    <a:cubicBezTo>
                      <a:pt x="2111" y="509"/>
                      <a:pt x="693" y="1959"/>
                      <a:pt x="378" y="3723"/>
                    </a:cubicBezTo>
                    <a:cubicBezTo>
                      <a:pt x="0" y="5834"/>
                      <a:pt x="1071" y="7724"/>
                      <a:pt x="2773" y="8575"/>
                    </a:cubicBezTo>
                    <a:lnTo>
                      <a:pt x="2773" y="10591"/>
                    </a:lnTo>
                    <a:cubicBezTo>
                      <a:pt x="2773" y="11725"/>
                      <a:pt x="3718" y="12670"/>
                      <a:pt x="4852" y="12670"/>
                    </a:cubicBezTo>
                    <a:cubicBezTo>
                      <a:pt x="5986" y="12670"/>
                      <a:pt x="6963" y="11725"/>
                      <a:pt x="6963" y="10591"/>
                    </a:cubicBezTo>
                    <a:lnTo>
                      <a:pt x="6963" y="8575"/>
                    </a:lnTo>
                    <a:cubicBezTo>
                      <a:pt x="8444" y="7787"/>
                      <a:pt x="9420" y="6243"/>
                      <a:pt x="9420" y="4511"/>
                    </a:cubicBezTo>
                    <a:cubicBezTo>
                      <a:pt x="9392" y="1995"/>
                      <a:pt x="7331" y="0"/>
                      <a:pt x="48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6" name="Google Shape;9656;p77"/>
              <p:cNvSpPr/>
              <p:nvPr/>
            </p:nvSpPr>
            <p:spPr>
              <a:xfrm>
                <a:off x="-60127750" y="2347500"/>
                <a:ext cx="62250" cy="145750"/>
              </a:xfrm>
              <a:custGeom>
                <a:avLst/>
                <a:gdLst/>
                <a:ahLst/>
                <a:cxnLst/>
                <a:rect l="l" t="t" r="r" b="b"/>
                <a:pathLst>
                  <a:path w="2490" h="5830" extrusionOk="0">
                    <a:moveTo>
                      <a:pt x="1229" y="1"/>
                    </a:moveTo>
                    <a:cubicBezTo>
                      <a:pt x="1009" y="1"/>
                      <a:pt x="851" y="190"/>
                      <a:pt x="851" y="379"/>
                    </a:cubicBezTo>
                    <a:lnTo>
                      <a:pt x="851" y="662"/>
                    </a:lnTo>
                    <a:cubicBezTo>
                      <a:pt x="378" y="820"/>
                      <a:pt x="0" y="1292"/>
                      <a:pt x="0" y="1828"/>
                    </a:cubicBezTo>
                    <a:cubicBezTo>
                      <a:pt x="0" y="2521"/>
                      <a:pt x="567" y="2899"/>
                      <a:pt x="1009" y="3214"/>
                    </a:cubicBezTo>
                    <a:cubicBezTo>
                      <a:pt x="1324" y="3466"/>
                      <a:pt x="1670" y="3687"/>
                      <a:pt x="1670" y="3939"/>
                    </a:cubicBezTo>
                    <a:cubicBezTo>
                      <a:pt x="1670" y="4159"/>
                      <a:pt x="1481" y="4348"/>
                      <a:pt x="1229" y="4348"/>
                    </a:cubicBezTo>
                    <a:cubicBezTo>
                      <a:pt x="1009" y="4348"/>
                      <a:pt x="851" y="4159"/>
                      <a:pt x="851" y="3939"/>
                    </a:cubicBezTo>
                    <a:cubicBezTo>
                      <a:pt x="851" y="3687"/>
                      <a:pt x="630" y="3498"/>
                      <a:pt x="441" y="3498"/>
                    </a:cubicBezTo>
                    <a:cubicBezTo>
                      <a:pt x="221" y="3498"/>
                      <a:pt x="0" y="3687"/>
                      <a:pt x="0" y="3939"/>
                    </a:cubicBezTo>
                    <a:cubicBezTo>
                      <a:pt x="0" y="4474"/>
                      <a:pt x="378" y="4915"/>
                      <a:pt x="851" y="5104"/>
                    </a:cubicBezTo>
                    <a:lnTo>
                      <a:pt x="851" y="5388"/>
                    </a:lnTo>
                    <a:cubicBezTo>
                      <a:pt x="851" y="5608"/>
                      <a:pt x="1040" y="5829"/>
                      <a:pt x="1229" y="5829"/>
                    </a:cubicBezTo>
                    <a:cubicBezTo>
                      <a:pt x="1481" y="5829"/>
                      <a:pt x="1670" y="5608"/>
                      <a:pt x="1670" y="5388"/>
                    </a:cubicBezTo>
                    <a:lnTo>
                      <a:pt x="1670" y="5104"/>
                    </a:lnTo>
                    <a:cubicBezTo>
                      <a:pt x="2143" y="4947"/>
                      <a:pt x="2489" y="4474"/>
                      <a:pt x="2489" y="3939"/>
                    </a:cubicBezTo>
                    <a:cubicBezTo>
                      <a:pt x="2489" y="3246"/>
                      <a:pt x="1954" y="2868"/>
                      <a:pt x="1513" y="2553"/>
                    </a:cubicBezTo>
                    <a:cubicBezTo>
                      <a:pt x="1198" y="2300"/>
                      <a:pt x="851" y="2080"/>
                      <a:pt x="851" y="1828"/>
                    </a:cubicBezTo>
                    <a:cubicBezTo>
                      <a:pt x="788" y="1607"/>
                      <a:pt x="1009" y="1418"/>
                      <a:pt x="1229" y="1418"/>
                    </a:cubicBezTo>
                    <a:cubicBezTo>
                      <a:pt x="1481" y="1418"/>
                      <a:pt x="1670" y="1607"/>
                      <a:pt x="1670" y="1828"/>
                    </a:cubicBezTo>
                    <a:cubicBezTo>
                      <a:pt x="1670" y="2080"/>
                      <a:pt x="1859" y="2269"/>
                      <a:pt x="2048" y="2269"/>
                    </a:cubicBezTo>
                    <a:cubicBezTo>
                      <a:pt x="2300" y="2269"/>
                      <a:pt x="2489" y="2080"/>
                      <a:pt x="2489" y="1828"/>
                    </a:cubicBezTo>
                    <a:cubicBezTo>
                      <a:pt x="2489" y="1292"/>
                      <a:pt x="2143" y="851"/>
                      <a:pt x="1670" y="662"/>
                    </a:cubicBezTo>
                    <a:lnTo>
                      <a:pt x="1670" y="379"/>
                    </a:lnTo>
                    <a:cubicBezTo>
                      <a:pt x="1670" y="158"/>
                      <a:pt x="148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77"/>
              <p:cNvSpPr/>
              <p:nvPr/>
            </p:nvSpPr>
            <p:spPr>
              <a:xfrm>
                <a:off x="-60212825" y="2510750"/>
                <a:ext cx="32325" cy="30325"/>
              </a:xfrm>
              <a:custGeom>
                <a:avLst/>
                <a:gdLst/>
                <a:ahLst/>
                <a:cxnLst/>
                <a:rect l="l" t="t" r="r" b="b"/>
                <a:pathLst>
                  <a:path w="1293" h="1213" extrusionOk="0">
                    <a:moveTo>
                      <a:pt x="836" y="0"/>
                    </a:moveTo>
                    <a:cubicBezTo>
                      <a:pt x="725" y="0"/>
                      <a:pt x="615" y="39"/>
                      <a:pt x="536" y="118"/>
                    </a:cubicBezTo>
                    <a:lnTo>
                      <a:pt x="158" y="496"/>
                    </a:lnTo>
                    <a:cubicBezTo>
                      <a:pt x="1" y="654"/>
                      <a:pt x="1" y="906"/>
                      <a:pt x="158" y="1095"/>
                    </a:cubicBezTo>
                    <a:cubicBezTo>
                      <a:pt x="237" y="1174"/>
                      <a:pt x="340" y="1213"/>
                      <a:pt x="442" y="1213"/>
                    </a:cubicBezTo>
                    <a:cubicBezTo>
                      <a:pt x="544" y="1213"/>
                      <a:pt x="647" y="1174"/>
                      <a:pt x="725" y="1095"/>
                    </a:cubicBezTo>
                    <a:lnTo>
                      <a:pt x="1135" y="717"/>
                    </a:lnTo>
                    <a:cubicBezTo>
                      <a:pt x="1293" y="559"/>
                      <a:pt x="1293" y="276"/>
                      <a:pt x="1135" y="118"/>
                    </a:cubicBezTo>
                    <a:cubicBezTo>
                      <a:pt x="1056" y="39"/>
                      <a:pt x="946" y="0"/>
                      <a:pt x="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77"/>
              <p:cNvSpPr/>
              <p:nvPr/>
            </p:nvSpPr>
            <p:spPr>
              <a:xfrm>
                <a:off x="-60012750" y="2310675"/>
                <a:ext cx="32300" cy="30350"/>
              </a:xfrm>
              <a:custGeom>
                <a:avLst/>
                <a:gdLst/>
                <a:ahLst/>
                <a:cxnLst/>
                <a:rect l="l" t="t" r="r" b="b"/>
                <a:pathLst>
                  <a:path w="1292" h="1214" extrusionOk="0">
                    <a:moveTo>
                      <a:pt x="835" y="1"/>
                    </a:moveTo>
                    <a:cubicBezTo>
                      <a:pt x="725" y="1"/>
                      <a:pt x="614" y="40"/>
                      <a:pt x="536" y="119"/>
                    </a:cubicBezTo>
                    <a:lnTo>
                      <a:pt x="126" y="528"/>
                    </a:lnTo>
                    <a:cubicBezTo>
                      <a:pt x="0" y="686"/>
                      <a:pt x="0" y="938"/>
                      <a:pt x="126" y="1096"/>
                    </a:cubicBezTo>
                    <a:cubicBezTo>
                      <a:pt x="205" y="1174"/>
                      <a:pt x="315" y="1214"/>
                      <a:pt x="425" y="1214"/>
                    </a:cubicBezTo>
                    <a:cubicBezTo>
                      <a:pt x="536" y="1214"/>
                      <a:pt x="646" y="1174"/>
                      <a:pt x="725" y="1096"/>
                    </a:cubicBezTo>
                    <a:lnTo>
                      <a:pt x="1134" y="718"/>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77"/>
              <p:cNvSpPr/>
              <p:nvPr/>
            </p:nvSpPr>
            <p:spPr>
              <a:xfrm>
                <a:off x="-60012750" y="2510750"/>
                <a:ext cx="32300" cy="30325"/>
              </a:xfrm>
              <a:custGeom>
                <a:avLst/>
                <a:gdLst/>
                <a:ahLst/>
                <a:cxnLst/>
                <a:rect l="l" t="t" r="r" b="b"/>
                <a:pathLst>
                  <a:path w="1292" h="1213" extrusionOk="0">
                    <a:moveTo>
                      <a:pt x="425" y="0"/>
                    </a:moveTo>
                    <a:cubicBezTo>
                      <a:pt x="315" y="0"/>
                      <a:pt x="205" y="39"/>
                      <a:pt x="126" y="118"/>
                    </a:cubicBezTo>
                    <a:cubicBezTo>
                      <a:pt x="0" y="276"/>
                      <a:pt x="0" y="559"/>
                      <a:pt x="126" y="717"/>
                    </a:cubicBezTo>
                    <a:lnTo>
                      <a:pt x="536" y="1095"/>
                    </a:lnTo>
                    <a:cubicBezTo>
                      <a:pt x="614" y="1174"/>
                      <a:pt x="725" y="1213"/>
                      <a:pt x="835" y="1213"/>
                    </a:cubicBezTo>
                    <a:cubicBezTo>
                      <a:pt x="945" y="1213"/>
                      <a:pt x="1056" y="1174"/>
                      <a:pt x="1134" y="1095"/>
                    </a:cubicBezTo>
                    <a:cubicBezTo>
                      <a:pt x="1292" y="937"/>
                      <a:pt x="1292" y="654"/>
                      <a:pt x="1134" y="496"/>
                    </a:cubicBezTo>
                    <a:lnTo>
                      <a:pt x="725" y="118"/>
                    </a:lnTo>
                    <a:cubicBezTo>
                      <a:pt x="646" y="39"/>
                      <a:pt x="536" y="0"/>
                      <a:pt x="4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77"/>
              <p:cNvSpPr/>
              <p:nvPr/>
            </p:nvSpPr>
            <p:spPr>
              <a:xfrm>
                <a:off x="-60212825" y="2310675"/>
                <a:ext cx="32325" cy="30350"/>
              </a:xfrm>
              <a:custGeom>
                <a:avLst/>
                <a:gdLst/>
                <a:ahLst/>
                <a:cxnLst/>
                <a:rect l="l" t="t" r="r" b="b"/>
                <a:pathLst>
                  <a:path w="1293" h="1214" extrusionOk="0">
                    <a:moveTo>
                      <a:pt x="442" y="1"/>
                    </a:moveTo>
                    <a:cubicBezTo>
                      <a:pt x="340" y="1"/>
                      <a:pt x="237" y="40"/>
                      <a:pt x="158" y="119"/>
                    </a:cubicBezTo>
                    <a:cubicBezTo>
                      <a:pt x="1" y="276"/>
                      <a:pt x="1" y="560"/>
                      <a:pt x="158" y="718"/>
                    </a:cubicBezTo>
                    <a:lnTo>
                      <a:pt x="536" y="1096"/>
                    </a:lnTo>
                    <a:cubicBezTo>
                      <a:pt x="615" y="1174"/>
                      <a:pt x="725" y="1214"/>
                      <a:pt x="836" y="1214"/>
                    </a:cubicBezTo>
                    <a:cubicBezTo>
                      <a:pt x="946" y="1214"/>
                      <a:pt x="1056" y="1174"/>
                      <a:pt x="1135" y="1096"/>
                    </a:cubicBezTo>
                    <a:cubicBezTo>
                      <a:pt x="1293" y="938"/>
                      <a:pt x="1293" y="686"/>
                      <a:pt x="1135" y="528"/>
                    </a:cubicBezTo>
                    <a:lnTo>
                      <a:pt x="725" y="119"/>
                    </a:lnTo>
                    <a:cubicBezTo>
                      <a:pt x="647" y="40"/>
                      <a:pt x="544"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77"/>
              <p:cNvSpPr/>
              <p:nvPr/>
            </p:nvSpPr>
            <p:spPr>
              <a:xfrm>
                <a:off x="-59974175" y="2415250"/>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89"/>
                      <a:pt x="1230"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62" name="Google Shape;9662;p77"/>
          <p:cNvGrpSpPr/>
          <p:nvPr/>
        </p:nvGrpSpPr>
        <p:grpSpPr>
          <a:xfrm>
            <a:off x="3094149" y="3837707"/>
            <a:ext cx="310690" cy="368987"/>
            <a:chOff x="-60232500" y="2671225"/>
            <a:chExt cx="268600" cy="319000"/>
          </a:xfrm>
        </p:grpSpPr>
        <p:sp>
          <p:nvSpPr>
            <p:cNvPr id="9663" name="Google Shape;9663;p77"/>
            <p:cNvSpPr/>
            <p:nvPr/>
          </p:nvSpPr>
          <p:spPr>
            <a:xfrm>
              <a:off x="-60222275" y="2843700"/>
              <a:ext cx="63025" cy="146525"/>
            </a:xfrm>
            <a:custGeom>
              <a:avLst/>
              <a:gdLst/>
              <a:ahLst/>
              <a:cxnLst/>
              <a:rect l="l" t="t" r="r" b="b"/>
              <a:pathLst>
                <a:path w="2521" h="5861" extrusionOk="0">
                  <a:moveTo>
                    <a:pt x="1261" y="1"/>
                  </a:moveTo>
                  <a:cubicBezTo>
                    <a:pt x="1040" y="1"/>
                    <a:pt x="851" y="190"/>
                    <a:pt x="851" y="410"/>
                  </a:cubicBezTo>
                  <a:lnTo>
                    <a:pt x="851" y="694"/>
                  </a:lnTo>
                  <a:cubicBezTo>
                    <a:pt x="379" y="851"/>
                    <a:pt x="1" y="1324"/>
                    <a:pt x="1" y="1891"/>
                  </a:cubicBezTo>
                  <a:cubicBezTo>
                    <a:pt x="1" y="2553"/>
                    <a:pt x="568" y="2931"/>
                    <a:pt x="1009" y="3246"/>
                  </a:cubicBezTo>
                  <a:cubicBezTo>
                    <a:pt x="1324" y="3498"/>
                    <a:pt x="1671" y="3718"/>
                    <a:pt x="1671" y="3970"/>
                  </a:cubicBezTo>
                  <a:cubicBezTo>
                    <a:pt x="1671" y="4191"/>
                    <a:pt x="1482" y="4348"/>
                    <a:pt x="1261" y="4348"/>
                  </a:cubicBezTo>
                  <a:cubicBezTo>
                    <a:pt x="1072" y="4348"/>
                    <a:pt x="851" y="4159"/>
                    <a:pt x="851" y="3970"/>
                  </a:cubicBezTo>
                  <a:cubicBezTo>
                    <a:pt x="851" y="3718"/>
                    <a:pt x="631" y="3529"/>
                    <a:pt x="442" y="3529"/>
                  </a:cubicBezTo>
                  <a:cubicBezTo>
                    <a:pt x="253" y="3529"/>
                    <a:pt x="64" y="3718"/>
                    <a:pt x="64" y="3970"/>
                  </a:cubicBezTo>
                  <a:cubicBezTo>
                    <a:pt x="64" y="4506"/>
                    <a:pt x="410" y="4947"/>
                    <a:pt x="883" y="5136"/>
                  </a:cubicBezTo>
                  <a:lnTo>
                    <a:pt x="883" y="5419"/>
                  </a:lnTo>
                  <a:cubicBezTo>
                    <a:pt x="883" y="5672"/>
                    <a:pt x="1072" y="5861"/>
                    <a:pt x="1324" y="5861"/>
                  </a:cubicBezTo>
                  <a:cubicBezTo>
                    <a:pt x="1545" y="5861"/>
                    <a:pt x="1702" y="5672"/>
                    <a:pt x="1702" y="5419"/>
                  </a:cubicBezTo>
                  <a:lnTo>
                    <a:pt x="1702" y="5136"/>
                  </a:lnTo>
                  <a:cubicBezTo>
                    <a:pt x="2175" y="4978"/>
                    <a:pt x="2521" y="4506"/>
                    <a:pt x="2521" y="3970"/>
                  </a:cubicBezTo>
                  <a:cubicBezTo>
                    <a:pt x="2521" y="3309"/>
                    <a:pt x="1986" y="2899"/>
                    <a:pt x="1545" y="2584"/>
                  </a:cubicBezTo>
                  <a:cubicBezTo>
                    <a:pt x="1229" y="2364"/>
                    <a:pt x="883" y="2111"/>
                    <a:pt x="883" y="1891"/>
                  </a:cubicBezTo>
                  <a:cubicBezTo>
                    <a:pt x="883" y="1639"/>
                    <a:pt x="1072" y="1450"/>
                    <a:pt x="1261" y="1450"/>
                  </a:cubicBezTo>
                  <a:cubicBezTo>
                    <a:pt x="1513" y="1450"/>
                    <a:pt x="1671" y="1639"/>
                    <a:pt x="1671" y="1891"/>
                  </a:cubicBezTo>
                  <a:cubicBezTo>
                    <a:pt x="1671" y="2111"/>
                    <a:pt x="1860" y="2269"/>
                    <a:pt x="2112" y="2269"/>
                  </a:cubicBezTo>
                  <a:cubicBezTo>
                    <a:pt x="2332" y="2269"/>
                    <a:pt x="2490" y="2080"/>
                    <a:pt x="2490" y="1891"/>
                  </a:cubicBezTo>
                  <a:cubicBezTo>
                    <a:pt x="2490" y="1324"/>
                    <a:pt x="2143" y="883"/>
                    <a:pt x="1671" y="694"/>
                  </a:cubicBezTo>
                  <a:lnTo>
                    <a:pt x="1671" y="410"/>
                  </a:lnTo>
                  <a:cubicBezTo>
                    <a:pt x="1671" y="190"/>
                    <a:pt x="148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77"/>
            <p:cNvSpPr/>
            <p:nvPr/>
          </p:nvSpPr>
          <p:spPr>
            <a:xfrm>
              <a:off x="-60232500" y="2671225"/>
              <a:ext cx="268600" cy="318225"/>
            </a:xfrm>
            <a:custGeom>
              <a:avLst/>
              <a:gdLst/>
              <a:ahLst/>
              <a:cxnLst/>
              <a:rect l="l" t="t" r="r" b="b"/>
              <a:pathLst>
                <a:path w="10744" h="12729" extrusionOk="0">
                  <a:moveTo>
                    <a:pt x="5419" y="1701"/>
                  </a:moveTo>
                  <a:cubicBezTo>
                    <a:pt x="7561" y="1701"/>
                    <a:pt x="9357" y="3151"/>
                    <a:pt x="9830" y="5167"/>
                  </a:cubicBezTo>
                  <a:cubicBezTo>
                    <a:pt x="9641" y="5041"/>
                    <a:pt x="9389" y="5009"/>
                    <a:pt x="9137" y="5009"/>
                  </a:cubicBezTo>
                  <a:cubicBezTo>
                    <a:pt x="8601" y="5009"/>
                    <a:pt x="8191" y="5230"/>
                    <a:pt x="7908" y="5545"/>
                  </a:cubicBezTo>
                  <a:cubicBezTo>
                    <a:pt x="7593" y="5198"/>
                    <a:pt x="7152" y="5009"/>
                    <a:pt x="6679" y="5009"/>
                  </a:cubicBezTo>
                  <a:cubicBezTo>
                    <a:pt x="6175" y="5009"/>
                    <a:pt x="5734" y="5230"/>
                    <a:pt x="5419" y="5545"/>
                  </a:cubicBezTo>
                  <a:cubicBezTo>
                    <a:pt x="5104" y="5198"/>
                    <a:pt x="4663" y="5009"/>
                    <a:pt x="4190" y="5009"/>
                  </a:cubicBezTo>
                  <a:cubicBezTo>
                    <a:pt x="3686" y="5009"/>
                    <a:pt x="3245" y="5230"/>
                    <a:pt x="2993" y="5545"/>
                  </a:cubicBezTo>
                  <a:cubicBezTo>
                    <a:pt x="2678" y="5198"/>
                    <a:pt x="2237" y="5009"/>
                    <a:pt x="1764" y="5009"/>
                  </a:cubicBezTo>
                  <a:cubicBezTo>
                    <a:pt x="1512" y="5009"/>
                    <a:pt x="1292" y="5041"/>
                    <a:pt x="1040" y="5167"/>
                  </a:cubicBezTo>
                  <a:cubicBezTo>
                    <a:pt x="1481" y="3151"/>
                    <a:pt x="3308" y="1701"/>
                    <a:pt x="5419" y="1701"/>
                  </a:cubicBezTo>
                  <a:close/>
                  <a:moveTo>
                    <a:pt x="5356" y="0"/>
                  </a:moveTo>
                  <a:cubicBezTo>
                    <a:pt x="5104" y="0"/>
                    <a:pt x="4946" y="189"/>
                    <a:pt x="4946" y="441"/>
                  </a:cubicBezTo>
                  <a:lnTo>
                    <a:pt x="4946" y="851"/>
                  </a:lnTo>
                  <a:cubicBezTo>
                    <a:pt x="2206" y="1071"/>
                    <a:pt x="0" y="3371"/>
                    <a:pt x="0" y="6207"/>
                  </a:cubicBezTo>
                  <a:lnTo>
                    <a:pt x="0" y="6648"/>
                  </a:lnTo>
                  <a:lnTo>
                    <a:pt x="32" y="6648"/>
                  </a:lnTo>
                  <a:cubicBezTo>
                    <a:pt x="32" y="6900"/>
                    <a:pt x="221" y="7089"/>
                    <a:pt x="473" y="7089"/>
                  </a:cubicBezTo>
                  <a:cubicBezTo>
                    <a:pt x="693" y="7089"/>
                    <a:pt x="851" y="6900"/>
                    <a:pt x="851" y="6648"/>
                  </a:cubicBezTo>
                  <a:cubicBezTo>
                    <a:pt x="851" y="6175"/>
                    <a:pt x="1197" y="5829"/>
                    <a:pt x="1701" y="5829"/>
                  </a:cubicBezTo>
                  <a:cubicBezTo>
                    <a:pt x="2143" y="5829"/>
                    <a:pt x="2521" y="6175"/>
                    <a:pt x="2521" y="6648"/>
                  </a:cubicBezTo>
                  <a:cubicBezTo>
                    <a:pt x="2521" y="6900"/>
                    <a:pt x="2710" y="7089"/>
                    <a:pt x="2899" y="7089"/>
                  </a:cubicBezTo>
                  <a:cubicBezTo>
                    <a:pt x="3119" y="7089"/>
                    <a:pt x="3308" y="6900"/>
                    <a:pt x="3308" y="6648"/>
                  </a:cubicBezTo>
                  <a:cubicBezTo>
                    <a:pt x="3308" y="6175"/>
                    <a:pt x="3655" y="5829"/>
                    <a:pt x="4127" y="5829"/>
                  </a:cubicBezTo>
                  <a:cubicBezTo>
                    <a:pt x="4600" y="5829"/>
                    <a:pt x="4946" y="6175"/>
                    <a:pt x="4946" y="6648"/>
                  </a:cubicBezTo>
                  <a:lnTo>
                    <a:pt x="4946" y="11499"/>
                  </a:lnTo>
                  <a:cubicBezTo>
                    <a:pt x="4946" y="12161"/>
                    <a:pt x="5514" y="12728"/>
                    <a:pt x="6175" y="12728"/>
                  </a:cubicBezTo>
                  <a:cubicBezTo>
                    <a:pt x="6837" y="12728"/>
                    <a:pt x="7404" y="12161"/>
                    <a:pt x="7404" y="11499"/>
                  </a:cubicBezTo>
                  <a:lnTo>
                    <a:pt x="7404" y="10680"/>
                  </a:lnTo>
                  <a:cubicBezTo>
                    <a:pt x="7404" y="10428"/>
                    <a:pt x="7215" y="10239"/>
                    <a:pt x="6994" y="10239"/>
                  </a:cubicBezTo>
                  <a:cubicBezTo>
                    <a:pt x="6805" y="10239"/>
                    <a:pt x="6616" y="10428"/>
                    <a:pt x="6616" y="10680"/>
                  </a:cubicBezTo>
                  <a:lnTo>
                    <a:pt x="6616" y="11499"/>
                  </a:lnTo>
                  <a:cubicBezTo>
                    <a:pt x="6616" y="11720"/>
                    <a:pt x="6427" y="11940"/>
                    <a:pt x="6175" y="11940"/>
                  </a:cubicBezTo>
                  <a:cubicBezTo>
                    <a:pt x="5955" y="11940"/>
                    <a:pt x="5797" y="11720"/>
                    <a:pt x="5797" y="11499"/>
                  </a:cubicBezTo>
                  <a:lnTo>
                    <a:pt x="5797" y="6648"/>
                  </a:lnTo>
                  <a:cubicBezTo>
                    <a:pt x="5797" y="6175"/>
                    <a:pt x="6144" y="5829"/>
                    <a:pt x="6616" y="5829"/>
                  </a:cubicBezTo>
                  <a:cubicBezTo>
                    <a:pt x="7089" y="5829"/>
                    <a:pt x="7435" y="6175"/>
                    <a:pt x="7435" y="6648"/>
                  </a:cubicBezTo>
                  <a:cubicBezTo>
                    <a:pt x="7435" y="6900"/>
                    <a:pt x="7624" y="7089"/>
                    <a:pt x="7876" y="7089"/>
                  </a:cubicBezTo>
                  <a:cubicBezTo>
                    <a:pt x="8097" y="7089"/>
                    <a:pt x="8255" y="6900"/>
                    <a:pt x="8255" y="6648"/>
                  </a:cubicBezTo>
                  <a:cubicBezTo>
                    <a:pt x="8255" y="6175"/>
                    <a:pt x="8633" y="5829"/>
                    <a:pt x="9105" y="5829"/>
                  </a:cubicBezTo>
                  <a:cubicBezTo>
                    <a:pt x="9578" y="5829"/>
                    <a:pt x="9924" y="6175"/>
                    <a:pt x="9924" y="6648"/>
                  </a:cubicBezTo>
                  <a:cubicBezTo>
                    <a:pt x="9924" y="6900"/>
                    <a:pt x="10113" y="7089"/>
                    <a:pt x="10302" y="7089"/>
                  </a:cubicBezTo>
                  <a:cubicBezTo>
                    <a:pt x="10554" y="7089"/>
                    <a:pt x="10743" y="6900"/>
                    <a:pt x="10743" y="6648"/>
                  </a:cubicBezTo>
                  <a:lnTo>
                    <a:pt x="10743" y="6207"/>
                  </a:lnTo>
                  <a:cubicBezTo>
                    <a:pt x="10743" y="3371"/>
                    <a:pt x="8538" y="1071"/>
                    <a:pt x="5797" y="851"/>
                  </a:cubicBezTo>
                  <a:lnTo>
                    <a:pt x="5797" y="441"/>
                  </a:lnTo>
                  <a:cubicBezTo>
                    <a:pt x="5797" y="189"/>
                    <a:pt x="5577"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5" name="Google Shape;9665;p77"/>
          <p:cNvGrpSpPr/>
          <p:nvPr/>
        </p:nvGrpSpPr>
        <p:grpSpPr>
          <a:xfrm>
            <a:off x="2179643" y="4286341"/>
            <a:ext cx="365373" cy="368987"/>
            <a:chOff x="-59100700" y="1911950"/>
            <a:chExt cx="315875" cy="319000"/>
          </a:xfrm>
        </p:grpSpPr>
        <p:sp>
          <p:nvSpPr>
            <p:cNvPr id="9666" name="Google Shape;9666;p77"/>
            <p:cNvSpPr/>
            <p:nvPr/>
          </p:nvSpPr>
          <p:spPr>
            <a:xfrm>
              <a:off x="-59015625" y="19938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77"/>
            <p:cNvSpPr/>
            <p:nvPr/>
          </p:nvSpPr>
          <p:spPr>
            <a:xfrm>
              <a:off x="-58954200" y="19938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77"/>
            <p:cNvSpPr/>
            <p:nvPr/>
          </p:nvSpPr>
          <p:spPr>
            <a:xfrm>
              <a:off x="-58891975" y="19938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9" name="Google Shape;9669;p77"/>
            <p:cNvSpPr/>
            <p:nvPr/>
          </p:nvSpPr>
          <p:spPr>
            <a:xfrm>
              <a:off x="-59015625" y="2034825"/>
              <a:ext cx="20500" cy="21275"/>
            </a:xfrm>
            <a:custGeom>
              <a:avLst/>
              <a:gdLst/>
              <a:ahLst/>
              <a:cxnLst/>
              <a:rect l="l" t="t" r="r" b="b"/>
              <a:pathLst>
                <a:path w="820" h="851" extrusionOk="0">
                  <a:moveTo>
                    <a:pt x="189" y="0"/>
                  </a:moveTo>
                  <a:cubicBezTo>
                    <a:pt x="63" y="0"/>
                    <a:pt x="0" y="95"/>
                    <a:pt x="0" y="221"/>
                  </a:cubicBezTo>
                  <a:lnTo>
                    <a:pt x="0" y="630"/>
                  </a:lnTo>
                  <a:cubicBezTo>
                    <a:pt x="0" y="756"/>
                    <a:pt x="95" y="851"/>
                    <a:pt x="189" y="851"/>
                  </a:cubicBezTo>
                  <a:lnTo>
                    <a:pt x="630" y="851"/>
                  </a:lnTo>
                  <a:cubicBezTo>
                    <a:pt x="725" y="851"/>
                    <a:pt x="820" y="756"/>
                    <a:pt x="820" y="630"/>
                  </a:cubicBezTo>
                  <a:lnTo>
                    <a:pt x="820" y="221"/>
                  </a:lnTo>
                  <a:cubicBezTo>
                    <a:pt x="820" y="95"/>
                    <a:pt x="725" y="0"/>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0" name="Google Shape;9670;p77"/>
            <p:cNvSpPr/>
            <p:nvPr/>
          </p:nvSpPr>
          <p:spPr>
            <a:xfrm>
              <a:off x="-58954200" y="2034825"/>
              <a:ext cx="21300" cy="21275"/>
            </a:xfrm>
            <a:custGeom>
              <a:avLst/>
              <a:gdLst/>
              <a:ahLst/>
              <a:cxnLst/>
              <a:rect l="l" t="t" r="r" b="b"/>
              <a:pathLst>
                <a:path w="852" h="851" extrusionOk="0">
                  <a:moveTo>
                    <a:pt x="221" y="0"/>
                  </a:moveTo>
                  <a:cubicBezTo>
                    <a:pt x="95" y="0"/>
                    <a:pt x="1" y="95"/>
                    <a:pt x="1" y="221"/>
                  </a:cubicBezTo>
                  <a:lnTo>
                    <a:pt x="1" y="630"/>
                  </a:lnTo>
                  <a:cubicBezTo>
                    <a:pt x="1" y="756"/>
                    <a:pt x="127" y="851"/>
                    <a:pt x="221"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1" name="Google Shape;9671;p77"/>
            <p:cNvSpPr/>
            <p:nvPr/>
          </p:nvSpPr>
          <p:spPr>
            <a:xfrm>
              <a:off x="-58891975" y="2034825"/>
              <a:ext cx="21300" cy="21275"/>
            </a:xfrm>
            <a:custGeom>
              <a:avLst/>
              <a:gdLst/>
              <a:ahLst/>
              <a:cxnLst/>
              <a:rect l="l" t="t" r="r" b="b"/>
              <a:pathLst>
                <a:path w="852" h="851" extrusionOk="0">
                  <a:moveTo>
                    <a:pt x="190" y="0"/>
                  </a:moveTo>
                  <a:cubicBezTo>
                    <a:pt x="95" y="0"/>
                    <a:pt x="1" y="95"/>
                    <a:pt x="1" y="221"/>
                  </a:cubicBezTo>
                  <a:lnTo>
                    <a:pt x="1" y="630"/>
                  </a:lnTo>
                  <a:cubicBezTo>
                    <a:pt x="1" y="756"/>
                    <a:pt x="127" y="851"/>
                    <a:pt x="190"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2" name="Google Shape;9672;p77"/>
            <p:cNvSpPr/>
            <p:nvPr/>
          </p:nvSpPr>
          <p:spPr>
            <a:xfrm>
              <a:off x="-59015625" y="20765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3" name="Google Shape;9673;p77"/>
            <p:cNvSpPr/>
            <p:nvPr/>
          </p:nvSpPr>
          <p:spPr>
            <a:xfrm>
              <a:off x="-58954200" y="20765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4" name="Google Shape;9674;p77"/>
            <p:cNvSpPr/>
            <p:nvPr/>
          </p:nvSpPr>
          <p:spPr>
            <a:xfrm>
              <a:off x="-58891975" y="20765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5" name="Google Shape;9675;p77"/>
            <p:cNvSpPr/>
            <p:nvPr/>
          </p:nvSpPr>
          <p:spPr>
            <a:xfrm>
              <a:off x="-59100700" y="1911950"/>
              <a:ext cx="315875" cy="319000"/>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76" name="Google Shape;9676;p77"/>
          <p:cNvGrpSpPr/>
          <p:nvPr/>
        </p:nvGrpSpPr>
        <p:grpSpPr>
          <a:xfrm>
            <a:off x="2621810" y="1541821"/>
            <a:ext cx="379918" cy="366038"/>
            <a:chOff x="-63665750" y="1914325"/>
            <a:chExt cx="328450" cy="316450"/>
          </a:xfrm>
        </p:grpSpPr>
        <p:sp>
          <p:nvSpPr>
            <p:cNvPr id="9677" name="Google Shape;9677;p77"/>
            <p:cNvSpPr/>
            <p:nvPr/>
          </p:nvSpPr>
          <p:spPr>
            <a:xfrm>
              <a:off x="-63665750" y="1914325"/>
              <a:ext cx="328450" cy="316450"/>
            </a:xfrm>
            <a:custGeom>
              <a:avLst/>
              <a:gdLst/>
              <a:ahLst/>
              <a:cxnLst/>
              <a:rect l="l" t="t" r="r" b="b"/>
              <a:pathLst>
                <a:path w="13138" h="12658" extrusionOk="0">
                  <a:moveTo>
                    <a:pt x="8144" y="835"/>
                  </a:moveTo>
                  <a:cubicBezTo>
                    <a:pt x="9097" y="835"/>
                    <a:pt x="10050" y="1197"/>
                    <a:pt x="10775" y="1922"/>
                  </a:cubicBezTo>
                  <a:cubicBezTo>
                    <a:pt x="12256" y="3371"/>
                    <a:pt x="12256" y="5734"/>
                    <a:pt x="10775" y="7183"/>
                  </a:cubicBezTo>
                  <a:cubicBezTo>
                    <a:pt x="10050" y="7908"/>
                    <a:pt x="9097" y="8270"/>
                    <a:pt x="8144" y="8270"/>
                  </a:cubicBezTo>
                  <a:cubicBezTo>
                    <a:pt x="7191" y="8270"/>
                    <a:pt x="6238" y="7908"/>
                    <a:pt x="5513" y="7183"/>
                  </a:cubicBezTo>
                  <a:cubicBezTo>
                    <a:pt x="4064" y="5734"/>
                    <a:pt x="4064" y="3371"/>
                    <a:pt x="5513" y="1922"/>
                  </a:cubicBezTo>
                  <a:cubicBezTo>
                    <a:pt x="6238" y="1197"/>
                    <a:pt x="7191" y="835"/>
                    <a:pt x="8144" y="835"/>
                  </a:cubicBezTo>
                  <a:close/>
                  <a:moveTo>
                    <a:pt x="3466" y="8632"/>
                  </a:moveTo>
                  <a:lnTo>
                    <a:pt x="4064" y="9231"/>
                  </a:lnTo>
                  <a:lnTo>
                    <a:pt x="1607" y="11688"/>
                  </a:lnTo>
                  <a:lnTo>
                    <a:pt x="1008" y="11090"/>
                  </a:lnTo>
                  <a:lnTo>
                    <a:pt x="3466" y="8632"/>
                  </a:lnTo>
                  <a:close/>
                  <a:moveTo>
                    <a:pt x="8172" y="0"/>
                  </a:moveTo>
                  <a:cubicBezTo>
                    <a:pt x="7010" y="0"/>
                    <a:pt x="5844" y="441"/>
                    <a:pt x="4946" y="1323"/>
                  </a:cubicBezTo>
                  <a:cubicBezTo>
                    <a:pt x="3277" y="3024"/>
                    <a:pt x="3182" y="5671"/>
                    <a:pt x="4694" y="7467"/>
                  </a:cubicBezTo>
                  <a:lnTo>
                    <a:pt x="4096" y="8065"/>
                  </a:lnTo>
                  <a:lnTo>
                    <a:pt x="3214" y="7183"/>
                  </a:lnTo>
                  <a:cubicBezTo>
                    <a:pt x="3151" y="7104"/>
                    <a:pt x="3048" y="7065"/>
                    <a:pt x="2942" y="7065"/>
                  </a:cubicBezTo>
                  <a:cubicBezTo>
                    <a:pt x="2836" y="7065"/>
                    <a:pt x="2725" y="7104"/>
                    <a:pt x="2646" y="7183"/>
                  </a:cubicBezTo>
                  <a:cubicBezTo>
                    <a:pt x="2489" y="7341"/>
                    <a:pt x="2489" y="7624"/>
                    <a:pt x="2646" y="7782"/>
                  </a:cubicBezTo>
                  <a:lnTo>
                    <a:pt x="2899" y="8065"/>
                  </a:lnTo>
                  <a:lnTo>
                    <a:pt x="158" y="10806"/>
                  </a:lnTo>
                  <a:cubicBezTo>
                    <a:pt x="0" y="10964"/>
                    <a:pt x="0" y="11247"/>
                    <a:pt x="158" y="11405"/>
                  </a:cubicBezTo>
                  <a:lnTo>
                    <a:pt x="1292" y="12539"/>
                  </a:lnTo>
                  <a:cubicBezTo>
                    <a:pt x="1371" y="12618"/>
                    <a:pt x="1481" y="12657"/>
                    <a:pt x="1591" y="12657"/>
                  </a:cubicBezTo>
                  <a:cubicBezTo>
                    <a:pt x="1701" y="12657"/>
                    <a:pt x="1812" y="12618"/>
                    <a:pt x="1890" y="12539"/>
                  </a:cubicBezTo>
                  <a:lnTo>
                    <a:pt x="4631" y="9798"/>
                  </a:lnTo>
                  <a:lnTo>
                    <a:pt x="4915" y="10050"/>
                  </a:lnTo>
                  <a:cubicBezTo>
                    <a:pt x="4994" y="10129"/>
                    <a:pt x="5104" y="10168"/>
                    <a:pt x="5214" y="10168"/>
                  </a:cubicBezTo>
                  <a:cubicBezTo>
                    <a:pt x="5324" y="10168"/>
                    <a:pt x="5435" y="10129"/>
                    <a:pt x="5513" y="10050"/>
                  </a:cubicBezTo>
                  <a:cubicBezTo>
                    <a:pt x="5671" y="9893"/>
                    <a:pt x="5671" y="9640"/>
                    <a:pt x="5513" y="9483"/>
                  </a:cubicBezTo>
                  <a:lnTo>
                    <a:pt x="4631" y="8601"/>
                  </a:lnTo>
                  <a:lnTo>
                    <a:pt x="5230" y="8034"/>
                  </a:lnTo>
                  <a:cubicBezTo>
                    <a:pt x="6059" y="8730"/>
                    <a:pt x="7090" y="9078"/>
                    <a:pt x="8127" y="9078"/>
                  </a:cubicBezTo>
                  <a:cubicBezTo>
                    <a:pt x="9296" y="9078"/>
                    <a:pt x="10472" y="8635"/>
                    <a:pt x="11373" y="7750"/>
                  </a:cubicBezTo>
                  <a:cubicBezTo>
                    <a:pt x="13138" y="5986"/>
                    <a:pt x="13138" y="3087"/>
                    <a:pt x="11373" y="1323"/>
                  </a:cubicBezTo>
                  <a:cubicBezTo>
                    <a:pt x="10491" y="441"/>
                    <a:pt x="9333" y="0"/>
                    <a:pt x="81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8" name="Google Shape;9678;p77"/>
            <p:cNvSpPr/>
            <p:nvPr/>
          </p:nvSpPr>
          <p:spPr>
            <a:xfrm>
              <a:off x="-63524775" y="1955275"/>
              <a:ext cx="123675" cy="134700"/>
            </a:xfrm>
            <a:custGeom>
              <a:avLst/>
              <a:gdLst/>
              <a:ahLst/>
              <a:cxnLst/>
              <a:rect l="l" t="t" r="r" b="b"/>
              <a:pathLst>
                <a:path w="4947" h="5388" extrusionOk="0">
                  <a:moveTo>
                    <a:pt x="2458" y="882"/>
                  </a:moveTo>
                  <a:cubicBezTo>
                    <a:pt x="2930" y="882"/>
                    <a:pt x="3308" y="1229"/>
                    <a:pt x="3308" y="1702"/>
                  </a:cubicBezTo>
                  <a:cubicBezTo>
                    <a:pt x="3308" y="2174"/>
                    <a:pt x="2962" y="2521"/>
                    <a:pt x="2458" y="2521"/>
                  </a:cubicBezTo>
                  <a:cubicBezTo>
                    <a:pt x="1985" y="2521"/>
                    <a:pt x="1639" y="2174"/>
                    <a:pt x="1639" y="1702"/>
                  </a:cubicBezTo>
                  <a:cubicBezTo>
                    <a:pt x="1639" y="1229"/>
                    <a:pt x="2048" y="882"/>
                    <a:pt x="2458" y="882"/>
                  </a:cubicBezTo>
                  <a:close/>
                  <a:moveTo>
                    <a:pt x="2458" y="3340"/>
                  </a:moveTo>
                  <a:cubicBezTo>
                    <a:pt x="3245" y="3340"/>
                    <a:pt x="3876" y="3875"/>
                    <a:pt x="4096" y="4600"/>
                  </a:cubicBezTo>
                  <a:lnTo>
                    <a:pt x="883" y="4600"/>
                  </a:lnTo>
                  <a:cubicBezTo>
                    <a:pt x="1040" y="3875"/>
                    <a:pt x="1733" y="3340"/>
                    <a:pt x="2458" y="3340"/>
                  </a:cubicBezTo>
                  <a:close/>
                  <a:moveTo>
                    <a:pt x="2458" y="0"/>
                  </a:moveTo>
                  <a:cubicBezTo>
                    <a:pt x="1576" y="0"/>
                    <a:pt x="820" y="756"/>
                    <a:pt x="820" y="1670"/>
                  </a:cubicBezTo>
                  <a:cubicBezTo>
                    <a:pt x="820" y="2080"/>
                    <a:pt x="977" y="2489"/>
                    <a:pt x="1292" y="2804"/>
                  </a:cubicBezTo>
                  <a:cubicBezTo>
                    <a:pt x="536" y="3245"/>
                    <a:pt x="0" y="4033"/>
                    <a:pt x="0" y="4978"/>
                  </a:cubicBezTo>
                  <a:cubicBezTo>
                    <a:pt x="0" y="5230"/>
                    <a:pt x="189" y="5388"/>
                    <a:pt x="410" y="5388"/>
                  </a:cubicBezTo>
                  <a:lnTo>
                    <a:pt x="4569" y="5388"/>
                  </a:lnTo>
                  <a:cubicBezTo>
                    <a:pt x="4789" y="5388"/>
                    <a:pt x="4947" y="5199"/>
                    <a:pt x="4947" y="4978"/>
                  </a:cubicBezTo>
                  <a:cubicBezTo>
                    <a:pt x="4947" y="4033"/>
                    <a:pt x="4443" y="3245"/>
                    <a:pt x="3655" y="2804"/>
                  </a:cubicBezTo>
                  <a:cubicBezTo>
                    <a:pt x="3939" y="2489"/>
                    <a:pt x="4128" y="2080"/>
                    <a:pt x="4128" y="1670"/>
                  </a:cubicBezTo>
                  <a:cubicBezTo>
                    <a:pt x="4128" y="756"/>
                    <a:pt x="3371"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79" name="Google Shape;9679;p77"/>
          <p:cNvGrpSpPr/>
          <p:nvPr/>
        </p:nvGrpSpPr>
        <p:grpSpPr>
          <a:xfrm>
            <a:off x="2626814" y="2020865"/>
            <a:ext cx="369913" cy="368554"/>
            <a:chOff x="-63666550" y="2278975"/>
            <a:chExt cx="319800" cy="318625"/>
          </a:xfrm>
        </p:grpSpPr>
        <p:sp>
          <p:nvSpPr>
            <p:cNvPr id="9680" name="Google Shape;9680;p77"/>
            <p:cNvSpPr/>
            <p:nvPr/>
          </p:nvSpPr>
          <p:spPr>
            <a:xfrm>
              <a:off x="-63481450" y="2309700"/>
              <a:ext cx="62225" cy="146525"/>
            </a:xfrm>
            <a:custGeom>
              <a:avLst/>
              <a:gdLst/>
              <a:ahLst/>
              <a:cxnLst/>
              <a:rect l="l" t="t" r="r" b="b"/>
              <a:pathLst>
                <a:path w="2489" h="5861" extrusionOk="0">
                  <a:moveTo>
                    <a:pt x="1229" y="0"/>
                  </a:moveTo>
                  <a:cubicBezTo>
                    <a:pt x="977" y="0"/>
                    <a:pt x="819" y="189"/>
                    <a:pt x="819" y="441"/>
                  </a:cubicBezTo>
                  <a:lnTo>
                    <a:pt x="819" y="694"/>
                  </a:lnTo>
                  <a:cubicBezTo>
                    <a:pt x="347" y="883"/>
                    <a:pt x="0" y="1324"/>
                    <a:pt x="0" y="1891"/>
                  </a:cubicBezTo>
                  <a:cubicBezTo>
                    <a:pt x="0" y="2552"/>
                    <a:pt x="536" y="2962"/>
                    <a:pt x="977" y="3277"/>
                  </a:cubicBezTo>
                  <a:cubicBezTo>
                    <a:pt x="1292" y="3497"/>
                    <a:pt x="1638" y="3749"/>
                    <a:pt x="1638" y="3970"/>
                  </a:cubicBezTo>
                  <a:cubicBezTo>
                    <a:pt x="1607" y="4254"/>
                    <a:pt x="1418" y="4411"/>
                    <a:pt x="1197" y="4411"/>
                  </a:cubicBezTo>
                  <a:cubicBezTo>
                    <a:pt x="977" y="4411"/>
                    <a:pt x="819" y="4222"/>
                    <a:pt x="819" y="3970"/>
                  </a:cubicBezTo>
                  <a:cubicBezTo>
                    <a:pt x="819" y="3749"/>
                    <a:pt x="630" y="3560"/>
                    <a:pt x="410" y="3560"/>
                  </a:cubicBezTo>
                  <a:cubicBezTo>
                    <a:pt x="189" y="3560"/>
                    <a:pt x="0" y="3749"/>
                    <a:pt x="0" y="3970"/>
                  </a:cubicBezTo>
                  <a:cubicBezTo>
                    <a:pt x="0" y="4537"/>
                    <a:pt x="347" y="4978"/>
                    <a:pt x="819" y="5167"/>
                  </a:cubicBezTo>
                  <a:lnTo>
                    <a:pt x="819" y="5419"/>
                  </a:lnTo>
                  <a:cubicBezTo>
                    <a:pt x="819" y="5671"/>
                    <a:pt x="1008" y="5860"/>
                    <a:pt x="1197" y="5860"/>
                  </a:cubicBezTo>
                  <a:cubicBezTo>
                    <a:pt x="1449" y="5860"/>
                    <a:pt x="1638" y="5671"/>
                    <a:pt x="1638" y="5419"/>
                  </a:cubicBezTo>
                  <a:lnTo>
                    <a:pt x="1638" y="5167"/>
                  </a:lnTo>
                  <a:cubicBezTo>
                    <a:pt x="2111" y="5010"/>
                    <a:pt x="2489" y="4537"/>
                    <a:pt x="2489" y="3970"/>
                  </a:cubicBezTo>
                  <a:cubicBezTo>
                    <a:pt x="2489" y="3308"/>
                    <a:pt x="1922" y="2930"/>
                    <a:pt x="1481" y="2615"/>
                  </a:cubicBezTo>
                  <a:cubicBezTo>
                    <a:pt x="1166" y="2363"/>
                    <a:pt x="819" y="2143"/>
                    <a:pt x="819" y="1891"/>
                  </a:cubicBezTo>
                  <a:cubicBezTo>
                    <a:pt x="819" y="1670"/>
                    <a:pt x="1008" y="1450"/>
                    <a:pt x="1229" y="1450"/>
                  </a:cubicBezTo>
                  <a:cubicBezTo>
                    <a:pt x="1449" y="1450"/>
                    <a:pt x="1638" y="1670"/>
                    <a:pt x="1638" y="1891"/>
                  </a:cubicBezTo>
                  <a:cubicBezTo>
                    <a:pt x="1638" y="2111"/>
                    <a:pt x="1859" y="2332"/>
                    <a:pt x="2048" y="2332"/>
                  </a:cubicBezTo>
                  <a:cubicBezTo>
                    <a:pt x="2269" y="2332"/>
                    <a:pt x="2489" y="2111"/>
                    <a:pt x="2489" y="1891"/>
                  </a:cubicBezTo>
                  <a:cubicBezTo>
                    <a:pt x="2489" y="1324"/>
                    <a:pt x="2111" y="914"/>
                    <a:pt x="1638" y="694"/>
                  </a:cubicBezTo>
                  <a:lnTo>
                    <a:pt x="1638" y="441"/>
                  </a:lnTo>
                  <a:cubicBezTo>
                    <a:pt x="1638" y="189"/>
                    <a:pt x="1449"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77"/>
            <p:cNvSpPr/>
            <p:nvPr/>
          </p:nvSpPr>
          <p:spPr>
            <a:xfrm>
              <a:off x="-63666550" y="2278975"/>
              <a:ext cx="319800" cy="318625"/>
            </a:xfrm>
            <a:custGeom>
              <a:avLst/>
              <a:gdLst/>
              <a:ahLst/>
              <a:cxnLst/>
              <a:rect l="l" t="t" r="r" b="b"/>
              <a:pathLst>
                <a:path w="12792" h="12745" extrusionOk="0">
                  <a:moveTo>
                    <a:pt x="8601" y="914"/>
                  </a:moveTo>
                  <a:cubicBezTo>
                    <a:pt x="10429" y="914"/>
                    <a:pt x="11909" y="2427"/>
                    <a:pt x="11909" y="4222"/>
                  </a:cubicBezTo>
                  <a:cubicBezTo>
                    <a:pt x="11909" y="6050"/>
                    <a:pt x="10429" y="7530"/>
                    <a:pt x="8601" y="7530"/>
                  </a:cubicBezTo>
                  <a:cubicBezTo>
                    <a:pt x="7971" y="7530"/>
                    <a:pt x="7404" y="7373"/>
                    <a:pt x="6869" y="7026"/>
                  </a:cubicBezTo>
                  <a:lnTo>
                    <a:pt x="7089" y="6270"/>
                  </a:lnTo>
                  <a:cubicBezTo>
                    <a:pt x="7144" y="5997"/>
                    <a:pt x="6938" y="5748"/>
                    <a:pt x="6677" y="5748"/>
                  </a:cubicBezTo>
                  <a:cubicBezTo>
                    <a:pt x="6637" y="5748"/>
                    <a:pt x="6596" y="5754"/>
                    <a:pt x="6554" y="5766"/>
                  </a:cubicBezTo>
                  <a:lnTo>
                    <a:pt x="5829" y="5955"/>
                  </a:lnTo>
                  <a:cubicBezTo>
                    <a:pt x="5514" y="5451"/>
                    <a:pt x="5293" y="4852"/>
                    <a:pt x="5293" y="4222"/>
                  </a:cubicBezTo>
                  <a:cubicBezTo>
                    <a:pt x="5293" y="2364"/>
                    <a:pt x="6774" y="914"/>
                    <a:pt x="8601" y="914"/>
                  </a:cubicBezTo>
                  <a:close/>
                  <a:moveTo>
                    <a:pt x="6050" y="6711"/>
                  </a:moveTo>
                  <a:lnTo>
                    <a:pt x="5041" y="10303"/>
                  </a:lnTo>
                  <a:lnTo>
                    <a:pt x="4789" y="9421"/>
                  </a:lnTo>
                  <a:cubicBezTo>
                    <a:pt x="4749" y="9221"/>
                    <a:pt x="4571" y="9098"/>
                    <a:pt x="4389" y="9098"/>
                  </a:cubicBezTo>
                  <a:cubicBezTo>
                    <a:pt x="4284" y="9098"/>
                    <a:pt x="4177" y="9139"/>
                    <a:pt x="4096" y="9232"/>
                  </a:cubicBezTo>
                  <a:lnTo>
                    <a:pt x="1418" y="11910"/>
                  </a:lnTo>
                  <a:lnTo>
                    <a:pt x="820" y="11311"/>
                  </a:lnTo>
                  <a:lnTo>
                    <a:pt x="3529" y="8665"/>
                  </a:lnTo>
                  <a:cubicBezTo>
                    <a:pt x="3781" y="8444"/>
                    <a:pt x="3655" y="8034"/>
                    <a:pt x="3340" y="7971"/>
                  </a:cubicBezTo>
                  <a:lnTo>
                    <a:pt x="2458" y="7719"/>
                  </a:lnTo>
                  <a:lnTo>
                    <a:pt x="6050" y="6711"/>
                  </a:lnTo>
                  <a:close/>
                  <a:moveTo>
                    <a:pt x="8664" y="1"/>
                  </a:moveTo>
                  <a:cubicBezTo>
                    <a:pt x="6365" y="1"/>
                    <a:pt x="4506" y="1860"/>
                    <a:pt x="4506" y="4159"/>
                  </a:cubicBezTo>
                  <a:cubicBezTo>
                    <a:pt x="4506" y="4852"/>
                    <a:pt x="4663" y="5514"/>
                    <a:pt x="5041" y="6113"/>
                  </a:cubicBezTo>
                  <a:lnTo>
                    <a:pt x="820" y="7341"/>
                  </a:lnTo>
                  <a:cubicBezTo>
                    <a:pt x="631" y="7373"/>
                    <a:pt x="505" y="7562"/>
                    <a:pt x="505" y="7719"/>
                  </a:cubicBezTo>
                  <a:cubicBezTo>
                    <a:pt x="505" y="7940"/>
                    <a:pt x="631" y="8097"/>
                    <a:pt x="820" y="8129"/>
                  </a:cubicBezTo>
                  <a:lnTo>
                    <a:pt x="2458" y="8570"/>
                  </a:lnTo>
                  <a:lnTo>
                    <a:pt x="316" y="10712"/>
                  </a:lnTo>
                  <a:cubicBezTo>
                    <a:pt x="1" y="11027"/>
                    <a:pt x="1" y="11563"/>
                    <a:pt x="316" y="11910"/>
                  </a:cubicBezTo>
                  <a:lnTo>
                    <a:pt x="883" y="12508"/>
                  </a:lnTo>
                  <a:cubicBezTo>
                    <a:pt x="1040" y="12666"/>
                    <a:pt x="1253" y="12744"/>
                    <a:pt x="1469" y="12744"/>
                  </a:cubicBezTo>
                  <a:cubicBezTo>
                    <a:pt x="1686" y="12744"/>
                    <a:pt x="1907" y="12666"/>
                    <a:pt x="2080" y="12508"/>
                  </a:cubicBezTo>
                  <a:lnTo>
                    <a:pt x="4254" y="10334"/>
                  </a:lnTo>
                  <a:lnTo>
                    <a:pt x="4663" y="11973"/>
                  </a:lnTo>
                  <a:cubicBezTo>
                    <a:pt x="4727" y="12181"/>
                    <a:pt x="4906" y="12292"/>
                    <a:pt x="5078" y="12292"/>
                  </a:cubicBezTo>
                  <a:cubicBezTo>
                    <a:pt x="5244" y="12292"/>
                    <a:pt x="5405" y="12189"/>
                    <a:pt x="5451" y="11973"/>
                  </a:cubicBezTo>
                  <a:lnTo>
                    <a:pt x="6680" y="7782"/>
                  </a:lnTo>
                  <a:cubicBezTo>
                    <a:pt x="7278" y="8097"/>
                    <a:pt x="7940" y="8286"/>
                    <a:pt x="8664" y="8286"/>
                  </a:cubicBezTo>
                  <a:cubicBezTo>
                    <a:pt x="10933" y="8286"/>
                    <a:pt x="12792" y="6428"/>
                    <a:pt x="12792" y="4159"/>
                  </a:cubicBezTo>
                  <a:cubicBezTo>
                    <a:pt x="12792" y="1860"/>
                    <a:pt x="10933" y="1"/>
                    <a:pt x="86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2" name="Google Shape;9682;p77"/>
          <p:cNvGrpSpPr/>
          <p:nvPr/>
        </p:nvGrpSpPr>
        <p:grpSpPr>
          <a:xfrm>
            <a:off x="2624081" y="2486890"/>
            <a:ext cx="375378" cy="367397"/>
            <a:chOff x="-63669700" y="2646600"/>
            <a:chExt cx="324525" cy="317625"/>
          </a:xfrm>
        </p:grpSpPr>
        <p:sp>
          <p:nvSpPr>
            <p:cNvPr id="9683" name="Google Shape;9683;p77"/>
            <p:cNvSpPr/>
            <p:nvPr/>
          </p:nvSpPr>
          <p:spPr>
            <a:xfrm>
              <a:off x="-63669700" y="2646600"/>
              <a:ext cx="324525" cy="317550"/>
            </a:xfrm>
            <a:custGeom>
              <a:avLst/>
              <a:gdLst/>
              <a:ahLst/>
              <a:cxnLst/>
              <a:rect l="l" t="t" r="r" b="b"/>
              <a:pathLst>
                <a:path w="12981" h="12702" extrusionOk="0">
                  <a:moveTo>
                    <a:pt x="6947" y="867"/>
                  </a:moveTo>
                  <a:cubicBezTo>
                    <a:pt x="7058" y="867"/>
                    <a:pt x="7168" y="906"/>
                    <a:pt x="7247" y="985"/>
                  </a:cubicBezTo>
                  <a:cubicBezTo>
                    <a:pt x="7404" y="1143"/>
                    <a:pt x="7404" y="1426"/>
                    <a:pt x="7247" y="1584"/>
                  </a:cubicBezTo>
                  <a:lnTo>
                    <a:pt x="5199" y="3632"/>
                  </a:lnTo>
                  <a:cubicBezTo>
                    <a:pt x="5120" y="3710"/>
                    <a:pt x="5010" y="3750"/>
                    <a:pt x="4900" y="3750"/>
                  </a:cubicBezTo>
                  <a:cubicBezTo>
                    <a:pt x="4789" y="3750"/>
                    <a:pt x="4679" y="3710"/>
                    <a:pt x="4600" y="3632"/>
                  </a:cubicBezTo>
                  <a:cubicBezTo>
                    <a:pt x="4443" y="3474"/>
                    <a:pt x="4443" y="3190"/>
                    <a:pt x="4600" y="3033"/>
                  </a:cubicBezTo>
                  <a:lnTo>
                    <a:pt x="6648" y="985"/>
                  </a:lnTo>
                  <a:cubicBezTo>
                    <a:pt x="6727" y="906"/>
                    <a:pt x="6837" y="867"/>
                    <a:pt x="6947" y="867"/>
                  </a:cubicBezTo>
                  <a:close/>
                  <a:moveTo>
                    <a:pt x="7530" y="2434"/>
                  </a:moveTo>
                  <a:lnTo>
                    <a:pt x="10429" y="5364"/>
                  </a:lnTo>
                  <a:lnTo>
                    <a:pt x="8979" y="6814"/>
                  </a:lnTo>
                  <a:lnTo>
                    <a:pt x="6050" y="3884"/>
                  </a:lnTo>
                  <a:lnTo>
                    <a:pt x="7530" y="2434"/>
                  </a:lnTo>
                  <a:close/>
                  <a:moveTo>
                    <a:pt x="6648" y="5679"/>
                  </a:moveTo>
                  <a:lnTo>
                    <a:pt x="7247" y="6246"/>
                  </a:lnTo>
                  <a:lnTo>
                    <a:pt x="5482" y="8042"/>
                  </a:lnTo>
                  <a:lnTo>
                    <a:pt x="4884" y="7444"/>
                  </a:lnTo>
                  <a:lnTo>
                    <a:pt x="6648" y="5679"/>
                  </a:lnTo>
                  <a:close/>
                  <a:moveTo>
                    <a:pt x="11642" y="5561"/>
                  </a:moveTo>
                  <a:cubicBezTo>
                    <a:pt x="11752" y="5561"/>
                    <a:pt x="11862" y="5601"/>
                    <a:pt x="11941" y="5679"/>
                  </a:cubicBezTo>
                  <a:cubicBezTo>
                    <a:pt x="12098" y="5837"/>
                    <a:pt x="12098" y="6089"/>
                    <a:pt x="11941" y="6246"/>
                  </a:cubicBezTo>
                  <a:lnTo>
                    <a:pt x="9893" y="8294"/>
                  </a:lnTo>
                  <a:cubicBezTo>
                    <a:pt x="9814" y="8373"/>
                    <a:pt x="9704" y="8412"/>
                    <a:pt x="9594" y="8412"/>
                  </a:cubicBezTo>
                  <a:cubicBezTo>
                    <a:pt x="9484" y="8412"/>
                    <a:pt x="9373" y="8373"/>
                    <a:pt x="9295" y="8294"/>
                  </a:cubicBezTo>
                  <a:cubicBezTo>
                    <a:pt x="9137" y="8137"/>
                    <a:pt x="9137" y="7885"/>
                    <a:pt x="9295" y="7727"/>
                  </a:cubicBezTo>
                  <a:lnTo>
                    <a:pt x="11342" y="5679"/>
                  </a:lnTo>
                  <a:cubicBezTo>
                    <a:pt x="11421" y="5601"/>
                    <a:pt x="11531" y="5561"/>
                    <a:pt x="11642" y="5561"/>
                  </a:cubicBezTo>
                  <a:close/>
                  <a:moveTo>
                    <a:pt x="4065" y="7664"/>
                  </a:moveTo>
                  <a:lnTo>
                    <a:pt x="5230" y="8861"/>
                  </a:lnTo>
                  <a:lnTo>
                    <a:pt x="2426" y="11665"/>
                  </a:lnTo>
                  <a:cubicBezTo>
                    <a:pt x="2269" y="11823"/>
                    <a:pt x="2064" y="11902"/>
                    <a:pt x="1855" y="11902"/>
                  </a:cubicBezTo>
                  <a:cubicBezTo>
                    <a:pt x="1647" y="11902"/>
                    <a:pt x="1434" y="11823"/>
                    <a:pt x="1261" y="11665"/>
                  </a:cubicBezTo>
                  <a:cubicBezTo>
                    <a:pt x="914" y="11350"/>
                    <a:pt x="914" y="10783"/>
                    <a:pt x="1261" y="10468"/>
                  </a:cubicBezTo>
                  <a:lnTo>
                    <a:pt x="4065" y="7664"/>
                  </a:lnTo>
                  <a:close/>
                  <a:moveTo>
                    <a:pt x="6971" y="1"/>
                  </a:moveTo>
                  <a:cubicBezTo>
                    <a:pt x="6648" y="1"/>
                    <a:pt x="6317" y="119"/>
                    <a:pt x="6050" y="355"/>
                  </a:cubicBezTo>
                  <a:lnTo>
                    <a:pt x="4002" y="2403"/>
                  </a:lnTo>
                  <a:cubicBezTo>
                    <a:pt x="3529" y="2875"/>
                    <a:pt x="3529" y="3663"/>
                    <a:pt x="4002" y="4167"/>
                  </a:cubicBezTo>
                  <a:cubicBezTo>
                    <a:pt x="4258" y="4424"/>
                    <a:pt x="4564" y="4544"/>
                    <a:pt x="4874" y="4544"/>
                  </a:cubicBezTo>
                  <a:cubicBezTo>
                    <a:pt x="5058" y="4544"/>
                    <a:pt x="5243" y="4501"/>
                    <a:pt x="5419" y="4419"/>
                  </a:cubicBezTo>
                  <a:lnTo>
                    <a:pt x="6081" y="5018"/>
                  </a:lnTo>
                  <a:lnTo>
                    <a:pt x="4285" y="6814"/>
                  </a:lnTo>
                  <a:cubicBezTo>
                    <a:pt x="4206" y="6735"/>
                    <a:pt x="4096" y="6695"/>
                    <a:pt x="3990" y="6695"/>
                  </a:cubicBezTo>
                  <a:cubicBezTo>
                    <a:pt x="3884" y="6695"/>
                    <a:pt x="3781" y="6735"/>
                    <a:pt x="3718" y="6814"/>
                  </a:cubicBezTo>
                  <a:lnTo>
                    <a:pt x="631" y="9869"/>
                  </a:lnTo>
                  <a:cubicBezTo>
                    <a:pt x="1" y="10500"/>
                    <a:pt x="1" y="11571"/>
                    <a:pt x="631" y="12201"/>
                  </a:cubicBezTo>
                  <a:cubicBezTo>
                    <a:pt x="965" y="12536"/>
                    <a:pt x="1405" y="12701"/>
                    <a:pt x="1840" y="12701"/>
                  </a:cubicBezTo>
                  <a:cubicBezTo>
                    <a:pt x="2264" y="12701"/>
                    <a:pt x="2682" y="12544"/>
                    <a:pt x="2994" y="12232"/>
                  </a:cubicBezTo>
                  <a:lnTo>
                    <a:pt x="6050" y="9176"/>
                  </a:lnTo>
                  <a:cubicBezTo>
                    <a:pt x="6207" y="9019"/>
                    <a:pt x="6207" y="8735"/>
                    <a:pt x="6050" y="8578"/>
                  </a:cubicBezTo>
                  <a:lnTo>
                    <a:pt x="7845" y="6814"/>
                  </a:lnTo>
                  <a:lnTo>
                    <a:pt x="8475" y="7444"/>
                  </a:lnTo>
                  <a:cubicBezTo>
                    <a:pt x="8255" y="7853"/>
                    <a:pt x="8318" y="8452"/>
                    <a:pt x="8696" y="8861"/>
                  </a:cubicBezTo>
                  <a:cubicBezTo>
                    <a:pt x="8932" y="9098"/>
                    <a:pt x="9247" y="9216"/>
                    <a:pt x="9566" y="9216"/>
                  </a:cubicBezTo>
                  <a:cubicBezTo>
                    <a:pt x="9885" y="9216"/>
                    <a:pt x="10208" y="9098"/>
                    <a:pt x="10460" y="8861"/>
                  </a:cubicBezTo>
                  <a:lnTo>
                    <a:pt x="12508" y="6814"/>
                  </a:lnTo>
                  <a:cubicBezTo>
                    <a:pt x="12981" y="6341"/>
                    <a:pt x="12981" y="5553"/>
                    <a:pt x="12508" y="5018"/>
                  </a:cubicBezTo>
                  <a:cubicBezTo>
                    <a:pt x="12274" y="4784"/>
                    <a:pt x="11979" y="4670"/>
                    <a:pt x="11669" y="4670"/>
                  </a:cubicBezTo>
                  <a:cubicBezTo>
                    <a:pt x="11479" y="4670"/>
                    <a:pt x="11282" y="4713"/>
                    <a:pt x="11090" y="4797"/>
                  </a:cubicBezTo>
                  <a:lnTo>
                    <a:pt x="8066" y="1773"/>
                  </a:lnTo>
                  <a:cubicBezTo>
                    <a:pt x="8255" y="1332"/>
                    <a:pt x="8223" y="733"/>
                    <a:pt x="7845" y="355"/>
                  </a:cubicBezTo>
                  <a:cubicBezTo>
                    <a:pt x="7609" y="119"/>
                    <a:pt x="7294" y="1"/>
                    <a:pt x="69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4" name="Google Shape;9684;p77"/>
            <p:cNvSpPr/>
            <p:nvPr/>
          </p:nvSpPr>
          <p:spPr>
            <a:xfrm>
              <a:off x="-63532650" y="2901200"/>
              <a:ext cx="185900" cy="63025"/>
            </a:xfrm>
            <a:custGeom>
              <a:avLst/>
              <a:gdLst/>
              <a:ahLst/>
              <a:cxnLst/>
              <a:rect l="l" t="t" r="r" b="b"/>
              <a:pathLst>
                <a:path w="7436" h="2521" extrusionOk="0">
                  <a:moveTo>
                    <a:pt x="5356" y="851"/>
                  </a:moveTo>
                  <a:cubicBezTo>
                    <a:pt x="5577" y="851"/>
                    <a:pt x="5734" y="1040"/>
                    <a:pt x="5734" y="1261"/>
                  </a:cubicBezTo>
                  <a:lnTo>
                    <a:pt x="5734" y="1702"/>
                  </a:lnTo>
                  <a:lnTo>
                    <a:pt x="1607" y="1702"/>
                  </a:lnTo>
                  <a:lnTo>
                    <a:pt x="1607" y="1261"/>
                  </a:lnTo>
                  <a:cubicBezTo>
                    <a:pt x="1607" y="1040"/>
                    <a:pt x="1796" y="851"/>
                    <a:pt x="2048" y="851"/>
                  </a:cubicBezTo>
                  <a:close/>
                  <a:moveTo>
                    <a:pt x="2048" y="1"/>
                  </a:moveTo>
                  <a:cubicBezTo>
                    <a:pt x="1355" y="1"/>
                    <a:pt x="788" y="568"/>
                    <a:pt x="788" y="1261"/>
                  </a:cubicBezTo>
                  <a:lnTo>
                    <a:pt x="788" y="1702"/>
                  </a:lnTo>
                  <a:lnTo>
                    <a:pt x="378" y="1702"/>
                  </a:lnTo>
                  <a:cubicBezTo>
                    <a:pt x="158" y="1702"/>
                    <a:pt x="0" y="1891"/>
                    <a:pt x="0" y="2111"/>
                  </a:cubicBezTo>
                  <a:cubicBezTo>
                    <a:pt x="0" y="2332"/>
                    <a:pt x="189" y="2521"/>
                    <a:pt x="378" y="2521"/>
                  </a:cubicBezTo>
                  <a:lnTo>
                    <a:pt x="6995" y="2521"/>
                  </a:lnTo>
                  <a:cubicBezTo>
                    <a:pt x="7247" y="2521"/>
                    <a:pt x="7436" y="2332"/>
                    <a:pt x="7436" y="2111"/>
                  </a:cubicBezTo>
                  <a:cubicBezTo>
                    <a:pt x="7404" y="1891"/>
                    <a:pt x="7184" y="1702"/>
                    <a:pt x="6963" y="1702"/>
                  </a:cubicBezTo>
                  <a:lnTo>
                    <a:pt x="6553" y="1702"/>
                  </a:lnTo>
                  <a:lnTo>
                    <a:pt x="6553" y="1261"/>
                  </a:lnTo>
                  <a:cubicBezTo>
                    <a:pt x="6553" y="599"/>
                    <a:pt x="6018"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5" name="Google Shape;9685;p77"/>
          <p:cNvGrpSpPr/>
          <p:nvPr/>
        </p:nvGrpSpPr>
        <p:grpSpPr>
          <a:xfrm>
            <a:off x="1286361" y="2960218"/>
            <a:ext cx="366269" cy="366732"/>
            <a:chOff x="-61784125" y="1931250"/>
            <a:chExt cx="316650" cy="317050"/>
          </a:xfrm>
        </p:grpSpPr>
        <p:sp>
          <p:nvSpPr>
            <p:cNvPr id="9686" name="Google Shape;9686;p77"/>
            <p:cNvSpPr/>
            <p:nvPr/>
          </p:nvSpPr>
          <p:spPr>
            <a:xfrm>
              <a:off x="-61688025" y="1931250"/>
              <a:ext cx="124450" cy="134300"/>
            </a:xfrm>
            <a:custGeom>
              <a:avLst/>
              <a:gdLst/>
              <a:ahLst/>
              <a:cxnLst/>
              <a:rect l="l" t="t" r="r" b="b"/>
              <a:pathLst>
                <a:path w="4978" h="5372" extrusionOk="0">
                  <a:moveTo>
                    <a:pt x="2497" y="845"/>
                  </a:moveTo>
                  <a:cubicBezTo>
                    <a:pt x="2709" y="845"/>
                    <a:pt x="2922" y="922"/>
                    <a:pt x="3088" y="1087"/>
                  </a:cubicBezTo>
                  <a:cubicBezTo>
                    <a:pt x="3277" y="1276"/>
                    <a:pt x="3340" y="1591"/>
                    <a:pt x="3277" y="1906"/>
                  </a:cubicBezTo>
                  <a:cubicBezTo>
                    <a:pt x="3182" y="2190"/>
                    <a:pt x="2993" y="2410"/>
                    <a:pt x="2709" y="2442"/>
                  </a:cubicBezTo>
                  <a:cubicBezTo>
                    <a:pt x="2625" y="2467"/>
                    <a:pt x="2545" y="2479"/>
                    <a:pt x="2469" y="2479"/>
                  </a:cubicBezTo>
                  <a:cubicBezTo>
                    <a:pt x="2259" y="2479"/>
                    <a:pt x="2075" y="2391"/>
                    <a:pt x="1890" y="2253"/>
                  </a:cubicBezTo>
                  <a:cubicBezTo>
                    <a:pt x="1701" y="2032"/>
                    <a:pt x="1607" y="1717"/>
                    <a:pt x="1701" y="1434"/>
                  </a:cubicBezTo>
                  <a:cubicBezTo>
                    <a:pt x="1800" y="1059"/>
                    <a:pt x="2145" y="845"/>
                    <a:pt x="2497" y="845"/>
                  </a:cubicBezTo>
                  <a:close/>
                  <a:moveTo>
                    <a:pt x="2520" y="3324"/>
                  </a:moveTo>
                  <a:cubicBezTo>
                    <a:pt x="3277" y="3324"/>
                    <a:pt x="3907" y="3828"/>
                    <a:pt x="4096" y="4553"/>
                  </a:cubicBezTo>
                  <a:lnTo>
                    <a:pt x="914" y="4553"/>
                  </a:lnTo>
                  <a:cubicBezTo>
                    <a:pt x="1103" y="3828"/>
                    <a:pt x="1733" y="3324"/>
                    <a:pt x="2520" y="3324"/>
                  </a:cubicBezTo>
                  <a:close/>
                  <a:moveTo>
                    <a:pt x="2510" y="1"/>
                  </a:moveTo>
                  <a:cubicBezTo>
                    <a:pt x="1805" y="1"/>
                    <a:pt x="1113" y="455"/>
                    <a:pt x="914" y="1213"/>
                  </a:cubicBezTo>
                  <a:cubicBezTo>
                    <a:pt x="756" y="1780"/>
                    <a:pt x="914" y="2347"/>
                    <a:pt x="1292" y="2789"/>
                  </a:cubicBezTo>
                  <a:cubicBezTo>
                    <a:pt x="567" y="3198"/>
                    <a:pt x="0" y="3986"/>
                    <a:pt x="0" y="4931"/>
                  </a:cubicBezTo>
                  <a:cubicBezTo>
                    <a:pt x="0" y="5183"/>
                    <a:pt x="189" y="5372"/>
                    <a:pt x="441" y="5372"/>
                  </a:cubicBezTo>
                  <a:lnTo>
                    <a:pt x="4568" y="5372"/>
                  </a:lnTo>
                  <a:cubicBezTo>
                    <a:pt x="4820" y="5372"/>
                    <a:pt x="4978" y="5183"/>
                    <a:pt x="4978" y="4931"/>
                  </a:cubicBezTo>
                  <a:cubicBezTo>
                    <a:pt x="4978" y="3986"/>
                    <a:pt x="4442" y="3198"/>
                    <a:pt x="3718" y="2789"/>
                  </a:cubicBezTo>
                  <a:cubicBezTo>
                    <a:pt x="3907" y="2568"/>
                    <a:pt x="4033" y="2347"/>
                    <a:pt x="4096" y="2064"/>
                  </a:cubicBezTo>
                  <a:cubicBezTo>
                    <a:pt x="4253" y="1528"/>
                    <a:pt x="4096" y="930"/>
                    <a:pt x="3655" y="489"/>
                  </a:cubicBezTo>
                  <a:cubicBezTo>
                    <a:pt x="3331" y="153"/>
                    <a:pt x="2918" y="1"/>
                    <a:pt x="25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77"/>
            <p:cNvSpPr/>
            <p:nvPr/>
          </p:nvSpPr>
          <p:spPr>
            <a:xfrm>
              <a:off x="-61784125" y="2113325"/>
              <a:ext cx="124450" cy="134975"/>
            </a:xfrm>
            <a:custGeom>
              <a:avLst/>
              <a:gdLst/>
              <a:ahLst/>
              <a:cxnLst/>
              <a:rect l="l" t="t" r="r" b="b"/>
              <a:pathLst>
                <a:path w="4978" h="5399"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7" y="2491"/>
                  </a:cubicBezTo>
                  <a:cubicBezTo>
                    <a:pt x="2261" y="2491"/>
                    <a:pt x="2058" y="2415"/>
                    <a:pt x="1891" y="2248"/>
                  </a:cubicBezTo>
                  <a:cubicBezTo>
                    <a:pt x="1670" y="2059"/>
                    <a:pt x="1607" y="1743"/>
                    <a:pt x="1670" y="1428"/>
                  </a:cubicBezTo>
                  <a:cubicBezTo>
                    <a:pt x="1770" y="1068"/>
                    <a:pt x="2124" y="848"/>
                    <a:pt x="2482" y="848"/>
                  </a:cubicBezTo>
                  <a:close/>
                  <a:moveTo>
                    <a:pt x="2458" y="3319"/>
                  </a:moveTo>
                  <a:cubicBezTo>
                    <a:pt x="3245" y="3319"/>
                    <a:pt x="3907" y="3854"/>
                    <a:pt x="4096" y="4547"/>
                  </a:cubicBezTo>
                  <a:lnTo>
                    <a:pt x="883" y="4547"/>
                  </a:lnTo>
                  <a:cubicBezTo>
                    <a:pt x="1040" y="3886"/>
                    <a:pt x="1733" y="3319"/>
                    <a:pt x="2458" y="3319"/>
                  </a:cubicBezTo>
                  <a:close/>
                  <a:moveTo>
                    <a:pt x="2509" y="1"/>
                  </a:moveTo>
                  <a:cubicBezTo>
                    <a:pt x="1812" y="1"/>
                    <a:pt x="1143" y="437"/>
                    <a:pt x="946" y="1208"/>
                  </a:cubicBezTo>
                  <a:cubicBezTo>
                    <a:pt x="788" y="1806"/>
                    <a:pt x="946" y="2342"/>
                    <a:pt x="1324" y="2783"/>
                  </a:cubicBezTo>
                  <a:cubicBezTo>
                    <a:pt x="568" y="3224"/>
                    <a:pt x="32" y="4012"/>
                    <a:pt x="32" y="4957"/>
                  </a:cubicBezTo>
                  <a:cubicBezTo>
                    <a:pt x="0" y="5209"/>
                    <a:pt x="189" y="5398"/>
                    <a:pt x="410" y="5398"/>
                  </a:cubicBezTo>
                  <a:lnTo>
                    <a:pt x="4569" y="5398"/>
                  </a:lnTo>
                  <a:cubicBezTo>
                    <a:pt x="4789" y="5398"/>
                    <a:pt x="4978" y="5209"/>
                    <a:pt x="4978" y="4988"/>
                  </a:cubicBezTo>
                  <a:cubicBezTo>
                    <a:pt x="4978" y="4043"/>
                    <a:pt x="4474" y="3256"/>
                    <a:pt x="3718" y="2815"/>
                  </a:cubicBezTo>
                  <a:cubicBezTo>
                    <a:pt x="3939" y="2626"/>
                    <a:pt x="4033" y="2374"/>
                    <a:pt x="4128" y="2090"/>
                  </a:cubicBezTo>
                  <a:cubicBezTo>
                    <a:pt x="4285" y="1523"/>
                    <a:pt x="4128" y="924"/>
                    <a:pt x="3687" y="483"/>
                  </a:cubicBezTo>
                  <a:cubicBezTo>
                    <a:pt x="3346" y="155"/>
                    <a:pt x="2923" y="1"/>
                    <a:pt x="25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77"/>
            <p:cNvSpPr/>
            <p:nvPr/>
          </p:nvSpPr>
          <p:spPr>
            <a:xfrm>
              <a:off x="-61591150" y="2113325"/>
              <a:ext cx="123675" cy="134175"/>
            </a:xfrm>
            <a:custGeom>
              <a:avLst/>
              <a:gdLst/>
              <a:ahLst/>
              <a:cxnLst/>
              <a:rect l="l" t="t" r="r" b="b"/>
              <a:pathLst>
                <a:path w="4947" h="5367"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6" y="2491"/>
                  </a:cubicBezTo>
                  <a:cubicBezTo>
                    <a:pt x="2261" y="2491"/>
                    <a:pt x="2057" y="2415"/>
                    <a:pt x="1890" y="2248"/>
                  </a:cubicBezTo>
                  <a:cubicBezTo>
                    <a:pt x="1670" y="2059"/>
                    <a:pt x="1607" y="1743"/>
                    <a:pt x="1670" y="1428"/>
                  </a:cubicBezTo>
                  <a:cubicBezTo>
                    <a:pt x="1770" y="1068"/>
                    <a:pt x="2124" y="848"/>
                    <a:pt x="2482" y="848"/>
                  </a:cubicBezTo>
                  <a:close/>
                  <a:moveTo>
                    <a:pt x="2521" y="3382"/>
                  </a:moveTo>
                  <a:cubicBezTo>
                    <a:pt x="3308" y="3382"/>
                    <a:pt x="3938" y="3886"/>
                    <a:pt x="4127" y="4579"/>
                  </a:cubicBezTo>
                  <a:lnTo>
                    <a:pt x="882" y="4579"/>
                  </a:lnTo>
                  <a:cubicBezTo>
                    <a:pt x="1103" y="3886"/>
                    <a:pt x="1733" y="3382"/>
                    <a:pt x="2521" y="3382"/>
                  </a:cubicBezTo>
                  <a:close/>
                  <a:moveTo>
                    <a:pt x="2467" y="1"/>
                  </a:moveTo>
                  <a:cubicBezTo>
                    <a:pt x="1761" y="1"/>
                    <a:pt x="1080" y="437"/>
                    <a:pt x="882" y="1208"/>
                  </a:cubicBezTo>
                  <a:cubicBezTo>
                    <a:pt x="725" y="1806"/>
                    <a:pt x="882" y="2342"/>
                    <a:pt x="1292" y="2783"/>
                  </a:cubicBezTo>
                  <a:cubicBezTo>
                    <a:pt x="536" y="3224"/>
                    <a:pt x="0" y="4012"/>
                    <a:pt x="0" y="4957"/>
                  </a:cubicBezTo>
                  <a:cubicBezTo>
                    <a:pt x="0" y="5178"/>
                    <a:pt x="189" y="5367"/>
                    <a:pt x="378" y="5367"/>
                  </a:cubicBezTo>
                  <a:lnTo>
                    <a:pt x="4505" y="5367"/>
                  </a:lnTo>
                  <a:cubicBezTo>
                    <a:pt x="4757" y="5367"/>
                    <a:pt x="4946" y="5178"/>
                    <a:pt x="4946" y="4957"/>
                  </a:cubicBezTo>
                  <a:cubicBezTo>
                    <a:pt x="4946" y="4075"/>
                    <a:pt x="4442" y="3256"/>
                    <a:pt x="3686" y="2815"/>
                  </a:cubicBezTo>
                  <a:cubicBezTo>
                    <a:pt x="3875" y="2626"/>
                    <a:pt x="4001" y="2374"/>
                    <a:pt x="4096" y="2090"/>
                  </a:cubicBezTo>
                  <a:cubicBezTo>
                    <a:pt x="4253" y="1523"/>
                    <a:pt x="4096" y="924"/>
                    <a:pt x="3655" y="483"/>
                  </a:cubicBezTo>
                  <a:cubicBezTo>
                    <a:pt x="3314" y="155"/>
                    <a:pt x="2887" y="1"/>
                    <a:pt x="24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77"/>
            <p:cNvSpPr/>
            <p:nvPr/>
          </p:nvSpPr>
          <p:spPr>
            <a:xfrm>
              <a:off x="-61677800" y="2072225"/>
              <a:ext cx="106350" cy="62450"/>
            </a:xfrm>
            <a:custGeom>
              <a:avLst/>
              <a:gdLst/>
              <a:ahLst/>
              <a:cxnLst/>
              <a:rect l="l" t="t" r="r" b="b"/>
              <a:pathLst>
                <a:path w="4254" h="2498" extrusionOk="0">
                  <a:moveTo>
                    <a:pt x="2096" y="1"/>
                  </a:moveTo>
                  <a:cubicBezTo>
                    <a:pt x="1985" y="1"/>
                    <a:pt x="1875" y="48"/>
                    <a:pt x="1796" y="142"/>
                  </a:cubicBezTo>
                  <a:lnTo>
                    <a:pt x="158" y="1781"/>
                  </a:lnTo>
                  <a:cubicBezTo>
                    <a:pt x="1" y="1938"/>
                    <a:pt x="1" y="2222"/>
                    <a:pt x="158" y="2379"/>
                  </a:cubicBezTo>
                  <a:cubicBezTo>
                    <a:pt x="237" y="2458"/>
                    <a:pt x="339" y="2497"/>
                    <a:pt x="442" y="2497"/>
                  </a:cubicBezTo>
                  <a:cubicBezTo>
                    <a:pt x="544" y="2497"/>
                    <a:pt x="646" y="2458"/>
                    <a:pt x="725" y="2379"/>
                  </a:cubicBezTo>
                  <a:lnTo>
                    <a:pt x="2111" y="993"/>
                  </a:lnTo>
                  <a:lnTo>
                    <a:pt x="3498" y="2379"/>
                  </a:lnTo>
                  <a:cubicBezTo>
                    <a:pt x="3576" y="2458"/>
                    <a:pt x="3687" y="2497"/>
                    <a:pt x="3797" y="2497"/>
                  </a:cubicBezTo>
                  <a:cubicBezTo>
                    <a:pt x="3907" y="2497"/>
                    <a:pt x="4017" y="2458"/>
                    <a:pt x="4096" y="2379"/>
                  </a:cubicBezTo>
                  <a:cubicBezTo>
                    <a:pt x="4254" y="2222"/>
                    <a:pt x="4254" y="1938"/>
                    <a:pt x="4096" y="1781"/>
                  </a:cubicBezTo>
                  <a:lnTo>
                    <a:pt x="2395" y="142"/>
                  </a:lnTo>
                  <a:cubicBezTo>
                    <a:pt x="2316" y="48"/>
                    <a:pt x="2206" y="1"/>
                    <a:pt x="2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0" name="Google Shape;9690;p77"/>
          <p:cNvGrpSpPr/>
          <p:nvPr/>
        </p:nvGrpSpPr>
        <p:grpSpPr>
          <a:xfrm>
            <a:off x="1286360" y="3396465"/>
            <a:ext cx="366269" cy="366269"/>
            <a:chOff x="-61783350" y="2297100"/>
            <a:chExt cx="316650" cy="316650"/>
          </a:xfrm>
        </p:grpSpPr>
        <p:sp>
          <p:nvSpPr>
            <p:cNvPr id="9691" name="Google Shape;9691;p77"/>
            <p:cNvSpPr/>
            <p:nvPr/>
          </p:nvSpPr>
          <p:spPr>
            <a:xfrm>
              <a:off x="-61783350" y="2297100"/>
              <a:ext cx="316650" cy="316650"/>
            </a:xfrm>
            <a:custGeom>
              <a:avLst/>
              <a:gdLst/>
              <a:ahLst/>
              <a:cxnLst/>
              <a:rect l="l" t="t" r="r" b="b"/>
              <a:pathLst>
                <a:path w="12666" h="12666" extrusionOk="0">
                  <a:moveTo>
                    <a:pt x="379" y="0"/>
                  </a:moveTo>
                  <a:cubicBezTo>
                    <a:pt x="158" y="0"/>
                    <a:pt x="1" y="189"/>
                    <a:pt x="1" y="441"/>
                  </a:cubicBezTo>
                  <a:lnTo>
                    <a:pt x="1" y="12287"/>
                  </a:lnTo>
                  <a:cubicBezTo>
                    <a:pt x="1" y="12508"/>
                    <a:pt x="190" y="12665"/>
                    <a:pt x="379" y="12665"/>
                  </a:cubicBezTo>
                  <a:lnTo>
                    <a:pt x="12256" y="12665"/>
                  </a:lnTo>
                  <a:cubicBezTo>
                    <a:pt x="12477" y="12665"/>
                    <a:pt x="12666" y="12476"/>
                    <a:pt x="12666" y="12287"/>
                  </a:cubicBezTo>
                  <a:cubicBezTo>
                    <a:pt x="12634" y="12098"/>
                    <a:pt x="12477" y="11878"/>
                    <a:pt x="12256" y="11878"/>
                  </a:cubicBezTo>
                  <a:lnTo>
                    <a:pt x="820" y="11878"/>
                  </a:lnTo>
                  <a:lnTo>
                    <a:pt x="820" y="441"/>
                  </a:lnTo>
                  <a:cubicBezTo>
                    <a:pt x="820" y="189"/>
                    <a:pt x="631"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2" name="Google Shape;9692;p77"/>
            <p:cNvSpPr/>
            <p:nvPr/>
          </p:nvSpPr>
          <p:spPr>
            <a:xfrm>
              <a:off x="-61742375" y="2387675"/>
              <a:ext cx="275675" cy="151250"/>
            </a:xfrm>
            <a:custGeom>
              <a:avLst/>
              <a:gdLst/>
              <a:ahLst/>
              <a:cxnLst/>
              <a:rect l="l" t="t" r="r" b="b"/>
              <a:pathLst>
                <a:path w="11027" h="6050" extrusionOk="0">
                  <a:moveTo>
                    <a:pt x="9767" y="788"/>
                  </a:moveTo>
                  <a:cubicBezTo>
                    <a:pt x="10019" y="788"/>
                    <a:pt x="10208" y="977"/>
                    <a:pt x="10208" y="1229"/>
                  </a:cubicBezTo>
                  <a:cubicBezTo>
                    <a:pt x="10176" y="1450"/>
                    <a:pt x="10019" y="1639"/>
                    <a:pt x="9767" y="1639"/>
                  </a:cubicBezTo>
                  <a:cubicBezTo>
                    <a:pt x="9546" y="1639"/>
                    <a:pt x="9389" y="1450"/>
                    <a:pt x="9389" y="1229"/>
                  </a:cubicBezTo>
                  <a:cubicBezTo>
                    <a:pt x="9389" y="977"/>
                    <a:pt x="9578" y="788"/>
                    <a:pt x="9767" y="788"/>
                  </a:cubicBezTo>
                  <a:close/>
                  <a:moveTo>
                    <a:pt x="4001" y="1607"/>
                  </a:moveTo>
                  <a:cubicBezTo>
                    <a:pt x="4222" y="1607"/>
                    <a:pt x="4379" y="1796"/>
                    <a:pt x="4379" y="2048"/>
                  </a:cubicBezTo>
                  <a:cubicBezTo>
                    <a:pt x="4379" y="2269"/>
                    <a:pt x="4222" y="2489"/>
                    <a:pt x="4001" y="2489"/>
                  </a:cubicBezTo>
                  <a:cubicBezTo>
                    <a:pt x="3749" y="2489"/>
                    <a:pt x="3560" y="2269"/>
                    <a:pt x="3560" y="2048"/>
                  </a:cubicBezTo>
                  <a:cubicBezTo>
                    <a:pt x="3560" y="1796"/>
                    <a:pt x="3749" y="1607"/>
                    <a:pt x="4001" y="1607"/>
                  </a:cubicBezTo>
                  <a:close/>
                  <a:moveTo>
                    <a:pt x="6459" y="4128"/>
                  </a:moveTo>
                  <a:cubicBezTo>
                    <a:pt x="6679" y="4128"/>
                    <a:pt x="6900" y="4317"/>
                    <a:pt x="6900" y="4569"/>
                  </a:cubicBezTo>
                  <a:cubicBezTo>
                    <a:pt x="6868" y="4758"/>
                    <a:pt x="6711" y="4947"/>
                    <a:pt x="6459" y="4947"/>
                  </a:cubicBezTo>
                  <a:cubicBezTo>
                    <a:pt x="6238" y="4947"/>
                    <a:pt x="6081" y="4758"/>
                    <a:pt x="6081" y="4569"/>
                  </a:cubicBezTo>
                  <a:cubicBezTo>
                    <a:pt x="6081" y="4317"/>
                    <a:pt x="6270" y="4128"/>
                    <a:pt x="6459" y="4128"/>
                  </a:cubicBezTo>
                  <a:close/>
                  <a:moveTo>
                    <a:pt x="1229" y="4380"/>
                  </a:moveTo>
                  <a:cubicBezTo>
                    <a:pt x="1481" y="4380"/>
                    <a:pt x="1638" y="4569"/>
                    <a:pt x="1638" y="4789"/>
                  </a:cubicBezTo>
                  <a:cubicBezTo>
                    <a:pt x="1638" y="5041"/>
                    <a:pt x="1481" y="5230"/>
                    <a:pt x="1229" y="5230"/>
                  </a:cubicBezTo>
                  <a:cubicBezTo>
                    <a:pt x="1008" y="5230"/>
                    <a:pt x="788" y="5041"/>
                    <a:pt x="788" y="4789"/>
                  </a:cubicBezTo>
                  <a:cubicBezTo>
                    <a:pt x="788" y="4569"/>
                    <a:pt x="1008" y="4380"/>
                    <a:pt x="1229" y="4380"/>
                  </a:cubicBezTo>
                  <a:close/>
                  <a:moveTo>
                    <a:pt x="9767" y="0"/>
                  </a:moveTo>
                  <a:cubicBezTo>
                    <a:pt x="9105" y="0"/>
                    <a:pt x="8570" y="536"/>
                    <a:pt x="8570" y="1229"/>
                  </a:cubicBezTo>
                  <a:cubicBezTo>
                    <a:pt x="8570" y="1418"/>
                    <a:pt x="8601" y="1576"/>
                    <a:pt x="8664" y="1765"/>
                  </a:cubicBezTo>
                  <a:lnTo>
                    <a:pt x="7026" y="3434"/>
                  </a:lnTo>
                  <a:cubicBezTo>
                    <a:pt x="6868" y="3340"/>
                    <a:pt x="6679" y="3308"/>
                    <a:pt x="6459" y="3308"/>
                  </a:cubicBezTo>
                  <a:cubicBezTo>
                    <a:pt x="6270" y="3308"/>
                    <a:pt x="6112" y="3340"/>
                    <a:pt x="5923" y="3434"/>
                  </a:cubicBezTo>
                  <a:lnTo>
                    <a:pt x="5104" y="2584"/>
                  </a:lnTo>
                  <a:cubicBezTo>
                    <a:pt x="5167" y="2426"/>
                    <a:pt x="5199" y="2237"/>
                    <a:pt x="5199" y="2048"/>
                  </a:cubicBezTo>
                  <a:cubicBezTo>
                    <a:pt x="5199" y="1387"/>
                    <a:pt x="4663" y="788"/>
                    <a:pt x="4001" y="788"/>
                  </a:cubicBezTo>
                  <a:cubicBezTo>
                    <a:pt x="3308" y="788"/>
                    <a:pt x="2773" y="1324"/>
                    <a:pt x="2773" y="2048"/>
                  </a:cubicBezTo>
                  <a:cubicBezTo>
                    <a:pt x="2773" y="2237"/>
                    <a:pt x="2804" y="2395"/>
                    <a:pt x="2899" y="2584"/>
                  </a:cubicBezTo>
                  <a:lnTo>
                    <a:pt x="1796" y="3686"/>
                  </a:lnTo>
                  <a:cubicBezTo>
                    <a:pt x="1638" y="3623"/>
                    <a:pt x="1418" y="3592"/>
                    <a:pt x="1229" y="3592"/>
                  </a:cubicBezTo>
                  <a:cubicBezTo>
                    <a:pt x="567" y="3592"/>
                    <a:pt x="0" y="4128"/>
                    <a:pt x="0" y="4852"/>
                  </a:cubicBezTo>
                  <a:cubicBezTo>
                    <a:pt x="0" y="5514"/>
                    <a:pt x="567" y="6049"/>
                    <a:pt x="1229" y="6049"/>
                  </a:cubicBezTo>
                  <a:cubicBezTo>
                    <a:pt x="1890" y="6049"/>
                    <a:pt x="2458" y="5514"/>
                    <a:pt x="2458" y="4852"/>
                  </a:cubicBezTo>
                  <a:cubicBezTo>
                    <a:pt x="2458" y="4632"/>
                    <a:pt x="2426" y="4474"/>
                    <a:pt x="2332" y="4285"/>
                  </a:cubicBezTo>
                  <a:lnTo>
                    <a:pt x="3434" y="3182"/>
                  </a:lnTo>
                  <a:cubicBezTo>
                    <a:pt x="3592" y="3245"/>
                    <a:pt x="3781" y="3308"/>
                    <a:pt x="4001" y="3308"/>
                  </a:cubicBezTo>
                  <a:cubicBezTo>
                    <a:pt x="4190" y="3308"/>
                    <a:pt x="4348" y="3277"/>
                    <a:pt x="4537" y="3182"/>
                  </a:cubicBezTo>
                  <a:lnTo>
                    <a:pt x="5356" y="4001"/>
                  </a:lnTo>
                  <a:cubicBezTo>
                    <a:pt x="5293" y="4159"/>
                    <a:pt x="5262" y="4348"/>
                    <a:pt x="5262" y="4569"/>
                  </a:cubicBezTo>
                  <a:cubicBezTo>
                    <a:pt x="5262" y="5230"/>
                    <a:pt x="5797" y="5766"/>
                    <a:pt x="6459" y="5766"/>
                  </a:cubicBezTo>
                  <a:cubicBezTo>
                    <a:pt x="7152" y="5766"/>
                    <a:pt x="7687" y="5230"/>
                    <a:pt x="7687" y="4569"/>
                  </a:cubicBezTo>
                  <a:cubicBezTo>
                    <a:pt x="7687" y="4348"/>
                    <a:pt x="7656" y="4191"/>
                    <a:pt x="7561" y="4001"/>
                  </a:cubicBezTo>
                  <a:lnTo>
                    <a:pt x="9231" y="2363"/>
                  </a:lnTo>
                  <a:cubicBezTo>
                    <a:pt x="9389" y="2426"/>
                    <a:pt x="9578" y="2489"/>
                    <a:pt x="9767" y="2489"/>
                  </a:cubicBezTo>
                  <a:cubicBezTo>
                    <a:pt x="10460" y="2489"/>
                    <a:pt x="11027" y="1922"/>
                    <a:pt x="11027" y="1229"/>
                  </a:cubicBezTo>
                  <a:cubicBezTo>
                    <a:pt x="10995" y="536"/>
                    <a:pt x="10460" y="0"/>
                    <a:pt x="97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3" name="Google Shape;9693;p77"/>
          <p:cNvGrpSpPr/>
          <p:nvPr/>
        </p:nvGrpSpPr>
        <p:grpSpPr>
          <a:xfrm>
            <a:off x="1286360" y="3837548"/>
            <a:ext cx="366269" cy="369305"/>
            <a:chOff x="-61782550" y="2664925"/>
            <a:chExt cx="316650" cy="319275"/>
          </a:xfrm>
        </p:grpSpPr>
        <p:sp>
          <p:nvSpPr>
            <p:cNvPr id="9694" name="Google Shape;9694;p77"/>
            <p:cNvSpPr/>
            <p:nvPr/>
          </p:nvSpPr>
          <p:spPr>
            <a:xfrm>
              <a:off x="-61782550" y="2664925"/>
              <a:ext cx="316650" cy="319275"/>
            </a:xfrm>
            <a:custGeom>
              <a:avLst/>
              <a:gdLst/>
              <a:ahLst/>
              <a:cxnLst/>
              <a:rect l="l" t="t" r="r" b="b"/>
              <a:pathLst>
                <a:path w="12666" h="12771" extrusionOk="0">
                  <a:moveTo>
                    <a:pt x="10208" y="851"/>
                  </a:moveTo>
                  <a:cubicBezTo>
                    <a:pt x="10366" y="1670"/>
                    <a:pt x="10996" y="2300"/>
                    <a:pt x="11815" y="2457"/>
                  </a:cubicBezTo>
                  <a:lnTo>
                    <a:pt x="11815" y="6679"/>
                  </a:lnTo>
                  <a:lnTo>
                    <a:pt x="11783" y="6679"/>
                  </a:lnTo>
                  <a:cubicBezTo>
                    <a:pt x="10964" y="6837"/>
                    <a:pt x="10334" y="7467"/>
                    <a:pt x="10177" y="8286"/>
                  </a:cubicBezTo>
                  <a:lnTo>
                    <a:pt x="9011" y="8286"/>
                  </a:lnTo>
                  <a:cubicBezTo>
                    <a:pt x="9105" y="8002"/>
                    <a:pt x="9168" y="7719"/>
                    <a:pt x="9168" y="7467"/>
                  </a:cubicBezTo>
                  <a:cubicBezTo>
                    <a:pt x="9168" y="6081"/>
                    <a:pt x="8066" y="4978"/>
                    <a:pt x="6711" y="4978"/>
                  </a:cubicBezTo>
                  <a:cubicBezTo>
                    <a:pt x="5325" y="4978"/>
                    <a:pt x="4222" y="6081"/>
                    <a:pt x="4222" y="7467"/>
                  </a:cubicBezTo>
                  <a:cubicBezTo>
                    <a:pt x="4222" y="7719"/>
                    <a:pt x="4254" y="8002"/>
                    <a:pt x="4380" y="8286"/>
                  </a:cubicBezTo>
                  <a:lnTo>
                    <a:pt x="2395" y="8286"/>
                  </a:lnTo>
                  <a:cubicBezTo>
                    <a:pt x="2237" y="7467"/>
                    <a:pt x="1607" y="6837"/>
                    <a:pt x="788" y="6679"/>
                  </a:cubicBezTo>
                  <a:lnTo>
                    <a:pt x="788" y="2457"/>
                  </a:lnTo>
                  <a:cubicBezTo>
                    <a:pt x="1607" y="2300"/>
                    <a:pt x="2237" y="1670"/>
                    <a:pt x="2395" y="851"/>
                  </a:cubicBezTo>
                  <a:close/>
                  <a:moveTo>
                    <a:pt x="6711" y="5797"/>
                  </a:moveTo>
                  <a:cubicBezTo>
                    <a:pt x="7593" y="5797"/>
                    <a:pt x="8349" y="6553"/>
                    <a:pt x="8349" y="7467"/>
                  </a:cubicBezTo>
                  <a:cubicBezTo>
                    <a:pt x="8349" y="8349"/>
                    <a:pt x="7593" y="9105"/>
                    <a:pt x="6711" y="9105"/>
                  </a:cubicBezTo>
                  <a:cubicBezTo>
                    <a:pt x="5797" y="9105"/>
                    <a:pt x="5041" y="8349"/>
                    <a:pt x="5041" y="7467"/>
                  </a:cubicBezTo>
                  <a:cubicBezTo>
                    <a:pt x="5041" y="6553"/>
                    <a:pt x="5797" y="5797"/>
                    <a:pt x="6711" y="5797"/>
                  </a:cubicBezTo>
                  <a:close/>
                  <a:moveTo>
                    <a:pt x="7530" y="9767"/>
                  </a:moveTo>
                  <a:lnTo>
                    <a:pt x="7530" y="11468"/>
                  </a:lnTo>
                  <a:lnTo>
                    <a:pt x="6932" y="11090"/>
                  </a:lnTo>
                  <a:cubicBezTo>
                    <a:pt x="6853" y="11043"/>
                    <a:pt x="6774" y="11019"/>
                    <a:pt x="6695" y="11019"/>
                  </a:cubicBezTo>
                  <a:cubicBezTo>
                    <a:pt x="6616" y="11019"/>
                    <a:pt x="6538" y="11043"/>
                    <a:pt x="6459" y="11090"/>
                  </a:cubicBezTo>
                  <a:lnTo>
                    <a:pt x="5860" y="11468"/>
                  </a:lnTo>
                  <a:lnTo>
                    <a:pt x="5860" y="9767"/>
                  </a:lnTo>
                  <a:cubicBezTo>
                    <a:pt x="6144" y="9861"/>
                    <a:pt x="6427" y="9924"/>
                    <a:pt x="6711" y="9924"/>
                  </a:cubicBezTo>
                  <a:cubicBezTo>
                    <a:pt x="6995" y="9924"/>
                    <a:pt x="7247" y="9893"/>
                    <a:pt x="7530" y="9767"/>
                  </a:cubicBezTo>
                  <a:close/>
                  <a:moveTo>
                    <a:pt x="2048" y="0"/>
                  </a:moveTo>
                  <a:cubicBezTo>
                    <a:pt x="1828" y="0"/>
                    <a:pt x="1670" y="221"/>
                    <a:pt x="1670" y="441"/>
                  </a:cubicBezTo>
                  <a:cubicBezTo>
                    <a:pt x="1670" y="1103"/>
                    <a:pt x="1103" y="1670"/>
                    <a:pt x="410" y="1670"/>
                  </a:cubicBezTo>
                  <a:cubicBezTo>
                    <a:pt x="158" y="1670"/>
                    <a:pt x="0" y="1859"/>
                    <a:pt x="0" y="2111"/>
                  </a:cubicBezTo>
                  <a:lnTo>
                    <a:pt x="0" y="7057"/>
                  </a:lnTo>
                  <a:cubicBezTo>
                    <a:pt x="0" y="7278"/>
                    <a:pt x="189" y="7498"/>
                    <a:pt x="410" y="7498"/>
                  </a:cubicBezTo>
                  <a:cubicBezTo>
                    <a:pt x="1072" y="7498"/>
                    <a:pt x="1670" y="8034"/>
                    <a:pt x="1670" y="8758"/>
                  </a:cubicBezTo>
                  <a:cubicBezTo>
                    <a:pt x="1670" y="8979"/>
                    <a:pt x="1859" y="9136"/>
                    <a:pt x="2048" y="9136"/>
                  </a:cubicBezTo>
                  <a:lnTo>
                    <a:pt x="4884" y="9136"/>
                  </a:lnTo>
                  <a:lnTo>
                    <a:pt x="5073" y="9326"/>
                  </a:lnTo>
                  <a:lnTo>
                    <a:pt x="5073" y="12318"/>
                  </a:lnTo>
                  <a:cubicBezTo>
                    <a:pt x="5073" y="12562"/>
                    <a:pt x="5298" y="12749"/>
                    <a:pt x="5517" y="12749"/>
                  </a:cubicBezTo>
                  <a:cubicBezTo>
                    <a:pt x="5581" y="12749"/>
                    <a:pt x="5645" y="12732"/>
                    <a:pt x="5703" y="12697"/>
                  </a:cubicBezTo>
                  <a:lnTo>
                    <a:pt x="6743" y="12003"/>
                  </a:lnTo>
                  <a:lnTo>
                    <a:pt x="7782" y="12697"/>
                  </a:lnTo>
                  <a:cubicBezTo>
                    <a:pt x="7850" y="12747"/>
                    <a:pt x="7926" y="12771"/>
                    <a:pt x="8002" y="12771"/>
                  </a:cubicBezTo>
                  <a:cubicBezTo>
                    <a:pt x="8210" y="12771"/>
                    <a:pt x="8412" y="12595"/>
                    <a:pt x="8412" y="12318"/>
                  </a:cubicBezTo>
                  <a:lnTo>
                    <a:pt x="8412" y="9262"/>
                  </a:lnTo>
                  <a:lnTo>
                    <a:pt x="8601" y="9073"/>
                  </a:lnTo>
                  <a:lnTo>
                    <a:pt x="10618" y="9073"/>
                  </a:lnTo>
                  <a:cubicBezTo>
                    <a:pt x="10838" y="9073"/>
                    <a:pt x="10996" y="8884"/>
                    <a:pt x="10996" y="8664"/>
                  </a:cubicBezTo>
                  <a:cubicBezTo>
                    <a:pt x="10996" y="8002"/>
                    <a:pt x="11563" y="7404"/>
                    <a:pt x="12224" y="7404"/>
                  </a:cubicBezTo>
                  <a:cubicBezTo>
                    <a:pt x="12445" y="7404"/>
                    <a:pt x="12665" y="7215"/>
                    <a:pt x="12665" y="6994"/>
                  </a:cubicBezTo>
                  <a:lnTo>
                    <a:pt x="12665" y="2016"/>
                  </a:lnTo>
                  <a:cubicBezTo>
                    <a:pt x="12602" y="1827"/>
                    <a:pt x="12445" y="1670"/>
                    <a:pt x="12224" y="1670"/>
                  </a:cubicBezTo>
                  <a:cubicBezTo>
                    <a:pt x="11531" y="1670"/>
                    <a:pt x="10996" y="1103"/>
                    <a:pt x="10996" y="441"/>
                  </a:cubicBezTo>
                  <a:cubicBezTo>
                    <a:pt x="10996" y="221"/>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77"/>
            <p:cNvSpPr/>
            <p:nvPr/>
          </p:nvSpPr>
          <p:spPr>
            <a:xfrm>
              <a:off x="-61701425" y="2705875"/>
              <a:ext cx="151250" cy="21275"/>
            </a:xfrm>
            <a:custGeom>
              <a:avLst/>
              <a:gdLst/>
              <a:ahLst/>
              <a:cxnLst/>
              <a:rect l="l" t="t" r="r" b="b"/>
              <a:pathLst>
                <a:path w="6050" h="851" extrusionOk="0">
                  <a:moveTo>
                    <a:pt x="410" y="0"/>
                  </a:moveTo>
                  <a:cubicBezTo>
                    <a:pt x="189" y="0"/>
                    <a:pt x="0" y="189"/>
                    <a:pt x="0" y="410"/>
                  </a:cubicBezTo>
                  <a:cubicBezTo>
                    <a:pt x="0" y="662"/>
                    <a:pt x="189" y="851"/>
                    <a:pt x="410" y="851"/>
                  </a:cubicBezTo>
                  <a:lnTo>
                    <a:pt x="5671" y="851"/>
                  </a:lnTo>
                  <a:cubicBezTo>
                    <a:pt x="5892" y="851"/>
                    <a:pt x="6049" y="662"/>
                    <a:pt x="6049" y="410"/>
                  </a:cubicBezTo>
                  <a:cubicBezTo>
                    <a:pt x="6049" y="189"/>
                    <a:pt x="5860" y="0"/>
                    <a:pt x="5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77"/>
            <p:cNvSpPr/>
            <p:nvPr/>
          </p:nvSpPr>
          <p:spPr>
            <a:xfrm>
              <a:off x="-61742375" y="2747625"/>
              <a:ext cx="233925" cy="22075"/>
            </a:xfrm>
            <a:custGeom>
              <a:avLst/>
              <a:gdLst/>
              <a:ahLst/>
              <a:cxnLst/>
              <a:rect l="l" t="t" r="r" b="b"/>
              <a:pathLst>
                <a:path w="9357" h="883" extrusionOk="0">
                  <a:moveTo>
                    <a:pt x="410" y="0"/>
                  </a:moveTo>
                  <a:cubicBezTo>
                    <a:pt x="158" y="0"/>
                    <a:pt x="0" y="221"/>
                    <a:pt x="0" y="441"/>
                  </a:cubicBezTo>
                  <a:cubicBezTo>
                    <a:pt x="0" y="693"/>
                    <a:pt x="221" y="882"/>
                    <a:pt x="410" y="882"/>
                  </a:cubicBezTo>
                  <a:lnTo>
                    <a:pt x="8948" y="882"/>
                  </a:lnTo>
                  <a:cubicBezTo>
                    <a:pt x="9200" y="882"/>
                    <a:pt x="9357" y="693"/>
                    <a:pt x="9357" y="441"/>
                  </a:cubicBezTo>
                  <a:cubicBezTo>
                    <a:pt x="9357" y="221"/>
                    <a:pt x="9137" y="0"/>
                    <a:pt x="89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7" name="Google Shape;9697;p77"/>
          <p:cNvGrpSpPr/>
          <p:nvPr/>
        </p:nvGrpSpPr>
        <p:grpSpPr>
          <a:xfrm>
            <a:off x="3508137" y="2968936"/>
            <a:ext cx="367165" cy="349294"/>
            <a:chOff x="-59889100" y="1945025"/>
            <a:chExt cx="317425" cy="301975"/>
          </a:xfrm>
        </p:grpSpPr>
        <p:sp>
          <p:nvSpPr>
            <p:cNvPr id="9698" name="Google Shape;9698;p77"/>
            <p:cNvSpPr/>
            <p:nvPr/>
          </p:nvSpPr>
          <p:spPr>
            <a:xfrm>
              <a:off x="-59845000" y="2074200"/>
              <a:ext cx="63025" cy="61450"/>
            </a:xfrm>
            <a:custGeom>
              <a:avLst/>
              <a:gdLst/>
              <a:ahLst/>
              <a:cxnLst/>
              <a:rect l="l" t="t" r="r" b="b"/>
              <a:pathLst>
                <a:path w="2521" h="2458" extrusionOk="0">
                  <a:moveTo>
                    <a:pt x="1702" y="788"/>
                  </a:moveTo>
                  <a:lnTo>
                    <a:pt x="1702" y="1639"/>
                  </a:lnTo>
                  <a:lnTo>
                    <a:pt x="883" y="1639"/>
                  </a:lnTo>
                  <a:lnTo>
                    <a:pt x="883" y="788"/>
                  </a:lnTo>
                  <a:close/>
                  <a:moveTo>
                    <a:pt x="442" y="0"/>
                  </a:moveTo>
                  <a:cubicBezTo>
                    <a:pt x="190" y="0"/>
                    <a:pt x="1" y="190"/>
                    <a:pt x="1" y="410"/>
                  </a:cubicBezTo>
                  <a:lnTo>
                    <a:pt x="1" y="2048"/>
                  </a:lnTo>
                  <a:cubicBezTo>
                    <a:pt x="1" y="2300"/>
                    <a:pt x="190" y="2458"/>
                    <a:pt x="442" y="2458"/>
                  </a:cubicBezTo>
                  <a:lnTo>
                    <a:pt x="2080" y="2458"/>
                  </a:lnTo>
                  <a:cubicBezTo>
                    <a:pt x="2332" y="2458"/>
                    <a:pt x="2521" y="2237"/>
                    <a:pt x="2521" y="2048"/>
                  </a:cubicBezTo>
                  <a:lnTo>
                    <a:pt x="2521" y="410"/>
                  </a:lnTo>
                  <a:cubicBezTo>
                    <a:pt x="2521" y="158"/>
                    <a:pt x="2332"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77"/>
            <p:cNvSpPr/>
            <p:nvPr/>
          </p:nvSpPr>
          <p:spPr>
            <a:xfrm>
              <a:off x="-59761500" y="1990700"/>
              <a:ext cx="61450" cy="144950"/>
            </a:xfrm>
            <a:custGeom>
              <a:avLst/>
              <a:gdLst/>
              <a:ahLst/>
              <a:cxnLst/>
              <a:rect l="l" t="t" r="r" b="b"/>
              <a:pathLst>
                <a:path w="2458" h="5798" extrusionOk="0">
                  <a:moveTo>
                    <a:pt x="1670" y="820"/>
                  </a:moveTo>
                  <a:lnTo>
                    <a:pt x="1670" y="4979"/>
                  </a:lnTo>
                  <a:lnTo>
                    <a:pt x="851" y="4979"/>
                  </a:lnTo>
                  <a:lnTo>
                    <a:pt x="851" y="820"/>
                  </a:lnTo>
                  <a:close/>
                  <a:moveTo>
                    <a:pt x="410" y="1"/>
                  </a:moveTo>
                  <a:cubicBezTo>
                    <a:pt x="158" y="1"/>
                    <a:pt x="0" y="190"/>
                    <a:pt x="0" y="411"/>
                  </a:cubicBezTo>
                  <a:lnTo>
                    <a:pt x="0" y="5357"/>
                  </a:lnTo>
                  <a:cubicBezTo>
                    <a:pt x="0" y="5577"/>
                    <a:pt x="158" y="5798"/>
                    <a:pt x="410" y="5798"/>
                  </a:cubicBezTo>
                  <a:lnTo>
                    <a:pt x="2048" y="5798"/>
                  </a:lnTo>
                  <a:cubicBezTo>
                    <a:pt x="2300" y="5798"/>
                    <a:pt x="2458" y="5577"/>
                    <a:pt x="2458" y="5388"/>
                  </a:cubicBezTo>
                  <a:lnTo>
                    <a:pt x="2458" y="411"/>
                  </a:lnTo>
                  <a:cubicBezTo>
                    <a:pt x="2458" y="158"/>
                    <a:pt x="2269"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0" name="Google Shape;9700;p77"/>
            <p:cNvSpPr/>
            <p:nvPr/>
          </p:nvSpPr>
          <p:spPr>
            <a:xfrm>
              <a:off x="-59678800" y="2053725"/>
              <a:ext cx="61450" cy="81925"/>
            </a:xfrm>
            <a:custGeom>
              <a:avLst/>
              <a:gdLst/>
              <a:ahLst/>
              <a:cxnLst/>
              <a:rect l="l" t="t" r="r" b="b"/>
              <a:pathLst>
                <a:path w="2458" h="3277" extrusionOk="0">
                  <a:moveTo>
                    <a:pt x="1670" y="788"/>
                  </a:moveTo>
                  <a:lnTo>
                    <a:pt x="1670" y="2458"/>
                  </a:lnTo>
                  <a:lnTo>
                    <a:pt x="851" y="2458"/>
                  </a:lnTo>
                  <a:lnTo>
                    <a:pt x="851" y="788"/>
                  </a:lnTo>
                  <a:close/>
                  <a:moveTo>
                    <a:pt x="410" y="0"/>
                  </a:moveTo>
                  <a:cubicBezTo>
                    <a:pt x="158" y="0"/>
                    <a:pt x="0" y="189"/>
                    <a:pt x="0" y="410"/>
                  </a:cubicBezTo>
                  <a:lnTo>
                    <a:pt x="0" y="2867"/>
                  </a:lnTo>
                  <a:cubicBezTo>
                    <a:pt x="0" y="3056"/>
                    <a:pt x="158" y="3277"/>
                    <a:pt x="410" y="3277"/>
                  </a:cubicBezTo>
                  <a:lnTo>
                    <a:pt x="2048" y="3277"/>
                  </a:lnTo>
                  <a:cubicBezTo>
                    <a:pt x="2300" y="3277"/>
                    <a:pt x="2458" y="3056"/>
                    <a:pt x="2458" y="2867"/>
                  </a:cubicBezTo>
                  <a:lnTo>
                    <a:pt x="2458" y="410"/>
                  </a:lnTo>
                  <a:cubicBezTo>
                    <a:pt x="2458" y="158"/>
                    <a:pt x="2269" y="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1" name="Google Shape;9701;p77"/>
            <p:cNvSpPr/>
            <p:nvPr/>
          </p:nvSpPr>
          <p:spPr>
            <a:xfrm>
              <a:off x="-59889100" y="1945025"/>
              <a:ext cx="317425" cy="301975"/>
            </a:xfrm>
            <a:custGeom>
              <a:avLst/>
              <a:gdLst/>
              <a:ahLst/>
              <a:cxnLst/>
              <a:rect l="l" t="t" r="r" b="b"/>
              <a:pathLst>
                <a:path w="12697" h="12079" extrusionOk="0">
                  <a:moveTo>
                    <a:pt x="6333" y="851"/>
                  </a:moveTo>
                  <a:cubicBezTo>
                    <a:pt x="9357" y="851"/>
                    <a:pt x="11846" y="2931"/>
                    <a:pt x="11846" y="5546"/>
                  </a:cubicBezTo>
                  <a:cubicBezTo>
                    <a:pt x="11846" y="8129"/>
                    <a:pt x="9357" y="10208"/>
                    <a:pt x="6333" y="10208"/>
                  </a:cubicBezTo>
                  <a:cubicBezTo>
                    <a:pt x="5482" y="10208"/>
                    <a:pt x="4600" y="10019"/>
                    <a:pt x="3812" y="9704"/>
                  </a:cubicBezTo>
                  <a:cubicBezTo>
                    <a:pt x="3757" y="9682"/>
                    <a:pt x="3697" y="9671"/>
                    <a:pt x="3637" y="9671"/>
                  </a:cubicBezTo>
                  <a:cubicBezTo>
                    <a:pt x="3529" y="9671"/>
                    <a:pt x="3421" y="9706"/>
                    <a:pt x="3340" y="9767"/>
                  </a:cubicBezTo>
                  <a:lnTo>
                    <a:pt x="2489" y="10649"/>
                  </a:lnTo>
                  <a:lnTo>
                    <a:pt x="2489" y="9074"/>
                  </a:lnTo>
                  <a:cubicBezTo>
                    <a:pt x="2489" y="8948"/>
                    <a:pt x="2426" y="8822"/>
                    <a:pt x="2363" y="8759"/>
                  </a:cubicBezTo>
                  <a:cubicBezTo>
                    <a:pt x="1387" y="7877"/>
                    <a:pt x="819" y="6743"/>
                    <a:pt x="819" y="5514"/>
                  </a:cubicBezTo>
                  <a:cubicBezTo>
                    <a:pt x="819" y="2962"/>
                    <a:pt x="3308" y="851"/>
                    <a:pt x="6333" y="851"/>
                  </a:cubicBezTo>
                  <a:close/>
                  <a:moveTo>
                    <a:pt x="6333" y="1"/>
                  </a:moveTo>
                  <a:cubicBezTo>
                    <a:pt x="2836" y="1"/>
                    <a:pt x="0" y="2490"/>
                    <a:pt x="0" y="5514"/>
                  </a:cubicBezTo>
                  <a:cubicBezTo>
                    <a:pt x="0" y="6963"/>
                    <a:pt x="599" y="8255"/>
                    <a:pt x="1639" y="9263"/>
                  </a:cubicBezTo>
                  <a:lnTo>
                    <a:pt x="1639" y="11689"/>
                  </a:lnTo>
                  <a:cubicBezTo>
                    <a:pt x="1639" y="11918"/>
                    <a:pt x="1832" y="12079"/>
                    <a:pt x="2045" y="12079"/>
                  </a:cubicBezTo>
                  <a:cubicBezTo>
                    <a:pt x="2153" y="12079"/>
                    <a:pt x="2267" y="12037"/>
                    <a:pt x="2363" y="11941"/>
                  </a:cubicBezTo>
                  <a:lnTo>
                    <a:pt x="3749" y="10555"/>
                  </a:lnTo>
                  <a:cubicBezTo>
                    <a:pt x="4569" y="10901"/>
                    <a:pt x="5419" y="11027"/>
                    <a:pt x="6333" y="11027"/>
                  </a:cubicBezTo>
                  <a:cubicBezTo>
                    <a:pt x="9830" y="11027"/>
                    <a:pt x="12697" y="8570"/>
                    <a:pt x="12697" y="5514"/>
                  </a:cubicBezTo>
                  <a:cubicBezTo>
                    <a:pt x="12697" y="2490"/>
                    <a:pt x="9861"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02" name="Google Shape;9702;p77"/>
          <p:cNvSpPr/>
          <p:nvPr/>
        </p:nvSpPr>
        <p:spPr>
          <a:xfrm>
            <a:off x="3501697" y="3436096"/>
            <a:ext cx="368091" cy="287006"/>
          </a:xfrm>
          <a:custGeom>
            <a:avLst/>
            <a:gdLst/>
            <a:ahLst/>
            <a:cxnLst/>
            <a:rect l="l" t="t" r="r" b="b"/>
            <a:pathLst>
              <a:path w="12729" h="9925" extrusionOk="0">
                <a:moveTo>
                  <a:pt x="925" y="3644"/>
                </a:moveTo>
                <a:cubicBezTo>
                  <a:pt x="944" y="3644"/>
                  <a:pt x="963" y="3648"/>
                  <a:pt x="978" y="3655"/>
                </a:cubicBezTo>
                <a:lnTo>
                  <a:pt x="1608" y="3970"/>
                </a:lnTo>
                <a:lnTo>
                  <a:pt x="1608" y="5923"/>
                </a:lnTo>
                <a:lnTo>
                  <a:pt x="978" y="6239"/>
                </a:lnTo>
                <a:cubicBezTo>
                  <a:pt x="963" y="6253"/>
                  <a:pt x="945" y="6259"/>
                  <a:pt x="926" y="6259"/>
                </a:cubicBezTo>
                <a:cubicBezTo>
                  <a:pt x="863" y="6259"/>
                  <a:pt x="788" y="6192"/>
                  <a:pt x="788" y="6144"/>
                </a:cubicBezTo>
                <a:lnTo>
                  <a:pt x="788" y="3781"/>
                </a:lnTo>
                <a:cubicBezTo>
                  <a:pt x="788" y="3685"/>
                  <a:pt x="862" y="3644"/>
                  <a:pt x="925" y="3644"/>
                </a:cubicBezTo>
                <a:close/>
                <a:moveTo>
                  <a:pt x="10177" y="1796"/>
                </a:moveTo>
                <a:lnTo>
                  <a:pt x="10177" y="8129"/>
                </a:lnTo>
                <a:lnTo>
                  <a:pt x="2458" y="5892"/>
                </a:lnTo>
                <a:lnTo>
                  <a:pt x="2458" y="4033"/>
                </a:lnTo>
                <a:lnTo>
                  <a:pt x="10177" y="1796"/>
                </a:lnTo>
                <a:close/>
                <a:moveTo>
                  <a:pt x="4128" y="7247"/>
                </a:moveTo>
                <a:lnTo>
                  <a:pt x="6963" y="8066"/>
                </a:lnTo>
                <a:cubicBezTo>
                  <a:pt x="6648" y="8507"/>
                  <a:pt x="6176" y="8822"/>
                  <a:pt x="5640" y="8822"/>
                </a:cubicBezTo>
                <a:cubicBezTo>
                  <a:pt x="4758" y="8822"/>
                  <a:pt x="4097" y="8097"/>
                  <a:pt x="4128" y="7247"/>
                </a:cubicBezTo>
                <a:close/>
                <a:moveTo>
                  <a:pt x="11374" y="820"/>
                </a:moveTo>
                <a:cubicBezTo>
                  <a:pt x="11626" y="820"/>
                  <a:pt x="11815" y="1009"/>
                  <a:pt x="11815" y="1261"/>
                </a:cubicBezTo>
                <a:lnTo>
                  <a:pt x="11815" y="8696"/>
                </a:lnTo>
                <a:cubicBezTo>
                  <a:pt x="11815" y="8916"/>
                  <a:pt x="11626" y="9137"/>
                  <a:pt x="11374" y="9137"/>
                </a:cubicBezTo>
                <a:cubicBezTo>
                  <a:pt x="11154" y="9137"/>
                  <a:pt x="10996" y="8916"/>
                  <a:pt x="10996" y="8696"/>
                </a:cubicBezTo>
                <a:lnTo>
                  <a:pt x="10996" y="1261"/>
                </a:lnTo>
                <a:cubicBezTo>
                  <a:pt x="10996" y="1009"/>
                  <a:pt x="11185" y="820"/>
                  <a:pt x="11374" y="820"/>
                </a:cubicBezTo>
                <a:close/>
                <a:moveTo>
                  <a:pt x="11437" y="1"/>
                </a:moveTo>
                <a:cubicBezTo>
                  <a:pt x="10839"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4"/>
                  <a:pt x="983" y="7094"/>
                </a:cubicBezTo>
                <a:cubicBezTo>
                  <a:pt x="1127" y="7094"/>
                  <a:pt x="1275" y="7063"/>
                  <a:pt x="1419" y="6995"/>
                </a:cubicBezTo>
                <a:lnTo>
                  <a:pt x="2143" y="6648"/>
                </a:lnTo>
                <a:lnTo>
                  <a:pt x="3340" y="6995"/>
                </a:lnTo>
                <a:cubicBezTo>
                  <a:pt x="3151" y="8412"/>
                  <a:pt x="4254" y="9641"/>
                  <a:pt x="5672" y="9641"/>
                </a:cubicBezTo>
                <a:cubicBezTo>
                  <a:pt x="6585" y="9641"/>
                  <a:pt x="7405" y="9074"/>
                  <a:pt x="7814" y="8286"/>
                </a:cubicBezTo>
                <a:lnTo>
                  <a:pt x="10271" y="9011"/>
                </a:lnTo>
                <a:cubicBezTo>
                  <a:pt x="10429" y="9515"/>
                  <a:pt x="10902" y="9925"/>
                  <a:pt x="11469" y="9925"/>
                </a:cubicBezTo>
                <a:cubicBezTo>
                  <a:pt x="12130" y="9925"/>
                  <a:pt x="12729" y="9358"/>
                  <a:pt x="12729" y="8664"/>
                </a:cubicBezTo>
                <a:lnTo>
                  <a:pt x="12729" y="1198"/>
                </a:lnTo>
                <a:cubicBezTo>
                  <a:pt x="12634" y="536"/>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03" name="Google Shape;9703;p77"/>
          <p:cNvGrpSpPr/>
          <p:nvPr/>
        </p:nvGrpSpPr>
        <p:grpSpPr>
          <a:xfrm>
            <a:off x="3507226" y="3839471"/>
            <a:ext cx="368987" cy="365459"/>
            <a:chOff x="-59889100" y="2671925"/>
            <a:chExt cx="319000" cy="315950"/>
          </a:xfrm>
        </p:grpSpPr>
        <p:sp>
          <p:nvSpPr>
            <p:cNvPr id="9704" name="Google Shape;9704;p77"/>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77"/>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77"/>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77"/>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77"/>
          <p:cNvGrpSpPr/>
          <p:nvPr/>
        </p:nvGrpSpPr>
        <p:grpSpPr>
          <a:xfrm>
            <a:off x="2620204" y="4281976"/>
            <a:ext cx="367165" cy="366269"/>
            <a:chOff x="-59092025" y="2296300"/>
            <a:chExt cx="317425" cy="316650"/>
          </a:xfrm>
        </p:grpSpPr>
        <p:sp>
          <p:nvSpPr>
            <p:cNvPr id="9709" name="Google Shape;9709;p77"/>
            <p:cNvSpPr/>
            <p:nvPr/>
          </p:nvSpPr>
          <p:spPr>
            <a:xfrm>
              <a:off x="-58994350" y="2382950"/>
              <a:ext cx="122875" cy="133925"/>
            </a:xfrm>
            <a:custGeom>
              <a:avLst/>
              <a:gdLst/>
              <a:ahLst/>
              <a:cxnLst/>
              <a:rect l="l" t="t" r="r" b="b"/>
              <a:pathLst>
                <a:path w="4915" h="5357" extrusionOk="0">
                  <a:moveTo>
                    <a:pt x="2457" y="819"/>
                  </a:moveTo>
                  <a:cubicBezTo>
                    <a:pt x="2930" y="819"/>
                    <a:pt x="3277" y="1166"/>
                    <a:pt x="3277" y="1639"/>
                  </a:cubicBezTo>
                  <a:cubicBezTo>
                    <a:pt x="3277" y="2111"/>
                    <a:pt x="2930" y="2458"/>
                    <a:pt x="2457" y="2458"/>
                  </a:cubicBezTo>
                  <a:cubicBezTo>
                    <a:pt x="1985" y="2458"/>
                    <a:pt x="1607" y="2111"/>
                    <a:pt x="1607" y="1639"/>
                  </a:cubicBezTo>
                  <a:cubicBezTo>
                    <a:pt x="1607" y="1166"/>
                    <a:pt x="2016" y="819"/>
                    <a:pt x="2457" y="819"/>
                  </a:cubicBezTo>
                  <a:close/>
                  <a:moveTo>
                    <a:pt x="2489" y="3245"/>
                  </a:moveTo>
                  <a:cubicBezTo>
                    <a:pt x="3277" y="3245"/>
                    <a:pt x="3907" y="3781"/>
                    <a:pt x="4096" y="4506"/>
                  </a:cubicBezTo>
                  <a:lnTo>
                    <a:pt x="882" y="4506"/>
                  </a:lnTo>
                  <a:cubicBezTo>
                    <a:pt x="1071" y="3812"/>
                    <a:pt x="1701" y="3245"/>
                    <a:pt x="2489" y="3245"/>
                  </a:cubicBezTo>
                  <a:close/>
                  <a:moveTo>
                    <a:pt x="2489" y="0"/>
                  </a:moveTo>
                  <a:cubicBezTo>
                    <a:pt x="1575" y="0"/>
                    <a:pt x="819" y="725"/>
                    <a:pt x="819" y="1639"/>
                  </a:cubicBezTo>
                  <a:cubicBezTo>
                    <a:pt x="819" y="2080"/>
                    <a:pt x="977" y="2458"/>
                    <a:pt x="1292" y="2773"/>
                  </a:cubicBezTo>
                  <a:cubicBezTo>
                    <a:pt x="567" y="3214"/>
                    <a:pt x="0" y="4001"/>
                    <a:pt x="0" y="4947"/>
                  </a:cubicBezTo>
                  <a:cubicBezTo>
                    <a:pt x="0" y="5199"/>
                    <a:pt x="189" y="5356"/>
                    <a:pt x="410" y="5356"/>
                  </a:cubicBezTo>
                  <a:lnTo>
                    <a:pt x="4537" y="5356"/>
                  </a:lnTo>
                  <a:cubicBezTo>
                    <a:pt x="4757" y="5356"/>
                    <a:pt x="4915" y="5136"/>
                    <a:pt x="4915" y="4947"/>
                  </a:cubicBezTo>
                  <a:cubicBezTo>
                    <a:pt x="4915" y="4001"/>
                    <a:pt x="4411" y="3182"/>
                    <a:pt x="3655" y="2773"/>
                  </a:cubicBezTo>
                  <a:cubicBezTo>
                    <a:pt x="3938" y="2458"/>
                    <a:pt x="4127" y="2080"/>
                    <a:pt x="4127" y="1639"/>
                  </a:cubicBezTo>
                  <a:cubicBezTo>
                    <a:pt x="4127" y="725"/>
                    <a:pt x="3403"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77"/>
            <p:cNvSpPr/>
            <p:nvPr/>
          </p:nvSpPr>
          <p:spPr>
            <a:xfrm>
              <a:off x="-59092025" y="2296300"/>
              <a:ext cx="317425" cy="316650"/>
            </a:xfrm>
            <a:custGeom>
              <a:avLst/>
              <a:gdLst/>
              <a:ahLst/>
              <a:cxnLst/>
              <a:rect l="l" t="t" r="r" b="b"/>
              <a:pathLst>
                <a:path w="12697" h="12666" extrusionOk="0">
                  <a:moveTo>
                    <a:pt x="1261" y="820"/>
                  </a:moveTo>
                  <a:cubicBezTo>
                    <a:pt x="1513" y="820"/>
                    <a:pt x="1702" y="1009"/>
                    <a:pt x="1702" y="1198"/>
                  </a:cubicBezTo>
                  <a:cubicBezTo>
                    <a:pt x="1670" y="1450"/>
                    <a:pt x="1513" y="1639"/>
                    <a:pt x="1261" y="1639"/>
                  </a:cubicBezTo>
                  <a:cubicBezTo>
                    <a:pt x="1040" y="1639"/>
                    <a:pt x="883" y="1450"/>
                    <a:pt x="883" y="1198"/>
                  </a:cubicBezTo>
                  <a:cubicBezTo>
                    <a:pt x="883" y="977"/>
                    <a:pt x="1072" y="820"/>
                    <a:pt x="1261" y="820"/>
                  </a:cubicBezTo>
                  <a:close/>
                  <a:moveTo>
                    <a:pt x="11468" y="820"/>
                  </a:moveTo>
                  <a:cubicBezTo>
                    <a:pt x="11720" y="820"/>
                    <a:pt x="11878" y="1009"/>
                    <a:pt x="11878" y="1198"/>
                  </a:cubicBezTo>
                  <a:cubicBezTo>
                    <a:pt x="11878" y="1450"/>
                    <a:pt x="11657" y="1639"/>
                    <a:pt x="11468" y="1639"/>
                  </a:cubicBezTo>
                  <a:cubicBezTo>
                    <a:pt x="11248" y="1639"/>
                    <a:pt x="11027" y="1450"/>
                    <a:pt x="11027" y="1198"/>
                  </a:cubicBezTo>
                  <a:cubicBezTo>
                    <a:pt x="11027" y="1009"/>
                    <a:pt x="11248" y="820"/>
                    <a:pt x="11468" y="820"/>
                  </a:cubicBezTo>
                  <a:close/>
                  <a:moveTo>
                    <a:pt x="6396" y="2616"/>
                  </a:moveTo>
                  <a:cubicBezTo>
                    <a:pt x="7341" y="2616"/>
                    <a:pt x="8286" y="2994"/>
                    <a:pt x="9042" y="3718"/>
                  </a:cubicBezTo>
                  <a:cubicBezTo>
                    <a:pt x="10492" y="5136"/>
                    <a:pt x="10492" y="7499"/>
                    <a:pt x="9042" y="8917"/>
                  </a:cubicBezTo>
                  <a:cubicBezTo>
                    <a:pt x="8318" y="9641"/>
                    <a:pt x="7373" y="10019"/>
                    <a:pt x="6396" y="10019"/>
                  </a:cubicBezTo>
                  <a:cubicBezTo>
                    <a:pt x="4348" y="10019"/>
                    <a:pt x="2647" y="8381"/>
                    <a:pt x="2647" y="6333"/>
                  </a:cubicBezTo>
                  <a:cubicBezTo>
                    <a:pt x="2647" y="4222"/>
                    <a:pt x="4348" y="2616"/>
                    <a:pt x="6396" y="2616"/>
                  </a:cubicBezTo>
                  <a:close/>
                  <a:moveTo>
                    <a:pt x="1261" y="10965"/>
                  </a:moveTo>
                  <a:cubicBezTo>
                    <a:pt x="1513" y="10965"/>
                    <a:pt x="1702" y="11185"/>
                    <a:pt x="1702" y="11406"/>
                  </a:cubicBezTo>
                  <a:cubicBezTo>
                    <a:pt x="1670" y="11658"/>
                    <a:pt x="1513" y="11847"/>
                    <a:pt x="1261" y="11847"/>
                  </a:cubicBezTo>
                  <a:cubicBezTo>
                    <a:pt x="1040" y="11847"/>
                    <a:pt x="883" y="11658"/>
                    <a:pt x="883" y="11406"/>
                  </a:cubicBezTo>
                  <a:cubicBezTo>
                    <a:pt x="883" y="11185"/>
                    <a:pt x="1072" y="10965"/>
                    <a:pt x="1261" y="10965"/>
                  </a:cubicBezTo>
                  <a:close/>
                  <a:moveTo>
                    <a:pt x="11468" y="11028"/>
                  </a:moveTo>
                  <a:cubicBezTo>
                    <a:pt x="11720" y="11028"/>
                    <a:pt x="11878" y="11217"/>
                    <a:pt x="11878" y="11437"/>
                  </a:cubicBezTo>
                  <a:cubicBezTo>
                    <a:pt x="11878" y="11689"/>
                    <a:pt x="11657" y="11878"/>
                    <a:pt x="11468" y="11878"/>
                  </a:cubicBezTo>
                  <a:cubicBezTo>
                    <a:pt x="11248" y="11878"/>
                    <a:pt x="11027" y="11689"/>
                    <a:pt x="11027" y="11437"/>
                  </a:cubicBezTo>
                  <a:cubicBezTo>
                    <a:pt x="11027" y="11217"/>
                    <a:pt x="11248" y="11028"/>
                    <a:pt x="11468" y="11028"/>
                  </a:cubicBezTo>
                  <a:close/>
                  <a:moveTo>
                    <a:pt x="1229" y="1"/>
                  </a:moveTo>
                  <a:cubicBezTo>
                    <a:pt x="567" y="1"/>
                    <a:pt x="0" y="536"/>
                    <a:pt x="0" y="1198"/>
                  </a:cubicBezTo>
                  <a:cubicBezTo>
                    <a:pt x="0" y="1891"/>
                    <a:pt x="567" y="2458"/>
                    <a:pt x="1229" y="2458"/>
                  </a:cubicBezTo>
                  <a:cubicBezTo>
                    <a:pt x="1418" y="2458"/>
                    <a:pt x="1576" y="2427"/>
                    <a:pt x="1796" y="2364"/>
                  </a:cubicBezTo>
                  <a:lnTo>
                    <a:pt x="2836" y="3403"/>
                  </a:lnTo>
                  <a:cubicBezTo>
                    <a:pt x="2174" y="4222"/>
                    <a:pt x="1828" y="5231"/>
                    <a:pt x="1828" y="6302"/>
                  </a:cubicBezTo>
                  <a:cubicBezTo>
                    <a:pt x="1828" y="7341"/>
                    <a:pt x="2174" y="8381"/>
                    <a:pt x="2899" y="9200"/>
                  </a:cubicBezTo>
                  <a:lnTo>
                    <a:pt x="1796" y="10303"/>
                  </a:lnTo>
                  <a:cubicBezTo>
                    <a:pt x="1639" y="10240"/>
                    <a:pt x="1418" y="10177"/>
                    <a:pt x="1229" y="10177"/>
                  </a:cubicBezTo>
                  <a:cubicBezTo>
                    <a:pt x="567" y="10177"/>
                    <a:pt x="0" y="10744"/>
                    <a:pt x="0" y="11437"/>
                  </a:cubicBezTo>
                  <a:cubicBezTo>
                    <a:pt x="0" y="12130"/>
                    <a:pt x="567" y="12666"/>
                    <a:pt x="1229" y="12666"/>
                  </a:cubicBezTo>
                  <a:cubicBezTo>
                    <a:pt x="1891" y="12666"/>
                    <a:pt x="2489" y="12130"/>
                    <a:pt x="2489" y="11437"/>
                  </a:cubicBezTo>
                  <a:cubicBezTo>
                    <a:pt x="2489" y="11248"/>
                    <a:pt x="2458" y="11091"/>
                    <a:pt x="2363" y="10901"/>
                  </a:cubicBezTo>
                  <a:lnTo>
                    <a:pt x="3466" y="9799"/>
                  </a:lnTo>
                  <a:cubicBezTo>
                    <a:pt x="4317" y="10460"/>
                    <a:pt x="5325" y="10838"/>
                    <a:pt x="6396" y="10838"/>
                  </a:cubicBezTo>
                  <a:cubicBezTo>
                    <a:pt x="7467" y="10838"/>
                    <a:pt x="8475" y="10492"/>
                    <a:pt x="9263" y="9830"/>
                  </a:cubicBezTo>
                  <a:lnTo>
                    <a:pt x="10334" y="10901"/>
                  </a:lnTo>
                  <a:cubicBezTo>
                    <a:pt x="10240" y="11059"/>
                    <a:pt x="10208" y="11248"/>
                    <a:pt x="10208" y="11437"/>
                  </a:cubicBezTo>
                  <a:cubicBezTo>
                    <a:pt x="10208" y="12099"/>
                    <a:pt x="10775" y="12666"/>
                    <a:pt x="11468" y="12666"/>
                  </a:cubicBezTo>
                  <a:cubicBezTo>
                    <a:pt x="12130" y="12666"/>
                    <a:pt x="12697" y="12099"/>
                    <a:pt x="12697" y="11437"/>
                  </a:cubicBezTo>
                  <a:cubicBezTo>
                    <a:pt x="12697" y="10775"/>
                    <a:pt x="12130" y="10177"/>
                    <a:pt x="11468" y="10177"/>
                  </a:cubicBezTo>
                  <a:cubicBezTo>
                    <a:pt x="11279" y="10177"/>
                    <a:pt x="11122" y="10208"/>
                    <a:pt x="10933" y="10303"/>
                  </a:cubicBezTo>
                  <a:lnTo>
                    <a:pt x="9861" y="9232"/>
                  </a:lnTo>
                  <a:cubicBezTo>
                    <a:pt x="11279" y="7562"/>
                    <a:pt x="11279" y="5073"/>
                    <a:pt x="9861" y="3403"/>
                  </a:cubicBezTo>
                  <a:lnTo>
                    <a:pt x="10933" y="2364"/>
                  </a:lnTo>
                  <a:cubicBezTo>
                    <a:pt x="11122" y="2427"/>
                    <a:pt x="11279" y="2458"/>
                    <a:pt x="11468" y="2458"/>
                  </a:cubicBezTo>
                  <a:cubicBezTo>
                    <a:pt x="12130" y="2458"/>
                    <a:pt x="12697" y="1923"/>
                    <a:pt x="12697" y="1198"/>
                  </a:cubicBezTo>
                  <a:cubicBezTo>
                    <a:pt x="12697" y="536"/>
                    <a:pt x="12130" y="1"/>
                    <a:pt x="11468" y="1"/>
                  </a:cubicBezTo>
                  <a:cubicBezTo>
                    <a:pt x="10807" y="1"/>
                    <a:pt x="10208" y="536"/>
                    <a:pt x="10208" y="1198"/>
                  </a:cubicBezTo>
                  <a:cubicBezTo>
                    <a:pt x="10208" y="1419"/>
                    <a:pt x="10240" y="1576"/>
                    <a:pt x="10334" y="1765"/>
                  </a:cubicBezTo>
                  <a:lnTo>
                    <a:pt x="9263" y="2836"/>
                  </a:lnTo>
                  <a:cubicBezTo>
                    <a:pt x="8412" y="2127"/>
                    <a:pt x="7373" y="1773"/>
                    <a:pt x="6337" y="1773"/>
                  </a:cubicBezTo>
                  <a:cubicBezTo>
                    <a:pt x="5301" y="1773"/>
                    <a:pt x="4269" y="2127"/>
                    <a:pt x="3434" y="2836"/>
                  </a:cubicBezTo>
                  <a:lnTo>
                    <a:pt x="2363" y="1765"/>
                  </a:lnTo>
                  <a:cubicBezTo>
                    <a:pt x="2458" y="1608"/>
                    <a:pt x="2489" y="1419"/>
                    <a:pt x="2489" y="1198"/>
                  </a:cubicBezTo>
                  <a:cubicBezTo>
                    <a:pt x="2489" y="536"/>
                    <a:pt x="1954"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1" name="Google Shape;9711;p77"/>
          <p:cNvGrpSpPr/>
          <p:nvPr/>
        </p:nvGrpSpPr>
        <p:grpSpPr>
          <a:xfrm>
            <a:off x="4865611" y="1532895"/>
            <a:ext cx="353174" cy="347599"/>
            <a:chOff x="683125" y="1955275"/>
            <a:chExt cx="299325" cy="294600"/>
          </a:xfrm>
        </p:grpSpPr>
        <p:sp>
          <p:nvSpPr>
            <p:cNvPr id="9712" name="Google Shape;9712;p77"/>
            <p:cNvSpPr/>
            <p:nvPr/>
          </p:nvSpPr>
          <p:spPr>
            <a:xfrm>
              <a:off x="876875" y="1989925"/>
              <a:ext cx="52800" cy="63825"/>
            </a:xfrm>
            <a:custGeom>
              <a:avLst/>
              <a:gdLst/>
              <a:ahLst/>
              <a:cxnLst/>
              <a:rect l="l" t="t" r="r" b="b"/>
              <a:pathLst>
                <a:path w="2112" h="2553" extrusionOk="0">
                  <a:moveTo>
                    <a:pt x="1072" y="0"/>
                  </a:moveTo>
                  <a:cubicBezTo>
                    <a:pt x="473" y="0"/>
                    <a:pt x="64" y="473"/>
                    <a:pt x="64" y="1009"/>
                  </a:cubicBezTo>
                  <a:cubicBezTo>
                    <a:pt x="1" y="1229"/>
                    <a:pt x="158" y="1324"/>
                    <a:pt x="379" y="1324"/>
                  </a:cubicBezTo>
                  <a:cubicBezTo>
                    <a:pt x="568" y="1324"/>
                    <a:pt x="725" y="1166"/>
                    <a:pt x="725" y="977"/>
                  </a:cubicBezTo>
                  <a:cubicBezTo>
                    <a:pt x="725" y="788"/>
                    <a:pt x="883" y="631"/>
                    <a:pt x="1072" y="631"/>
                  </a:cubicBezTo>
                  <a:cubicBezTo>
                    <a:pt x="1261" y="631"/>
                    <a:pt x="1418" y="788"/>
                    <a:pt x="1418" y="977"/>
                  </a:cubicBezTo>
                  <a:cubicBezTo>
                    <a:pt x="1418" y="1103"/>
                    <a:pt x="1355" y="1198"/>
                    <a:pt x="1229" y="1292"/>
                  </a:cubicBezTo>
                  <a:cubicBezTo>
                    <a:pt x="914" y="1450"/>
                    <a:pt x="725" y="1796"/>
                    <a:pt x="725" y="2206"/>
                  </a:cubicBezTo>
                  <a:cubicBezTo>
                    <a:pt x="725" y="2395"/>
                    <a:pt x="883" y="2552"/>
                    <a:pt x="1072" y="2552"/>
                  </a:cubicBezTo>
                  <a:cubicBezTo>
                    <a:pt x="1261" y="2552"/>
                    <a:pt x="1418" y="2395"/>
                    <a:pt x="1418" y="2206"/>
                  </a:cubicBezTo>
                  <a:cubicBezTo>
                    <a:pt x="1418" y="2080"/>
                    <a:pt x="1481" y="1954"/>
                    <a:pt x="1544" y="1922"/>
                  </a:cubicBezTo>
                  <a:cubicBezTo>
                    <a:pt x="1891" y="1733"/>
                    <a:pt x="2111" y="1355"/>
                    <a:pt x="2111" y="1009"/>
                  </a:cubicBezTo>
                  <a:cubicBezTo>
                    <a:pt x="2111" y="410"/>
                    <a:pt x="1639"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77"/>
            <p:cNvSpPr/>
            <p:nvPr/>
          </p:nvSpPr>
          <p:spPr>
            <a:xfrm>
              <a:off x="683125" y="2058450"/>
              <a:ext cx="159900" cy="191425"/>
            </a:xfrm>
            <a:custGeom>
              <a:avLst/>
              <a:gdLst/>
              <a:ahLst/>
              <a:cxnLst/>
              <a:rect l="l" t="t" r="r" b="b"/>
              <a:pathLst>
                <a:path w="6396" h="7657" extrusionOk="0">
                  <a:moveTo>
                    <a:pt x="3245" y="693"/>
                  </a:moveTo>
                  <a:cubicBezTo>
                    <a:pt x="3812" y="693"/>
                    <a:pt x="4285" y="1166"/>
                    <a:pt x="4285" y="1702"/>
                  </a:cubicBezTo>
                  <a:cubicBezTo>
                    <a:pt x="4285" y="2269"/>
                    <a:pt x="3812" y="2710"/>
                    <a:pt x="3245" y="2710"/>
                  </a:cubicBezTo>
                  <a:cubicBezTo>
                    <a:pt x="2647" y="2710"/>
                    <a:pt x="2174" y="2269"/>
                    <a:pt x="2174" y="1702"/>
                  </a:cubicBezTo>
                  <a:cubicBezTo>
                    <a:pt x="2174" y="1166"/>
                    <a:pt x="2678" y="693"/>
                    <a:pt x="3245" y="693"/>
                  </a:cubicBezTo>
                  <a:close/>
                  <a:moveTo>
                    <a:pt x="3245" y="3434"/>
                  </a:moveTo>
                  <a:cubicBezTo>
                    <a:pt x="4569" y="3434"/>
                    <a:pt x="5671" y="4537"/>
                    <a:pt x="5671" y="5892"/>
                  </a:cubicBezTo>
                  <a:lnTo>
                    <a:pt x="5671" y="6994"/>
                  </a:lnTo>
                  <a:lnTo>
                    <a:pt x="788" y="6994"/>
                  </a:lnTo>
                  <a:lnTo>
                    <a:pt x="788" y="5892"/>
                  </a:lnTo>
                  <a:cubicBezTo>
                    <a:pt x="788" y="4537"/>
                    <a:pt x="1891" y="3434"/>
                    <a:pt x="3245" y="3434"/>
                  </a:cubicBezTo>
                  <a:close/>
                  <a:moveTo>
                    <a:pt x="3182" y="0"/>
                  </a:moveTo>
                  <a:cubicBezTo>
                    <a:pt x="2237" y="0"/>
                    <a:pt x="1418" y="788"/>
                    <a:pt x="1418" y="1733"/>
                  </a:cubicBezTo>
                  <a:cubicBezTo>
                    <a:pt x="1418" y="2206"/>
                    <a:pt x="1607" y="2678"/>
                    <a:pt x="1985" y="2993"/>
                  </a:cubicBezTo>
                  <a:cubicBezTo>
                    <a:pt x="819" y="3466"/>
                    <a:pt x="0" y="4569"/>
                    <a:pt x="0" y="5892"/>
                  </a:cubicBezTo>
                  <a:lnTo>
                    <a:pt x="0" y="7309"/>
                  </a:lnTo>
                  <a:cubicBezTo>
                    <a:pt x="126" y="7499"/>
                    <a:pt x="284" y="7656"/>
                    <a:pt x="441" y="7656"/>
                  </a:cubicBezTo>
                  <a:lnTo>
                    <a:pt x="6018" y="7656"/>
                  </a:lnTo>
                  <a:cubicBezTo>
                    <a:pt x="6238" y="7656"/>
                    <a:pt x="6396" y="7499"/>
                    <a:pt x="6396" y="7309"/>
                  </a:cubicBezTo>
                  <a:lnTo>
                    <a:pt x="6396" y="5892"/>
                  </a:lnTo>
                  <a:cubicBezTo>
                    <a:pt x="6396" y="4569"/>
                    <a:pt x="5545" y="3466"/>
                    <a:pt x="4411" y="2993"/>
                  </a:cubicBezTo>
                  <a:cubicBezTo>
                    <a:pt x="4758" y="2647"/>
                    <a:pt x="4978" y="2206"/>
                    <a:pt x="4978" y="1733"/>
                  </a:cubicBezTo>
                  <a:cubicBezTo>
                    <a:pt x="4978" y="788"/>
                    <a:pt x="4190"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77"/>
            <p:cNvSpPr/>
            <p:nvPr/>
          </p:nvSpPr>
          <p:spPr>
            <a:xfrm>
              <a:off x="824900" y="1955275"/>
              <a:ext cx="157550" cy="155975"/>
            </a:xfrm>
            <a:custGeom>
              <a:avLst/>
              <a:gdLst/>
              <a:ahLst/>
              <a:cxnLst/>
              <a:rect l="l" t="t" r="r" b="b"/>
              <a:pathLst>
                <a:path w="6302" h="6239" extrusionOk="0">
                  <a:moveTo>
                    <a:pt x="3151" y="662"/>
                  </a:moveTo>
                  <a:cubicBezTo>
                    <a:pt x="4505" y="662"/>
                    <a:pt x="5608" y="1765"/>
                    <a:pt x="5608" y="3119"/>
                  </a:cubicBezTo>
                  <a:cubicBezTo>
                    <a:pt x="5608" y="4442"/>
                    <a:pt x="4505" y="5545"/>
                    <a:pt x="3151" y="5545"/>
                  </a:cubicBezTo>
                  <a:cubicBezTo>
                    <a:pt x="2710" y="5545"/>
                    <a:pt x="2332" y="5451"/>
                    <a:pt x="1954" y="5230"/>
                  </a:cubicBezTo>
                  <a:cubicBezTo>
                    <a:pt x="1890" y="5199"/>
                    <a:pt x="1796" y="5199"/>
                    <a:pt x="1733" y="5199"/>
                  </a:cubicBezTo>
                  <a:lnTo>
                    <a:pt x="945" y="5388"/>
                  </a:lnTo>
                  <a:lnTo>
                    <a:pt x="1166" y="4694"/>
                  </a:lnTo>
                  <a:cubicBezTo>
                    <a:pt x="1229" y="4568"/>
                    <a:pt x="1166" y="4505"/>
                    <a:pt x="1134" y="4411"/>
                  </a:cubicBezTo>
                  <a:cubicBezTo>
                    <a:pt x="914" y="4033"/>
                    <a:pt x="756" y="3592"/>
                    <a:pt x="756" y="3119"/>
                  </a:cubicBezTo>
                  <a:cubicBezTo>
                    <a:pt x="725" y="1733"/>
                    <a:pt x="1827" y="662"/>
                    <a:pt x="3151" y="662"/>
                  </a:cubicBezTo>
                  <a:close/>
                  <a:moveTo>
                    <a:pt x="3182" y="0"/>
                  </a:moveTo>
                  <a:cubicBezTo>
                    <a:pt x="1449" y="0"/>
                    <a:pt x="95" y="1418"/>
                    <a:pt x="95" y="3119"/>
                  </a:cubicBezTo>
                  <a:cubicBezTo>
                    <a:pt x="95" y="3655"/>
                    <a:pt x="189" y="4190"/>
                    <a:pt x="473" y="4663"/>
                  </a:cubicBezTo>
                  <a:lnTo>
                    <a:pt x="32" y="5766"/>
                  </a:lnTo>
                  <a:cubicBezTo>
                    <a:pt x="0" y="5860"/>
                    <a:pt x="32" y="5986"/>
                    <a:pt x="126" y="6112"/>
                  </a:cubicBezTo>
                  <a:cubicBezTo>
                    <a:pt x="189" y="6175"/>
                    <a:pt x="315" y="6238"/>
                    <a:pt x="473" y="6238"/>
                  </a:cubicBezTo>
                  <a:lnTo>
                    <a:pt x="1764" y="5923"/>
                  </a:lnTo>
                  <a:cubicBezTo>
                    <a:pt x="2206" y="6144"/>
                    <a:pt x="2678" y="6238"/>
                    <a:pt x="3182" y="6238"/>
                  </a:cubicBezTo>
                  <a:cubicBezTo>
                    <a:pt x="4915" y="6238"/>
                    <a:pt x="6301" y="4820"/>
                    <a:pt x="6301" y="3119"/>
                  </a:cubicBezTo>
                  <a:cubicBezTo>
                    <a:pt x="6301" y="1386"/>
                    <a:pt x="4883"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77"/>
            <p:cNvSpPr/>
            <p:nvPr/>
          </p:nvSpPr>
          <p:spPr>
            <a:xfrm>
              <a:off x="895000" y="205845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77"/>
          <p:cNvGrpSpPr/>
          <p:nvPr/>
        </p:nvGrpSpPr>
        <p:grpSpPr>
          <a:xfrm>
            <a:off x="4866541" y="1983453"/>
            <a:ext cx="351315" cy="349486"/>
            <a:chOff x="685475" y="2318350"/>
            <a:chExt cx="297750" cy="296200"/>
          </a:xfrm>
        </p:grpSpPr>
        <p:sp>
          <p:nvSpPr>
            <p:cNvPr id="9717" name="Google Shape;9717;p77"/>
            <p:cNvSpPr/>
            <p:nvPr/>
          </p:nvSpPr>
          <p:spPr>
            <a:xfrm>
              <a:off x="685475" y="2371925"/>
              <a:ext cx="142600" cy="241975"/>
            </a:xfrm>
            <a:custGeom>
              <a:avLst/>
              <a:gdLst/>
              <a:ahLst/>
              <a:cxnLst/>
              <a:rect l="l" t="t" r="r" b="b"/>
              <a:pathLst>
                <a:path w="5704" h="9679" extrusionOk="0">
                  <a:moveTo>
                    <a:pt x="2080" y="662"/>
                  </a:moveTo>
                  <a:cubicBezTo>
                    <a:pt x="2458" y="662"/>
                    <a:pt x="2773" y="977"/>
                    <a:pt x="2773" y="1387"/>
                  </a:cubicBezTo>
                  <a:cubicBezTo>
                    <a:pt x="2773" y="1765"/>
                    <a:pt x="2458" y="2080"/>
                    <a:pt x="2080" y="2080"/>
                  </a:cubicBezTo>
                  <a:cubicBezTo>
                    <a:pt x="1671" y="2080"/>
                    <a:pt x="1356" y="1765"/>
                    <a:pt x="1356" y="1387"/>
                  </a:cubicBezTo>
                  <a:cubicBezTo>
                    <a:pt x="1356" y="977"/>
                    <a:pt x="1734" y="662"/>
                    <a:pt x="2080" y="662"/>
                  </a:cubicBezTo>
                  <a:close/>
                  <a:moveTo>
                    <a:pt x="2962" y="6900"/>
                  </a:moveTo>
                  <a:lnTo>
                    <a:pt x="3120" y="7593"/>
                  </a:lnTo>
                  <a:lnTo>
                    <a:pt x="1135" y="7593"/>
                  </a:lnTo>
                  <a:lnTo>
                    <a:pt x="1293" y="6900"/>
                  </a:lnTo>
                  <a:close/>
                  <a:moveTo>
                    <a:pt x="1742" y="2767"/>
                  </a:moveTo>
                  <a:cubicBezTo>
                    <a:pt x="1866" y="2767"/>
                    <a:pt x="1991" y="2831"/>
                    <a:pt x="2049" y="2962"/>
                  </a:cubicBezTo>
                  <a:lnTo>
                    <a:pt x="2553" y="3938"/>
                  </a:lnTo>
                  <a:cubicBezTo>
                    <a:pt x="2584" y="4064"/>
                    <a:pt x="2742" y="4127"/>
                    <a:pt x="2868" y="4127"/>
                  </a:cubicBezTo>
                  <a:lnTo>
                    <a:pt x="3813" y="4127"/>
                  </a:lnTo>
                  <a:cubicBezTo>
                    <a:pt x="4002" y="4127"/>
                    <a:pt x="4159" y="4285"/>
                    <a:pt x="4159" y="4474"/>
                  </a:cubicBezTo>
                  <a:cubicBezTo>
                    <a:pt x="4159" y="4695"/>
                    <a:pt x="4002" y="4852"/>
                    <a:pt x="3813" y="4852"/>
                  </a:cubicBezTo>
                  <a:lnTo>
                    <a:pt x="2427" y="4852"/>
                  </a:lnTo>
                  <a:cubicBezTo>
                    <a:pt x="2301" y="4852"/>
                    <a:pt x="2175" y="4758"/>
                    <a:pt x="2112" y="4631"/>
                  </a:cubicBezTo>
                  <a:cubicBezTo>
                    <a:pt x="2042" y="4515"/>
                    <a:pt x="1919" y="4450"/>
                    <a:pt x="1784" y="4450"/>
                  </a:cubicBezTo>
                  <a:cubicBezTo>
                    <a:pt x="1737" y="4450"/>
                    <a:pt x="1688" y="4458"/>
                    <a:pt x="1639" y="4474"/>
                  </a:cubicBezTo>
                  <a:cubicBezTo>
                    <a:pt x="1482" y="4568"/>
                    <a:pt x="1387" y="4758"/>
                    <a:pt x="1482" y="4947"/>
                  </a:cubicBezTo>
                  <a:cubicBezTo>
                    <a:pt x="1671" y="5325"/>
                    <a:pt x="2017" y="5545"/>
                    <a:pt x="2427" y="5545"/>
                  </a:cubicBezTo>
                  <a:lnTo>
                    <a:pt x="3813" y="5545"/>
                  </a:lnTo>
                  <a:cubicBezTo>
                    <a:pt x="3970" y="5545"/>
                    <a:pt x="4128" y="5671"/>
                    <a:pt x="4159" y="5829"/>
                  </a:cubicBezTo>
                  <a:lnTo>
                    <a:pt x="4853" y="8570"/>
                  </a:lnTo>
                  <a:cubicBezTo>
                    <a:pt x="4916" y="8790"/>
                    <a:pt x="4790" y="8979"/>
                    <a:pt x="4632" y="9011"/>
                  </a:cubicBezTo>
                  <a:cubicBezTo>
                    <a:pt x="4608" y="9015"/>
                    <a:pt x="4584" y="9017"/>
                    <a:pt x="4560" y="9017"/>
                  </a:cubicBezTo>
                  <a:cubicBezTo>
                    <a:pt x="4403" y="9017"/>
                    <a:pt x="4273" y="8927"/>
                    <a:pt x="4191" y="8790"/>
                  </a:cubicBezTo>
                  <a:lnTo>
                    <a:pt x="3655" y="6522"/>
                  </a:lnTo>
                  <a:cubicBezTo>
                    <a:pt x="3592" y="6364"/>
                    <a:pt x="3498" y="6270"/>
                    <a:pt x="3277" y="6270"/>
                  </a:cubicBezTo>
                  <a:lnTo>
                    <a:pt x="1040" y="6270"/>
                  </a:lnTo>
                  <a:cubicBezTo>
                    <a:pt x="914" y="6270"/>
                    <a:pt x="851" y="6207"/>
                    <a:pt x="757" y="6144"/>
                  </a:cubicBezTo>
                  <a:cubicBezTo>
                    <a:pt x="694" y="5986"/>
                    <a:pt x="694" y="5892"/>
                    <a:pt x="694" y="5797"/>
                  </a:cubicBezTo>
                  <a:lnTo>
                    <a:pt x="1419" y="3025"/>
                  </a:lnTo>
                  <a:cubicBezTo>
                    <a:pt x="1453" y="2855"/>
                    <a:pt x="1597" y="2767"/>
                    <a:pt x="1742" y="2767"/>
                  </a:cubicBezTo>
                  <a:close/>
                  <a:moveTo>
                    <a:pt x="2143" y="0"/>
                  </a:moveTo>
                  <a:cubicBezTo>
                    <a:pt x="1419" y="0"/>
                    <a:pt x="788" y="630"/>
                    <a:pt x="788" y="1387"/>
                  </a:cubicBezTo>
                  <a:cubicBezTo>
                    <a:pt x="788" y="1733"/>
                    <a:pt x="946" y="2080"/>
                    <a:pt x="1135" y="2332"/>
                  </a:cubicBezTo>
                  <a:cubicBezTo>
                    <a:pt x="977" y="2426"/>
                    <a:pt x="851" y="2647"/>
                    <a:pt x="788" y="2867"/>
                  </a:cubicBezTo>
                  <a:lnTo>
                    <a:pt x="64" y="5640"/>
                  </a:lnTo>
                  <a:cubicBezTo>
                    <a:pt x="1" y="5955"/>
                    <a:pt x="64" y="6270"/>
                    <a:pt x="253" y="6522"/>
                  </a:cubicBezTo>
                  <a:cubicBezTo>
                    <a:pt x="347" y="6648"/>
                    <a:pt x="473" y="6774"/>
                    <a:pt x="631" y="6805"/>
                  </a:cubicBezTo>
                  <a:lnTo>
                    <a:pt x="32" y="9263"/>
                  </a:lnTo>
                  <a:cubicBezTo>
                    <a:pt x="1" y="9452"/>
                    <a:pt x="95" y="9609"/>
                    <a:pt x="253" y="9672"/>
                  </a:cubicBezTo>
                  <a:cubicBezTo>
                    <a:pt x="281" y="9676"/>
                    <a:pt x="309" y="9678"/>
                    <a:pt x="335" y="9678"/>
                  </a:cubicBezTo>
                  <a:cubicBezTo>
                    <a:pt x="513" y="9678"/>
                    <a:pt x="639" y="9589"/>
                    <a:pt x="694" y="9452"/>
                  </a:cubicBezTo>
                  <a:lnTo>
                    <a:pt x="977" y="8318"/>
                  </a:lnTo>
                  <a:lnTo>
                    <a:pt x="3372" y="8318"/>
                  </a:lnTo>
                  <a:lnTo>
                    <a:pt x="3529" y="8885"/>
                  </a:lnTo>
                  <a:cubicBezTo>
                    <a:pt x="3661" y="9359"/>
                    <a:pt x="4079" y="9679"/>
                    <a:pt x="4526" y="9679"/>
                  </a:cubicBezTo>
                  <a:cubicBezTo>
                    <a:pt x="4613" y="9679"/>
                    <a:pt x="4702" y="9667"/>
                    <a:pt x="4790" y="9641"/>
                  </a:cubicBezTo>
                  <a:cubicBezTo>
                    <a:pt x="5357" y="9483"/>
                    <a:pt x="5703" y="8916"/>
                    <a:pt x="5546" y="8381"/>
                  </a:cubicBezTo>
                  <a:lnTo>
                    <a:pt x="4821" y="5640"/>
                  </a:lnTo>
                  <a:cubicBezTo>
                    <a:pt x="4790" y="5482"/>
                    <a:pt x="4727" y="5325"/>
                    <a:pt x="4601" y="5199"/>
                  </a:cubicBezTo>
                  <a:cubicBezTo>
                    <a:pt x="4758" y="5010"/>
                    <a:pt x="4884" y="4758"/>
                    <a:pt x="4884" y="4474"/>
                  </a:cubicBezTo>
                  <a:cubicBezTo>
                    <a:pt x="4884" y="3907"/>
                    <a:pt x="4412" y="3466"/>
                    <a:pt x="3844" y="3466"/>
                  </a:cubicBezTo>
                  <a:lnTo>
                    <a:pt x="3088" y="3466"/>
                  </a:lnTo>
                  <a:lnTo>
                    <a:pt x="2710" y="2647"/>
                  </a:lnTo>
                  <a:cubicBezTo>
                    <a:pt x="3183" y="2395"/>
                    <a:pt x="3529" y="1922"/>
                    <a:pt x="3529" y="1387"/>
                  </a:cubicBezTo>
                  <a:cubicBezTo>
                    <a:pt x="3529" y="630"/>
                    <a:pt x="2899"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77"/>
            <p:cNvSpPr/>
            <p:nvPr/>
          </p:nvSpPr>
          <p:spPr>
            <a:xfrm>
              <a:off x="839850" y="2371925"/>
              <a:ext cx="143375" cy="242625"/>
            </a:xfrm>
            <a:custGeom>
              <a:avLst/>
              <a:gdLst/>
              <a:ahLst/>
              <a:cxnLst/>
              <a:rect l="l" t="t" r="r" b="b"/>
              <a:pathLst>
                <a:path w="5735" h="9705" extrusionOk="0">
                  <a:moveTo>
                    <a:pt x="3624" y="662"/>
                  </a:moveTo>
                  <a:cubicBezTo>
                    <a:pt x="4002" y="662"/>
                    <a:pt x="4317" y="977"/>
                    <a:pt x="4317" y="1355"/>
                  </a:cubicBezTo>
                  <a:cubicBezTo>
                    <a:pt x="4317" y="1765"/>
                    <a:pt x="4002" y="2080"/>
                    <a:pt x="3624" y="2080"/>
                  </a:cubicBezTo>
                  <a:cubicBezTo>
                    <a:pt x="3214" y="2080"/>
                    <a:pt x="2899" y="1765"/>
                    <a:pt x="2899" y="1355"/>
                  </a:cubicBezTo>
                  <a:cubicBezTo>
                    <a:pt x="2899" y="977"/>
                    <a:pt x="3214" y="662"/>
                    <a:pt x="3624" y="662"/>
                  </a:cubicBezTo>
                  <a:close/>
                  <a:moveTo>
                    <a:pt x="4317" y="6900"/>
                  </a:moveTo>
                  <a:lnTo>
                    <a:pt x="4474" y="7593"/>
                  </a:lnTo>
                  <a:lnTo>
                    <a:pt x="2490" y="7593"/>
                  </a:lnTo>
                  <a:lnTo>
                    <a:pt x="2647" y="6900"/>
                  </a:lnTo>
                  <a:close/>
                  <a:moveTo>
                    <a:pt x="3962" y="2731"/>
                  </a:moveTo>
                  <a:cubicBezTo>
                    <a:pt x="4108" y="2731"/>
                    <a:pt x="4250" y="2818"/>
                    <a:pt x="4285" y="2993"/>
                  </a:cubicBezTo>
                  <a:lnTo>
                    <a:pt x="4979" y="5734"/>
                  </a:lnTo>
                  <a:cubicBezTo>
                    <a:pt x="5010" y="6018"/>
                    <a:pt x="4853" y="6207"/>
                    <a:pt x="4632" y="6207"/>
                  </a:cubicBezTo>
                  <a:lnTo>
                    <a:pt x="2395" y="6207"/>
                  </a:lnTo>
                  <a:cubicBezTo>
                    <a:pt x="2238" y="6207"/>
                    <a:pt x="2080" y="6333"/>
                    <a:pt x="2049" y="6490"/>
                  </a:cubicBezTo>
                  <a:lnTo>
                    <a:pt x="1482" y="8727"/>
                  </a:lnTo>
                  <a:cubicBezTo>
                    <a:pt x="1456" y="8883"/>
                    <a:pt x="1323" y="8996"/>
                    <a:pt x="1154" y="8996"/>
                  </a:cubicBezTo>
                  <a:cubicBezTo>
                    <a:pt x="1118" y="8996"/>
                    <a:pt x="1080" y="8990"/>
                    <a:pt x="1040" y="8979"/>
                  </a:cubicBezTo>
                  <a:cubicBezTo>
                    <a:pt x="851" y="8916"/>
                    <a:pt x="725" y="8727"/>
                    <a:pt x="820" y="8538"/>
                  </a:cubicBezTo>
                  <a:lnTo>
                    <a:pt x="1513" y="5766"/>
                  </a:lnTo>
                  <a:cubicBezTo>
                    <a:pt x="1576" y="5608"/>
                    <a:pt x="1671" y="5514"/>
                    <a:pt x="1891" y="5514"/>
                  </a:cubicBezTo>
                  <a:lnTo>
                    <a:pt x="3246" y="5514"/>
                  </a:lnTo>
                  <a:cubicBezTo>
                    <a:pt x="3655" y="5514"/>
                    <a:pt x="4002" y="5262"/>
                    <a:pt x="4222" y="4915"/>
                  </a:cubicBezTo>
                  <a:cubicBezTo>
                    <a:pt x="4285" y="4758"/>
                    <a:pt x="4222" y="4537"/>
                    <a:pt x="4033" y="4442"/>
                  </a:cubicBezTo>
                  <a:cubicBezTo>
                    <a:pt x="3993" y="4426"/>
                    <a:pt x="3948" y="4418"/>
                    <a:pt x="3902" y="4418"/>
                  </a:cubicBezTo>
                  <a:cubicBezTo>
                    <a:pt x="3770" y="4418"/>
                    <a:pt x="3631" y="4483"/>
                    <a:pt x="3561" y="4600"/>
                  </a:cubicBezTo>
                  <a:cubicBezTo>
                    <a:pt x="3529" y="4726"/>
                    <a:pt x="3372" y="4789"/>
                    <a:pt x="3246" y="4789"/>
                  </a:cubicBezTo>
                  <a:lnTo>
                    <a:pt x="1891" y="4789"/>
                  </a:lnTo>
                  <a:cubicBezTo>
                    <a:pt x="1671" y="4789"/>
                    <a:pt x="1513" y="4631"/>
                    <a:pt x="1513" y="4442"/>
                  </a:cubicBezTo>
                  <a:cubicBezTo>
                    <a:pt x="1513" y="4253"/>
                    <a:pt x="1671" y="4096"/>
                    <a:pt x="1891" y="4096"/>
                  </a:cubicBezTo>
                  <a:lnTo>
                    <a:pt x="2836" y="4096"/>
                  </a:lnTo>
                  <a:cubicBezTo>
                    <a:pt x="2931" y="4096"/>
                    <a:pt x="3057" y="4001"/>
                    <a:pt x="3151" y="3907"/>
                  </a:cubicBezTo>
                  <a:cubicBezTo>
                    <a:pt x="3151" y="3844"/>
                    <a:pt x="3655" y="2899"/>
                    <a:pt x="3655" y="2899"/>
                  </a:cubicBezTo>
                  <a:cubicBezTo>
                    <a:pt x="3725" y="2787"/>
                    <a:pt x="3845" y="2731"/>
                    <a:pt x="3962" y="2731"/>
                  </a:cubicBezTo>
                  <a:close/>
                  <a:moveTo>
                    <a:pt x="3529" y="0"/>
                  </a:moveTo>
                  <a:cubicBezTo>
                    <a:pt x="2805" y="0"/>
                    <a:pt x="2175" y="630"/>
                    <a:pt x="2175" y="1355"/>
                  </a:cubicBezTo>
                  <a:cubicBezTo>
                    <a:pt x="2175" y="1922"/>
                    <a:pt x="2490" y="2395"/>
                    <a:pt x="2994" y="2615"/>
                  </a:cubicBezTo>
                  <a:lnTo>
                    <a:pt x="2584" y="3466"/>
                  </a:lnTo>
                  <a:lnTo>
                    <a:pt x="1860" y="3466"/>
                  </a:lnTo>
                  <a:cubicBezTo>
                    <a:pt x="1261" y="3466"/>
                    <a:pt x="820" y="3938"/>
                    <a:pt x="820" y="4474"/>
                  </a:cubicBezTo>
                  <a:cubicBezTo>
                    <a:pt x="820" y="4758"/>
                    <a:pt x="946" y="4978"/>
                    <a:pt x="1103" y="5199"/>
                  </a:cubicBezTo>
                  <a:cubicBezTo>
                    <a:pt x="977" y="5325"/>
                    <a:pt x="914" y="5451"/>
                    <a:pt x="851" y="5608"/>
                  </a:cubicBezTo>
                  <a:lnTo>
                    <a:pt x="158" y="8381"/>
                  </a:lnTo>
                  <a:cubicBezTo>
                    <a:pt x="1" y="8916"/>
                    <a:pt x="347" y="9483"/>
                    <a:pt x="914" y="9641"/>
                  </a:cubicBezTo>
                  <a:cubicBezTo>
                    <a:pt x="1002" y="9667"/>
                    <a:pt x="1091" y="9679"/>
                    <a:pt x="1178" y="9679"/>
                  </a:cubicBezTo>
                  <a:cubicBezTo>
                    <a:pt x="1624" y="9679"/>
                    <a:pt x="2038" y="9359"/>
                    <a:pt x="2143" y="8885"/>
                  </a:cubicBezTo>
                  <a:lnTo>
                    <a:pt x="2332" y="8286"/>
                  </a:lnTo>
                  <a:lnTo>
                    <a:pt x="4695" y="8286"/>
                  </a:lnTo>
                  <a:lnTo>
                    <a:pt x="4947" y="9452"/>
                  </a:lnTo>
                  <a:cubicBezTo>
                    <a:pt x="4995" y="9597"/>
                    <a:pt x="5118" y="9704"/>
                    <a:pt x="5257" y="9704"/>
                  </a:cubicBezTo>
                  <a:cubicBezTo>
                    <a:pt x="5300" y="9704"/>
                    <a:pt x="5344" y="9694"/>
                    <a:pt x="5388" y="9672"/>
                  </a:cubicBezTo>
                  <a:cubicBezTo>
                    <a:pt x="5577" y="9641"/>
                    <a:pt x="5703" y="9452"/>
                    <a:pt x="5609" y="9231"/>
                  </a:cubicBezTo>
                  <a:lnTo>
                    <a:pt x="5042" y="6805"/>
                  </a:lnTo>
                  <a:cubicBezTo>
                    <a:pt x="5514" y="6616"/>
                    <a:pt x="5735" y="6144"/>
                    <a:pt x="5640" y="5640"/>
                  </a:cubicBezTo>
                  <a:lnTo>
                    <a:pt x="4916" y="2867"/>
                  </a:lnTo>
                  <a:cubicBezTo>
                    <a:pt x="4884" y="2647"/>
                    <a:pt x="4758" y="2489"/>
                    <a:pt x="4569" y="2332"/>
                  </a:cubicBezTo>
                  <a:cubicBezTo>
                    <a:pt x="4790" y="2080"/>
                    <a:pt x="4916" y="1733"/>
                    <a:pt x="4916" y="1355"/>
                  </a:cubicBezTo>
                  <a:cubicBezTo>
                    <a:pt x="4916" y="630"/>
                    <a:pt x="4285"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77"/>
            <p:cNvSpPr/>
            <p:nvPr/>
          </p:nvSpPr>
          <p:spPr>
            <a:xfrm>
              <a:off x="772900" y="2318350"/>
              <a:ext cx="122125" cy="105075"/>
            </a:xfrm>
            <a:custGeom>
              <a:avLst/>
              <a:gdLst/>
              <a:ahLst/>
              <a:cxnLst/>
              <a:rect l="l" t="t" r="r" b="b"/>
              <a:pathLst>
                <a:path w="4885" h="4203" extrusionOk="0">
                  <a:moveTo>
                    <a:pt x="3844" y="631"/>
                  </a:moveTo>
                  <a:cubicBezTo>
                    <a:pt x="4034" y="631"/>
                    <a:pt x="4223" y="789"/>
                    <a:pt x="4223" y="978"/>
                  </a:cubicBezTo>
                  <a:lnTo>
                    <a:pt x="4223" y="1734"/>
                  </a:lnTo>
                  <a:cubicBezTo>
                    <a:pt x="4223" y="1923"/>
                    <a:pt x="4034" y="2112"/>
                    <a:pt x="3844" y="2112"/>
                  </a:cubicBezTo>
                  <a:cubicBezTo>
                    <a:pt x="3655" y="2143"/>
                    <a:pt x="3498" y="2301"/>
                    <a:pt x="3498" y="2458"/>
                  </a:cubicBezTo>
                  <a:lnTo>
                    <a:pt x="3498" y="2994"/>
                  </a:lnTo>
                  <a:lnTo>
                    <a:pt x="2679" y="2206"/>
                  </a:lnTo>
                  <a:cubicBezTo>
                    <a:pt x="2584" y="2143"/>
                    <a:pt x="2521" y="2112"/>
                    <a:pt x="2427" y="2112"/>
                  </a:cubicBezTo>
                  <a:lnTo>
                    <a:pt x="1009" y="2112"/>
                  </a:lnTo>
                  <a:cubicBezTo>
                    <a:pt x="820" y="2112"/>
                    <a:pt x="662" y="1923"/>
                    <a:pt x="662" y="1734"/>
                  </a:cubicBezTo>
                  <a:lnTo>
                    <a:pt x="662" y="978"/>
                  </a:lnTo>
                  <a:cubicBezTo>
                    <a:pt x="662" y="789"/>
                    <a:pt x="820" y="631"/>
                    <a:pt x="1009" y="631"/>
                  </a:cubicBezTo>
                  <a:close/>
                  <a:moveTo>
                    <a:pt x="1009" y="1"/>
                  </a:moveTo>
                  <a:cubicBezTo>
                    <a:pt x="442" y="1"/>
                    <a:pt x="1" y="474"/>
                    <a:pt x="1" y="1041"/>
                  </a:cubicBezTo>
                  <a:lnTo>
                    <a:pt x="1" y="1765"/>
                  </a:lnTo>
                  <a:cubicBezTo>
                    <a:pt x="1" y="2364"/>
                    <a:pt x="473" y="2805"/>
                    <a:pt x="1009" y="2805"/>
                  </a:cubicBezTo>
                  <a:lnTo>
                    <a:pt x="2269" y="2805"/>
                  </a:lnTo>
                  <a:lnTo>
                    <a:pt x="3592" y="4097"/>
                  </a:lnTo>
                  <a:cubicBezTo>
                    <a:pt x="3663" y="4167"/>
                    <a:pt x="3770" y="4203"/>
                    <a:pt x="3872" y="4203"/>
                  </a:cubicBezTo>
                  <a:cubicBezTo>
                    <a:pt x="3906" y="4203"/>
                    <a:pt x="3939" y="4199"/>
                    <a:pt x="3970" y="4191"/>
                  </a:cubicBezTo>
                  <a:cubicBezTo>
                    <a:pt x="4097" y="4160"/>
                    <a:pt x="4160" y="4002"/>
                    <a:pt x="4160" y="3876"/>
                  </a:cubicBezTo>
                  <a:lnTo>
                    <a:pt x="4160" y="2773"/>
                  </a:lnTo>
                  <a:cubicBezTo>
                    <a:pt x="4569" y="2616"/>
                    <a:pt x="4884" y="2238"/>
                    <a:pt x="4884" y="1765"/>
                  </a:cubicBezTo>
                  <a:lnTo>
                    <a:pt x="4884" y="1041"/>
                  </a:lnTo>
                  <a:cubicBezTo>
                    <a:pt x="4884" y="442"/>
                    <a:pt x="4412" y="1"/>
                    <a:pt x="38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20" name="Google Shape;9720;p77"/>
          <p:cNvSpPr/>
          <p:nvPr/>
        </p:nvSpPr>
        <p:spPr>
          <a:xfrm>
            <a:off x="4867924" y="2425254"/>
            <a:ext cx="348513" cy="349427"/>
          </a:xfrm>
          <a:custGeom>
            <a:avLst/>
            <a:gdLst/>
            <a:ahLst/>
            <a:cxnLst/>
            <a:rect l="l" t="t" r="r" b="b"/>
            <a:pathLst>
              <a:path w="11815" h="11846" extrusionOk="0">
                <a:moveTo>
                  <a:pt x="5829" y="693"/>
                </a:moveTo>
                <a:cubicBezTo>
                  <a:pt x="6238" y="693"/>
                  <a:pt x="6553" y="1008"/>
                  <a:pt x="6553" y="1418"/>
                </a:cubicBezTo>
                <a:cubicBezTo>
                  <a:pt x="6553" y="1796"/>
                  <a:pt x="6238" y="2111"/>
                  <a:pt x="5829" y="2111"/>
                </a:cubicBezTo>
                <a:cubicBezTo>
                  <a:pt x="5451" y="2111"/>
                  <a:pt x="5136" y="1796"/>
                  <a:pt x="5136" y="1418"/>
                </a:cubicBezTo>
                <a:cubicBezTo>
                  <a:pt x="5136" y="1008"/>
                  <a:pt x="5482" y="693"/>
                  <a:pt x="5829" y="693"/>
                </a:cubicBezTo>
                <a:close/>
                <a:moveTo>
                  <a:pt x="5829" y="2773"/>
                </a:moveTo>
                <a:cubicBezTo>
                  <a:pt x="6774" y="2773"/>
                  <a:pt x="7562" y="3560"/>
                  <a:pt x="7562" y="4568"/>
                </a:cubicBezTo>
                <a:lnTo>
                  <a:pt x="7562" y="4915"/>
                </a:lnTo>
                <a:lnTo>
                  <a:pt x="4096" y="4915"/>
                </a:lnTo>
                <a:lnTo>
                  <a:pt x="4096" y="4568"/>
                </a:lnTo>
                <a:cubicBezTo>
                  <a:pt x="4096" y="3560"/>
                  <a:pt x="4884" y="2773"/>
                  <a:pt x="5829" y="2773"/>
                </a:cubicBezTo>
                <a:close/>
                <a:moveTo>
                  <a:pt x="2363" y="6963"/>
                </a:moveTo>
                <a:cubicBezTo>
                  <a:pt x="2773" y="6963"/>
                  <a:pt x="3088" y="7278"/>
                  <a:pt x="3088" y="7656"/>
                </a:cubicBezTo>
                <a:cubicBezTo>
                  <a:pt x="3088" y="8065"/>
                  <a:pt x="2773" y="8380"/>
                  <a:pt x="2363" y="8380"/>
                </a:cubicBezTo>
                <a:cubicBezTo>
                  <a:pt x="1985" y="8380"/>
                  <a:pt x="1670" y="8065"/>
                  <a:pt x="1670" y="7656"/>
                </a:cubicBezTo>
                <a:cubicBezTo>
                  <a:pt x="1670" y="7278"/>
                  <a:pt x="1985" y="6963"/>
                  <a:pt x="2363" y="6963"/>
                </a:cubicBezTo>
                <a:close/>
                <a:moveTo>
                  <a:pt x="9357" y="6963"/>
                </a:moveTo>
                <a:cubicBezTo>
                  <a:pt x="9735" y="6963"/>
                  <a:pt x="10050" y="7278"/>
                  <a:pt x="10050" y="7656"/>
                </a:cubicBezTo>
                <a:cubicBezTo>
                  <a:pt x="10050" y="8065"/>
                  <a:pt x="9735" y="8380"/>
                  <a:pt x="9357" y="8380"/>
                </a:cubicBezTo>
                <a:cubicBezTo>
                  <a:pt x="8948" y="8380"/>
                  <a:pt x="8633" y="8065"/>
                  <a:pt x="8633" y="7656"/>
                </a:cubicBezTo>
                <a:cubicBezTo>
                  <a:pt x="8633" y="7278"/>
                  <a:pt x="8948" y="6963"/>
                  <a:pt x="9357" y="6963"/>
                </a:cubicBezTo>
                <a:close/>
                <a:moveTo>
                  <a:pt x="2363" y="9042"/>
                </a:moveTo>
                <a:cubicBezTo>
                  <a:pt x="3308" y="9042"/>
                  <a:pt x="4096" y="9830"/>
                  <a:pt x="4096" y="10806"/>
                </a:cubicBezTo>
                <a:lnTo>
                  <a:pt x="4096" y="11184"/>
                </a:lnTo>
                <a:lnTo>
                  <a:pt x="630" y="11184"/>
                </a:lnTo>
                <a:lnTo>
                  <a:pt x="630" y="10806"/>
                </a:lnTo>
                <a:cubicBezTo>
                  <a:pt x="630" y="9830"/>
                  <a:pt x="1418" y="9042"/>
                  <a:pt x="2363" y="9042"/>
                </a:cubicBezTo>
                <a:close/>
                <a:moveTo>
                  <a:pt x="9357" y="9042"/>
                </a:moveTo>
                <a:cubicBezTo>
                  <a:pt x="10302" y="9042"/>
                  <a:pt x="11090" y="9830"/>
                  <a:pt x="11090" y="10806"/>
                </a:cubicBezTo>
                <a:lnTo>
                  <a:pt x="11090" y="11184"/>
                </a:lnTo>
                <a:lnTo>
                  <a:pt x="7625" y="11184"/>
                </a:lnTo>
                <a:lnTo>
                  <a:pt x="7625" y="10806"/>
                </a:lnTo>
                <a:cubicBezTo>
                  <a:pt x="7625" y="9830"/>
                  <a:pt x="8412" y="9042"/>
                  <a:pt x="9357" y="9042"/>
                </a:cubicBezTo>
                <a:close/>
                <a:moveTo>
                  <a:pt x="5892" y="0"/>
                </a:moveTo>
                <a:cubicBezTo>
                  <a:pt x="5136" y="0"/>
                  <a:pt x="4506" y="630"/>
                  <a:pt x="4506" y="1355"/>
                </a:cubicBezTo>
                <a:cubicBezTo>
                  <a:pt x="4506" y="1733"/>
                  <a:pt x="4632" y="2016"/>
                  <a:pt x="4852" y="2300"/>
                </a:cubicBezTo>
                <a:cubicBezTo>
                  <a:pt x="4033" y="2710"/>
                  <a:pt x="3466" y="3529"/>
                  <a:pt x="3466" y="4505"/>
                </a:cubicBezTo>
                <a:lnTo>
                  <a:pt x="3466" y="5230"/>
                </a:lnTo>
                <a:cubicBezTo>
                  <a:pt x="3466" y="5419"/>
                  <a:pt x="3623" y="5577"/>
                  <a:pt x="3844" y="5577"/>
                </a:cubicBezTo>
                <a:lnTo>
                  <a:pt x="5577" y="5577"/>
                </a:lnTo>
                <a:lnTo>
                  <a:pt x="5577" y="7152"/>
                </a:lnTo>
                <a:lnTo>
                  <a:pt x="3875" y="8822"/>
                </a:lnTo>
                <a:cubicBezTo>
                  <a:pt x="3749" y="8696"/>
                  <a:pt x="3592" y="8601"/>
                  <a:pt x="3434" y="8569"/>
                </a:cubicBezTo>
                <a:cubicBezTo>
                  <a:pt x="3686" y="8349"/>
                  <a:pt x="3781" y="8034"/>
                  <a:pt x="3781" y="7624"/>
                </a:cubicBezTo>
                <a:cubicBezTo>
                  <a:pt x="3781" y="6868"/>
                  <a:pt x="3151" y="6238"/>
                  <a:pt x="2426" y="6238"/>
                </a:cubicBezTo>
                <a:cubicBezTo>
                  <a:pt x="1670" y="6238"/>
                  <a:pt x="1040" y="6868"/>
                  <a:pt x="1040" y="7624"/>
                </a:cubicBezTo>
                <a:cubicBezTo>
                  <a:pt x="1040" y="7971"/>
                  <a:pt x="1166" y="8286"/>
                  <a:pt x="1387" y="8569"/>
                </a:cubicBezTo>
                <a:cubicBezTo>
                  <a:pt x="567" y="8979"/>
                  <a:pt x="0" y="9798"/>
                  <a:pt x="0" y="10775"/>
                </a:cubicBezTo>
                <a:lnTo>
                  <a:pt x="0" y="11499"/>
                </a:lnTo>
                <a:cubicBezTo>
                  <a:pt x="0" y="11688"/>
                  <a:pt x="158" y="11846"/>
                  <a:pt x="378" y="11846"/>
                </a:cubicBezTo>
                <a:lnTo>
                  <a:pt x="4474" y="11846"/>
                </a:lnTo>
                <a:cubicBezTo>
                  <a:pt x="4663" y="11846"/>
                  <a:pt x="4821" y="11688"/>
                  <a:pt x="4821" y="11499"/>
                </a:cubicBezTo>
                <a:lnTo>
                  <a:pt x="4821" y="10775"/>
                </a:lnTo>
                <a:cubicBezTo>
                  <a:pt x="4821" y="10239"/>
                  <a:pt x="4632" y="9704"/>
                  <a:pt x="4348" y="9326"/>
                </a:cubicBezTo>
                <a:lnTo>
                  <a:pt x="5860" y="7782"/>
                </a:lnTo>
                <a:lnTo>
                  <a:pt x="7404" y="9326"/>
                </a:lnTo>
                <a:cubicBezTo>
                  <a:pt x="7089" y="9704"/>
                  <a:pt x="6931" y="10239"/>
                  <a:pt x="6931" y="10775"/>
                </a:cubicBezTo>
                <a:lnTo>
                  <a:pt x="6931" y="11499"/>
                </a:lnTo>
                <a:cubicBezTo>
                  <a:pt x="6931" y="11688"/>
                  <a:pt x="7089" y="11846"/>
                  <a:pt x="7309" y="11846"/>
                </a:cubicBezTo>
                <a:lnTo>
                  <a:pt x="11468" y="11846"/>
                </a:lnTo>
                <a:cubicBezTo>
                  <a:pt x="11657" y="11846"/>
                  <a:pt x="11815" y="11688"/>
                  <a:pt x="11815" y="11499"/>
                </a:cubicBezTo>
                <a:lnTo>
                  <a:pt x="11815" y="10775"/>
                </a:lnTo>
                <a:cubicBezTo>
                  <a:pt x="11783" y="9830"/>
                  <a:pt x="11185" y="8979"/>
                  <a:pt x="10365" y="8569"/>
                </a:cubicBezTo>
                <a:cubicBezTo>
                  <a:pt x="10586" y="8349"/>
                  <a:pt x="10712" y="8034"/>
                  <a:pt x="10712" y="7624"/>
                </a:cubicBezTo>
                <a:cubicBezTo>
                  <a:pt x="10712" y="6868"/>
                  <a:pt x="10082" y="6238"/>
                  <a:pt x="9357" y="6238"/>
                </a:cubicBezTo>
                <a:cubicBezTo>
                  <a:pt x="8601" y="6238"/>
                  <a:pt x="7971" y="6868"/>
                  <a:pt x="7971" y="7624"/>
                </a:cubicBezTo>
                <a:cubicBezTo>
                  <a:pt x="7971" y="7971"/>
                  <a:pt x="8097" y="8286"/>
                  <a:pt x="8318" y="8569"/>
                </a:cubicBezTo>
                <a:cubicBezTo>
                  <a:pt x="8160" y="8664"/>
                  <a:pt x="8034" y="8727"/>
                  <a:pt x="7877" y="8822"/>
                </a:cubicBezTo>
                <a:lnTo>
                  <a:pt x="6207" y="7152"/>
                </a:lnTo>
                <a:lnTo>
                  <a:pt x="6207" y="5577"/>
                </a:lnTo>
                <a:lnTo>
                  <a:pt x="7940" y="5577"/>
                </a:lnTo>
                <a:cubicBezTo>
                  <a:pt x="8129" y="5577"/>
                  <a:pt x="8286" y="5419"/>
                  <a:pt x="8286" y="5230"/>
                </a:cubicBezTo>
                <a:lnTo>
                  <a:pt x="8286" y="4505"/>
                </a:lnTo>
                <a:cubicBezTo>
                  <a:pt x="8286" y="3529"/>
                  <a:pt x="7688" y="2710"/>
                  <a:pt x="6900" y="2300"/>
                </a:cubicBezTo>
                <a:cubicBezTo>
                  <a:pt x="7152" y="2080"/>
                  <a:pt x="7246" y="1764"/>
                  <a:pt x="7246" y="1355"/>
                </a:cubicBezTo>
                <a:cubicBezTo>
                  <a:pt x="7246" y="630"/>
                  <a:pt x="6616"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21" name="Google Shape;9721;p77"/>
          <p:cNvGrpSpPr/>
          <p:nvPr/>
        </p:nvGrpSpPr>
        <p:grpSpPr>
          <a:xfrm>
            <a:off x="7094699" y="1532659"/>
            <a:ext cx="309517" cy="348071"/>
            <a:chOff x="2523000" y="1954875"/>
            <a:chExt cx="262325" cy="295000"/>
          </a:xfrm>
        </p:grpSpPr>
        <p:sp>
          <p:nvSpPr>
            <p:cNvPr id="9722" name="Google Shape;9722;p77"/>
            <p:cNvSpPr/>
            <p:nvPr/>
          </p:nvSpPr>
          <p:spPr>
            <a:xfrm>
              <a:off x="2523000" y="1954875"/>
              <a:ext cx="262325" cy="295000"/>
            </a:xfrm>
            <a:custGeom>
              <a:avLst/>
              <a:gdLst/>
              <a:ahLst/>
              <a:cxnLst/>
              <a:rect l="l" t="t" r="r" b="b"/>
              <a:pathLst>
                <a:path w="10493" h="11800" extrusionOk="0">
                  <a:moveTo>
                    <a:pt x="5294" y="709"/>
                  </a:moveTo>
                  <a:cubicBezTo>
                    <a:pt x="6350" y="1316"/>
                    <a:pt x="7422" y="1602"/>
                    <a:pt x="8487" y="1602"/>
                  </a:cubicBezTo>
                  <a:cubicBezTo>
                    <a:pt x="8915" y="1602"/>
                    <a:pt x="9343" y="1556"/>
                    <a:pt x="9767" y="1465"/>
                  </a:cubicBezTo>
                  <a:lnTo>
                    <a:pt x="9767" y="5026"/>
                  </a:lnTo>
                  <a:cubicBezTo>
                    <a:pt x="9767" y="7798"/>
                    <a:pt x="7940" y="10287"/>
                    <a:pt x="5294" y="11137"/>
                  </a:cubicBezTo>
                  <a:cubicBezTo>
                    <a:pt x="2647" y="10350"/>
                    <a:pt x="789" y="7798"/>
                    <a:pt x="789" y="5026"/>
                  </a:cubicBezTo>
                  <a:lnTo>
                    <a:pt x="789" y="1465"/>
                  </a:lnTo>
                  <a:cubicBezTo>
                    <a:pt x="1222" y="1556"/>
                    <a:pt x="1654" y="1602"/>
                    <a:pt x="2084" y="1602"/>
                  </a:cubicBezTo>
                  <a:cubicBezTo>
                    <a:pt x="3153" y="1602"/>
                    <a:pt x="4215" y="1316"/>
                    <a:pt x="5294" y="709"/>
                  </a:cubicBezTo>
                  <a:close/>
                  <a:moveTo>
                    <a:pt x="5266" y="0"/>
                  </a:moveTo>
                  <a:cubicBezTo>
                    <a:pt x="5207" y="0"/>
                    <a:pt x="5152" y="16"/>
                    <a:pt x="5105" y="48"/>
                  </a:cubicBezTo>
                  <a:cubicBezTo>
                    <a:pt x="4065" y="646"/>
                    <a:pt x="3057" y="930"/>
                    <a:pt x="2017" y="930"/>
                  </a:cubicBezTo>
                  <a:cubicBezTo>
                    <a:pt x="1513" y="930"/>
                    <a:pt x="1009" y="835"/>
                    <a:pt x="473" y="678"/>
                  </a:cubicBezTo>
                  <a:cubicBezTo>
                    <a:pt x="440" y="669"/>
                    <a:pt x="408" y="665"/>
                    <a:pt x="378" y="665"/>
                  </a:cubicBezTo>
                  <a:cubicBezTo>
                    <a:pt x="297" y="665"/>
                    <a:pt x="228" y="695"/>
                    <a:pt x="158" y="741"/>
                  </a:cubicBezTo>
                  <a:cubicBezTo>
                    <a:pt x="95" y="804"/>
                    <a:pt x="1" y="898"/>
                    <a:pt x="1" y="993"/>
                  </a:cubicBezTo>
                  <a:lnTo>
                    <a:pt x="1" y="4994"/>
                  </a:lnTo>
                  <a:cubicBezTo>
                    <a:pt x="127" y="8176"/>
                    <a:pt x="2206" y="10917"/>
                    <a:pt x="5199" y="11799"/>
                  </a:cubicBezTo>
                  <a:lnTo>
                    <a:pt x="5357" y="11799"/>
                  </a:lnTo>
                  <a:cubicBezTo>
                    <a:pt x="8350" y="10917"/>
                    <a:pt x="10492" y="8176"/>
                    <a:pt x="10492" y="5026"/>
                  </a:cubicBezTo>
                  <a:lnTo>
                    <a:pt x="10492" y="1056"/>
                  </a:lnTo>
                  <a:cubicBezTo>
                    <a:pt x="10492" y="930"/>
                    <a:pt x="10429" y="835"/>
                    <a:pt x="10335" y="772"/>
                  </a:cubicBezTo>
                  <a:cubicBezTo>
                    <a:pt x="10282" y="720"/>
                    <a:pt x="10230" y="697"/>
                    <a:pt x="10173" y="697"/>
                  </a:cubicBezTo>
                  <a:cubicBezTo>
                    <a:pt x="10126" y="697"/>
                    <a:pt x="10076" y="713"/>
                    <a:pt x="10019" y="741"/>
                  </a:cubicBezTo>
                  <a:cubicBezTo>
                    <a:pt x="9509" y="876"/>
                    <a:pt x="9006" y="946"/>
                    <a:pt x="8504" y="946"/>
                  </a:cubicBezTo>
                  <a:cubicBezTo>
                    <a:pt x="7490" y="946"/>
                    <a:pt x="6485" y="659"/>
                    <a:pt x="5451" y="48"/>
                  </a:cubicBezTo>
                  <a:cubicBezTo>
                    <a:pt x="5388" y="16"/>
                    <a:pt x="5325" y="0"/>
                    <a:pt x="52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77"/>
            <p:cNvSpPr/>
            <p:nvPr/>
          </p:nvSpPr>
          <p:spPr>
            <a:xfrm>
              <a:off x="2595475" y="2024575"/>
              <a:ext cx="122100" cy="138650"/>
            </a:xfrm>
            <a:custGeom>
              <a:avLst/>
              <a:gdLst/>
              <a:ahLst/>
              <a:cxnLst/>
              <a:rect l="l" t="t" r="r" b="b"/>
              <a:pathLst>
                <a:path w="4884" h="5546" extrusionOk="0">
                  <a:moveTo>
                    <a:pt x="2426" y="694"/>
                  </a:moveTo>
                  <a:cubicBezTo>
                    <a:pt x="2836" y="694"/>
                    <a:pt x="3151" y="1009"/>
                    <a:pt x="3151" y="1418"/>
                  </a:cubicBezTo>
                  <a:cubicBezTo>
                    <a:pt x="3151" y="1796"/>
                    <a:pt x="2836" y="2111"/>
                    <a:pt x="2426" y="2111"/>
                  </a:cubicBezTo>
                  <a:cubicBezTo>
                    <a:pt x="2048" y="2111"/>
                    <a:pt x="1733" y="1796"/>
                    <a:pt x="1733" y="1418"/>
                  </a:cubicBezTo>
                  <a:cubicBezTo>
                    <a:pt x="1733" y="1009"/>
                    <a:pt x="2048" y="694"/>
                    <a:pt x="2426" y="694"/>
                  </a:cubicBezTo>
                  <a:close/>
                  <a:moveTo>
                    <a:pt x="2426" y="2742"/>
                  </a:moveTo>
                  <a:cubicBezTo>
                    <a:pt x="3371" y="2742"/>
                    <a:pt x="4159" y="3529"/>
                    <a:pt x="4159" y="4474"/>
                  </a:cubicBezTo>
                  <a:lnTo>
                    <a:pt x="4159" y="4821"/>
                  </a:lnTo>
                  <a:lnTo>
                    <a:pt x="693" y="4821"/>
                  </a:lnTo>
                  <a:lnTo>
                    <a:pt x="693" y="4474"/>
                  </a:lnTo>
                  <a:cubicBezTo>
                    <a:pt x="693" y="3529"/>
                    <a:pt x="1481" y="2742"/>
                    <a:pt x="2426" y="2742"/>
                  </a:cubicBezTo>
                  <a:close/>
                  <a:moveTo>
                    <a:pt x="2458" y="1"/>
                  </a:moveTo>
                  <a:cubicBezTo>
                    <a:pt x="1733" y="1"/>
                    <a:pt x="1103" y="599"/>
                    <a:pt x="1103" y="1355"/>
                  </a:cubicBezTo>
                  <a:cubicBezTo>
                    <a:pt x="1103" y="1733"/>
                    <a:pt x="1198" y="2048"/>
                    <a:pt x="1450" y="2269"/>
                  </a:cubicBezTo>
                  <a:cubicBezTo>
                    <a:pt x="630" y="2647"/>
                    <a:pt x="63" y="3498"/>
                    <a:pt x="63" y="4474"/>
                  </a:cubicBezTo>
                  <a:lnTo>
                    <a:pt x="63" y="5199"/>
                  </a:lnTo>
                  <a:cubicBezTo>
                    <a:pt x="0" y="5388"/>
                    <a:pt x="158" y="5546"/>
                    <a:pt x="347" y="5546"/>
                  </a:cubicBezTo>
                  <a:lnTo>
                    <a:pt x="4506" y="5546"/>
                  </a:lnTo>
                  <a:cubicBezTo>
                    <a:pt x="4726" y="5546"/>
                    <a:pt x="4884" y="5388"/>
                    <a:pt x="4884" y="5199"/>
                  </a:cubicBezTo>
                  <a:lnTo>
                    <a:pt x="4884" y="4474"/>
                  </a:lnTo>
                  <a:cubicBezTo>
                    <a:pt x="4884" y="3498"/>
                    <a:pt x="4317" y="2647"/>
                    <a:pt x="3497" y="2269"/>
                  </a:cubicBezTo>
                  <a:cubicBezTo>
                    <a:pt x="3718" y="2048"/>
                    <a:pt x="3844" y="1702"/>
                    <a:pt x="3844" y="1355"/>
                  </a:cubicBezTo>
                  <a:cubicBezTo>
                    <a:pt x="3844" y="599"/>
                    <a:pt x="321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77"/>
          <p:cNvGrpSpPr/>
          <p:nvPr/>
        </p:nvGrpSpPr>
        <p:grpSpPr>
          <a:xfrm>
            <a:off x="7073800" y="1983925"/>
            <a:ext cx="351315" cy="348542"/>
            <a:chOff x="2508825" y="2318350"/>
            <a:chExt cx="297750" cy="295400"/>
          </a:xfrm>
        </p:grpSpPr>
        <p:sp>
          <p:nvSpPr>
            <p:cNvPr id="9725" name="Google Shape;9725;p77"/>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6" name="Google Shape;9726;p77"/>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27" name="Google Shape;9727;p77"/>
          <p:cNvSpPr/>
          <p:nvPr/>
        </p:nvSpPr>
        <p:spPr>
          <a:xfrm>
            <a:off x="7074663" y="2425254"/>
            <a:ext cx="349457" cy="349427"/>
          </a:xfrm>
          <a:custGeom>
            <a:avLst/>
            <a:gdLst/>
            <a:ahLst/>
            <a:cxnLst/>
            <a:rect l="l" t="t" r="r" b="b"/>
            <a:pathLst>
              <a:path w="11847" h="11846" extrusionOk="0">
                <a:moveTo>
                  <a:pt x="10744" y="3718"/>
                </a:moveTo>
                <a:lnTo>
                  <a:pt x="10428" y="4348"/>
                </a:lnTo>
                <a:cubicBezTo>
                  <a:pt x="10397" y="4442"/>
                  <a:pt x="10397" y="4568"/>
                  <a:pt x="10428" y="4663"/>
                </a:cubicBezTo>
                <a:lnTo>
                  <a:pt x="10744" y="5293"/>
                </a:lnTo>
                <a:lnTo>
                  <a:pt x="9483" y="4915"/>
                </a:lnTo>
                <a:lnTo>
                  <a:pt x="9105" y="4505"/>
                </a:lnTo>
                <a:lnTo>
                  <a:pt x="9483" y="4127"/>
                </a:lnTo>
                <a:lnTo>
                  <a:pt x="10744" y="3718"/>
                </a:lnTo>
                <a:close/>
                <a:moveTo>
                  <a:pt x="4443" y="3497"/>
                </a:moveTo>
                <a:cubicBezTo>
                  <a:pt x="4884" y="3497"/>
                  <a:pt x="5262" y="3781"/>
                  <a:pt x="5419" y="4190"/>
                </a:cubicBezTo>
                <a:lnTo>
                  <a:pt x="4443" y="4190"/>
                </a:lnTo>
                <a:cubicBezTo>
                  <a:pt x="4253" y="4190"/>
                  <a:pt x="4096" y="4348"/>
                  <a:pt x="4096" y="4568"/>
                </a:cubicBezTo>
                <a:cubicBezTo>
                  <a:pt x="4096" y="4663"/>
                  <a:pt x="4253" y="4820"/>
                  <a:pt x="4443" y="4820"/>
                </a:cubicBezTo>
                <a:lnTo>
                  <a:pt x="5419" y="4820"/>
                </a:lnTo>
                <a:cubicBezTo>
                  <a:pt x="5262" y="5230"/>
                  <a:pt x="4915" y="5545"/>
                  <a:pt x="4443" y="5545"/>
                </a:cubicBezTo>
                <a:cubicBezTo>
                  <a:pt x="3844" y="5545"/>
                  <a:pt x="3434" y="5072"/>
                  <a:pt x="3434" y="4505"/>
                </a:cubicBezTo>
                <a:cubicBezTo>
                  <a:pt x="3434" y="3970"/>
                  <a:pt x="3907" y="3497"/>
                  <a:pt x="4443" y="3497"/>
                </a:cubicBezTo>
                <a:close/>
                <a:moveTo>
                  <a:pt x="4443" y="2080"/>
                </a:moveTo>
                <a:cubicBezTo>
                  <a:pt x="5671" y="2080"/>
                  <a:pt x="6679" y="2993"/>
                  <a:pt x="6837" y="4159"/>
                </a:cubicBezTo>
                <a:lnTo>
                  <a:pt x="6144" y="4159"/>
                </a:lnTo>
                <a:cubicBezTo>
                  <a:pt x="5986" y="3371"/>
                  <a:pt x="5262" y="2773"/>
                  <a:pt x="4443" y="2773"/>
                </a:cubicBezTo>
                <a:cubicBezTo>
                  <a:pt x="3497" y="2773"/>
                  <a:pt x="2710" y="3560"/>
                  <a:pt x="2710" y="4505"/>
                </a:cubicBezTo>
                <a:cubicBezTo>
                  <a:pt x="2710" y="5451"/>
                  <a:pt x="3497" y="6238"/>
                  <a:pt x="4443" y="6238"/>
                </a:cubicBezTo>
                <a:cubicBezTo>
                  <a:pt x="5262" y="6238"/>
                  <a:pt x="5986" y="5671"/>
                  <a:pt x="6144" y="4883"/>
                </a:cubicBezTo>
                <a:lnTo>
                  <a:pt x="6837" y="4883"/>
                </a:lnTo>
                <a:cubicBezTo>
                  <a:pt x="6679" y="6049"/>
                  <a:pt x="5671" y="6963"/>
                  <a:pt x="4443" y="6963"/>
                </a:cubicBezTo>
                <a:cubicBezTo>
                  <a:pt x="3119" y="6963"/>
                  <a:pt x="2017" y="5860"/>
                  <a:pt x="2017" y="4505"/>
                </a:cubicBezTo>
                <a:cubicBezTo>
                  <a:pt x="2017" y="3182"/>
                  <a:pt x="3119" y="2080"/>
                  <a:pt x="4443" y="2080"/>
                </a:cubicBezTo>
                <a:close/>
                <a:moveTo>
                  <a:pt x="4474" y="662"/>
                </a:moveTo>
                <a:cubicBezTo>
                  <a:pt x="6459" y="662"/>
                  <a:pt x="8097" y="2206"/>
                  <a:pt x="8255" y="4127"/>
                </a:cubicBezTo>
                <a:lnTo>
                  <a:pt x="7562" y="4127"/>
                </a:lnTo>
                <a:cubicBezTo>
                  <a:pt x="7372" y="2584"/>
                  <a:pt x="6049" y="1355"/>
                  <a:pt x="4443" y="1355"/>
                </a:cubicBezTo>
                <a:cubicBezTo>
                  <a:pt x="2710" y="1355"/>
                  <a:pt x="1324" y="2773"/>
                  <a:pt x="1324" y="4474"/>
                </a:cubicBezTo>
                <a:cubicBezTo>
                  <a:pt x="1324" y="6175"/>
                  <a:pt x="2741" y="7593"/>
                  <a:pt x="4443" y="7593"/>
                </a:cubicBezTo>
                <a:cubicBezTo>
                  <a:pt x="6049" y="7593"/>
                  <a:pt x="7372" y="6364"/>
                  <a:pt x="7562" y="4820"/>
                </a:cubicBezTo>
                <a:lnTo>
                  <a:pt x="8255" y="4820"/>
                </a:lnTo>
                <a:cubicBezTo>
                  <a:pt x="8097" y="6774"/>
                  <a:pt x="6459" y="8286"/>
                  <a:pt x="4474" y="8286"/>
                </a:cubicBezTo>
                <a:cubicBezTo>
                  <a:pt x="2395" y="8286"/>
                  <a:pt x="662" y="6616"/>
                  <a:pt x="662" y="4474"/>
                </a:cubicBezTo>
                <a:cubicBezTo>
                  <a:pt x="662" y="2363"/>
                  <a:pt x="2363" y="662"/>
                  <a:pt x="4474" y="662"/>
                </a:cubicBezTo>
                <a:close/>
                <a:moveTo>
                  <a:pt x="5734" y="8822"/>
                </a:moveTo>
                <a:lnTo>
                  <a:pt x="6049" y="9767"/>
                </a:lnTo>
                <a:lnTo>
                  <a:pt x="2836" y="9767"/>
                </a:lnTo>
                <a:lnTo>
                  <a:pt x="3151" y="8822"/>
                </a:lnTo>
                <a:cubicBezTo>
                  <a:pt x="3529" y="8916"/>
                  <a:pt x="4001" y="9011"/>
                  <a:pt x="4443" y="9011"/>
                </a:cubicBezTo>
                <a:cubicBezTo>
                  <a:pt x="4884" y="9011"/>
                  <a:pt x="5356" y="8916"/>
                  <a:pt x="5734" y="8822"/>
                </a:cubicBezTo>
                <a:close/>
                <a:moveTo>
                  <a:pt x="6522" y="10428"/>
                </a:moveTo>
                <a:cubicBezTo>
                  <a:pt x="6963" y="10428"/>
                  <a:pt x="7372" y="10680"/>
                  <a:pt x="7530" y="11121"/>
                </a:cubicBezTo>
                <a:lnTo>
                  <a:pt x="1418" y="11121"/>
                </a:lnTo>
                <a:cubicBezTo>
                  <a:pt x="1576" y="10743"/>
                  <a:pt x="1922" y="10428"/>
                  <a:pt x="2395" y="10428"/>
                </a:cubicBezTo>
                <a:close/>
                <a:moveTo>
                  <a:pt x="4474" y="0"/>
                </a:moveTo>
                <a:cubicBezTo>
                  <a:pt x="1985" y="0"/>
                  <a:pt x="0" y="1985"/>
                  <a:pt x="0" y="4474"/>
                </a:cubicBezTo>
                <a:cubicBezTo>
                  <a:pt x="0" y="6238"/>
                  <a:pt x="1040" y="7813"/>
                  <a:pt x="2552" y="8538"/>
                </a:cubicBezTo>
                <a:lnTo>
                  <a:pt x="2143" y="9767"/>
                </a:lnTo>
                <a:cubicBezTo>
                  <a:pt x="1324" y="9861"/>
                  <a:pt x="693" y="10586"/>
                  <a:pt x="693" y="11499"/>
                </a:cubicBezTo>
                <a:cubicBezTo>
                  <a:pt x="693" y="11688"/>
                  <a:pt x="851" y="11846"/>
                  <a:pt x="1040" y="11846"/>
                </a:cubicBezTo>
                <a:lnTo>
                  <a:pt x="7971" y="11846"/>
                </a:lnTo>
                <a:cubicBezTo>
                  <a:pt x="8192" y="11846"/>
                  <a:pt x="8349" y="11688"/>
                  <a:pt x="8349" y="11499"/>
                </a:cubicBezTo>
                <a:cubicBezTo>
                  <a:pt x="8349" y="10617"/>
                  <a:pt x="7719" y="9924"/>
                  <a:pt x="6900" y="9767"/>
                </a:cubicBezTo>
                <a:lnTo>
                  <a:pt x="6490" y="8538"/>
                </a:lnTo>
                <a:cubicBezTo>
                  <a:pt x="7782" y="7908"/>
                  <a:pt x="8727" y="6679"/>
                  <a:pt x="8979" y="5230"/>
                </a:cubicBezTo>
                <a:lnTo>
                  <a:pt x="9137" y="5388"/>
                </a:lnTo>
                <a:cubicBezTo>
                  <a:pt x="9168" y="5419"/>
                  <a:pt x="9200" y="5451"/>
                  <a:pt x="9263" y="5451"/>
                </a:cubicBezTo>
                <a:lnTo>
                  <a:pt x="11374" y="6175"/>
                </a:lnTo>
                <a:cubicBezTo>
                  <a:pt x="11403" y="6183"/>
                  <a:pt x="11435" y="6186"/>
                  <a:pt x="11466" y="6186"/>
                </a:cubicBezTo>
                <a:cubicBezTo>
                  <a:pt x="11569" y="6186"/>
                  <a:pt x="11672" y="6145"/>
                  <a:pt x="11720" y="6049"/>
                </a:cubicBezTo>
                <a:cubicBezTo>
                  <a:pt x="11815" y="5923"/>
                  <a:pt x="11846" y="5766"/>
                  <a:pt x="11783" y="5671"/>
                </a:cubicBezTo>
                <a:lnTo>
                  <a:pt x="11153" y="4442"/>
                </a:lnTo>
                <a:lnTo>
                  <a:pt x="11783" y="3214"/>
                </a:lnTo>
                <a:cubicBezTo>
                  <a:pt x="11815" y="3151"/>
                  <a:pt x="11783" y="2993"/>
                  <a:pt x="11689" y="2899"/>
                </a:cubicBezTo>
                <a:cubicBezTo>
                  <a:pt x="11641" y="2802"/>
                  <a:pt x="11519" y="2761"/>
                  <a:pt x="11422" y="2761"/>
                </a:cubicBezTo>
                <a:cubicBezTo>
                  <a:pt x="11392" y="2761"/>
                  <a:pt x="11364" y="2765"/>
                  <a:pt x="11342" y="2773"/>
                </a:cubicBezTo>
                <a:lnTo>
                  <a:pt x="9200" y="3497"/>
                </a:lnTo>
                <a:cubicBezTo>
                  <a:pt x="9168" y="3497"/>
                  <a:pt x="9105" y="3529"/>
                  <a:pt x="9105" y="3560"/>
                </a:cubicBezTo>
                <a:lnTo>
                  <a:pt x="8916" y="3718"/>
                </a:lnTo>
                <a:cubicBezTo>
                  <a:pt x="8570" y="1607"/>
                  <a:pt x="6742"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28" name="Google Shape;9728;p77"/>
          <p:cNvGrpSpPr/>
          <p:nvPr/>
        </p:nvGrpSpPr>
        <p:grpSpPr>
          <a:xfrm>
            <a:off x="5747373" y="2897978"/>
            <a:ext cx="347599" cy="348513"/>
            <a:chOff x="4321150" y="1946600"/>
            <a:chExt cx="294600" cy="295375"/>
          </a:xfrm>
        </p:grpSpPr>
        <p:sp>
          <p:nvSpPr>
            <p:cNvPr id="9729" name="Google Shape;9729;p77"/>
            <p:cNvSpPr/>
            <p:nvPr/>
          </p:nvSpPr>
          <p:spPr>
            <a:xfrm>
              <a:off x="4321150" y="1946600"/>
              <a:ext cx="294600" cy="295375"/>
            </a:xfrm>
            <a:custGeom>
              <a:avLst/>
              <a:gdLst/>
              <a:ahLst/>
              <a:cxnLst/>
              <a:rect l="l" t="t" r="r" b="b"/>
              <a:pathLst>
                <a:path w="11784" h="11815" extrusionOk="0">
                  <a:moveTo>
                    <a:pt x="9043" y="662"/>
                  </a:moveTo>
                  <a:lnTo>
                    <a:pt x="9043" y="2080"/>
                  </a:lnTo>
                  <a:lnTo>
                    <a:pt x="2742" y="2080"/>
                  </a:lnTo>
                  <a:lnTo>
                    <a:pt x="2742" y="662"/>
                  </a:lnTo>
                  <a:close/>
                  <a:moveTo>
                    <a:pt x="10775" y="2742"/>
                  </a:moveTo>
                  <a:cubicBezTo>
                    <a:pt x="10996" y="2742"/>
                    <a:pt x="11153" y="2899"/>
                    <a:pt x="11153" y="3120"/>
                  </a:cubicBezTo>
                  <a:lnTo>
                    <a:pt x="11153" y="6554"/>
                  </a:lnTo>
                  <a:cubicBezTo>
                    <a:pt x="11153" y="6774"/>
                    <a:pt x="10996" y="6932"/>
                    <a:pt x="10775" y="6932"/>
                  </a:cubicBezTo>
                  <a:lnTo>
                    <a:pt x="9767" y="6932"/>
                  </a:lnTo>
                  <a:lnTo>
                    <a:pt x="9767" y="4474"/>
                  </a:lnTo>
                  <a:cubicBezTo>
                    <a:pt x="9767" y="4285"/>
                    <a:pt x="9610" y="4128"/>
                    <a:pt x="9421" y="4128"/>
                  </a:cubicBezTo>
                  <a:lnTo>
                    <a:pt x="2427" y="4128"/>
                  </a:lnTo>
                  <a:cubicBezTo>
                    <a:pt x="2238" y="4128"/>
                    <a:pt x="2080" y="4285"/>
                    <a:pt x="2080" y="4474"/>
                  </a:cubicBezTo>
                  <a:lnTo>
                    <a:pt x="2080" y="6932"/>
                  </a:lnTo>
                  <a:lnTo>
                    <a:pt x="1009" y="6932"/>
                  </a:lnTo>
                  <a:cubicBezTo>
                    <a:pt x="820" y="6932"/>
                    <a:pt x="662" y="6774"/>
                    <a:pt x="662" y="6554"/>
                  </a:cubicBezTo>
                  <a:lnTo>
                    <a:pt x="662" y="3120"/>
                  </a:lnTo>
                  <a:cubicBezTo>
                    <a:pt x="662" y="2899"/>
                    <a:pt x="820" y="2742"/>
                    <a:pt x="1009" y="2742"/>
                  </a:cubicBezTo>
                  <a:close/>
                  <a:moveTo>
                    <a:pt x="9011" y="4821"/>
                  </a:moveTo>
                  <a:lnTo>
                    <a:pt x="9011" y="11090"/>
                  </a:lnTo>
                  <a:lnTo>
                    <a:pt x="2710" y="11090"/>
                  </a:lnTo>
                  <a:lnTo>
                    <a:pt x="2710" y="4821"/>
                  </a:lnTo>
                  <a:close/>
                  <a:moveTo>
                    <a:pt x="2395" y="1"/>
                  </a:moveTo>
                  <a:cubicBezTo>
                    <a:pt x="2206" y="1"/>
                    <a:pt x="2049" y="158"/>
                    <a:pt x="2049" y="347"/>
                  </a:cubicBezTo>
                  <a:lnTo>
                    <a:pt x="2049" y="2112"/>
                  </a:lnTo>
                  <a:lnTo>
                    <a:pt x="1009" y="2112"/>
                  </a:lnTo>
                  <a:cubicBezTo>
                    <a:pt x="442" y="2112"/>
                    <a:pt x="1" y="2584"/>
                    <a:pt x="1" y="3151"/>
                  </a:cubicBezTo>
                  <a:lnTo>
                    <a:pt x="1" y="6617"/>
                  </a:lnTo>
                  <a:cubicBezTo>
                    <a:pt x="1" y="7215"/>
                    <a:pt x="473" y="7625"/>
                    <a:pt x="1009" y="7625"/>
                  </a:cubicBezTo>
                  <a:lnTo>
                    <a:pt x="2049" y="7625"/>
                  </a:lnTo>
                  <a:lnTo>
                    <a:pt x="2049" y="11468"/>
                  </a:lnTo>
                  <a:cubicBezTo>
                    <a:pt x="2049" y="11657"/>
                    <a:pt x="2206" y="11815"/>
                    <a:pt x="2395" y="11815"/>
                  </a:cubicBezTo>
                  <a:lnTo>
                    <a:pt x="9358" y="11815"/>
                  </a:lnTo>
                  <a:cubicBezTo>
                    <a:pt x="9578" y="11815"/>
                    <a:pt x="9736" y="11657"/>
                    <a:pt x="9736" y="11468"/>
                  </a:cubicBezTo>
                  <a:lnTo>
                    <a:pt x="9736" y="7625"/>
                  </a:lnTo>
                  <a:lnTo>
                    <a:pt x="10744" y="7625"/>
                  </a:lnTo>
                  <a:cubicBezTo>
                    <a:pt x="11343" y="7625"/>
                    <a:pt x="11784" y="7152"/>
                    <a:pt x="11784" y="6617"/>
                  </a:cubicBezTo>
                  <a:lnTo>
                    <a:pt x="11784" y="3151"/>
                  </a:lnTo>
                  <a:cubicBezTo>
                    <a:pt x="11784" y="2553"/>
                    <a:pt x="11311" y="2112"/>
                    <a:pt x="10744" y="2112"/>
                  </a:cubicBezTo>
                  <a:lnTo>
                    <a:pt x="9736" y="2112"/>
                  </a:lnTo>
                  <a:lnTo>
                    <a:pt x="9736" y="347"/>
                  </a:lnTo>
                  <a:cubicBezTo>
                    <a:pt x="9736" y="158"/>
                    <a:pt x="9578" y="1"/>
                    <a:pt x="93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77"/>
            <p:cNvSpPr/>
            <p:nvPr/>
          </p:nvSpPr>
          <p:spPr>
            <a:xfrm>
              <a:off x="4564525" y="2031675"/>
              <a:ext cx="17350" cy="18125"/>
            </a:xfrm>
            <a:custGeom>
              <a:avLst/>
              <a:gdLst/>
              <a:ahLst/>
              <a:cxnLst/>
              <a:rect l="l" t="t" r="r" b="b"/>
              <a:pathLst>
                <a:path w="694" h="725" extrusionOk="0">
                  <a:moveTo>
                    <a:pt x="347" y="0"/>
                  </a:moveTo>
                  <a:cubicBezTo>
                    <a:pt x="158" y="0"/>
                    <a:pt x="1" y="189"/>
                    <a:pt x="1" y="378"/>
                  </a:cubicBezTo>
                  <a:cubicBezTo>
                    <a:pt x="1" y="599"/>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77"/>
            <p:cNvSpPr/>
            <p:nvPr/>
          </p:nvSpPr>
          <p:spPr>
            <a:xfrm>
              <a:off x="4414100" y="2084450"/>
              <a:ext cx="106350" cy="122100"/>
            </a:xfrm>
            <a:custGeom>
              <a:avLst/>
              <a:gdLst/>
              <a:ahLst/>
              <a:cxnLst/>
              <a:rect l="l" t="t" r="r" b="b"/>
              <a:pathLst>
                <a:path w="4254" h="4884" extrusionOk="0">
                  <a:moveTo>
                    <a:pt x="2174" y="693"/>
                  </a:moveTo>
                  <a:cubicBezTo>
                    <a:pt x="2584" y="693"/>
                    <a:pt x="2899" y="1008"/>
                    <a:pt x="2899" y="1418"/>
                  </a:cubicBezTo>
                  <a:cubicBezTo>
                    <a:pt x="2899" y="1796"/>
                    <a:pt x="2584" y="2111"/>
                    <a:pt x="2174" y="2111"/>
                  </a:cubicBezTo>
                  <a:cubicBezTo>
                    <a:pt x="1796" y="2111"/>
                    <a:pt x="1481" y="1796"/>
                    <a:pt x="1481" y="1418"/>
                  </a:cubicBezTo>
                  <a:cubicBezTo>
                    <a:pt x="1481" y="1008"/>
                    <a:pt x="1796" y="693"/>
                    <a:pt x="2174" y="693"/>
                  </a:cubicBezTo>
                  <a:close/>
                  <a:moveTo>
                    <a:pt x="2174" y="2804"/>
                  </a:moveTo>
                  <a:cubicBezTo>
                    <a:pt x="2930" y="2804"/>
                    <a:pt x="3592" y="3403"/>
                    <a:pt x="3592" y="4190"/>
                  </a:cubicBezTo>
                  <a:lnTo>
                    <a:pt x="756" y="4190"/>
                  </a:lnTo>
                  <a:cubicBezTo>
                    <a:pt x="756" y="3403"/>
                    <a:pt x="1387" y="2804"/>
                    <a:pt x="2174" y="2804"/>
                  </a:cubicBezTo>
                  <a:close/>
                  <a:moveTo>
                    <a:pt x="2143" y="0"/>
                  </a:moveTo>
                  <a:cubicBezTo>
                    <a:pt x="1387" y="0"/>
                    <a:pt x="725" y="630"/>
                    <a:pt x="725" y="1386"/>
                  </a:cubicBezTo>
                  <a:cubicBezTo>
                    <a:pt x="725" y="1733"/>
                    <a:pt x="882" y="2079"/>
                    <a:pt x="1103" y="2331"/>
                  </a:cubicBezTo>
                  <a:cubicBezTo>
                    <a:pt x="473" y="2678"/>
                    <a:pt x="0" y="3340"/>
                    <a:pt x="0" y="4159"/>
                  </a:cubicBezTo>
                  <a:lnTo>
                    <a:pt x="0" y="4537"/>
                  </a:lnTo>
                  <a:cubicBezTo>
                    <a:pt x="63" y="4726"/>
                    <a:pt x="221" y="4883"/>
                    <a:pt x="410" y="4883"/>
                  </a:cubicBezTo>
                  <a:lnTo>
                    <a:pt x="3907" y="4883"/>
                  </a:lnTo>
                  <a:cubicBezTo>
                    <a:pt x="4127" y="4883"/>
                    <a:pt x="4253" y="4726"/>
                    <a:pt x="4253" y="4537"/>
                  </a:cubicBezTo>
                  <a:lnTo>
                    <a:pt x="4253" y="4159"/>
                  </a:lnTo>
                  <a:cubicBezTo>
                    <a:pt x="4253" y="3371"/>
                    <a:pt x="3844" y="2709"/>
                    <a:pt x="3151" y="2331"/>
                  </a:cubicBezTo>
                  <a:cubicBezTo>
                    <a:pt x="3403" y="2048"/>
                    <a:pt x="3560" y="1733"/>
                    <a:pt x="3560" y="1386"/>
                  </a:cubicBezTo>
                  <a:cubicBezTo>
                    <a:pt x="3560" y="599"/>
                    <a:pt x="2930"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32" name="Google Shape;9732;p77"/>
          <p:cNvSpPr/>
          <p:nvPr/>
        </p:nvSpPr>
        <p:spPr>
          <a:xfrm>
            <a:off x="5744000" y="3398060"/>
            <a:ext cx="354117" cy="326242"/>
          </a:xfrm>
          <a:custGeom>
            <a:avLst/>
            <a:gdLst/>
            <a:ahLst/>
            <a:cxnLst/>
            <a:rect l="l" t="t" r="r" b="b"/>
            <a:pathLst>
              <a:path w="12005" h="11060" extrusionOk="0">
                <a:moveTo>
                  <a:pt x="2049" y="2049"/>
                </a:moveTo>
                <a:cubicBezTo>
                  <a:pt x="2238" y="2049"/>
                  <a:pt x="2395" y="2206"/>
                  <a:pt x="2395" y="2395"/>
                </a:cubicBezTo>
                <a:cubicBezTo>
                  <a:pt x="2395" y="2584"/>
                  <a:pt x="2238" y="2742"/>
                  <a:pt x="2049" y="2742"/>
                </a:cubicBezTo>
                <a:cubicBezTo>
                  <a:pt x="1860" y="2742"/>
                  <a:pt x="1702" y="2584"/>
                  <a:pt x="1702" y="2395"/>
                </a:cubicBezTo>
                <a:cubicBezTo>
                  <a:pt x="1734" y="2206"/>
                  <a:pt x="1860" y="2049"/>
                  <a:pt x="2049" y="2049"/>
                </a:cubicBezTo>
                <a:close/>
                <a:moveTo>
                  <a:pt x="9736" y="2049"/>
                </a:moveTo>
                <a:cubicBezTo>
                  <a:pt x="9925" y="2049"/>
                  <a:pt x="10082" y="2206"/>
                  <a:pt x="10082" y="2395"/>
                </a:cubicBezTo>
                <a:cubicBezTo>
                  <a:pt x="10082" y="2584"/>
                  <a:pt x="9925" y="2742"/>
                  <a:pt x="9736" y="2742"/>
                </a:cubicBezTo>
                <a:cubicBezTo>
                  <a:pt x="9515" y="2742"/>
                  <a:pt x="9358" y="2584"/>
                  <a:pt x="9358" y="2395"/>
                </a:cubicBezTo>
                <a:cubicBezTo>
                  <a:pt x="9358" y="2206"/>
                  <a:pt x="9515" y="2049"/>
                  <a:pt x="9736" y="2049"/>
                </a:cubicBezTo>
                <a:close/>
                <a:moveTo>
                  <a:pt x="2049" y="3719"/>
                </a:moveTo>
                <a:lnTo>
                  <a:pt x="3151" y="5514"/>
                </a:lnTo>
                <a:lnTo>
                  <a:pt x="946" y="5514"/>
                </a:lnTo>
                <a:lnTo>
                  <a:pt x="2049" y="3719"/>
                </a:lnTo>
                <a:close/>
                <a:moveTo>
                  <a:pt x="9736" y="3719"/>
                </a:moveTo>
                <a:lnTo>
                  <a:pt x="10838" y="5514"/>
                </a:lnTo>
                <a:lnTo>
                  <a:pt x="8633" y="5514"/>
                </a:lnTo>
                <a:lnTo>
                  <a:pt x="9736" y="3719"/>
                </a:lnTo>
                <a:close/>
                <a:moveTo>
                  <a:pt x="3435" y="6207"/>
                </a:moveTo>
                <a:cubicBezTo>
                  <a:pt x="3466" y="6964"/>
                  <a:pt x="2836" y="7594"/>
                  <a:pt x="2049" y="7594"/>
                </a:cubicBezTo>
                <a:cubicBezTo>
                  <a:pt x="1292" y="7594"/>
                  <a:pt x="662" y="6964"/>
                  <a:pt x="662" y="6207"/>
                </a:cubicBezTo>
                <a:close/>
                <a:moveTo>
                  <a:pt x="11090" y="6207"/>
                </a:moveTo>
                <a:cubicBezTo>
                  <a:pt x="11090" y="6964"/>
                  <a:pt x="10460" y="7594"/>
                  <a:pt x="9736" y="7594"/>
                </a:cubicBezTo>
                <a:cubicBezTo>
                  <a:pt x="8980" y="7594"/>
                  <a:pt x="8350" y="6964"/>
                  <a:pt x="8350" y="6207"/>
                </a:cubicBezTo>
                <a:close/>
                <a:moveTo>
                  <a:pt x="5892" y="663"/>
                </a:moveTo>
                <a:cubicBezTo>
                  <a:pt x="6113" y="663"/>
                  <a:pt x="6270" y="820"/>
                  <a:pt x="6270" y="1009"/>
                </a:cubicBezTo>
                <a:lnTo>
                  <a:pt x="6270" y="8980"/>
                </a:lnTo>
                <a:lnTo>
                  <a:pt x="5546" y="8980"/>
                </a:lnTo>
                <a:lnTo>
                  <a:pt x="5546" y="1009"/>
                </a:lnTo>
                <a:cubicBezTo>
                  <a:pt x="5546" y="820"/>
                  <a:pt x="5703" y="663"/>
                  <a:pt x="5892" y="663"/>
                </a:cubicBezTo>
                <a:close/>
                <a:moveTo>
                  <a:pt x="8003" y="9673"/>
                </a:moveTo>
                <a:cubicBezTo>
                  <a:pt x="8192" y="9673"/>
                  <a:pt x="8350" y="9830"/>
                  <a:pt x="8350" y="10020"/>
                </a:cubicBezTo>
                <a:lnTo>
                  <a:pt x="8350" y="10398"/>
                </a:lnTo>
                <a:lnTo>
                  <a:pt x="3466" y="10398"/>
                </a:lnTo>
                <a:lnTo>
                  <a:pt x="3466" y="10020"/>
                </a:lnTo>
                <a:cubicBezTo>
                  <a:pt x="3466" y="9830"/>
                  <a:pt x="3624" y="9673"/>
                  <a:pt x="3813" y="9673"/>
                </a:cubicBezTo>
                <a:close/>
                <a:moveTo>
                  <a:pt x="5955" y="1"/>
                </a:moveTo>
                <a:cubicBezTo>
                  <a:pt x="5357" y="1"/>
                  <a:pt x="4916" y="474"/>
                  <a:pt x="4916" y="1009"/>
                </a:cubicBezTo>
                <a:lnTo>
                  <a:pt x="4916" y="1167"/>
                </a:lnTo>
                <a:cubicBezTo>
                  <a:pt x="3970" y="1671"/>
                  <a:pt x="3655" y="1891"/>
                  <a:pt x="3057" y="1954"/>
                </a:cubicBezTo>
                <a:cubicBezTo>
                  <a:pt x="2899" y="1608"/>
                  <a:pt x="2553" y="1324"/>
                  <a:pt x="2112" y="1324"/>
                </a:cubicBezTo>
                <a:cubicBezTo>
                  <a:pt x="1734" y="1324"/>
                  <a:pt x="1387" y="1576"/>
                  <a:pt x="1166" y="1923"/>
                </a:cubicBezTo>
                <a:cubicBezTo>
                  <a:pt x="946" y="1891"/>
                  <a:pt x="694" y="1797"/>
                  <a:pt x="505" y="1734"/>
                </a:cubicBezTo>
                <a:cubicBezTo>
                  <a:pt x="454" y="1708"/>
                  <a:pt x="404" y="1697"/>
                  <a:pt x="355" y="1697"/>
                </a:cubicBezTo>
                <a:cubicBezTo>
                  <a:pt x="224" y="1697"/>
                  <a:pt x="110" y="1784"/>
                  <a:pt x="64" y="1923"/>
                </a:cubicBezTo>
                <a:cubicBezTo>
                  <a:pt x="1" y="2112"/>
                  <a:pt x="64" y="2301"/>
                  <a:pt x="284" y="2364"/>
                </a:cubicBezTo>
                <a:cubicBezTo>
                  <a:pt x="536" y="2458"/>
                  <a:pt x="820" y="2553"/>
                  <a:pt x="1135" y="2616"/>
                </a:cubicBezTo>
                <a:cubicBezTo>
                  <a:pt x="1229" y="2899"/>
                  <a:pt x="1387" y="3151"/>
                  <a:pt x="1607" y="3277"/>
                </a:cubicBezTo>
                <a:lnTo>
                  <a:pt x="127" y="5703"/>
                </a:lnTo>
                <a:cubicBezTo>
                  <a:pt x="64" y="5735"/>
                  <a:pt x="64" y="5829"/>
                  <a:pt x="64" y="5892"/>
                </a:cubicBezTo>
                <a:lnTo>
                  <a:pt x="64" y="6239"/>
                </a:lnTo>
                <a:cubicBezTo>
                  <a:pt x="64" y="7405"/>
                  <a:pt x="1009" y="8350"/>
                  <a:pt x="2175" y="8350"/>
                </a:cubicBezTo>
                <a:cubicBezTo>
                  <a:pt x="3309" y="8350"/>
                  <a:pt x="4254" y="7405"/>
                  <a:pt x="4254" y="6239"/>
                </a:cubicBezTo>
                <a:lnTo>
                  <a:pt x="4254" y="5892"/>
                </a:lnTo>
                <a:cubicBezTo>
                  <a:pt x="4254" y="5829"/>
                  <a:pt x="4254" y="5766"/>
                  <a:pt x="4222" y="5703"/>
                </a:cubicBezTo>
                <a:lnTo>
                  <a:pt x="2710" y="3277"/>
                </a:lnTo>
                <a:cubicBezTo>
                  <a:pt x="2962" y="3183"/>
                  <a:pt x="3120" y="2931"/>
                  <a:pt x="3183" y="2647"/>
                </a:cubicBezTo>
                <a:cubicBezTo>
                  <a:pt x="3844" y="2553"/>
                  <a:pt x="4222" y="2332"/>
                  <a:pt x="4947" y="1954"/>
                </a:cubicBezTo>
                <a:lnTo>
                  <a:pt x="4947" y="8980"/>
                </a:lnTo>
                <a:lnTo>
                  <a:pt x="3939" y="8980"/>
                </a:lnTo>
                <a:cubicBezTo>
                  <a:pt x="3340" y="8980"/>
                  <a:pt x="2899" y="9421"/>
                  <a:pt x="2899" y="9988"/>
                </a:cubicBezTo>
                <a:lnTo>
                  <a:pt x="2899" y="10713"/>
                </a:lnTo>
                <a:cubicBezTo>
                  <a:pt x="2899" y="10902"/>
                  <a:pt x="3057" y="11059"/>
                  <a:pt x="3246" y="11059"/>
                </a:cubicBezTo>
                <a:lnTo>
                  <a:pt x="8822" y="11059"/>
                </a:lnTo>
                <a:cubicBezTo>
                  <a:pt x="9011" y="11059"/>
                  <a:pt x="9169" y="10902"/>
                  <a:pt x="9169" y="10713"/>
                </a:cubicBezTo>
                <a:lnTo>
                  <a:pt x="9169" y="9988"/>
                </a:lnTo>
                <a:cubicBezTo>
                  <a:pt x="9169" y="9389"/>
                  <a:pt x="8696" y="8980"/>
                  <a:pt x="8129" y="8980"/>
                </a:cubicBezTo>
                <a:lnTo>
                  <a:pt x="7089" y="8980"/>
                </a:lnTo>
                <a:lnTo>
                  <a:pt x="7089" y="1954"/>
                </a:lnTo>
                <a:cubicBezTo>
                  <a:pt x="7814" y="2332"/>
                  <a:pt x="8224" y="2553"/>
                  <a:pt x="8885" y="2647"/>
                </a:cubicBezTo>
                <a:cubicBezTo>
                  <a:pt x="8980" y="2931"/>
                  <a:pt x="9137" y="3120"/>
                  <a:pt x="9358" y="3277"/>
                </a:cubicBezTo>
                <a:lnTo>
                  <a:pt x="7877" y="5703"/>
                </a:lnTo>
                <a:cubicBezTo>
                  <a:pt x="7814" y="5735"/>
                  <a:pt x="7814" y="5829"/>
                  <a:pt x="7814" y="5892"/>
                </a:cubicBezTo>
                <a:lnTo>
                  <a:pt x="7814" y="6239"/>
                </a:lnTo>
                <a:cubicBezTo>
                  <a:pt x="7814" y="7405"/>
                  <a:pt x="8759" y="8350"/>
                  <a:pt x="9925" y="8350"/>
                </a:cubicBezTo>
                <a:cubicBezTo>
                  <a:pt x="11059" y="8350"/>
                  <a:pt x="12004" y="7405"/>
                  <a:pt x="12004" y="6239"/>
                </a:cubicBezTo>
                <a:lnTo>
                  <a:pt x="12004" y="5892"/>
                </a:lnTo>
                <a:cubicBezTo>
                  <a:pt x="12004" y="5829"/>
                  <a:pt x="12004" y="5766"/>
                  <a:pt x="11973" y="5703"/>
                </a:cubicBezTo>
                <a:lnTo>
                  <a:pt x="10460" y="3277"/>
                </a:lnTo>
                <a:cubicBezTo>
                  <a:pt x="10523" y="3151"/>
                  <a:pt x="10681" y="2899"/>
                  <a:pt x="10744" y="2616"/>
                </a:cubicBezTo>
                <a:cubicBezTo>
                  <a:pt x="11027" y="2553"/>
                  <a:pt x="11343" y="2458"/>
                  <a:pt x="11626" y="2364"/>
                </a:cubicBezTo>
                <a:cubicBezTo>
                  <a:pt x="11815" y="2269"/>
                  <a:pt x="11878" y="2080"/>
                  <a:pt x="11815" y="1923"/>
                </a:cubicBezTo>
                <a:cubicBezTo>
                  <a:pt x="11746" y="1784"/>
                  <a:pt x="11626" y="1697"/>
                  <a:pt x="11505" y="1697"/>
                </a:cubicBezTo>
                <a:cubicBezTo>
                  <a:pt x="11461" y="1697"/>
                  <a:pt x="11416" y="1708"/>
                  <a:pt x="11374" y="1734"/>
                </a:cubicBezTo>
                <a:cubicBezTo>
                  <a:pt x="11122" y="1797"/>
                  <a:pt x="10933" y="1891"/>
                  <a:pt x="10712" y="1923"/>
                </a:cubicBezTo>
                <a:cubicBezTo>
                  <a:pt x="10555" y="1576"/>
                  <a:pt x="10208" y="1324"/>
                  <a:pt x="9767" y="1324"/>
                </a:cubicBezTo>
                <a:cubicBezTo>
                  <a:pt x="9326" y="1324"/>
                  <a:pt x="8980" y="1576"/>
                  <a:pt x="8822" y="1954"/>
                </a:cubicBezTo>
                <a:cubicBezTo>
                  <a:pt x="8224" y="1828"/>
                  <a:pt x="7908" y="1639"/>
                  <a:pt x="6963" y="1167"/>
                </a:cubicBezTo>
                <a:lnTo>
                  <a:pt x="6963" y="1009"/>
                </a:lnTo>
                <a:cubicBezTo>
                  <a:pt x="6963" y="411"/>
                  <a:pt x="6491" y="1"/>
                  <a:pt x="59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77"/>
          <p:cNvSpPr/>
          <p:nvPr/>
        </p:nvSpPr>
        <p:spPr>
          <a:xfrm>
            <a:off x="5744472" y="3836225"/>
            <a:ext cx="353174" cy="348513"/>
          </a:xfrm>
          <a:custGeom>
            <a:avLst/>
            <a:gdLst/>
            <a:ahLst/>
            <a:cxnLst/>
            <a:rect l="l" t="t" r="r" b="b"/>
            <a:pathLst>
              <a:path w="11973" h="11815" extrusionOk="0">
                <a:moveTo>
                  <a:pt x="5986" y="631"/>
                </a:moveTo>
                <a:cubicBezTo>
                  <a:pt x="6396" y="631"/>
                  <a:pt x="6711" y="946"/>
                  <a:pt x="6711" y="1324"/>
                </a:cubicBezTo>
                <a:cubicBezTo>
                  <a:pt x="6711" y="1733"/>
                  <a:pt x="6396" y="2048"/>
                  <a:pt x="5986" y="2048"/>
                </a:cubicBezTo>
                <a:cubicBezTo>
                  <a:pt x="5608" y="2048"/>
                  <a:pt x="5293" y="1733"/>
                  <a:pt x="5293" y="1324"/>
                </a:cubicBezTo>
                <a:cubicBezTo>
                  <a:pt x="5293" y="946"/>
                  <a:pt x="5608" y="631"/>
                  <a:pt x="5986" y="631"/>
                </a:cubicBezTo>
                <a:close/>
                <a:moveTo>
                  <a:pt x="5986" y="2710"/>
                </a:moveTo>
                <a:cubicBezTo>
                  <a:pt x="6931" y="2710"/>
                  <a:pt x="7719" y="3498"/>
                  <a:pt x="7719" y="4443"/>
                </a:cubicBezTo>
                <a:lnTo>
                  <a:pt x="7719" y="4789"/>
                </a:lnTo>
                <a:lnTo>
                  <a:pt x="4253" y="4789"/>
                </a:lnTo>
                <a:lnTo>
                  <a:pt x="4253" y="4443"/>
                </a:lnTo>
                <a:cubicBezTo>
                  <a:pt x="4253" y="3498"/>
                  <a:pt x="5041" y="2710"/>
                  <a:pt x="5986" y="2710"/>
                </a:cubicBezTo>
                <a:close/>
                <a:moveTo>
                  <a:pt x="3245" y="6900"/>
                </a:moveTo>
                <a:cubicBezTo>
                  <a:pt x="3623" y="6900"/>
                  <a:pt x="3938" y="7215"/>
                  <a:pt x="3938" y="7593"/>
                </a:cubicBezTo>
                <a:cubicBezTo>
                  <a:pt x="3938" y="8003"/>
                  <a:pt x="3623" y="8318"/>
                  <a:pt x="3245" y="8318"/>
                </a:cubicBezTo>
                <a:cubicBezTo>
                  <a:pt x="2836" y="8255"/>
                  <a:pt x="2521" y="7940"/>
                  <a:pt x="2521" y="7593"/>
                </a:cubicBezTo>
                <a:cubicBezTo>
                  <a:pt x="2521" y="7215"/>
                  <a:pt x="2836" y="6900"/>
                  <a:pt x="3245" y="6900"/>
                </a:cubicBezTo>
                <a:close/>
                <a:moveTo>
                  <a:pt x="8759" y="6900"/>
                </a:moveTo>
                <a:cubicBezTo>
                  <a:pt x="9137" y="6900"/>
                  <a:pt x="9452" y="7215"/>
                  <a:pt x="9452" y="7593"/>
                </a:cubicBezTo>
                <a:cubicBezTo>
                  <a:pt x="9452" y="8003"/>
                  <a:pt x="9137" y="8318"/>
                  <a:pt x="8759" y="8318"/>
                </a:cubicBezTo>
                <a:cubicBezTo>
                  <a:pt x="8349" y="8318"/>
                  <a:pt x="8034" y="7940"/>
                  <a:pt x="8034" y="7593"/>
                </a:cubicBezTo>
                <a:cubicBezTo>
                  <a:pt x="8034" y="7215"/>
                  <a:pt x="8349" y="6900"/>
                  <a:pt x="8759" y="6900"/>
                </a:cubicBezTo>
                <a:close/>
                <a:moveTo>
                  <a:pt x="10365" y="5545"/>
                </a:moveTo>
                <a:cubicBezTo>
                  <a:pt x="10523" y="5545"/>
                  <a:pt x="10680" y="5672"/>
                  <a:pt x="10712" y="5829"/>
                </a:cubicBezTo>
                <a:lnTo>
                  <a:pt x="11216" y="8570"/>
                </a:lnTo>
                <a:cubicBezTo>
                  <a:pt x="11247" y="8790"/>
                  <a:pt x="11027" y="8980"/>
                  <a:pt x="10838" y="8980"/>
                </a:cubicBezTo>
                <a:lnTo>
                  <a:pt x="10460" y="8980"/>
                </a:lnTo>
                <a:cubicBezTo>
                  <a:pt x="10239" y="8790"/>
                  <a:pt x="10019" y="8633"/>
                  <a:pt x="9767" y="8507"/>
                </a:cubicBezTo>
                <a:cubicBezTo>
                  <a:pt x="10019" y="8255"/>
                  <a:pt x="10145" y="7940"/>
                  <a:pt x="10145" y="7562"/>
                </a:cubicBezTo>
                <a:cubicBezTo>
                  <a:pt x="10145" y="6806"/>
                  <a:pt x="9515" y="6176"/>
                  <a:pt x="8759" y="6176"/>
                </a:cubicBezTo>
                <a:cubicBezTo>
                  <a:pt x="8002" y="6176"/>
                  <a:pt x="7372" y="6806"/>
                  <a:pt x="7372" y="7562"/>
                </a:cubicBezTo>
                <a:cubicBezTo>
                  <a:pt x="7372" y="7908"/>
                  <a:pt x="7498" y="8223"/>
                  <a:pt x="7719" y="8507"/>
                </a:cubicBezTo>
                <a:cubicBezTo>
                  <a:pt x="7498" y="8633"/>
                  <a:pt x="7246" y="8790"/>
                  <a:pt x="7057" y="8980"/>
                </a:cubicBezTo>
                <a:lnTo>
                  <a:pt x="4883" y="8980"/>
                </a:lnTo>
                <a:cubicBezTo>
                  <a:pt x="4694" y="8790"/>
                  <a:pt x="4442" y="8633"/>
                  <a:pt x="4222" y="8507"/>
                </a:cubicBezTo>
                <a:cubicBezTo>
                  <a:pt x="4474" y="8255"/>
                  <a:pt x="4568" y="7940"/>
                  <a:pt x="4568" y="7562"/>
                </a:cubicBezTo>
                <a:cubicBezTo>
                  <a:pt x="4568" y="6806"/>
                  <a:pt x="3938" y="6176"/>
                  <a:pt x="3214" y="6176"/>
                </a:cubicBezTo>
                <a:cubicBezTo>
                  <a:pt x="2458" y="6176"/>
                  <a:pt x="1828" y="6806"/>
                  <a:pt x="1828" y="7562"/>
                </a:cubicBezTo>
                <a:cubicBezTo>
                  <a:pt x="1828" y="7908"/>
                  <a:pt x="1954" y="8223"/>
                  <a:pt x="2174" y="8507"/>
                </a:cubicBezTo>
                <a:cubicBezTo>
                  <a:pt x="1922" y="8633"/>
                  <a:pt x="1701" y="8790"/>
                  <a:pt x="1512" y="8980"/>
                </a:cubicBezTo>
                <a:lnTo>
                  <a:pt x="1103" y="8980"/>
                </a:lnTo>
                <a:cubicBezTo>
                  <a:pt x="882" y="8980"/>
                  <a:pt x="725" y="8790"/>
                  <a:pt x="756" y="8570"/>
                </a:cubicBezTo>
                <a:lnTo>
                  <a:pt x="1260" y="5829"/>
                </a:lnTo>
                <a:cubicBezTo>
                  <a:pt x="1323" y="5672"/>
                  <a:pt x="1418" y="5545"/>
                  <a:pt x="1638" y="5545"/>
                </a:cubicBezTo>
                <a:close/>
                <a:moveTo>
                  <a:pt x="3214" y="8948"/>
                </a:moveTo>
                <a:cubicBezTo>
                  <a:pt x="4127" y="8948"/>
                  <a:pt x="4915" y="9736"/>
                  <a:pt x="4915" y="10712"/>
                </a:cubicBezTo>
                <a:lnTo>
                  <a:pt x="4915" y="11059"/>
                </a:lnTo>
                <a:lnTo>
                  <a:pt x="1481" y="11059"/>
                </a:lnTo>
                <a:lnTo>
                  <a:pt x="1481" y="10712"/>
                </a:lnTo>
                <a:cubicBezTo>
                  <a:pt x="1481" y="9736"/>
                  <a:pt x="2269" y="8948"/>
                  <a:pt x="3214" y="8948"/>
                </a:cubicBezTo>
                <a:close/>
                <a:moveTo>
                  <a:pt x="8759" y="8948"/>
                </a:moveTo>
                <a:cubicBezTo>
                  <a:pt x="9704" y="8948"/>
                  <a:pt x="10491" y="9736"/>
                  <a:pt x="10491" y="10712"/>
                </a:cubicBezTo>
                <a:lnTo>
                  <a:pt x="10491" y="11059"/>
                </a:lnTo>
                <a:lnTo>
                  <a:pt x="7026" y="11059"/>
                </a:lnTo>
                <a:lnTo>
                  <a:pt x="7026" y="10712"/>
                </a:lnTo>
                <a:cubicBezTo>
                  <a:pt x="7026" y="9736"/>
                  <a:pt x="7813" y="8948"/>
                  <a:pt x="8759" y="8948"/>
                </a:cubicBezTo>
                <a:close/>
                <a:moveTo>
                  <a:pt x="5986" y="1"/>
                </a:moveTo>
                <a:cubicBezTo>
                  <a:pt x="5262" y="1"/>
                  <a:pt x="4631" y="631"/>
                  <a:pt x="4631" y="1387"/>
                </a:cubicBezTo>
                <a:cubicBezTo>
                  <a:pt x="4631" y="1733"/>
                  <a:pt x="4726" y="2048"/>
                  <a:pt x="4978" y="2269"/>
                </a:cubicBezTo>
                <a:cubicBezTo>
                  <a:pt x="4127" y="2679"/>
                  <a:pt x="3592" y="3498"/>
                  <a:pt x="3592" y="4474"/>
                </a:cubicBezTo>
                <a:lnTo>
                  <a:pt x="3592" y="4852"/>
                </a:lnTo>
                <a:lnTo>
                  <a:pt x="1670" y="4852"/>
                </a:lnTo>
                <a:cubicBezTo>
                  <a:pt x="1166" y="4852"/>
                  <a:pt x="725" y="5199"/>
                  <a:pt x="630" y="5703"/>
                </a:cubicBezTo>
                <a:lnTo>
                  <a:pt x="126" y="8475"/>
                </a:lnTo>
                <a:cubicBezTo>
                  <a:pt x="0" y="9043"/>
                  <a:pt x="473" y="9610"/>
                  <a:pt x="1071" y="9673"/>
                </a:cubicBezTo>
                <a:cubicBezTo>
                  <a:pt x="914" y="9988"/>
                  <a:pt x="819" y="10366"/>
                  <a:pt x="819" y="10744"/>
                </a:cubicBezTo>
                <a:lnTo>
                  <a:pt x="819" y="11468"/>
                </a:lnTo>
                <a:cubicBezTo>
                  <a:pt x="819" y="11657"/>
                  <a:pt x="977" y="11815"/>
                  <a:pt x="1197" y="11815"/>
                </a:cubicBezTo>
                <a:lnTo>
                  <a:pt x="5356" y="11815"/>
                </a:lnTo>
                <a:cubicBezTo>
                  <a:pt x="5545" y="11815"/>
                  <a:pt x="5703" y="11657"/>
                  <a:pt x="5703" y="11468"/>
                </a:cubicBezTo>
                <a:lnTo>
                  <a:pt x="5703" y="10744"/>
                </a:lnTo>
                <a:cubicBezTo>
                  <a:pt x="5703" y="10366"/>
                  <a:pt x="5640" y="9988"/>
                  <a:pt x="5482" y="9673"/>
                </a:cubicBezTo>
                <a:lnTo>
                  <a:pt x="6648" y="9673"/>
                </a:lnTo>
                <a:cubicBezTo>
                  <a:pt x="6490" y="9988"/>
                  <a:pt x="6427" y="10366"/>
                  <a:pt x="6427" y="10744"/>
                </a:cubicBezTo>
                <a:lnTo>
                  <a:pt x="6427" y="11468"/>
                </a:lnTo>
                <a:cubicBezTo>
                  <a:pt x="6427" y="11657"/>
                  <a:pt x="6585" y="11815"/>
                  <a:pt x="6774" y="11815"/>
                </a:cubicBezTo>
                <a:lnTo>
                  <a:pt x="10838" y="11815"/>
                </a:lnTo>
                <a:cubicBezTo>
                  <a:pt x="11027" y="11815"/>
                  <a:pt x="11184" y="11657"/>
                  <a:pt x="11184" y="11468"/>
                </a:cubicBezTo>
                <a:lnTo>
                  <a:pt x="11184" y="10744"/>
                </a:lnTo>
                <a:cubicBezTo>
                  <a:pt x="11184" y="10366"/>
                  <a:pt x="11121" y="9988"/>
                  <a:pt x="10964" y="9673"/>
                </a:cubicBezTo>
                <a:cubicBezTo>
                  <a:pt x="11563" y="9610"/>
                  <a:pt x="11972" y="9043"/>
                  <a:pt x="11878" y="8475"/>
                </a:cubicBezTo>
                <a:lnTo>
                  <a:pt x="11342" y="5703"/>
                </a:lnTo>
                <a:cubicBezTo>
                  <a:pt x="11279" y="5199"/>
                  <a:pt x="10838" y="4852"/>
                  <a:pt x="10334" y="4852"/>
                </a:cubicBezTo>
                <a:lnTo>
                  <a:pt x="8412" y="4852"/>
                </a:lnTo>
                <a:lnTo>
                  <a:pt x="8412" y="4474"/>
                </a:lnTo>
                <a:cubicBezTo>
                  <a:pt x="8412" y="3498"/>
                  <a:pt x="7845" y="2679"/>
                  <a:pt x="7026" y="2269"/>
                </a:cubicBezTo>
                <a:cubicBezTo>
                  <a:pt x="7246" y="2048"/>
                  <a:pt x="7372" y="1733"/>
                  <a:pt x="7372" y="1387"/>
                </a:cubicBezTo>
                <a:cubicBezTo>
                  <a:pt x="7372" y="631"/>
                  <a:pt x="6742" y="1"/>
                  <a:pt x="5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77"/>
          <p:cNvSpPr/>
          <p:nvPr/>
        </p:nvSpPr>
        <p:spPr>
          <a:xfrm>
            <a:off x="8020096" y="2898870"/>
            <a:ext cx="224004" cy="346655"/>
          </a:xfrm>
          <a:custGeom>
            <a:avLst/>
            <a:gdLst/>
            <a:ahLst/>
            <a:cxnLst/>
            <a:rect l="l" t="t" r="r" b="b"/>
            <a:pathLst>
              <a:path w="7594" h="11752" extrusionOk="0">
                <a:moveTo>
                  <a:pt x="6585" y="662"/>
                </a:moveTo>
                <a:cubicBezTo>
                  <a:pt x="6774" y="662"/>
                  <a:pt x="6932" y="819"/>
                  <a:pt x="6932" y="1008"/>
                </a:cubicBezTo>
                <a:cubicBezTo>
                  <a:pt x="6932" y="1197"/>
                  <a:pt x="6774" y="1355"/>
                  <a:pt x="6585" y="1355"/>
                </a:cubicBezTo>
                <a:lnTo>
                  <a:pt x="1040" y="1355"/>
                </a:lnTo>
                <a:cubicBezTo>
                  <a:pt x="820" y="1355"/>
                  <a:pt x="662" y="1197"/>
                  <a:pt x="662" y="1008"/>
                </a:cubicBezTo>
                <a:cubicBezTo>
                  <a:pt x="662" y="819"/>
                  <a:pt x="820" y="662"/>
                  <a:pt x="1040" y="662"/>
                </a:cubicBezTo>
                <a:close/>
                <a:moveTo>
                  <a:pt x="6175" y="2048"/>
                </a:moveTo>
                <a:lnTo>
                  <a:pt x="6175" y="2867"/>
                </a:lnTo>
                <a:cubicBezTo>
                  <a:pt x="5435" y="3277"/>
                  <a:pt x="4600" y="3481"/>
                  <a:pt x="3765" y="3481"/>
                </a:cubicBezTo>
                <a:cubicBezTo>
                  <a:pt x="2930" y="3481"/>
                  <a:pt x="2096" y="3277"/>
                  <a:pt x="1355" y="2867"/>
                </a:cubicBezTo>
                <a:lnTo>
                  <a:pt x="1355" y="2048"/>
                </a:lnTo>
                <a:close/>
                <a:moveTo>
                  <a:pt x="1418" y="3686"/>
                </a:moveTo>
                <a:lnTo>
                  <a:pt x="1418" y="3686"/>
                </a:lnTo>
                <a:cubicBezTo>
                  <a:pt x="2174" y="4001"/>
                  <a:pt x="2962" y="4190"/>
                  <a:pt x="3781" y="4190"/>
                </a:cubicBezTo>
                <a:cubicBezTo>
                  <a:pt x="4600" y="4190"/>
                  <a:pt x="5388" y="4033"/>
                  <a:pt x="6144" y="3686"/>
                </a:cubicBezTo>
                <a:lnTo>
                  <a:pt x="6144" y="3686"/>
                </a:lnTo>
                <a:cubicBezTo>
                  <a:pt x="5860" y="4757"/>
                  <a:pt x="4915" y="5545"/>
                  <a:pt x="3781" y="5545"/>
                </a:cubicBezTo>
                <a:cubicBezTo>
                  <a:pt x="2647" y="5545"/>
                  <a:pt x="1702" y="4757"/>
                  <a:pt x="1418" y="3686"/>
                </a:cubicBezTo>
                <a:close/>
                <a:moveTo>
                  <a:pt x="3435" y="6238"/>
                </a:moveTo>
                <a:lnTo>
                  <a:pt x="3435" y="7813"/>
                </a:lnTo>
                <a:lnTo>
                  <a:pt x="1544" y="9704"/>
                </a:lnTo>
                <a:lnTo>
                  <a:pt x="1355" y="9704"/>
                </a:lnTo>
                <a:lnTo>
                  <a:pt x="1355" y="8695"/>
                </a:lnTo>
                <a:cubicBezTo>
                  <a:pt x="1355" y="7467"/>
                  <a:pt x="2237" y="6427"/>
                  <a:pt x="3435" y="6238"/>
                </a:cubicBezTo>
                <a:close/>
                <a:moveTo>
                  <a:pt x="3781" y="8443"/>
                </a:moveTo>
                <a:lnTo>
                  <a:pt x="5041" y="9704"/>
                </a:lnTo>
                <a:lnTo>
                  <a:pt x="2552" y="9704"/>
                </a:lnTo>
                <a:lnTo>
                  <a:pt x="3781" y="8443"/>
                </a:lnTo>
                <a:close/>
                <a:moveTo>
                  <a:pt x="4128" y="6238"/>
                </a:moveTo>
                <a:cubicBezTo>
                  <a:pt x="5325" y="6396"/>
                  <a:pt x="6207" y="7435"/>
                  <a:pt x="6207" y="8695"/>
                </a:cubicBezTo>
                <a:lnTo>
                  <a:pt x="6207" y="9704"/>
                </a:lnTo>
                <a:lnTo>
                  <a:pt x="6018" y="9704"/>
                </a:lnTo>
                <a:lnTo>
                  <a:pt x="4128" y="7813"/>
                </a:lnTo>
                <a:lnTo>
                  <a:pt x="4128" y="6238"/>
                </a:lnTo>
                <a:close/>
                <a:moveTo>
                  <a:pt x="6553" y="10397"/>
                </a:moveTo>
                <a:cubicBezTo>
                  <a:pt x="6743" y="10428"/>
                  <a:pt x="6900" y="10586"/>
                  <a:pt x="6900" y="10743"/>
                </a:cubicBezTo>
                <a:cubicBezTo>
                  <a:pt x="6900" y="10932"/>
                  <a:pt x="6743" y="11090"/>
                  <a:pt x="6553" y="11090"/>
                </a:cubicBezTo>
                <a:lnTo>
                  <a:pt x="977" y="11090"/>
                </a:lnTo>
                <a:cubicBezTo>
                  <a:pt x="788" y="11090"/>
                  <a:pt x="631" y="10932"/>
                  <a:pt x="631" y="10743"/>
                </a:cubicBezTo>
                <a:cubicBezTo>
                  <a:pt x="631" y="10554"/>
                  <a:pt x="788" y="10397"/>
                  <a:pt x="977" y="10397"/>
                </a:cubicBezTo>
                <a:close/>
                <a:moveTo>
                  <a:pt x="1009" y="0"/>
                </a:moveTo>
                <a:cubicBezTo>
                  <a:pt x="442" y="0"/>
                  <a:pt x="0" y="473"/>
                  <a:pt x="0" y="1008"/>
                </a:cubicBezTo>
                <a:cubicBezTo>
                  <a:pt x="0" y="1449"/>
                  <a:pt x="284" y="1827"/>
                  <a:pt x="694" y="1985"/>
                </a:cubicBezTo>
                <a:lnTo>
                  <a:pt x="694" y="3088"/>
                </a:lnTo>
                <a:cubicBezTo>
                  <a:pt x="694" y="4316"/>
                  <a:pt x="1387" y="5356"/>
                  <a:pt x="2395" y="5860"/>
                </a:cubicBezTo>
                <a:cubicBezTo>
                  <a:pt x="1387" y="6364"/>
                  <a:pt x="694" y="7435"/>
                  <a:pt x="694" y="8664"/>
                </a:cubicBezTo>
                <a:lnTo>
                  <a:pt x="694" y="9767"/>
                </a:lnTo>
                <a:cubicBezTo>
                  <a:pt x="316" y="9924"/>
                  <a:pt x="0" y="10271"/>
                  <a:pt x="0" y="10743"/>
                </a:cubicBezTo>
                <a:cubicBezTo>
                  <a:pt x="0" y="11342"/>
                  <a:pt x="473" y="11751"/>
                  <a:pt x="1009" y="11751"/>
                </a:cubicBezTo>
                <a:lnTo>
                  <a:pt x="6585" y="11751"/>
                </a:lnTo>
                <a:cubicBezTo>
                  <a:pt x="7152" y="11751"/>
                  <a:pt x="7593" y="11279"/>
                  <a:pt x="7593" y="10743"/>
                </a:cubicBezTo>
                <a:cubicBezTo>
                  <a:pt x="7593" y="10302"/>
                  <a:pt x="7310" y="9924"/>
                  <a:pt x="6900" y="9767"/>
                </a:cubicBezTo>
                <a:lnTo>
                  <a:pt x="6900" y="8664"/>
                </a:lnTo>
                <a:cubicBezTo>
                  <a:pt x="6900" y="7435"/>
                  <a:pt x="6207" y="6364"/>
                  <a:pt x="5199" y="5860"/>
                </a:cubicBezTo>
                <a:cubicBezTo>
                  <a:pt x="6207" y="5387"/>
                  <a:pt x="6900" y="4316"/>
                  <a:pt x="6900" y="3088"/>
                </a:cubicBezTo>
                <a:lnTo>
                  <a:pt x="6900" y="1985"/>
                </a:lnTo>
                <a:cubicBezTo>
                  <a:pt x="7278" y="1827"/>
                  <a:pt x="7593" y="1481"/>
                  <a:pt x="7593" y="1008"/>
                </a:cubicBezTo>
                <a:cubicBezTo>
                  <a:pt x="7593" y="410"/>
                  <a:pt x="7121" y="0"/>
                  <a:pt x="6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5" name="Google Shape;9735;p77"/>
          <p:cNvSpPr/>
          <p:nvPr/>
        </p:nvSpPr>
        <p:spPr>
          <a:xfrm>
            <a:off x="5310365" y="1531929"/>
            <a:ext cx="351286" cy="349457"/>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36" name="Google Shape;9736;p77"/>
          <p:cNvGrpSpPr/>
          <p:nvPr/>
        </p:nvGrpSpPr>
        <p:grpSpPr>
          <a:xfrm>
            <a:off x="5309921" y="1983925"/>
            <a:ext cx="352230" cy="348542"/>
            <a:chOff x="1049375" y="2318350"/>
            <a:chExt cx="298525" cy="295400"/>
          </a:xfrm>
        </p:grpSpPr>
        <p:sp>
          <p:nvSpPr>
            <p:cNvPr id="9737" name="Google Shape;9737;p77"/>
            <p:cNvSpPr/>
            <p:nvPr/>
          </p:nvSpPr>
          <p:spPr>
            <a:xfrm>
              <a:off x="1101350" y="2492325"/>
              <a:ext cx="70125" cy="50525"/>
            </a:xfrm>
            <a:custGeom>
              <a:avLst/>
              <a:gdLst/>
              <a:ahLst/>
              <a:cxnLst/>
              <a:rect l="l" t="t" r="r" b="b"/>
              <a:pathLst>
                <a:path w="2805" h="2021" extrusionOk="0">
                  <a:moveTo>
                    <a:pt x="2473" y="0"/>
                  </a:moveTo>
                  <a:cubicBezTo>
                    <a:pt x="2377" y="0"/>
                    <a:pt x="2273" y="32"/>
                    <a:pt x="2206" y="99"/>
                  </a:cubicBezTo>
                  <a:lnTo>
                    <a:pt x="1072" y="1233"/>
                  </a:lnTo>
                  <a:lnTo>
                    <a:pt x="599" y="761"/>
                  </a:lnTo>
                  <a:cubicBezTo>
                    <a:pt x="536" y="713"/>
                    <a:pt x="449" y="690"/>
                    <a:pt x="363" y="690"/>
                  </a:cubicBezTo>
                  <a:cubicBezTo>
                    <a:pt x="276" y="690"/>
                    <a:pt x="189" y="713"/>
                    <a:pt x="126" y="761"/>
                  </a:cubicBezTo>
                  <a:cubicBezTo>
                    <a:pt x="0" y="887"/>
                    <a:pt x="0" y="1139"/>
                    <a:pt x="126" y="1233"/>
                  </a:cubicBezTo>
                  <a:lnTo>
                    <a:pt x="820" y="1958"/>
                  </a:lnTo>
                  <a:cubicBezTo>
                    <a:pt x="914" y="2021"/>
                    <a:pt x="977" y="2021"/>
                    <a:pt x="1072" y="2021"/>
                  </a:cubicBezTo>
                  <a:cubicBezTo>
                    <a:pt x="1135" y="2021"/>
                    <a:pt x="1261" y="1989"/>
                    <a:pt x="1292" y="1926"/>
                  </a:cubicBezTo>
                  <a:lnTo>
                    <a:pt x="2678" y="540"/>
                  </a:lnTo>
                  <a:cubicBezTo>
                    <a:pt x="2804" y="414"/>
                    <a:pt x="2804" y="162"/>
                    <a:pt x="2678" y="68"/>
                  </a:cubicBezTo>
                  <a:cubicBezTo>
                    <a:pt x="2634" y="24"/>
                    <a:pt x="2557" y="0"/>
                    <a:pt x="24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77"/>
            <p:cNvSpPr/>
            <p:nvPr/>
          </p:nvSpPr>
          <p:spPr>
            <a:xfrm>
              <a:off x="1101350" y="2440525"/>
              <a:ext cx="70125" cy="51150"/>
            </a:xfrm>
            <a:custGeom>
              <a:avLst/>
              <a:gdLst/>
              <a:ahLst/>
              <a:cxnLst/>
              <a:rect l="l" t="t" r="r" b="b"/>
              <a:pathLst>
                <a:path w="2805" h="2046" extrusionOk="0">
                  <a:moveTo>
                    <a:pt x="2469" y="1"/>
                  </a:moveTo>
                  <a:cubicBezTo>
                    <a:pt x="2374" y="1"/>
                    <a:pt x="2272" y="40"/>
                    <a:pt x="2206" y="123"/>
                  </a:cubicBezTo>
                  <a:lnTo>
                    <a:pt x="1072" y="1257"/>
                  </a:lnTo>
                  <a:lnTo>
                    <a:pt x="599" y="785"/>
                  </a:lnTo>
                  <a:cubicBezTo>
                    <a:pt x="536" y="738"/>
                    <a:pt x="449" y="714"/>
                    <a:pt x="363" y="714"/>
                  </a:cubicBezTo>
                  <a:cubicBezTo>
                    <a:pt x="276" y="714"/>
                    <a:pt x="189" y="738"/>
                    <a:pt x="126" y="785"/>
                  </a:cubicBezTo>
                  <a:cubicBezTo>
                    <a:pt x="0" y="911"/>
                    <a:pt x="0" y="1163"/>
                    <a:pt x="126" y="1257"/>
                  </a:cubicBezTo>
                  <a:lnTo>
                    <a:pt x="820" y="1982"/>
                  </a:lnTo>
                  <a:cubicBezTo>
                    <a:pt x="914" y="2045"/>
                    <a:pt x="977" y="2045"/>
                    <a:pt x="1072" y="2045"/>
                  </a:cubicBezTo>
                  <a:cubicBezTo>
                    <a:pt x="1135" y="2045"/>
                    <a:pt x="1261" y="2014"/>
                    <a:pt x="1292" y="1951"/>
                  </a:cubicBezTo>
                  <a:lnTo>
                    <a:pt x="2678" y="564"/>
                  </a:lnTo>
                  <a:cubicBezTo>
                    <a:pt x="2804" y="438"/>
                    <a:pt x="2804" y="186"/>
                    <a:pt x="2678" y="92"/>
                  </a:cubicBezTo>
                  <a:cubicBezTo>
                    <a:pt x="2634" y="32"/>
                    <a:pt x="2554" y="1"/>
                    <a:pt x="24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77"/>
            <p:cNvSpPr/>
            <p:nvPr/>
          </p:nvSpPr>
          <p:spPr>
            <a:xfrm>
              <a:off x="1101350" y="2388550"/>
              <a:ext cx="70125" cy="51125"/>
            </a:xfrm>
            <a:custGeom>
              <a:avLst/>
              <a:gdLst/>
              <a:ahLst/>
              <a:cxnLst/>
              <a:rect l="l" t="t" r="r" b="b"/>
              <a:pathLst>
                <a:path w="2805" h="2045" extrusionOk="0">
                  <a:moveTo>
                    <a:pt x="2469" y="1"/>
                  </a:moveTo>
                  <a:cubicBezTo>
                    <a:pt x="2374" y="1"/>
                    <a:pt x="2272" y="40"/>
                    <a:pt x="2206" y="123"/>
                  </a:cubicBezTo>
                  <a:lnTo>
                    <a:pt x="1072" y="1257"/>
                  </a:lnTo>
                  <a:lnTo>
                    <a:pt x="599" y="785"/>
                  </a:lnTo>
                  <a:cubicBezTo>
                    <a:pt x="536" y="722"/>
                    <a:pt x="449" y="690"/>
                    <a:pt x="363" y="690"/>
                  </a:cubicBezTo>
                  <a:cubicBezTo>
                    <a:pt x="276" y="690"/>
                    <a:pt x="189" y="722"/>
                    <a:pt x="126" y="785"/>
                  </a:cubicBezTo>
                  <a:cubicBezTo>
                    <a:pt x="0" y="911"/>
                    <a:pt x="0" y="1131"/>
                    <a:pt x="126" y="1257"/>
                  </a:cubicBezTo>
                  <a:lnTo>
                    <a:pt x="820" y="1982"/>
                  </a:lnTo>
                  <a:cubicBezTo>
                    <a:pt x="914" y="2045"/>
                    <a:pt x="977" y="2045"/>
                    <a:pt x="1072" y="2045"/>
                  </a:cubicBezTo>
                  <a:cubicBezTo>
                    <a:pt x="1135" y="2045"/>
                    <a:pt x="1261" y="2013"/>
                    <a:pt x="1292" y="1919"/>
                  </a:cubicBezTo>
                  <a:lnTo>
                    <a:pt x="2678" y="532"/>
                  </a:lnTo>
                  <a:cubicBezTo>
                    <a:pt x="2804" y="438"/>
                    <a:pt x="2804" y="186"/>
                    <a:pt x="2678" y="91"/>
                  </a:cubicBezTo>
                  <a:cubicBezTo>
                    <a:pt x="2634" y="32"/>
                    <a:pt x="2554" y="1"/>
                    <a:pt x="24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77"/>
            <p:cNvSpPr/>
            <p:nvPr/>
          </p:nvSpPr>
          <p:spPr>
            <a:xfrm>
              <a:off x="1049375" y="2318350"/>
              <a:ext cx="298525" cy="295400"/>
            </a:xfrm>
            <a:custGeom>
              <a:avLst/>
              <a:gdLst/>
              <a:ahLst/>
              <a:cxnLst/>
              <a:rect l="l" t="t" r="r" b="b"/>
              <a:pathLst>
                <a:path w="11941" h="11816" extrusionOk="0">
                  <a:moveTo>
                    <a:pt x="6963" y="1198"/>
                  </a:moveTo>
                  <a:lnTo>
                    <a:pt x="7876" y="2143"/>
                  </a:lnTo>
                  <a:lnTo>
                    <a:pt x="6963" y="2143"/>
                  </a:lnTo>
                  <a:lnTo>
                    <a:pt x="6963" y="1198"/>
                  </a:lnTo>
                  <a:close/>
                  <a:moveTo>
                    <a:pt x="10286" y="3498"/>
                  </a:moveTo>
                  <a:cubicBezTo>
                    <a:pt x="10373" y="3498"/>
                    <a:pt x="10460" y="3530"/>
                    <a:pt x="10523" y="3593"/>
                  </a:cubicBezTo>
                  <a:lnTo>
                    <a:pt x="10995" y="4065"/>
                  </a:lnTo>
                  <a:cubicBezTo>
                    <a:pt x="11184" y="4223"/>
                    <a:pt x="11184" y="4475"/>
                    <a:pt x="11027" y="4569"/>
                  </a:cubicBezTo>
                  <a:lnTo>
                    <a:pt x="10806" y="4821"/>
                  </a:lnTo>
                  <a:lnTo>
                    <a:pt x="9798" y="3845"/>
                  </a:lnTo>
                  <a:lnTo>
                    <a:pt x="10050" y="3593"/>
                  </a:lnTo>
                  <a:cubicBezTo>
                    <a:pt x="10113" y="3530"/>
                    <a:pt x="10200" y="3498"/>
                    <a:pt x="10286" y="3498"/>
                  </a:cubicBezTo>
                  <a:close/>
                  <a:moveTo>
                    <a:pt x="9294" y="4349"/>
                  </a:moveTo>
                  <a:lnTo>
                    <a:pt x="10271" y="5325"/>
                  </a:lnTo>
                  <a:lnTo>
                    <a:pt x="7845" y="7783"/>
                  </a:lnTo>
                  <a:lnTo>
                    <a:pt x="6868" y="6774"/>
                  </a:lnTo>
                  <a:lnTo>
                    <a:pt x="9294" y="4349"/>
                  </a:lnTo>
                  <a:close/>
                  <a:moveTo>
                    <a:pt x="6585" y="7499"/>
                  </a:moveTo>
                  <a:lnTo>
                    <a:pt x="7183" y="8098"/>
                  </a:lnTo>
                  <a:lnTo>
                    <a:pt x="6427" y="8255"/>
                  </a:lnTo>
                  <a:lnTo>
                    <a:pt x="6585" y="7499"/>
                  </a:lnTo>
                  <a:close/>
                  <a:moveTo>
                    <a:pt x="6994" y="10398"/>
                  </a:moveTo>
                  <a:lnTo>
                    <a:pt x="6994" y="10776"/>
                  </a:lnTo>
                  <a:cubicBezTo>
                    <a:pt x="6994" y="10870"/>
                    <a:pt x="7057" y="10996"/>
                    <a:pt x="7089" y="11122"/>
                  </a:cubicBezTo>
                  <a:lnTo>
                    <a:pt x="1071" y="11122"/>
                  </a:lnTo>
                  <a:cubicBezTo>
                    <a:pt x="882" y="11122"/>
                    <a:pt x="693" y="10965"/>
                    <a:pt x="693" y="10776"/>
                  </a:cubicBezTo>
                  <a:lnTo>
                    <a:pt x="693" y="10398"/>
                  </a:lnTo>
                  <a:close/>
                  <a:moveTo>
                    <a:pt x="6270" y="663"/>
                  </a:moveTo>
                  <a:lnTo>
                    <a:pt x="6270" y="2458"/>
                  </a:lnTo>
                  <a:cubicBezTo>
                    <a:pt x="6270" y="2647"/>
                    <a:pt x="6427" y="2805"/>
                    <a:pt x="6616" y="2805"/>
                  </a:cubicBezTo>
                  <a:lnTo>
                    <a:pt x="8349" y="2805"/>
                  </a:lnTo>
                  <a:lnTo>
                    <a:pt x="8349" y="4286"/>
                  </a:lnTo>
                  <a:lnTo>
                    <a:pt x="6112" y="6554"/>
                  </a:lnTo>
                  <a:cubicBezTo>
                    <a:pt x="6081" y="6585"/>
                    <a:pt x="6018" y="6680"/>
                    <a:pt x="6018" y="6711"/>
                  </a:cubicBezTo>
                  <a:lnTo>
                    <a:pt x="5608" y="8633"/>
                  </a:lnTo>
                  <a:cubicBezTo>
                    <a:pt x="5545" y="8759"/>
                    <a:pt x="5608" y="8885"/>
                    <a:pt x="5671" y="8948"/>
                  </a:cubicBezTo>
                  <a:cubicBezTo>
                    <a:pt x="5742" y="9019"/>
                    <a:pt x="5813" y="9055"/>
                    <a:pt x="5897" y="9055"/>
                  </a:cubicBezTo>
                  <a:cubicBezTo>
                    <a:pt x="5925" y="9055"/>
                    <a:pt x="5955" y="9051"/>
                    <a:pt x="5986" y="9043"/>
                  </a:cubicBezTo>
                  <a:lnTo>
                    <a:pt x="7908" y="8602"/>
                  </a:lnTo>
                  <a:cubicBezTo>
                    <a:pt x="8002" y="8602"/>
                    <a:pt x="8034" y="8570"/>
                    <a:pt x="8065" y="8507"/>
                  </a:cubicBezTo>
                  <a:lnTo>
                    <a:pt x="8349" y="8255"/>
                  </a:lnTo>
                  <a:lnTo>
                    <a:pt x="8349" y="10807"/>
                  </a:lnTo>
                  <a:lnTo>
                    <a:pt x="8380" y="10807"/>
                  </a:lnTo>
                  <a:cubicBezTo>
                    <a:pt x="8380" y="10996"/>
                    <a:pt x="8223" y="11154"/>
                    <a:pt x="8034" y="11154"/>
                  </a:cubicBezTo>
                  <a:cubicBezTo>
                    <a:pt x="7845" y="11154"/>
                    <a:pt x="7687" y="10996"/>
                    <a:pt x="7687" y="10807"/>
                  </a:cubicBezTo>
                  <a:lnTo>
                    <a:pt x="7687" y="10083"/>
                  </a:lnTo>
                  <a:cubicBezTo>
                    <a:pt x="7687" y="9893"/>
                    <a:pt x="7530" y="9736"/>
                    <a:pt x="7309" y="9736"/>
                  </a:cubicBezTo>
                  <a:lnTo>
                    <a:pt x="1386" y="9736"/>
                  </a:lnTo>
                  <a:lnTo>
                    <a:pt x="1386" y="663"/>
                  </a:lnTo>
                  <a:close/>
                  <a:moveTo>
                    <a:pt x="1071" y="1"/>
                  </a:moveTo>
                  <a:cubicBezTo>
                    <a:pt x="882" y="1"/>
                    <a:pt x="693" y="158"/>
                    <a:pt x="693" y="379"/>
                  </a:cubicBezTo>
                  <a:lnTo>
                    <a:pt x="693" y="9736"/>
                  </a:lnTo>
                  <a:lnTo>
                    <a:pt x="347" y="9736"/>
                  </a:lnTo>
                  <a:cubicBezTo>
                    <a:pt x="158" y="9736"/>
                    <a:pt x="0" y="9893"/>
                    <a:pt x="0" y="10083"/>
                  </a:cubicBezTo>
                  <a:lnTo>
                    <a:pt x="0" y="10807"/>
                  </a:lnTo>
                  <a:cubicBezTo>
                    <a:pt x="0" y="11406"/>
                    <a:pt x="473" y="11815"/>
                    <a:pt x="1008" y="11815"/>
                  </a:cubicBezTo>
                  <a:lnTo>
                    <a:pt x="8002" y="11815"/>
                  </a:lnTo>
                  <a:cubicBezTo>
                    <a:pt x="8569" y="11815"/>
                    <a:pt x="9011" y="11343"/>
                    <a:pt x="9011" y="10807"/>
                  </a:cubicBezTo>
                  <a:lnTo>
                    <a:pt x="9011" y="7562"/>
                  </a:lnTo>
                  <a:lnTo>
                    <a:pt x="11499" y="5105"/>
                  </a:lnTo>
                  <a:cubicBezTo>
                    <a:pt x="11940" y="4664"/>
                    <a:pt x="11940" y="4034"/>
                    <a:pt x="11531" y="3593"/>
                  </a:cubicBezTo>
                  <a:lnTo>
                    <a:pt x="11058" y="3120"/>
                  </a:lnTo>
                  <a:cubicBezTo>
                    <a:pt x="10869" y="2931"/>
                    <a:pt x="10609" y="2836"/>
                    <a:pt x="10346" y="2836"/>
                  </a:cubicBezTo>
                  <a:cubicBezTo>
                    <a:pt x="10082" y="2836"/>
                    <a:pt x="9814" y="2931"/>
                    <a:pt x="9609" y="3120"/>
                  </a:cubicBezTo>
                  <a:lnTo>
                    <a:pt x="9105" y="3624"/>
                  </a:lnTo>
                  <a:lnTo>
                    <a:pt x="9105" y="2490"/>
                  </a:lnTo>
                  <a:cubicBezTo>
                    <a:pt x="9105" y="2427"/>
                    <a:pt x="9074" y="2332"/>
                    <a:pt x="8979" y="2269"/>
                  </a:cubicBezTo>
                  <a:lnTo>
                    <a:pt x="6900" y="127"/>
                  </a:lnTo>
                  <a:cubicBezTo>
                    <a:pt x="6805" y="64"/>
                    <a:pt x="6742"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1" name="Google Shape;9741;p77"/>
          <p:cNvGrpSpPr/>
          <p:nvPr/>
        </p:nvGrpSpPr>
        <p:grpSpPr>
          <a:xfrm>
            <a:off x="5310393" y="2424376"/>
            <a:ext cx="351286" cy="351286"/>
            <a:chOff x="1049375" y="2680675"/>
            <a:chExt cx="297725" cy="297725"/>
          </a:xfrm>
        </p:grpSpPr>
        <p:sp>
          <p:nvSpPr>
            <p:cNvPr id="9742" name="Google Shape;9742;p77"/>
            <p:cNvSpPr/>
            <p:nvPr/>
          </p:nvSpPr>
          <p:spPr>
            <a:xfrm>
              <a:off x="1113175" y="2752350"/>
              <a:ext cx="161475" cy="155975"/>
            </a:xfrm>
            <a:custGeom>
              <a:avLst/>
              <a:gdLst/>
              <a:ahLst/>
              <a:cxnLst/>
              <a:rect l="l" t="t" r="r" b="b"/>
              <a:pathLst>
                <a:path w="6459" h="6239" extrusionOk="0">
                  <a:moveTo>
                    <a:pt x="3403" y="2079"/>
                  </a:moveTo>
                  <a:cubicBezTo>
                    <a:pt x="3781" y="2079"/>
                    <a:pt x="4096" y="2394"/>
                    <a:pt x="4096" y="2773"/>
                  </a:cubicBezTo>
                  <a:cubicBezTo>
                    <a:pt x="4096" y="3182"/>
                    <a:pt x="3781" y="3497"/>
                    <a:pt x="3403" y="3497"/>
                  </a:cubicBezTo>
                  <a:cubicBezTo>
                    <a:pt x="2993" y="3434"/>
                    <a:pt x="2678" y="3119"/>
                    <a:pt x="2678" y="2773"/>
                  </a:cubicBezTo>
                  <a:cubicBezTo>
                    <a:pt x="2678" y="2394"/>
                    <a:pt x="2993" y="2079"/>
                    <a:pt x="3403" y="2079"/>
                  </a:cubicBezTo>
                  <a:close/>
                  <a:moveTo>
                    <a:pt x="3371" y="693"/>
                  </a:moveTo>
                  <a:cubicBezTo>
                    <a:pt x="4694" y="693"/>
                    <a:pt x="5765" y="1796"/>
                    <a:pt x="5765" y="3119"/>
                  </a:cubicBezTo>
                  <a:cubicBezTo>
                    <a:pt x="5765" y="3686"/>
                    <a:pt x="5545" y="4222"/>
                    <a:pt x="5198" y="4663"/>
                  </a:cubicBezTo>
                  <a:cubicBezTo>
                    <a:pt x="5072" y="4442"/>
                    <a:pt x="4915" y="4190"/>
                    <a:pt x="4694" y="4001"/>
                  </a:cubicBezTo>
                  <a:cubicBezTo>
                    <a:pt x="4568" y="3907"/>
                    <a:pt x="4442" y="3812"/>
                    <a:pt x="4348" y="3749"/>
                  </a:cubicBezTo>
                  <a:cubicBezTo>
                    <a:pt x="4568" y="3529"/>
                    <a:pt x="4726" y="3182"/>
                    <a:pt x="4726" y="2804"/>
                  </a:cubicBezTo>
                  <a:cubicBezTo>
                    <a:pt x="4726" y="2079"/>
                    <a:pt x="4096" y="1449"/>
                    <a:pt x="3340" y="1449"/>
                  </a:cubicBezTo>
                  <a:cubicBezTo>
                    <a:pt x="2615" y="1449"/>
                    <a:pt x="1985" y="2079"/>
                    <a:pt x="1985" y="2804"/>
                  </a:cubicBezTo>
                  <a:cubicBezTo>
                    <a:pt x="1985" y="3182"/>
                    <a:pt x="2142" y="3529"/>
                    <a:pt x="2363" y="3749"/>
                  </a:cubicBezTo>
                  <a:lnTo>
                    <a:pt x="2016" y="4001"/>
                  </a:lnTo>
                  <a:cubicBezTo>
                    <a:pt x="1827" y="4190"/>
                    <a:pt x="1607" y="4442"/>
                    <a:pt x="1512" y="4663"/>
                  </a:cubicBezTo>
                  <a:cubicBezTo>
                    <a:pt x="1040" y="4064"/>
                    <a:pt x="882" y="3434"/>
                    <a:pt x="945" y="2773"/>
                  </a:cubicBezTo>
                  <a:cubicBezTo>
                    <a:pt x="1103" y="1670"/>
                    <a:pt x="2111" y="693"/>
                    <a:pt x="3371" y="693"/>
                  </a:cubicBezTo>
                  <a:close/>
                  <a:moveTo>
                    <a:pt x="3371" y="4159"/>
                  </a:moveTo>
                  <a:cubicBezTo>
                    <a:pt x="4001" y="4159"/>
                    <a:pt x="4505" y="4600"/>
                    <a:pt x="4694" y="5135"/>
                  </a:cubicBezTo>
                  <a:cubicBezTo>
                    <a:pt x="4316" y="5387"/>
                    <a:pt x="3875" y="5545"/>
                    <a:pt x="3371" y="5545"/>
                  </a:cubicBezTo>
                  <a:cubicBezTo>
                    <a:pt x="2898" y="5545"/>
                    <a:pt x="2426" y="5387"/>
                    <a:pt x="2016" y="5135"/>
                  </a:cubicBezTo>
                  <a:cubicBezTo>
                    <a:pt x="2174" y="4537"/>
                    <a:pt x="2741" y="4159"/>
                    <a:pt x="3371" y="4159"/>
                  </a:cubicBezTo>
                  <a:close/>
                  <a:moveTo>
                    <a:pt x="3308" y="0"/>
                  </a:moveTo>
                  <a:cubicBezTo>
                    <a:pt x="1701" y="0"/>
                    <a:pt x="441" y="1229"/>
                    <a:pt x="252" y="2710"/>
                  </a:cubicBezTo>
                  <a:cubicBezTo>
                    <a:pt x="0" y="4600"/>
                    <a:pt x="1512" y="6238"/>
                    <a:pt x="3371" y="6238"/>
                  </a:cubicBezTo>
                  <a:cubicBezTo>
                    <a:pt x="5104" y="6238"/>
                    <a:pt x="6459" y="4820"/>
                    <a:pt x="6459" y="3119"/>
                  </a:cubicBezTo>
                  <a:cubicBezTo>
                    <a:pt x="6459" y="1386"/>
                    <a:pt x="5041"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3" name="Google Shape;9743;p77"/>
            <p:cNvSpPr/>
            <p:nvPr/>
          </p:nvSpPr>
          <p:spPr>
            <a:xfrm>
              <a:off x="1049375" y="2680675"/>
              <a:ext cx="297725" cy="297725"/>
            </a:xfrm>
            <a:custGeom>
              <a:avLst/>
              <a:gdLst/>
              <a:ahLst/>
              <a:cxnLst/>
              <a:rect l="l" t="t" r="r" b="b"/>
              <a:pathLst>
                <a:path w="11909" h="11909" extrusionOk="0">
                  <a:moveTo>
                    <a:pt x="6270" y="1512"/>
                  </a:moveTo>
                  <a:cubicBezTo>
                    <a:pt x="8475" y="1670"/>
                    <a:pt x="10239" y="3434"/>
                    <a:pt x="10397" y="5640"/>
                  </a:cubicBezTo>
                  <a:lnTo>
                    <a:pt x="10082" y="5640"/>
                  </a:lnTo>
                  <a:cubicBezTo>
                    <a:pt x="9893" y="5640"/>
                    <a:pt x="9735" y="5797"/>
                    <a:pt x="9735" y="5986"/>
                  </a:cubicBezTo>
                  <a:cubicBezTo>
                    <a:pt x="9735" y="6207"/>
                    <a:pt x="9893" y="6364"/>
                    <a:pt x="10082" y="6364"/>
                  </a:cubicBezTo>
                  <a:lnTo>
                    <a:pt x="10397" y="6364"/>
                  </a:lnTo>
                  <a:cubicBezTo>
                    <a:pt x="10239" y="8569"/>
                    <a:pt x="8475" y="10334"/>
                    <a:pt x="6270" y="10491"/>
                  </a:cubicBezTo>
                  <a:lnTo>
                    <a:pt x="6270" y="10176"/>
                  </a:lnTo>
                  <a:cubicBezTo>
                    <a:pt x="6270" y="9987"/>
                    <a:pt x="6112" y="9830"/>
                    <a:pt x="5923" y="9830"/>
                  </a:cubicBezTo>
                  <a:cubicBezTo>
                    <a:pt x="5703" y="9830"/>
                    <a:pt x="5545" y="9987"/>
                    <a:pt x="5545" y="10176"/>
                  </a:cubicBezTo>
                  <a:lnTo>
                    <a:pt x="5545" y="10491"/>
                  </a:lnTo>
                  <a:cubicBezTo>
                    <a:pt x="3340" y="10334"/>
                    <a:pt x="1575" y="8569"/>
                    <a:pt x="1418" y="6364"/>
                  </a:cubicBezTo>
                  <a:lnTo>
                    <a:pt x="1733" y="6364"/>
                  </a:lnTo>
                  <a:cubicBezTo>
                    <a:pt x="1922" y="6364"/>
                    <a:pt x="2079" y="6207"/>
                    <a:pt x="2079" y="5986"/>
                  </a:cubicBezTo>
                  <a:cubicBezTo>
                    <a:pt x="2142" y="5797"/>
                    <a:pt x="1985" y="5640"/>
                    <a:pt x="1764" y="5640"/>
                  </a:cubicBezTo>
                  <a:lnTo>
                    <a:pt x="1418" y="5640"/>
                  </a:lnTo>
                  <a:cubicBezTo>
                    <a:pt x="1575" y="3434"/>
                    <a:pt x="3340" y="1670"/>
                    <a:pt x="5545" y="1512"/>
                  </a:cubicBezTo>
                  <a:lnTo>
                    <a:pt x="5545" y="1827"/>
                  </a:lnTo>
                  <a:cubicBezTo>
                    <a:pt x="5545" y="2016"/>
                    <a:pt x="5703" y="2174"/>
                    <a:pt x="5923" y="2174"/>
                  </a:cubicBezTo>
                  <a:cubicBezTo>
                    <a:pt x="6112" y="2174"/>
                    <a:pt x="6270" y="2016"/>
                    <a:pt x="6270" y="1827"/>
                  </a:cubicBezTo>
                  <a:lnTo>
                    <a:pt x="6270" y="1512"/>
                  </a:lnTo>
                  <a:close/>
                  <a:moveTo>
                    <a:pt x="5955" y="0"/>
                  </a:moveTo>
                  <a:cubicBezTo>
                    <a:pt x="5766" y="0"/>
                    <a:pt x="5608" y="158"/>
                    <a:pt x="5608" y="347"/>
                  </a:cubicBezTo>
                  <a:lnTo>
                    <a:pt x="5608" y="756"/>
                  </a:lnTo>
                  <a:cubicBezTo>
                    <a:pt x="2993" y="914"/>
                    <a:pt x="914" y="2993"/>
                    <a:pt x="756" y="5608"/>
                  </a:cubicBezTo>
                  <a:lnTo>
                    <a:pt x="347" y="5608"/>
                  </a:lnTo>
                  <a:cubicBezTo>
                    <a:pt x="158" y="5608"/>
                    <a:pt x="0" y="5766"/>
                    <a:pt x="0" y="5955"/>
                  </a:cubicBezTo>
                  <a:cubicBezTo>
                    <a:pt x="0" y="6144"/>
                    <a:pt x="158" y="6301"/>
                    <a:pt x="347" y="6301"/>
                  </a:cubicBezTo>
                  <a:lnTo>
                    <a:pt x="756" y="6301"/>
                  </a:lnTo>
                  <a:cubicBezTo>
                    <a:pt x="914" y="8916"/>
                    <a:pt x="2993" y="10995"/>
                    <a:pt x="5608" y="11153"/>
                  </a:cubicBezTo>
                  <a:lnTo>
                    <a:pt x="5608" y="11562"/>
                  </a:lnTo>
                  <a:cubicBezTo>
                    <a:pt x="5608" y="11751"/>
                    <a:pt x="5766" y="11909"/>
                    <a:pt x="5955" y="11909"/>
                  </a:cubicBezTo>
                  <a:cubicBezTo>
                    <a:pt x="6144" y="11909"/>
                    <a:pt x="6301" y="11751"/>
                    <a:pt x="6301" y="11562"/>
                  </a:cubicBezTo>
                  <a:lnTo>
                    <a:pt x="6301" y="11153"/>
                  </a:lnTo>
                  <a:cubicBezTo>
                    <a:pt x="8916" y="10995"/>
                    <a:pt x="10995" y="8916"/>
                    <a:pt x="11153" y="6301"/>
                  </a:cubicBezTo>
                  <a:lnTo>
                    <a:pt x="11531" y="6301"/>
                  </a:lnTo>
                  <a:cubicBezTo>
                    <a:pt x="11751" y="6301"/>
                    <a:pt x="11909" y="6144"/>
                    <a:pt x="11909" y="5955"/>
                  </a:cubicBezTo>
                  <a:cubicBezTo>
                    <a:pt x="11909" y="5766"/>
                    <a:pt x="11751" y="5608"/>
                    <a:pt x="11531" y="5608"/>
                  </a:cubicBezTo>
                  <a:lnTo>
                    <a:pt x="11153" y="5608"/>
                  </a:lnTo>
                  <a:cubicBezTo>
                    <a:pt x="10995" y="2993"/>
                    <a:pt x="8916" y="914"/>
                    <a:pt x="6301" y="756"/>
                  </a:cubicBezTo>
                  <a:lnTo>
                    <a:pt x="6301" y="347"/>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4" name="Google Shape;9744;p77"/>
          <p:cNvGrpSpPr/>
          <p:nvPr/>
        </p:nvGrpSpPr>
        <p:grpSpPr>
          <a:xfrm>
            <a:off x="7523845" y="1532423"/>
            <a:ext cx="348513" cy="348542"/>
            <a:chOff x="2872725" y="1954475"/>
            <a:chExt cx="295375" cy="295400"/>
          </a:xfrm>
        </p:grpSpPr>
        <p:sp>
          <p:nvSpPr>
            <p:cNvPr id="9745" name="Google Shape;9745;p77"/>
            <p:cNvSpPr/>
            <p:nvPr/>
          </p:nvSpPr>
          <p:spPr>
            <a:xfrm>
              <a:off x="2959350" y="1954475"/>
              <a:ext cx="122100" cy="139450"/>
            </a:xfrm>
            <a:custGeom>
              <a:avLst/>
              <a:gdLst/>
              <a:ahLst/>
              <a:cxnLst/>
              <a:rect l="l" t="t" r="r" b="b"/>
              <a:pathLst>
                <a:path w="4884" h="5578" extrusionOk="0">
                  <a:moveTo>
                    <a:pt x="2395" y="694"/>
                  </a:moveTo>
                  <a:cubicBezTo>
                    <a:pt x="2805" y="694"/>
                    <a:pt x="3120" y="1009"/>
                    <a:pt x="3120" y="1418"/>
                  </a:cubicBezTo>
                  <a:cubicBezTo>
                    <a:pt x="3120" y="1797"/>
                    <a:pt x="2805" y="2112"/>
                    <a:pt x="2395" y="2112"/>
                  </a:cubicBezTo>
                  <a:cubicBezTo>
                    <a:pt x="2017" y="2112"/>
                    <a:pt x="1702" y="1797"/>
                    <a:pt x="1702" y="1418"/>
                  </a:cubicBezTo>
                  <a:cubicBezTo>
                    <a:pt x="1733" y="1009"/>
                    <a:pt x="2048" y="694"/>
                    <a:pt x="2395" y="694"/>
                  </a:cubicBezTo>
                  <a:close/>
                  <a:moveTo>
                    <a:pt x="2395" y="2742"/>
                  </a:moveTo>
                  <a:cubicBezTo>
                    <a:pt x="3340" y="2742"/>
                    <a:pt x="4128" y="3529"/>
                    <a:pt x="4128" y="4537"/>
                  </a:cubicBezTo>
                  <a:lnTo>
                    <a:pt x="4128" y="4884"/>
                  </a:lnTo>
                  <a:lnTo>
                    <a:pt x="662" y="4884"/>
                  </a:lnTo>
                  <a:lnTo>
                    <a:pt x="662" y="4537"/>
                  </a:lnTo>
                  <a:cubicBezTo>
                    <a:pt x="662" y="3529"/>
                    <a:pt x="1450" y="2742"/>
                    <a:pt x="2395" y="2742"/>
                  </a:cubicBezTo>
                  <a:close/>
                  <a:moveTo>
                    <a:pt x="2490" y="1"/>
                  </a:moveTo>
                  <a:cubicBezTo>
                    <a:pt x="1733" y="1"/>
                    <a:pt x="1103" y="631"/>
                    <a:pt x="1103" y="1387"/>
                  </a:cubicBezTo>
                  <a:cubicBezTo>
                    <a:pt x="1103" y="1734"/>
                    <a:pt x="1229" y="2049"/>
                    <a:pt x="1450" y="2332"/>
                  </a:cubicBezTo>
                  <a:cubicBezTo>
                    <a:pt x="568" y="2710"/>
                    <a:pt x="1" y="3529"/>
                    <a:pt x="1" y="4537"/>
                  </a:cubicBezTo>
                  <a:lnTo>
                    <a:pt x="1" y="5231"/>
                  </a:lnTo>
                  <a:cubicBezTo>
                    <a:pt x="1" y="5420"/>
                    <a:pt x="158" y="5577"/>
                    <a:pt x="347" y="5577"/>
                  </a:cubicBezTo>
                  <a:lnTo>
                    <a:pt x="4537" y="5577"/>
                  </a:lnTo>
                  <a:cubicBezTo>
                    <a:pt x="4726" y="5577"/>
                    <a:pt x="4884" y="5420"/>
                    <a:pt x="4884" y="5231"/>
                  </a:cubicBezTo>
                  <a:lnTo>
                    <a:pt x="4884" y="4537"/>
                  </a:lnTo>
                  <a:cubicBezTo>
                    <a:pt x="4884" y="3529"/>
                    <a:pt x="4317" y="2710"/>
                    <a:pt x="3498" y="2332"/>
                  </a:cubicBezTo>
                  <a:cubicBezTo>
                    <a:pt x="3750" y="2080"/>
                    <a:pt x="3844" y="1765"/>
                    <a:pt x="3844" y="1387"/>
                  </a:cubicBezTo>
                  <a:cubicBezTo>
                    <a:pt x="3844" y="631"/>
                    <a:pt x="3214"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77"/>
            <p:cNvSpPr/>
            <p:nvPr/>
          </p:nvSpPr>
          <p:spPr>
            <a:xfrm>
              <a:off x="2906575" y="2146650"/>
              <a:ext cx="191425" cy="69350"/>
            </a:xfrm>
            <a:custGeom>
              <a:avLst/>
              <a:gdLst/>
              <a:ahLst/>
              <a:cxnLst/>
              <a:rect l="l" t="t" r="r" b="b"/>
              <a:pathLst>
                <a:path w="7657" h="2774" extrusionOk="0">
                  <a:moveTo>
                    <a:pt x="1419" y="694"/>
                  </a:moveTo>
                  <a:lnTo>
                    <a:pt x="1419" y="2080"/>
                  </a:lnTo>
                  <a:lnTo>
                    <a:pt x="694" y="2080"/>
                  </a:lnTo>
                  <a:lnTo>
                    <a:pt x="694" y="694"/>
                  </a:lnTo>
                  <a:close/>
                  <a:moveTo>
                    <a:pt x="2773" y="694"/>
                  </a:moveTo>
                  <a:lnTo>
                    <a:pt x="2773" y="2080"/>
                  </a:lnTo>
                  <a:lnTo>
                    <a:pt x="2080" y="2080"/>
                  </a:lnTo>
                  <a:lnTo>
                    <a:pt x="2080" y="694"/>
                  </a:lnTo>
                  <a:close/>
                  <a:moveTo>
                    <a:pt x="4159" y="694"/>
                  </a:moveTo>
                  <a:lnTo>
                    <a:pt x="4159" y="2080"/>
                  </a:lnTo>
                  <a:lnTo>
                    <a:pt x="3466" y="2080"/>
                  </a:lnTo>
                  <a:lnTo>
                    <a:pt x="3466" y="694"/>
                  </a:lnTo>
                  <a:close/>
                  <a:moveTo>
                    <a:pt x="6995" y="694"/>
                  </a:moveTo>
                  <a:lnTo>
                    <a:pt x="6995" y="2080"/>
                  </a:lnTo>
                  <a:lnTo>
                    <a:pt x="4884" y="2080"/>
                  </a:lnTo>
                  <a:lnTo>
                    <a:pt x="4884" y="694"/>
                  </a:lnTo>
                  <a:close/>
                  <a:moveTo>
                    <a:pt x="347" y="1"/>
                  </a:moveTo>
                  <a:cubicBezTo>
                    <a:pt x="158" y="1"/>
                    <a:pt x="1" y="158"/>
                    <a:pt x="1" y="347"/>
                  </a:cubicBezTo>
                  <a:lnTo>
                    <a:pt x="1" y="2427"/>
                  </a:lnTo>
                  <a:cubicBezTo>
                    <a:pt x="1" y="2616"/>
                    <a:pt x="158" y="2773"/>
                    <a:pt x="347" y="2773"/>
                  </a:cubicBezTo>
                  <a:lnTo>
                    <a:pt x="7310" y="2773"/>
                  </a:lnTo>
                  <a:cubicBezTo>
                    <a:pt x="7499" y="2773"/>
                    <a:pt x="7657" y="2616"/>
                    <a:pt x="7657" y="2427"/>
                  </a:cubicBezTo>
                  <a:lnTo>
                    <a:pt x="7657" y="347"/>
                  </a:lnTo>
                  <a:cubicBezTo>
                    <a:pt x="7657" y="127"/>
                    <a:pt x="7499" y="1"/>
                    <a:pt x="7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77"/>
            <p:cNvSpPr/>
            <p:nvPr/>
          </p:nvSpPr>
          <p:spPr>
            <a:xfrm>
              <a:off x="2872725" y="2112000"/>
              <a:ext cx="295375" cy="137875"/>
            </a:xfrm>
            <a:custGeom>
              <a:avLst/>
              <a:gdLst/>
              <a:ahLst/>
              <a:cxnLst/>
              <a:rect l="l" t="t" r="r" b="b"/>
              <a:pathLst>
                <a:path w="11815" h="5515" extrusionOk="0">
                  <a:moveTo>
                    <a:pt x="11121" y="2080"/>
                  </a:moveTo>
                  <a:lnTo>
                    <a:pt x="11121" y="3466"/>
                  </a:lnTo>
                  <a:lnTo>
                    <a:pt x="10397" y="3466"/>
                  </a:lnTo>
                  <a:lnTo>
                    <a:pt x="10397" y="2080"/>
                  </a:lnTo>
                  <a:close/>
                  <a:moveTo>
                    <a:pt x="9389" y="662"/>
                  </a:moveTo>
                  <a:cubicBezTo>
                    <a:pt x="9578" y="662"/>
                    <a:pt x="9735" y="820"/>
                    <a:pt x="9735" y="1009"/>
                  </a:cubicBezTo>
                  <a:lnTo>
                    <a:pt x="9735" y="4474"/>
                  </a:lnTo>
                  <a:cubicBezTo>
                    <a:pt x="9735" y="4663"/>
                    <a:pt x="9578" y="4852"/>
                    <a:pt x="9389" y="4852"/>
                  </a:cubicBezTo>
                  <a:lnTo>
                    <a:pt x="1040" y="4852"/>
                  </a:lnTo>
                  <a:cubicBezTo>
                    <a:pt x="819" y="4852"/>
                    <a:pt x="662" y="4663"/>
                    <a:pt x="662" y="4474"/>
                  </a:cubicBezTo>
                  <a:lnTo>
                    <a:pt x="662" y="1009"/>
                  </a:lnTo>
                  <a:cubicBezTo>
                    <a:pt x="662" y="820"/>
                    <a:pt x="819" y="662"/>
                    <a:pt x="1040" y="662"/>
                  </a:cubicBezTo>
                  <a:close/>
                  <a:moveTo>
                    <a:pt x="1040" y="1"/>
                  </a:moveTo>
                  <a:cubicBezTo>
                    <a:pt x="441" y="1"/>
                    <a:pt x="0" y="473"/>
                    <a:pt x="0" y="1009"/>
                  </a:cubicBezTo>
                  <a:lnTo>
                    <a:pt x="0" y="4474"/>
                  </a:lnTo>
                  <a:cubicBezTo>
                    <a:pt x="0" y="5073"/>
                    <a:pt x="473" y="5514"/>
                    <a:pt x="1040" y="5514"/>
                  </a:cubicBezTo>
                  <a:lnTo>
                    <a:pt x="9357" y="5514"/>
                  </a:lnTo>
                  <a:cubicBezTo>
                    <a:pt x="9956" y="5514"/>
                    <a:pt x="10397" y="5041"/>
                    <a:pt x="10397" y="4474"/>
                  </a:cubicBezTo>
                  <a:lnTo>
                    <a:pt x="10397" y="4128"/>
                  </a:lnTo>
                  <a:lnTo>
                    <a:pt x="11436" y="4128"/>
                  </a:lnTo>
                  <a:cubicBezTo>
                    <a:pt x="11625" y="4128"/>
                    <a:pt x="11783" y="3970"/>
                    <a:pt x="11783" y="3781"/>
                  </a:cubicBezTo>
                  <a:lnTo>
                    <a:pt x="11783" y="1702"/>
                  </a:lnTo>
                  <a:cubicBezTo>
                    <a:pt x="11814" y="1513"/>
                    <a:pt x="11657" y="1387"/>
                    <a:pt x="11468" y="1387"/>
                  </a:cubicBezTo>
                  <a:lnTo>
                    <a:pt x="10397" y="1387"/>
                  </a:lnTo>
                  <a:lnTo>
                    <a:pt x="10397" y="1009"/>
                  </a:lnTo>
                  <a:cubicBezTo>
                    <a:pt x="10397" y="442"/>
                    <a:pt x="9924" y="1"/>
                    <a:pt x="9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8" name="Google Shape;9748;p77"/>
          <p:cNvGrpSpPr/>
          <p:nvPr/>
        </p:nvGrpSpPr>
        <p:grpSpPr>
          <a:xfrm>
            <a:off x="7545216" y="1982996"/>
            <a:ext cx="305771" cy="350401"/>
            <a:chOff x="2890050" y="2318350"/>
            <a:chExt cx="259150" cy="296975"/>
          </a:xfrm>
        </p:grpSpPr>
        <p:sp>
          <p:nvSpPr>
            <p:cNvPr id="9749" name="Google Shape;9749;p77"/>
            <p:cNvSpPr/>
            <p:nvPr/>
          </p:nvSpPr>
          <p:spPr>
            <a:xfrm>
              <a:off x="2936525" y="2353025"/>
              <a:ext cx="160700" cy="155975"/>
            </a:xfrm>
            <a:custGeom>
              <a:avLst/>
              <a:gdLst/>
              <a:ahLst/>
              <a:cxnLst/>
              <a:rect l="l" t="t" r="r" b="b"/>
              <a:pathLst>
                <a:path w="6428" h="6239" extrusionOk="0">
                  <a:moveTo>
                    <a:pt x="3371" y="2048"/>
                  </a:moveTo>
                  <a:cubicBezTo>
                    <a:pt x="3749" y="2048"/>
                    <a:pt x="4064" y="2363"/>
                    <a:pt x="4064" y="2773"/>
                  </a:cubicBezTo>
                  <a:cubicBezTo>
                    <a:pt x="4064" y="3151"/>
                    <a:pt x="3749" y="3466"/>
                    <a:pt x="3371" y="3466"/>
                  </a:cubicBezTo>
                  <a:cubicBezTo>
                    <a:pt x="2961" y="3466"/>
                    <a:pt x="2646" y="3151"/>
                    <a:pt x="2646" y="2773"/>
                  </a:cubicBezTo>
                  <a:cubicBezTo>
                    <a:pt x="2646" y="2363"/>
                    <a:pt x="2961" y="2048"/>
                    <a:pt x="3371" y="2048"/>
                  </a:cubicBezTo>
                  <a:close/>
                  <a:moveTo>
                    <a:pt x="3308" y="662"/>
                  </a:moveTo>
                  <a:cubicBezTo>
                    <a:pt x="4663" y="662"/>
                    <a:pt x="5734" y="1764"/>
                    <a:pt x="5734" y="3119"/>
                  </a:cubicBezTo>
                  <a:cubicBezTo>
                    <a:pt x="5734" y="3655"/>
                    <a:pt x="5513" y="4159"/>
                    <a:pt x="5167" y="4663"/>
                  </a:cubicBezTo>
                  <a:cubicBezTo>
                    <a:pt x="4978" y="4253"/>
                    <a:pt x="4694" y="3938"/>
                    <a:pt x="4316" y="3686"/>
                  </a:cubicBezTo>
                  <a:cubicBezTo>
                    <a:pt x="4537" y="3466"/>
                    <a:pt x="4694" y="3119"/>
                    <a:pt x="4694" y="2741"/>
                  </a:cubicBezTo>
                  <a:cubicBezTo>
                    <a:pt x="4694" y="2016"/>
                    <a:pt x="4064" y="1386"/>
                    <a:pt x="3308" y="1386"/>
                  </a:cubicBezTo>
                  <a:cubicBezTo>
                    <a:pt x="2583" y="1386"/>
                    <a:pt x="1953" y="2016"/>
                    <a:pt x="1953" y="2741"/>
                  </a:cubicBezTo>
                  <a:cubicBezTo>
                    <a:pt x="1953" y="3119"/>
                    <a:pt x="2111" y="3466"/>
                    <a:pt x="2331" y="3686"/>
                  </a:cubicBezTo>
                  <a:cubicBezTo>
                    <a:pt x="1953" y="3907"/>
                    <a:pt x="1670" y="4253"/>
                    <a:pt x="1481" y="4663"/>
                  </a:cubicBezTo>
                  <a:cubicBezTo>
                    <a:pt x="1008" y="4096"/>
                    <a:pt x="851" y="3434"/>
                    <a:pt x="914" y="2773"/>
                  </a:cubicBezTo>
                  <a:cubicBezTo>
                    <a:pt x="1071" y="1670"/>
                    <a:pt x="2048" y="662"/>
                    <a:pt x="3308" y="662"/>
                  </a:cubicBezTo>
                  <a:close/>
                  <a:moveTo>
                    <a:pt x="3308" y="4190"/>
                  </a:moveTo>
                  <a:cubicBezTo>
                    <a:pt x="3938" y="4190"/>
                    <a:pt x="4442" y="4600"/>
                    <a:pt x="4663" y="5167"/>
                  </a:cubicBezTo>
                  <a:cubicBezTo>
                    <a:pt x="4253" y="5387"/>
                    <a:pt x="3844" y="5545"/>
                    <a:pt x="3308" y="5545"/>
                  </a:cubicBezTo>
                  <a:cubicBezTo>
                    <a:pt x="2835" y="5545"/>
                    <a:pt x="2363" y="5387"/>
                    <a:pt x="1985" y="5167"/>
                  </a:cubicBezTo>
                  <a:cubicBezTo>
                    <a:pt x="2142" y="4568"/>
                    <a:pt x="2678" y="4190"/>
                    <a:pt x="3308" y="4190"/>
                  </a:cubicBezTo>
                  <a:close/>
                  <a:moveTo>
                    <a:pt x="3308" y="0"/>
                  </a:moveTo>
                  <a:cubicBezTo>
                    <a:pt x="1701" y="0"/>
                    <a:pt x="410" y="1229"/>
                    <a:pt x="252" y="2678"/>
                  </a:cubicBezTo>
                  <a:cubicBezTo>
                    <a:pt x="0" y="4600"/>
                    <a:pt x="1481" y="6238"/>
                    <a:pt x="3308" y="6238"/>
                  </a:cubicBezTo>
                  <a:cubicBezTo>
                    <a:pt x="5041" y="6238"/>
                    <a:pt x="6427" y="4820"/>
                    <a:pt x="6427" y="3119"/>
                  </a:cubicBezTo>
                  <a:cubicBezTo>
                    <a:pt x="6427" y="1386"/>
                    <a:pt x="5009"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0" name="Google Shape;9750;p77"/>
            <p:cNvSpPr/>
            <p:nvPr/>
          </p:nvSpPr>
          <p:spPr>
            <a:xfrm>
              <a:off x="2890050" y="2318350"/>
              <a:ext cx="259150" cy="296975"/>
            </a:xfrm>
            <a:custGeom>
              <a:avLst/>
              <a:gdLst/>
              <a:ahLst/>
              <a:cxnLst/>
              <a:rect l="l" t="t" r="r" b="b"/>
              <a:pathLst>
                <a:path w="10366" h="11879" extrusionOk="0">
                  <a:moveTo>
                    <a:pt x="5167" y="694"/>
                  </a:moveTo>
                  <a:cubicBezTo>
                    <a:pt x="7309" y="694"/>
                    <a:pt x="9011" y="2427"/>
                    <a:pt x="9011" y="4506"/>
                  </a:cubicBezTo>
                  <a:cubicBezTo>
                    <a:pt x="9011" y="5640"/>
                    <a:pt x="8475" y="6711"/>
                    <a:pt x="7656" y="7405"/>
                  </a:cubicBezTo>
                  <a:lnTo>
                    <a:pt x="5167" y="9547"/>
                  </a:lnTo>
                  <a:lnTo>
                    <a:pt x="2710" y="7405"/>
                  </a:lnTo>
                  <a:cubicBezTo>
                    <a:pt x="1796" y="6585"/>
                    <a:pt x="1229" y="5420"/>
                    <a:pt x="1386" y="4034"/>
                  </a:cubicBezTo>
                  <a:cubicBezTo>
                    <a:pt x="1575" y="2206"/>
                    <a:pt x="3151" y="694"/>
                    <a:pt x="5167" y="694"/>
                  </a:cubicBezTo>
                  <a:close/>
                  <a:moveTo>
                    <a:pt x="8475" y="8980"/>
                  </a:moveTo>
                  <a:lnTo>
                    <a:pt x="9546" y="11122"/>
                  </a:lnTo>
                  <a:lnTo>
                    <a:pt x="977" y="11122"/>
                  </a:lnTo>
                  <a:lnTo>
                    <a:pt x="2017" y="8980"/>
                  </a:lnTo>
                  <a:lnTo>
                    <a:pt x="3529" y="8980"/>
                  </a:lnTo>
                  <a:lnTo>
                    <a:pt x="4978" y="10240"/>
                  </a:lnTo>
                  <a:cubicBezTo>
                    <a:pt x="5073" y="10272"/>
                    <a:pt x="5136" y="10335"/>
                    <a:pt x="5230" y="10335"/>
                  </a:cubicBezTo>
                  <a:cubicBezTo>
                    <a:pt x="5293" y="10335"/>
                    <a:pt x="5388" y="10272"/>
                    <a:pt x="5451" y="10240"/>
                  </a:cubicBezTo>
                  <a:lnTo>
                    <a:pt x="6900" y="8980"/>
                  </a:lnTo>
                  <a:close/>
                  <a:moveTo>
                    <a:pt x="5107" y="1"/>
                  </a:moveTo>
                  <a:cubicBezTo>
                    <a:pt x="2772" y="1"/>
                    <a:pt x="912" y="1815"/>
                    <a:pt x="662" y="3939"/>
                  </a:cubicBezTo>
                  <a:cubicBezTo>
                    <a:pt x="441" y="5483"/>
                    <a:pt x="1040" y="6932"/>
                    <a:pt x="2174" y="7940"/>
                  </a:cubicBezTo>
                  <a:lnTo>
                    <a:pt x="2615" y="8318"/>
                  </a:lnTo>
                  <a:lnTo>
                    <a:pt x="1638" y="8318"/>
                  </a:lnTo>
                  <a:cubicBezTo>
                    <a:pt x="1575" y="8318"/>
                    <a:pt x="1481" y="8413"/>
                    <a:pt x="1449" y="8507"/>
                  </a:cubicBezTo>
                  <a:lnTo>
                    <a:pt x="63" y="11343"/>
                  </a:lnTo>
                  <a:cubicBezTo>
                    <a:pt x="0" y="11469"/>
                    <a:pt x="0" y="11595"/>
                    <a:pt x="63" y="11721"/>
                  </a:cubicBezTo>
                  <a:cubicBezTo>
                    <a:pt x="126" y="11815"/>
                    <a:pt x="221" y="11878"/>
                    <a:pt x="347" y="11878"/>
                  </a:cubicBezTo>
                  <a:lnTo>
                    <a:pt x="10019" y="11878"/>
                  </a:lnTo>
                  <a:cubicBezTo>
                    <a:pt x="10145" y="11878"/>
                    <a:pt x="10271" y="11784"/>
                    <a:pt x="10302" y="11721"/>
                  </a:cubicBezTo>
                  <a:cubicBezTo>
                    <a:pt x="10365" y="11595"/>
                    <a:pt x="10365" y="11469"/>
                    <a:pt x="10302" y="11343"/>
                  </a:cubicBezTo>
                  <a:lnTo>
                    <a:pt x="8916" y="8507"/>
                  </a:lnTo>
                  <a:cubicBezTo>
                    <a:pt x="8885" y="8413"/>
                    <a:pt x="8727" y="8318"/>
                    <a:pt x="8601" y="8318"/>
                  </a:cubicBezTo>
                  <a:lnTo>
                    <a:pt x="7624" y="8318"/>
                  </a:lnTo>
                  <a:lnTo>
                    <a:pt x="8065" y="7940"/>
                  </a:lnTo>
                  <a:cubicBezTo>
                    <a:pt x="9042" y="7090"/>
                    <a:pt x="9641" y="5829"/>
                    <a:pt x="9641" y="4506"/>
                  </a:cubicBezTo>
                  <a:cubicBezTo>
                    <a:pt x="9641" y="2049"/>
                    <a:pt x="7656" y="1"/>
                    <a:pt x="5167" y="1"/>
                  </a:cubicBezTo>
                  <a:cubicBezTo>
                    <a:pt x="5147" y="1"/>
                    <a:pt x="5127" y="1"/>
                    <a:pt x="51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51" name="Google Shape;9751;p77"/>
          <p:cNvSpPr/>
          <p:nvPr/>
        </p:nvSpPr>
        <p:spPr>
          <a:xfrm>
            <a:off x="7585093" y="2424782"/>
            <a:ext cx="225862" cy="350371"/>
          </a:xfrm>
          <a:custGeom>
            <a:avLst/>
            <a:gdLst/>
            <a:ahLst/>
            <a:cxnLst/>
            <a:rect l="l" t="t" r="r" b="b"/>
            <a:pathLst>
              <a:path w="7657" h="11878" extrusionOk="0">
                <a:moveTo>
                  <a:pt x="3813" y="1387"/>
                </a:moveTo>
                <a:cubicBezTo>
                  <a:pt x="4254" y="1387"/>
                  <a:pt x="4664" y="1670"/>
                  <a:pt x="4821" y="2112"/>
                </a:cubicBezTo>
                <a:lnTo>
                  <a:pt x="2836" y="2112"/>
                </a:lnTo>
                <a:cubicBezTo>
                  <a:pt x="2994" y="1702"/>
                  <a:pt x="3372" y="1387"/>
                  <a:pt x="3813" y="1387"/>
                </a:cubicBezTo>
                <a:close/>
                <a:moveTo>
                  <a:pt x="4947" y="2805"/>
                </a:moveTo>
                <a:cubicBezTo>
                  <a:pt x="5199" y="2805"/>
                  <a:pt x="5357" y="3057"/>
                  <a:pt x="5294" y="3277"/>
                </a:cubicBezTo>
                <a:lnTo>
                  <a:pt x="4947" y="4222"/>
                </a:lnTo>
                <a:lnTo>
                  <a:pt x="2679" y="4222"/>
                </a:lnTo>
                <a:lnTo>
                  <a:pt x="2364" y="3277"/>
                </a:lnTo>
                <a:cubicBezTo>
                  <a:pt x="2332" y="3025"/>
                  <a:pt x="2490" y="2805"/>
                  <a:pt x="2710" y="2805"/>
                </a:cubicBezTo>
                <a:close/>
                <a:moveTo>
                  <a:pt x="4916" y="4852"/>
                </a:moveTo>
                <a:lnTo>
                  <a:pt x="5514" y="8381"/>
                </a:lnTo>
                <a:lnTo>
                  <a:pt x="2175" y="8381"/>
                </a:lnTo>
                <a:lnTo>
                  <a:pt x="2773" y="4852"/>
                </a:lnTo>
                <a:close/>
                <a:moveTo>
                  <a:pt x="5955" y="9074"/>
                </a:moveTo>
                <a:cubicBezTo>
                  <a:pt x="6144" y="9074"/>
                  <a:pt x="6302" y="9232"/>
                  <a:pt x="6302" y="9421"/>
                </a:cubicBezTo>
                <a:lnTo>
                  <a:pt x="6302" y="9799"/>
                </a:lnTo>
                <a:lnTo>
                  <a:pt x="1450" y="9799"/>
                </a:lnTo>
                <a:lnTo>
                  <a:pt x="1450" y="9421"/>
                </a:lnTo>
                <a:cubicBezTo>
                  <a:pt x="1419" y="9232"/>
                  <a:pt x="1576" y="9074"/>
                  <a:pt x="1765" y="9074"/>
                </a:cubicBezTo>
                <a:close/>
                <a:moveTo>
                  <a:pt x="6648" y="10460"/>
                </a:moveTo>
                <a:cubicBezTo>
                  <a:pt x="6806" y="10460"/>
                  <a:pt x="6964" y="10618"/>
                  <a:pt x="6964" y="10807"/>
                </a:cubicBezTo>
                <a:lnTo>
                  <a:pt x="6964" y="11153"/>
                </a:lnTo>
                <a:lnTo>
                  <a:pt x="757" y="11153"/>
                </a:lnTo>
                <a:lnTo>
                  <a:pt x="757" y="10807"/>
                </a:lnTo>
                <a:cubicBezTo>
                  <a:pt x="757" y="10618"/>
                  <a:pt x="915" y="10460"/>
                  <a:pt x="1104" y="10460"/>
                </a:cubicBezTo>
                <a:close/>
                <a:moveTo>
                  <a:pt x="3782" y="1"/>
                </a:moveTo>
                <a:cubicBezTo>
                  <a:pt x="3592" y="1"/>
                  <a:pt x="3435" y="158"/>
                  <a:pt x="3435" y="379"/>
                </a:cubicBezTo>
                <a:lnTo>
                  <a:pt x="3435" y="757"/>
                </a:lnTo>
                <a:cubicBezTo>
                  <a:pt x="2679" y="914"/>
                  <a:pt x="2143" y="1544"/>
                  <a:pt x="2049" y="2301"/>
                </a:cubicBezTo>
                <a:cubicBezTo>
                  <a:pt x="1702" y="2521"/>
                  <a:pt x="1545" y="3025"/>
                  <a:pt x="1671" y="3466"/>
                </a:cubicBezTo>
                <a:lnTo>
                  <a:pt x="1891" y="4191"/>
                </a:lnTo>
                <a:lnTo>
                  <a:pt x="1702" y="4191"/>
                </a:lnTo>
                <a:cubicBezTo>
                  <a:pt x="1513" y="4191"/>
                  <a:pt x="1356" y="4348"/>
                  <a:pt x="1356" y="4537"/>
                </a:cubicBezTo>
                <a:cubicBezTo>
                  <a:pt x="1356" y="4758"/>
                  <a:pt x="1513" y="4915"/>
                  <a:pt x="1702" y="4915"/>
                </a:cubicBezTo>
                <a:lnTo>
                  <a:pt x="1986" y="4915"/>
                </a:lnTo>
                <a:lnTo>
                  <a:pt x="1387" y="8444"/>
                </a:lnTo>
                <a:cubicBezTo>
                  <a:pt x="1009" y="8570"/>
                  <a:pt x="726" y="8948"/>
                  <a:pt x="726" y="9421"/>
                </a:cubicBezTo>
                <a:lnTo>
                  <a:pt x="726" y="9830"/>
                </a:lnTo>
                <a:cubicBezTo>
                  <a:pt x="316" y="9988"/>
                  <a:pt x="1" y="10334"/>
                  <a:pt x="1" y="10807"/>
                </a:cubicBezTo>
                <a:lnTo>
                  <a:pt x="1" y="11531"/>
                </a:lnTo>
                <a:cubicBezTo>
                  <a:pt x="1" y="11720"/>
                  <a:pt x="158" y="11878"/>
                  <a:pt x="347" y="11878"/>
                </a:cubicBezTo>
                <a:lnTo>
                  <a:pt x="7279" y="11878"/>
                </a:lnTo>
                <a:cubicBezTo>
                  <a:pt x="7499" y="11878"/>
                  <a:pt x="7657" y="11720"/>
                  <a:pt x="7657" y="11531"/>
                </a:cubicBezTo>
                <a:lnTo>
                  <a:pt x="7657" y="10807"/>
                </a:lnTo>
                <a:cubicBezTo>
                  <a:pt x="7657" y="10366"/>
                  <a:pt x="7373" y="9988"/>
                  <a:pt x="6932" y="9830"/>
                </a:cubicBezTo>
                <a:lnTo>
                  <a:pt x="6932" y="9421"/>
                </a:lnTo>
                <a:cubicBezTo>
                  <a:pt x="6932" y="8948"/>
                  <a:pt x="6617" y="8570"/>
                  <a:pt x="6176" y="8444"/>
                </a:cubicBezTo>
                <a:lnTo>
                  <a:pt x="5609" y="4915"/>
                </a:lnTo>
                <a:lnTo>
                  <a:pt x="5861" y="4915"/>
                </a:lnTo>
                <a:cubicBezTo>
                  <a:pt x="6081" y="4915"/>
                  <a:pt x="6207" y="4758"/>
                  <a:pt x="6207" y="4537"/>
                </a:cubicBezTo>
                <a:cubicBezTo>
                  <a:pt x="6207" y="4348"/>
                  <a:pt x="6081" y="4191"/>
                  <a:pt x="5861" y="4191"/>
                </a:cubicBezTo>
                <a:lnTo>
                  <a:pt x="5672" y="4191"/>
                </a:lnTo>
                <a:lnTo>
                  <a:pt x="5924" y="3466"/>
                </a:lnTo>
                <a:cubicBezTo>
                  <a:pt x="6081" y="3025"/>
                  <a:pt x="5861" y="2584"/>
                  <a:pt x="5514" y="2301"/>
                </a:cubicBezTo>
                <a:cubicBezTo>
                  <a:pt x="5451" y="1513"/>
                  <a:pt x="4884" y="914"/>
                  <a:pt x="4128" y="757"/>
                </a:cubicBezTo>
                <a:lnTo>
                  <a:pt x="4128" y="379"/>
                </a:lnTo>
                <a:cubicBezTo>
                  <a:pt x="4128" y="158"/>
                  <a:pt x="3971" y="1"/>
                  <a:pt x="3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52" name="Google Shape;9752;p77"/>
          <p:cNvGrpSpPr/>
          <p:nvPr/>
        </p:nvGrpSpPr>
        <p:grpSpPr>
          <a:xfrm>
            <a:off x="6187732" y="2898450"/>
            <a:ext cx="347569" cy="347569"/>
            <a:chOff x="4685050" y="1945825"/>
            <a:chExt cx="294575" cy="294575"/>
          </a:xfrm>
        </p:grpSpPr>
        <p:sp>
          <p:nvSpPr>
            <p:cNvPr id="9753" name="Google Shape;9753;p77"/>
            <p:cNvSpPr/>
            <p:nvPr/>
          </p:nvSpPr>
          <p:spPr>
            <a:xfrm>
              <a:off x="4720475" y="2086025"/>
              <a:ext cx="104775" cy="121300"/>
            </a:xfrm>
            <a:custGeom>
              <a:avLst/>
              <a:gdLst/>
              <a:ahLst/>
              <a:cxnLst/>
              <a:rect l="l" t="t" r="r" b="b"/>
              <a:pathLst>
                <a:path w="4191" h="4852" extrusionOk="0">
                  <a:moveTo>
                    <a:pt x="2017" y="693"/>
                  </a:moveTo>
                  <a:cubicBezTo>
                    <a:pt x="2427" y="693"/>
                    <a:pt x="2742" y="1008"/>
                    <a:pt x="2742" y="1386"/>
                  </a:cubicBezTo>
                  <a:cubicBezTo>
                    <a:pt x="2742" y="1796"/>
                    <a:pt x="2427" y="2111"/>
                    <a:pt x="2017" y="2111"/>
                  </a:cubicBezTo>
                  <a:cubicBezTo>
                    <a:pt x="1639" y="2111"/>
                    <a:pt x="1324" y="1796"/>
                    <a:pt x="1324" y="1386"/>
                  </a:cubicBezTo>
                  <a:cubicBezTo>
                    <a:pt x="1324" y="1008"/>
                    <a:pt x="1639" y="693"/>
                    <a:pt x="2017" y="693"/>
                  </a:cubicBezTo>
                  <a:close/>
                  <a:moveTo>
                    <a:pt x="2017" y="2772"/>
                  </a:moveTo>
                  <a:cubicBezTo>
                    <a:pt x="2773" y="2772"/>
                    <a:pt x="3403" y="3403"/>
                    <a:pt x="3403" y="4127"/>
                  </a:cubicBezTo>
                  <a:lnTo>
                    <a:pt x="631" y="4127"/>
                  </a:lnTo>
                  <a:cubicBezTo>
                    <a:pt x="631" y="3403"/>
                    <a:pt x="1261" y="2772"/>
                    <a:pt x="2017" y="2772"/>
                  </a:cubicBezTo>
                  <a:close/>
                  <a:moveTo>
                    <a:pt x="2049" y="0"/>
                  </a:moveTo>
                  <a:cubicBezTo>
                    <a:pt x="1324" y="0"/>
                    <a:pt x="694" y="630"/>
                    <a:pt x="694" y="1386"/>
                  </a:cubicBezTo>
                  <a:cubicBezTo>
                    <a:pt x="694" y="1733"/>
                    <a:pt x="851" y="2111"/>
                    <a:pt x="1072" y="2331"/>
                  </a:cubicBezTo>
                  <a:cubicBezTo>
                    <a:pt x="442" y="2678"/>
                    <a:pt x="1" y="3340"/>
                    <a:pt x="1" y="4127"/>
                  </a:cubicBezTo>
                  <a:lnTo>
                    <a:pt x="1" y="4505"/>
                  </a:lnTo>
                  <a:cubicBezTo>
                    <a:pt x="1" y="4694"/>
                    <a:pt x="158" y="4852"/>
                    <a:pt x="379" y="4852"/>
                  </a:cubicBezTo>
                  <a:lnTo>
                    <a:pt x="3844" y="4852"/>
                  </a:lnTo>
                  <a:cubicBezTo>
                    <a:pt x="4033" y="4852"/>
                    <a:pt x="4191" y="4694"/>
                    <a:pt x="4191" y="4505"/>
                  </a:cubicBezTo>
                  <a:lnTo>
                    <a:pt x="4191" y="4127"/>
                  </a:lnTo>
                  <a:cubicBezTo>
                    <a:pt x="4096" y="3340"/>
                    <a:pt x="3687" y="2678"/>
                    <a:pt x="3057" y="2331"/>
                  </a:cubicBezTo>
                  <a:cubicBezTo>
                    <a:pt x="3277" y="2111"/>
                    <a:pt x="3435" y="1733"/>
                    <a:pt x="3435" y="1386"/>
                  </a:cubicBezTo>
                  <a:cubicBezTo>
                    <a:pt x="3435" y="630"/>
                    <a:pt x="2805" y="0"/>
                    <a:pt x="20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4" name="Google Shape;9754;p77"/>
            <p:cNvSpPr/>
            <p:nvPr/>
          </p:nvSpPr>
          <p:spPr>
            <a:xfrm>
              <a:off x="4685050" y="1945825"/>
              <a:ext cx="294575" cy="294575"/>
            </a:xfrm>
            <a:custGeom>
              <a:avLst/>
              <a:gdLst/>
              <a:ahLst/>
              <a:cxnLst/>
              <a:rect l="l" t="t" r="r" b="b"/>
              <a:pathLst>
                <a:path w="11783" h="11783" extrusionOk="0">
                  <a:moveTo>
                    <a:pt x="6900" y="693"/>
                  </a:moveTo>
                  <a:lnTo>
                    <a:pt x="6900" y="1418"/>
                  </a:lnTo>
                  <a:lnTo>
                    <a:pt x="4820" y="1418"/>
                  </a:lnTo>
                  <a:lnTo>
                    <a:pt x="4820" y="693"/>
                  </a:lnTo>
                  <a:close/>
                  <a:moveTo>
                    <a:pt x="7215" y="2111"/>
                  </a:moveTo>
                  <a:cubicBezTo>
                    <a:pt x="7404" y="2111"/>
                    <a:pt x="7561" y="2269"/>
                    <a:pt x="7561" y="2458"/>
                  </a:cubicBezTo>
                  <a:cubicBezTo>
                    <a:pt x="7561" y="2678"/>
                    <a:pt x="7404" y="2836"/>
                    <a:pt x="7215" y="2836"/>
                  </a:cubicBezTo>
                  <a:lnTo>
                    <a:pt x="4474" y="2836"/>
                  </a:lnTo>
                  <a:cubicBezTo>
                    <a:pt x="4253" y="2836"/>
                    <a:pt x="4096" y="2678"/>
                    <a:pt x="4096" y="2458"/>
                  </a:cubicBezTo>
                  <a:cubicBezTo>
                    <a:pt x="4096" y="2269"/>
                    <a:pt x="4316" y="2111"/>
                    <a:pt x="4474" y="2111"/>
                  </a:cubicBezTo>
                  <a:close/>
                  <a:moveTo>
                    <a:pt x="6900" y="3497"/>
                  </a:moveTo>
                  <a:lnTo>
                    <a:pt x="6900" y="4568"/>
                  </a:lnTo>
                  <a:cubicBezTo>
                    <a:pt x="6900" y="4757"/>
                    <a:pt x="6742" y="4915"/>
                    <a:pt x="6553" y="4915"/>
                  </a:cubicBezTo>
                  <a:lnTo>
                    <a:pt x="5167" y="4915"/>
                  </a:lnTo>
                  <a:cubicBezTo>
                    <a:pt x="4978" y="4915"/>
                    <a:pt x="4820" y="4757"/>
                    <a:pt x="4820" y="4568"/>
                  </a:cubicBezTo>
                  <a:lnTo>
                    <a:pt x="4820" y="3497"/>
                  </a:lnTo>
                  <a:close/>
                  <a:moveTo>
                    <a:pt x="10775" y="4883"/>
                  </a:moveTo>
                  <a:cubicBezTo>
                    <a:pt x="10964" y="4883"/>
                    <a:pt x="11121" y="5041"/>
                    <a:pt x="11121" y="5230"/>
                  </a:cubicBezTo>
                  <a:lnTo>
                    <a:pt x="11121" y="10775"/>
                  </a:lnTo>
                  <a:cubicBezTo>
                    <a:pt x="11121" y="10964"/>
                    <a:pt x="10964" y="11121"/>
                    <a:pt x="10775" y="11121"/>
                  </a:cubicBezTo>
                  <a:lnTo>
                    <a:pt x="1008" y="11121"/>
                  </a:lnTo>
                  <a:cubicBezTo>
                    <a:pt x="788" y="11121"/>
                    <a:pt x="630" y="10964"/>
                    <a:pt x="630" y="10775"/>
                  </a:cubicBezTo>
                  <a:lnTo>
                    <a:pt x="630" y="5230"/>
                  </a:lnTo>
                  <a:cubicBezTo>
                    <a:pt x="630" y="5041"/>
                    <a:pt x="788" y="4883"/>
                    <a:pt x="1008" y="4883"/>
                  </a:cubicBezTo>
                  <a:lnTo>
                    <a:pt x="4190" y="4883"/>
                  </a:lnTo>
                  <a:cubicBezTo>
                    <a:pt x="4348" y="5261"/>
                    <a:pt x="4694" y="5577"/>
                    <a:pt x="5167" y="5577"/>
                  </a:cubicBezTo>
                  <a:lnTo>
                    <a:pt x="6553" y="5577"/>
                  </a:lnTo>
                  <a:cubicBezTo>
                    <a:pt x="6994" y="5577"/>
                    <a:pt x="7372" y="5293"/>
                    <a:pt x="7530" y="4883"/>
                  </a:cubicBezTo>
                  <a:close/>
                  <a:moveTo>
                    <a:pt x="4505" y="0"/>
                  </a:moveTo>
                  <a:cubicBezTo>
                    <a:pt x="4316" y="0"/>
                    <a:pt x="4159" y="158"/>
                    <a:pt x="4159" y="347"/>
                  </a:cubicBezTo>
                  <a:lnTo>
                    <a:pt x="4159" y="1449"/>
                  </a:lnTo>
                  <a:cubicBezTo>
                    <a:pt x="3749" y="1607"/>
                    <a:pt x="3434" y="1953"/>
                    <a:pt x="3434" y="2426"/>
                  </a:cubicBezTo>
                  <a:cubicBezTo>
                    <a:pt x="3434" y="2867"/>
                    <a:pt x="3718" y="3245"/>
                    <a:pt x="4159" y="3403"/>
                  </a:cubicBezTo>
                  <a:lnTo>
                    <a:pt x="4159" y="4190"/>
                  </a:lnTo>
                  <a:lnTo>
                    <a:pt x="1040" y="4190"/>
                  </a:lnTo>
                  <a:cubicBezTo>
                    <a:pt x="441" y="4190"/>
                    <a:pt x="0" y="4663"/>
                    <a:pt x="0" y="5230"/>
                  </a:cubicBezTo>
                  <a:lnTo>
                    <a:pt x="0" y="10775"/>
                  </a:lnTo>
                  <a:cubicBezTo>
                    <a:pt x="0" y="11373"/>
                    <a:pt x="473" y="11783"/>
                    <a:pt x="1040" y="11783"/>
                  </a:cubicBezTo>
                  <a:lnTo>
                    <a:pt x="10775" y="11783"/>
                  </a:lnTo>
                  <a:cubicBezTo>
                    <a:pt x="11342" y="11783"/>
                    <a:pt x="11783" y="11310"/>
                    <a:pt x="11783" y="10775"/>
                  </a:cubicBezTo>
                  <a:lnTo>
                    <a:pt x="11783" y="5230"/>
                  </a:lnTo>
                  <a:cubicBezTo>
                    <a:pt x="11783" y="4663"/>
                    <a:pt x="11342" y="4190"/>
                    <a:pt x="10775" y="4190"/>
                  </a:cubicBezTo>
                  <a:lnTo>
                    <a:pt x="7624" y="4190"/>
                  </a:lnTo>
                  <a:lnTo>
                    <a:pt x="7624" y="3403"/>
                  </a:lnTo>
                  <a:cubicBezTo>
                    <a:pt x="8002" y="3245"/>
                    <a:pt x="8317" y="2899"/>
                    <a:pt x="8317" y="2426"/>
                  </a:cubicBezTo>
                  <a:cubicBezTo>
                    <a:pt x="8317" y="1985"/>
                    <a:pt x="8034" y="1607"/>
                    <a:pt x="7624" y="1449"/>
                  </a:cubicBezTo>
                  <a:lnTo>
                    <a:pt x="7624" y="347"/>
                  </a:lnTo>
                  <a:cubicBezTo>
                    <a:pt x="7624" y="158"/>
                    <a:pt x="7467"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77"/>
            <p:cNvSpPr/>
            <p:nvPr/>
          </p:nvSpPr>
          <p:spPr>
            <a:xfrm>
              <a:off x="4840200" y="2103350"/>
              <a:ext cx="104775" cy="17350"/>
            </a:xfrm>
            <a:custGeom>
              <a:avLst/>
              <a:gdLst/>
              <a:ahLst/>
              <a:cxnLst/>
              <a:rect l="l" t="t" r="r" b="b"/>
              <a:pathLst>
                <a:path w="4191" h="694" extrusionOk="0">
                  <a:moveTo>
                    <a:pt x="347" y="0"/>
                  </a:moveTo>
                  <a:cubicBezTo>
                    <a:pt x="158" y="0"/>
                    <a:pt x="0" y="158"/>
                    <a:pt x="0" y="347"/>
                  </a:cubicBezTo>
                  <a:cubicBezTo>
                    <a:pt x="0" y="536"/>
                    <a:pt x="158" y="693"/>
                    <a:pt x="347" y="693"/>
                  </a:cubicBezTo>
                  <a:lnTo>
                    <a:pt x="3844" y="693"/>
                  </a:lnTo>
                  <a:cubicBezTo>
                    <a:pt x="4033" y="693"/>
                    <a:pt x="4191" y="536"/>
                    <a:pt x="4191" y="347"/>
                  </a:cubicBezTo>
                  <a:cubicBezTo>
                    <a:pt x="4191" y="158"/>
                    <a:pt x="4033"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77"/>
            <p:cNvSpPr/>
            <p:nvPr/>
          </p:nvSpPr>
          <p:spPr>
            <a:xfrm>
              <a:off x="4840200" y="2137200"/>
              <a:ext cx="104775" cy="18150"/>
            </a:xfrm>
            <a:custGeom>
              <a:avLst/>
              <a:gdLst/>
              <a:ahLst/>
              <a:cxnLst/>
              <a:rect l="l" t="t" r="r" b="b"/>
              <a:pathLst>
                <a:path w="4191" h="726" extrusionOk="0">
                  <a:moveTo>
                    <a:pt x="347" y="1"/>
                  </a:moveTo>
                  <a:cubicBezTo>
                    <a:pt x="158" y="1"/>
                    <a:pt x="0" y="158"/>
                    <a:pt x="0" y="379"/>
                  </a:cubicBezTo>
                  <a:cubicBezTo>
                    <a:pt x="0" y="568"/>
                    <a:pt x="158" y="725"/>
                    <a:pt x="347" y="725"/>
                  </a:cubicBezTo>
                  <a:lnTo>
                    <a:pt x="3844" y="725"/>
                  </a:lnTo>
                  <a:cubicBezTo>
                    <a:pt x="4033" y="725"/>
                    <a:pt x="4191" y="568"/>
                    <a:pt x="4191" y="379"/>
                  </a:cubicBezTo>
                  <a:cubicBezTo>
                    <a:pt x="4191" y="158"/>
                    <a:pt x="4033" y="1"/>
                    <a:pt x="38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77"/>
            <p:cNvSpPr/>
            <p:nvPr/>
          </p:nvSpPr>
          <p:spPr>
            <a:xfrm>
              <a:off x="4840200" y="2171875"/>
              <a:ext cx="104775" cy="18125"/>
            </a:xfrm>
            <a:custGeom>
              <a:avLst/>
              <a:gdLst/>
              <a:ahLst/>
              <a:cxnLst/>
              <a:rect l="l" t="t" r="r" b="b"/>
              <a:pathLst>
                <a:path w="4191" h="725" extrusionOk="0">
                  <a:moveTo>
                    <a:pt x="347" y="0"/>
                  </a:moveTo>
                  <a:cubicBezTo>
                    <a:pt x="158" y="0"/>
                    <a:pt x="0" y="158"/>
                    <a:pt x="0" y="347"/>
                  </a:cubicBezTo>
                  <a:cubicBezTo>
                    <a:pt x="0" y="567"/>
                    <a:pt x="158" y="725"/>
                    <a:pt x="347" y="725"/>
                  </a:cubicBezTo>
                  <a:lnTo>
                    <a:pt x="3844" y="725"/>
                  </a:lnTo>
                  <a:cubicBezTo>
                    <a:pt x="4033" y="725"/>
                    <a:pt x="4191" y="567"/>
                    <a:pt x="4191" y="347"/>
                  </a:cubicBezTo>
                  <a:cubicBezTo>
                    <a:pt x="4191" y="158"/>
                    <a:pt x="4033"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58" name="Google Shape;9758;p77"/>
          <p:cNvSpPr/>
          <p:nvPr/>
        </p:nvSpPr>
        <p:spPr>
          <a:xfrm>
            <a:off x="6187137" y="3387382"/>
            <a:ext cx="348513" cy="347599"/>
          </a:xfrm>
          <a:custGeom>
            <a:avLst/>
            <a:gdLst/>
            <a:ahLst/>
            <a:cxnLst/>
            <a:rect l="l" t="t" r="r" b="b"/>
            <a:pathLst>
              <a:path w="11815" h="11784" extrusionOk="0">
                <a:moveTo>
                  <a:pt x="5923" y="2080"/>
                </a:moveTo>
                <a:cubicBezTo>
                  <a:pt x="6459" y="2080"/>
                  <a:pt x="6932" y="2552"/>
                  <a:pt x="6932" y="3119"/>
                </a:cubicBezTo>
                <a:lnTo>
                  <a:pt x="6932" y="3466"/>
                </a:lnTo>
                <a:lnTo>
                  <a:pt x="4884" y="3466"/>
                </a:lnTo>
                <a:lnTo>
                  <a:pt x="4884" y="3119"/>
                </a:lnTo>
                <a:cubicBezTo>
                  <a:pt x="4884" y="2521"/>
                  <a:pt x="5356" y="2080"/>
                  <a:pt x="5923" y="2080"/>
                </a:cubicBezTo>
                <a:close/>
                <a:moveTo>
                  <a:pt x="5923" y="662"/>
                </a:moveTo>
                <a:cubicBezTo>
                  <a:pt x="7247" y="662"/>
                  <a:pt x="8349" y="1765"/>
                  <a:pt x="8349" y="3119"/>
                </a:cubicBezTo>
                <a:lnTo>
                  <a:pt x="8349" y="3466"/>
                </a:lnTo>
                <a:lnTo>
                  <a:pt x="7656" y="3466"/>
                </a:lnTo>
                <a:lnTo>
                  <a:pt x="7656" y="3119"/>
                </a:lnTo>
                <a:cubicBezTo>
                  <a:pt x="7656" y="2174"/>
                  <a:pt x="6869" y="1387"/>
                  <a:pt x="5923" y="1387"/>
                </a:cubicBezTo>
                <a:cubicBezTo>
                  <a:pt x="4978" y="1387"/>
                  <a:pt x="4191" y="2174"/>
                  <a:pt x="4191" y="3119"/>
                </a:cubicBezTo>
                <a:lnTo>
                  <a:pt x="4191" y="3466"/>
                </a:lnTo>
                <a:lnTo>
                  <a:pt x="3466" y="3466"/>
                </a:lnTo>
                <a:lnTo>
                  <a:pt x="3466" y="3119"/>
                </a:lnTo>
                <a:cubicBezTo>
                  <a:pt x="3466" y="1765"/>
                  <a:pt x="4569" y="662"/>
                  <a:pt x="5923" y="662"/>
                </a:cubicBezTo>
                <a:close/>
                <a:moveTo>
                  <a:pt x="1387" y="4191"/>
                </a:moveTo>
                <a:lnTo>
                  <a:pt x="1387" y="6742"/>
                </a:lnTo>
                <a:cubicBezTo>
                  <a:pt x="946" y="6490"/>
                  <a:pt x="662" y="6018"/>
                  <a:pt x="662" y="5545"/>
                </a:cubicBezTo>
                <a:lnTo>
                  <a:pt x="662" y="4537"/>
                </a:lnTo>
                <a:cubicBezTo>
                  <a:pt x="662" y="4348"/>
                  <a:pt x="820" y="4191"/>
                  <a:pt x="1040" y="4191"/>
                </a:cubicBezTo>
                <a:close/>
                <a:moveTo>
                  <a:pt x="10775" y="4128"/>
                </a:moveTo>
                <a:cubicBezTo>
                  <a:pt x="10996" y="4128"/>
                  <a:pt x="11153" y="4285"/>
                  <a:pt x="11153" y="4506"/>
                </a:cubicBezTo>
                <a:lnTo>
                  <a:pt x="11153" y="5545"/>
                </a:lnTo>
                <a:cubicBezTo>
                  <a:pt x="11153" y="6081"/>
                  <a:pt x="10870" y="6490"/>
                  <a:pt x="10429" y="6742"/>
                </a:cubicBezTo>
                <a:lnTo>
                  <a:pt x="10429" y="4128"/>
                </a:lnTo>
                <a:close/>
                <a:moveTo>
                  <a:pt x="8349" y="4191"/>
                </a:moveTo>
                <a:lnTo>
                  <a:pt x="8349" y="6931"/>
                </a:lnTo>
                <a:lnTo>
                  <a:pt x="3498" y="6931"/>
                </a:lnTo>
                <a:lnTo>
                  <a:pt x="3498" y="4191"/>
                </a:lnTo>
                <a:close/>
                <a:moveTo>
                  <a:pt x="6270" y="7593"/>
                </a:moveTo>
                <a:lnTo>
                  <a:pt x="6270" y="7971"/>
                </a:lnTo>
                <a:cubicBezTo>
                  <a:pt x="6270" y="8160"/>
                  <a:pt x="6112" y="8318"/>
                  <a:pt x="5923" y="8318"/>
                </a:cubicBezTo>
                <a:cubicBezTo>
                  <a:pt x="5703" y="8318"/>
                  <a:pt x="5545" y="8160"/>
                  <a:pt x="5545" y="7971"/>
                </a:cubicBezTo>
                <a:lnTo>
                  <a:pt x="5545" y="7593"/>
                </a:lnTo>
                <a:close/>
                <a:moveTo>
                  <a:pt x="662" y="7089"/>
                </a:moveTo>
                <a:cubicBezTo>
                  <a:pt x="883" y="7278"/>
                  <a:pt x="1103" y="7404"/>
                  <a:pt x="1387" y="7467"/>
                </a:cubicBezTo>
                <a:lnTo>
                  <a:pt x="1387" y="11153"/>
                </a:lnTo>
                <a:lnTo>
                  <a:pt x="1040" y="11153"/>
                </a:lnTo>
                <a:cubicBezTo>
                  <a:pt x="820" y="11153"/>
                  <a:pt x="662" y="10996"/>
                  <a:pt x="662" y="10807"/>
                </a:cubicBezTo>
                <a:lnTo>
                  <a:pt x="662" y="7089"/>
                </a:lnTo>
                <a:close/>
                <a:moveTo>
                  <a:pt x="2804" y="4191"/>
                </a:moveTo>
                <a:lnTo>
                  <a:pt x="2804" y="11153"/>
                </a:lnTo>
                <a:lnTo>
                  <a:pt x="2080" y="11153"/>
                </a:lnTo>
                <a:lnTo>
                  <a:pt x="2080" y="4191"/>
                </a:lnTo>
                <a:close/>
                <a:moveTo>
                  <a:pt x="8318" y="7656"/>
                </a:moveTo>
                <a:lnTo>
                  <a:pt x="8318" y="11153"/>
                </a:lnTo>
                <a:lnTo>
                  <a:pt x="3498" y="11153"/>
                </a:lnTo>
                <a:lnTo>
                  <a:pt x="3498" y="7656"/>
                </a:lnTo>
                <a:lnTo>
                  <a:pt x="4884" y="7656"/>
                </a:lnTo>
                <a:lnTo>
                  <a:pt x="4884" y="8003"/>
                </a:lnTo>
                <a:cubicBezTo>
                  <a:pt x="4884" y="8601"/>
                  <a:pt x="5356" y="9011"/>
                  <a:pt x="5923" y="9011"/>
                </a:cubicBezTo>
                <a:cubicBezTo>
                  <a:pt x="6459" y="9011"/>
                  <a:pt x="6932" y="8538"/>
                  <a:pt x="6932" y="8003"/>
                </a:cubicBezTo>
                <a:lnTo>
                  <a:pt x="6932" y="7656"/>
                </a:lnTo>
                <a:close/>
                <a:moveTo>
                  <a:pt x="9767" y="4191"/>
                </a:moveTo>
                <a:lnTo>
                  <a:pt x="9767" y="11153"/>
                </a:lnTo>
                <a:lnTo>
                  <a:pt x="9074" y="11153"/>
                </a:lnTo>
                <a:lnTo>
                  <a:pt x="9074" y="4191"/>
                </a:lnTo>
                <a:close/>
                <a:moveTo>
                  <a:pt x="11153" y="7120"/>
                </a:moveTo>
                <a:lnTo>
                  <a:pt x="11153" y="10807"/>
                </a:lnTo>
                <a:cubicBezTo>
                  <a:pt x="11153" y="10996"/>
                  <a:pt x="10996" y="11153"/>
                  <a:pt x="10807" y="11153"/>
                </a:cubicBezTo>
                <a:lnTo>
                  <a:pt x="10429" y="11153"/>
                </a:lnTo>
                <a:lnTo>
                  <a:pt x="10429" y="7530"/>
                </a:lnTo>
                <a:cubicBezTo>
                  <a:pt x="10712" y="7436"/>
                  <a:pt x="10964" y="7278"/>
                  <a:pt x="11153" y="7120"/>
                </a:cubicBezTo>
                <a:close/>
                <a:moveTo>
                  <a:pt x="5923" y="0"/>
                </a:moveTo>
                <a:cubicBezTo>
                  <a:pt x="4191" y="0"/>
                  <a:pt x="2804" y="1418"/>
                  <a:pt x="2804" y="3119"/>
                </a:cubicBezTo>
                <a:lnTo>
                  <a:pt x="2804" y="3466"/>
                </a:lnTo>
                <a:lnTo>
                  <a:pt x="1040" y="3466"/>
                </a:lnTo>
                <a:cubicBezTo>
                  <a:pt x="442" y="3466"/>
                  <a:pt x="1" y="3939"/>
                  <a:pt x="1" y="4474"/>
                </a:cubicBezTo>
                <a:lnTo>
                  <a:pt x="1" y="5514"/>
                </a:lnTo>
                <a:lnTo>
                  <a:pt x="1" y="10744"/>
                </a:lnTo>
                <a:cubicBezTo>
                  <a:pt x="1" y="11342"/>
                  <a:pt x="473" y="11783"/>
                  <a:pt x="1040" y="11783"/>
                </a:cubicBezTo>
                <a:lnTo>
                  <a:pt x="10807" y="11783"/>
                </a:lnTo>
                <a:cubicBezTo>
                  <a:pt x="11374" y="11783"/>
                  <a:pt x="11815" y="11311"/>
                  <a:pt x="11815" y="10744"/>
                </a:cubicBezTo>
                <a:lnTo>
                  <a:pt x="11815" y="5514"/>
                </a:lnTo>
                <a:lnTo>
                  <a:pt x="11815" y="4474"/>
                </a:lnTo>
                <a:cubicBezTo>
                  <a:pt x="11815" y="3939"/>
                  <a:pt x="11374" y="3466"/>
                  <a:pt x="10807" y="3466"/>
                </a:cubicBezTo>
                <a:lnTo>
                  <a:pt x="9011" y="3466"/>
                </a:lnTo>
                <a:lnTo>
                  <a:pt x="9011" y="3119"/>
                </a:lnTo>
                <a:cubicBezTo>
                  <a:pt x="9011" y="1387"/>
                  <a:pt x="7593"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77"/>
          <p:cNvSpPr/>
          <p:nvPr/>
        </p:nvSpPr>
        <p:spPr>
          <a:xfrm>
            <a:off x="6208050" y="3835296"/>
            <a:ext cx="306686" cy="350371"/>
          </a:xfrm>
          <a:custGeom>
            <a:avLst/>
            <a:gdLst/>
            <a:ahLst/>
            <a:cxnLst/>
            <a:rect l="l" t="t" r="r" b="b"/>
            <a:pathLst>
              <a:path w="10397" h="11878" extrusionOk="0">
                <a:moveTo>
                  <a:pt x="5135" y="725"/>
                </a:moveTo>
                <a:cubicBezTo>
                  <a:pt x="6868" y="725"/>
                  <a:pt x="8254" y="2142"/>
                  <a:pt x="8254" y="3844"/>
                </a:cubicBezTo>
                <a:lnTo>
                  <a:pt x="8254" y="5923"/>
                </a:lnTo>
                <a:cubicBezTo>
                  <a:pt x="8254" y="6112"/>
                  <a:pt x="8097" y="6270"/>
                  <a:pt x="7908" y="6270"/>
                </a:cubicBezTo>
                <a:lnTo>
                  <a:pt x="7498" y="6270"/>
                </a:lnTo>
                <a:cubicBezTo>
                  <a:pt x="7561" y="6144"/>
                  <a:pt x="7561" y="6049"/>
                  <a:pt x="7561" y="5923"/>
                </a:cubicBezTo>
                <a:lnTo>
                  <a:pt x="7561" y="3844"/>
                </a:lnTo>
                <a:cubicBezTo>
                  <a:pt x="7561" y="3623"/>
                  <a:pt x="7404" y="3466"/>
                  <a:pt x="7183" y="3466"/>
                </a:cubicBezTo>
                <a:lnTo>
                  <a:pt x="6490" y="3466"/>
                </a:lnTo>
                <a:cubicBezTo>
                  <a:pt x="5892" y="3466"/>
                  <a:pt x="5450" y="2993"/>
                  <a:pt x="5450" y="2458"/>
                </a:cubicBezTo>
                <a:lnTo>
                  <a:pt x="5450" y="1733"/>
                </a:lnTo>
                <a:cubicBezTo>
                  <a:pt x="5450" y="1544"/>
                  <a:pt x="5293" y="1386"/>
                  <a:pt x="5104" y="1386"/>
                </a:cubicBezTo>
                <a:cubicBezTo>
                  <a:pt x="4915" y="1386"/>
                  <a:pt x="4757" y="1544"/>
                  <a:pt x="4757" y="1733"/>
                </a:cubicBezTo>
                <a:lnTo>
                  <a:pt x="4757" y="2458"/>
                </a:lnTo>
                <a:cubicBezTo>
                  <a:pt x="4757" y="3056"/>
                  <a:pt x="4285" y="3466"/>
                  <a:pt x="3718" y="3466"/>
                </a:cubicBezTo>
                <a:lnTo>
                  <a:pt x="3088" y="3466"/>
                </a:lnTo>
                <a:cubicBezTo>
                  <a:pt x="2899" y="3466"/>
                  <a:pt x="2741" y="3623"/>
                  <a:pt x="2741" y="3844"/>
                </a:cubicBezTo>
                <a:lnTo>
                  <a:pt x="2741" y="5923"/>
                </a:lnTo>
                <a:cubicBezTo>
                  <a:pt x="2741" y="6049"/>
                  <a:pt x="2741" y="6144"/>
                  <a:pt x="2773" y="6270"/>
                </a:cubicBezTo>
                <a:lnTo>
                  <a:pt x="2395" y="6270"/>
                </a:lnTo>
                <a:cubicBezTo>
                  <a:pt x="2205" y="6270"/>
                  <a:pt x="2048" y="6112"/>
                  <a:pt x="2048" y="5923"/>
                </a:cubicBezTo>
                <a:lnTo>
                  <a:pt x="2048" y="3844"/>
                </a:lnTo>
                <a:cubicBezTo>
                  <a:pt x="2048" y="2111"/>
                  <a:pt x="3466" y="725"/>
                  <a:pt x="5135" y="725"/>
                </a:cubicBezTo>
                <a:close/>
                <a:moveTo>
                  <a:pt x="5230" y="3466"/>
                </a:moveTo>
                <a:cubicBezTo>
                  <a:pt x="5545" y="3907"/>
                  <a:pt x="6049" y="4190"/>
                  <a:pt x="6585" y="4190"/>
                </a:cubicBezTo>
                <a:lnTo>
                  <a:pt x="6963" y="4190"/>
                </a:lnTo>
                <a:lnTo>
                  <a:pt x="6963" y="5955"/>
                </a:lnTo>
                <a:lnTo>
                  <a:pt x="6931" y="5955"/>
                </a:lnTo>
                <a:cubicBezTo>
                  <a:pt x="6931" y="6553"/>
                  <a:pt x="6459" y="6994"/>
                  <a:pt x="5892" y="6994"/>
                </a:cubicBezTo>
                <a:lnTo>
                  <a:pt x="4505" y="6994"/>
                </a:lnTo>
                <a:cubicBezTo>
                  <a:pt x="3938" y="6994"/>
                  <a:pt x="3497" y="6522"/>
                  <a:pt x="3497" y="5955"/>
                </a:cubicBezTo>
                <a:lnTo>
                  <a:pt x="3497" y="4190"/>
                </a:lnTo>
                <a:lnTo>
                  <a:pt x="3844" y="4190"/>
                </a:lnTo>
                <a:cubicBezTo>
                  <a:pt x="4379" y="4190"/>
                  <a:pt x="4915" y="3907"/>
                  <a:pt x="5230" y="3466"/>
                </a:cubicBezTo>
                <a:close/>
                <a:moveTo>
                  <a:pt x="6301" y="7624"/>
                </a:moveTo>
                <a:cubicBezTo>
                  <a:pt x="6396" y="8034"/>
                  <a:pt x="6805" y="8349"/>
                  <a:pt x="7278" y="8349"/>
                </a:cubicBezTo>
                <a:lnTo>
                  <a:pt x="7624" y="8349"/>
                </a:lnTo>
                <a:lnTo>
                  <a:pt x="7624" y="9200"/>
                </a:lnTo>
                <a:cubicBezTo>
                  <a:pt x="6852" y="9546"/>
                  <a:pt x="6025" y="9719"/>
                  <a:pt x="5198" y="9719"/>
                </a:cubicBezTo>
                <a:cubicBezTo>
                  <a:pt x="4371" y="9719"/>
                  <a:pt x="3544" y="9546"/>
                  <a:pt x="2773" y="9200"/>
                </a:cubicBezTo>
                <a:lnTo>
                  <a:pt x="2773" y="8349"/>
                </a:lnTo>
                <a:lnTo>
                  <a:pt x="3119" y="8349"/>
                </a:lnTo>
                <a:cubicBezTo>
                  <a:pt x="3560" y="8349"/>
                  <a:pt x="3970" y="8034"/>
                  <a:pt x="4127" y="7624"/>
                </a:cubicBezTo>
                <a:cubicBezTo>
                  <a:pt x="4253" y="7656"/>
                  <a:pt x="4411" y="7656"/>
                  <a:pt x="4505" y="7656"/>
                </a:cubicBezTo>
                <a:lnTo>
                  <a:pt x="5892" y="7656"/>
                </a:lnTo>
                <a:cubicBezTo>
                  <a:pt x="6018" y="7656"/>
                  <a:pt x="6175" y="7656"/>
                  <a:pt x="6301" y="7624"/>
                </a:cubicBezTo>
                <a:close/>
                <a:moveTo>
                  <a:pt x="2079" y="8349"/>
                </a:moveTo>
                <a:lnTo>
                  <a:pt x="2079" y="11153"/>
                </a:lnTo>
                <a:lnTo>
                  <a:pt x="693" y="11153"/>
                </a:lnTo>
                <a:lnTo>
                  <a:pt x="693" y="9389"/>
                </a:lnTo>
                <a:cubicBezTo>
                  <a:pt x="693" y="8790"/>
                  <a:pt x="1166" y="8349"/>
                  <a:pt x="1733" y="8349"/>
                </a:cubicBezTo>
                <a:close/>
                <a:moveTo>
                  <a:pt x="7656" y="9924"/>
                </a:moveTo>
                <a:lnTo>
                  <a:pt x="7656" y="11153"/>
                </a:lnTo>
                <a:lnTo>
                  <a:pt x="2773" y="11153"/>
                </a:lnTo>
                <a:lnTo>
                  <a:pt x="2773" y="9924"/>
                </a:lnTo>
                <a:cubicBezTo>
                  <a:pt x="3560" y="10239"/>
                  <a:pt x="4411" y="10397"/>
                  <a:pt x="5230" y="10397"/>
                </a:cubicBezTo>
                <a:cubicBezTo>
                  <a:pt x="6049" y="10397"/>
                  <a:pt x="6868" y="10239"/>
                  <a:pt x="7656" y="9924"/>
                </a:cubicBezTo>
                <a:close/>
                <a:moveTo>
                  <a:pt x="8664" y="8349"/>
                </a:moveTo>
                <a:cubicBezTo>
                  <a:pt x="9231" y="8349"/>
                  <a:pt x="9672" y="8821"/>
                  <a:pt x="9672" y="9389"/>
                </a:cubicBezTo>
                <a:lnTo>
                  <a:pt x="9672" y="11153"/>
                </a:lnTo>
                <a:lnTo>
                  <a:pt x="8286" y="11153"/>
                </a:lnTo>
                <a:lnTo>
                  <a:pt x="8286" y="8349"/>
                </a:lnTo>
                <a:close/>
                <a:moveTo>
                  <a:pt x="5198" y="0"/>
                </a:moveTo>
                <a:cubicBezTo>
                  <a:pt x="3088" y="0"/>
                  <a:pt x="1355" y="1701"/>
                  <a:pt x="1355" y="3844"/>
                </a:cubicBezTo>
                <a:lnTo>
                  <a:pt x="1355" y="5923"/>
                </a:lnTo>
                <a:cubicBezTo>
                  <a:pt x="1355" y="6522"/>
                  <a:pt x="1827" y="6931"/>
                  <a:pt x="2395" y="6931"/>
                </a:cubicBezTo>
                <a:lnTo>
                  <a:pt x="3088" y="6931"/>
                </a:lnTo>
                <a:cubicBezTo>
                  <a:pt x="3182" y="7057"/>
                  <a:pt x="3308" y="7183"/>
                  <a:pt x="3466" y="7309"/>
                </a:cubicBezTo>
                <a:cubicBezTo>
                  <a:pt x="3466" y="7530"/>
                  <a:pt x="3308" y="7687"/>
                  <a:pt x="3088" y="7687"/>
                </a:cubicBezTo>
                <a:lnTo>
                  <a:pt x="1733" y="7687"/>
                </a:lnTo>
                <a:cubicBezTo>
                  <a:pt x="788" y="7687"/>
                  <a:pt x="0" y="8475"/>
                  <a:pt x="0" y="9420"/>
                </a:cubicBezTo>
                <a:lnTo>
                  <a:pt x="0" y="11499"/>
                </a:lnTo>
                <a:cubicBezTo>
                  <a:pt x="0" y="11720"/>
                  <a:pt x="158" y="11877"/>
                  <a:pt x="347" y="11877"/>
                </a:cubicBezTo>
                <a:lnTo>
                  <a:pt x="10019" y="11877"/>
                </a:lnTo>
                <a:cubicBezTo>
                  <a:pt x="10239" y="11877"/>
                  <a:pt x="10397" y="11720"/>
                  <a:pt x="10397" y="11499"/>
                </a:cubicBezTo>
                <a:lnTo>
                  <a:pt x="10397" y="9420"/>
                </a:lnTo>
                <a:cubicBezTo>
                  <a:pt x="10397" y="8475"/>
                  <a:pt x="9609" y="7687"/>
                  <a:pt x="8664" y="7687"/>
                </a:cubicBezTo>
                <a:lnTo>
                  <a:pt x="7278" y="7687"/>
                </a:lnTo>
                <a:cubicBezTo>
                  <a:pt x="7089" y="7687"/>
                  <a:pt x="6931" y="7530"/>
                  <a:pt x="6931" y="7341"/>
                </a:cubicBezTo>
                <a:cubicBezTo>
                  <a:pt x="7026" y="7246"/>
                  <a:pt x="7152" y="7152"/>
                  <a:pt x="7278" y="6994"/>
                </a:cubicBezTo>
                <a:lnTo>
                  <a:pt x="7971" y="6994"/>
                </a:lnTo>
                <a:cubicBezTo>
                  <a:pt x="8569" y="6994"/>
                  <a:pt x="9011" y="6522"/>
                  <a:pt x="9011" y="5955"/>
                </a:cubicBezTo>
                <a:lnTo>
                  <a:pt x="9011" y="3844"/>
                </a:lnTo>
                <a:cubicBezTo>
                  <a:pt x="9011" y="1733"/>
                  <a:pt x="7309" y="0"/>
                  <a:pt x="5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60" name="Google Shape;9760;p77"/>
          <p:cNvGrpSpPr/>
          <p:nvPr/>
        </p:nvGrpSpPr>
        <p:grpSpPr>
          <a:xfrm>
            <a:off x="7958004" y="3387425"/>
            <a:ext cx="348513" cy="347599"/>
            <a:chOff x="6131900" y="2301825"/>
            <a:chExt cx="295375" cy="294600"/>
          </a:xfrm>
        </p:grpSpPr>
        <p:sp>
          <p:nvSpPr>
            <p:cNvPr id="9761" name="Google Shape;9761;p77"/>
            <p:cNvSpPr/>
            <p:nvPr/>
          </p:nvSpPr>
          <p:spPr>
            <a:xfrm>
              <a:off x="6131900" y="2301825"/>
              <a:ext cx="295375" cy="294600"/>
            </a:xfrm>
            <a:custGeom>
              <a:avLst/>
              <a:gdLst/>
              <a:ahLst/>
              <a:cxnLst/>
              <a:rect l="l" t="t" r="r" b="b"/>
              <a:pathLst>
                <a:path w="11815" h="11784" extrusionOk="0">
                  <a:moveTo>
                    <a:pt x="3813" y="630"/>
                  </a:moveTo>
                  <a:cubicBezTo>
                    <a:pt x="4002" y="630"/>
                    <a:pt x="4159" y="788"/>
                    <a:pt x="4159" y="977"/>
                  </a:cubicBezTo>
                  <a:lnTo>
                    <a:pt x="4159" y="1355"/>
                  </a:lnTo>
                  <a:lnTo>
                    <a:pt x="1387" y="1355"/>
                  </a:lnTo>
                  <a:lnTo>
                    <a:pt x="1387" y="977"/>
                  </a:lnTo>
                  <a:lnTo>
                    <a:pt x="1355" y="977"/>
                  </a:lnTo>
                  <a:cubicBezTo>
                    <a:pt x="1355" y="788"/>
                    <a:pt x="1513" y="630"/>
                    <a:pt x="1733" y="630"/>
                  </a:cubicBezTo>
                  <a:close/>
                  <a:moveTo>
                    <a:pt x="10114" y="1355"/>
                  </a:moveTo>
                  <a:cubicBezTo>
                    <a:pt x="10303" y="1355"/>
                    <a:pt x="10460" y="1513"/>
                    <a:pt x="10460" y="1702"/>
                  </a:cubicBezTo>
                  <a:lnTo>
                    <a:pt x="10460" y="3434"/>
                  </a:lnTo>
                  <a:lnTo>
                    <a:pt x="7688" y="3434"/>
                  </a:lnTo>
                  <a:cubicBezTo>
                    <a:pt x="7656" y="3277"/>
                    <a:pt x="7656" y="1859"/>
                    <a:pt x="7656" y="1702"/>
                  </a:cubicBezTo>
                  <a:cubicBezTo>
                    <a:pt x="7656" y="1513"/>
                    <a:pt x="7814" y="1355"/>
                    <a:pt x="8034" y="1355"/>
                  </a:cubicBezTo>
                  <a:close/>
                  <a:moveTo>
                    <a:pt x="4128" y="2048"/>
                  </a:moveTo>
                  <a:lnTo>
                    <a:pt x="4128" y="4821"/>
                  </a:lnTo>
                  <a:lnTo>
                    <a:pt x="1355" y="4821"/>
                  </a:lnTo>
                  <a:lnTo>
                    <a:pt x="1355" y="2048"/>
                  </a:lnTo>
                  <a:close/>
                  <a:moveTo>
                    <a:pt x="6617" y="2048"/>
                  </a:moveTo>
                  <a:cubicBezTo>
                    <a:pt x="6806" y="2048"/>
                    <a:pt x="6963" y="2206"/>
                    <a:pt x="6963" y="2395"/>
                  </a:cubicBezTo>
                  <a:lnTo>
                    <a:pt x="6963" y="4852"/>
                  </a:lnTo>
                  <a:lnTo>
                    <a:pt x="4821" y="4852"/>
                  </a:lnTo>
                  <a:lnTo>
                    <a:pt x="4821" y="2395"/>
                  </a:lnTo>
                  <a:cubicBezTo>
                    <a:pt x="4821" y="2206"/>
                    <a:pt x="4978" y="2048"/>
                    <a:pt x="5167" y="2048"/>
                  </a:cubicBezTo>
                  <a:close/>
                  <a:moveTo>
                    <a:pt x="10429" y="4127"/>
                  </a:moveTo>
                  <a:lnTo>
                    <a:pt x="10429" y="4852"/>
                  </a:lnTo>
                  <a:lnTo>
                    <a:pt x="7656" y="4852"/>
                  </a:lnTo>
                  <a:lnTo>
                    <a:pt x="7656" y="4127"/>
                  </a:lnTo>
                  <a:close/>
                  <a:moveTo>
                    <a:pt x="10775" y="5514"/>
                  </a:moveTo>
                  <a:cubicBezTo>
                    <a:pt x="10964" y="5514"/>
                    <a:pt x="11122" y="5671"/>
                    <a:pt x="11122" y="5860"/>
                  </a:cubicBezTo>
                  <a:lnTo>
                    <a:pt x="11122" y="10744"/>
                  </a:lnTo>
                  <a:cubicBezTo>
                    <a:pt x="11122" y="10964"/>
                    <a:pt x="10964" y="11122"/>
                    <a:pt x="10775" y="11122"/>
                  </a:cubicBezTo>
                  <a:lnTo>
                    <a:pt x="1009" y="11122"/>
                  </a:lnTo>
                  <a:cubicBezTo>
                    <a:pt x="820" y="11122"/>
                    <a:pt x="662" y="10964"/>
                    <a:pt x="662" y="10744"/>
                  </a:cubicBezTo>
                  <a:lnTo>
                    <a:pt x="662" y="5860"/>
                  </a:lnTo>
                  <a:cubicBezTo>
                    <a:pt x="662" y="5671"/>
                    <a:pt x="820" y="5514"/>
                    <a:pt x="1009" y="5514"/>
                  </a:cubicBezTo>
                  <a:close/>
                  <a:moveTo>
                    <a:pt x="1733" y="0"/>
                  </a:moveTo>
                  <a:cubicBezTo>
                    <a:pt x="1135" y="0"/>
                    <a:pt x="694" y="473"/>
                    <a:pt x="694" y="1040"/>
                  </a:cubicBezTo>
                  <a:lnTo>
                    <a:pt x="694" y="4884"/>
                  </a:lnTo>
                  <a:cubicBezTo>
                    <a:pt x="316" y="5041"/>
                    <a:pt x="1" y="5388"/>
                    <a:pt x="1" y="5860"/>
                  </a:cubicBezTo>
                  <a:lnTo>
                    <a:pt x="1" y="10744"/>
                  </a:lnTo>
                  <a:cubicBezTo>
                    <a:pt x="1" y="11342"/>
                    <a:pt x="473" y="11783"/>
                    <a:pt x="1009" y="11783"/>
                  </a:cubicBezTo>
                  <a:lnTo>
                    <a:pt x="10775" y="11783"/>
                  </a:lnTo>
                  <a:cubicBezTo>
                    <a:pt x="11374" y="11783"/>
                    <a:pt x="11815" y="11311"/>
                    <a:pt x="11815" y="10744"/>
                  </a:cubicBezTo>
                  <a:lnTo>
                    <a:pt x="11815" y="5860"/>
                  </a:lnTo>
                  <a:cubicBezTo>
                    <a:pt x="11815" y="5388"/>
                    <a:pt x="11531" y="5010"/>
                    <a:pt x="11122" y="4884"/>
                  </a:cubicBezTo>
                  <a:lnTo>
                    <a:pt x="11122" y="1702"/>
                  </a:lnTo>
                  <a:cubicBezTo>
                    <a:pt x="11122" y="1103"/>
                    <a:pt x="10649" y="662"/>
                    <a:pt x="10114" y="662"/>
                  </a:cubicBezTo>
                  <a:lnTo>
                    <a:pt x="8034" y="662"/>
                  </a:lnTo>
                  <a:cubicBezTo>
                    <a:pt x="7530" y="662"/>
                    <a:pt x="7152" y="977"/>
                    <a:pt x="7026" y="1418"/>
                  </a:cubicBezTo>
                  <a:cubicBezTo>
                    <a:pt x="6932" y="1387"/>
                    <a:pt x="6806" y="1355"/>
                    <a:pt x="6648" y="1355"/>
                  </a:cubicBezTo>
                  <a:lnTo>
                    <a:pt x="5230" y="1355"/>
                  </a:lnTo>
                  <a:cubicBezTo>
                    <a:pt x="5104" y="1355"/>
                    <a:pt x="4978" y="1387"/>
                    <a:pt x="4884" y="1418"/>
                  </a:cubicBezTo>
                  <a:lnTo>
                    <a:pt x="4884" y="1040"/>
                  </a:lnTo>
                  <a:cubicBezTo>
                    <a:pt x="4884" y="441"/>
                    <a:pt x="4380"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2" name="Google Shape;9762;p77"/>
            <p:cNvSpPr/>
            <p:nvPr/>
          </p:nvSpPr>
          <p:spPr>
            <a:xfrm>
              <a:off x="6218550" y="2456200"/>
              <a:ext cx="122100" cy="51225"/>
            </a:xfrm>
            <a:custGeom>
              <a:avLst/>
              <a:gdLst/>
              <a:ahLst/>
              <a:cxnLst/>
              <a:rect l="l" t="t" r="r" b="b"/>
              <a:pathLst>
                <a:path w="4884" h="2049" extrusionOk="0">
                  <a:moveTo>
                    <a:pt x="3844" y="725"/>
                  </a:moveTo>
                  <a:cubicBezTo>
                    <a:pt x="4033" y="725"/>
                    <a:pt x="4190" y="882"/>
                    <a:pt x="4190" y="1071"/>
                  </a:cubicBezTo>
                  <a:cubicBezTo>
                    <a:pt x="4190" y="1260"/>
                    <a:pt x="4033" y="1418"/>
                    <a:pt x="3844" y="1418"/>
                  </a:cubicBezTo>
                  <a:lnTo>
                    <a:pt x="1008" y="1418"/>
                  </a:lnTo>
                  <a:cubicBezTo>
                    <a:pt x="819" y="1418"/>
                    <a:pt x="662" y="1260"/>
                    <a:pt x="662" y="1071"/>
                  </a:cubicBezTo>
                  <a:cubicBezTo>
                    <a:pt x="662" y="882"/>
                    <a:pt x="819" y="725"/>
                    <a:pt x="1008" y="725"/>
                  </a:cubicBezTo>
                  <a:close/>
                  <a:moveTo>
                    <a:pt x="1008" y="0"/>
                  </a:moveTo>
                  <a:cubicBezTo>
                    <a:pt x="410" y="0"/>
                    <a:pt x="0" y="473"/>
                    <a:pt x="0" y="1040"/>
                  </a:cubicBezTo>
                  <a:cubicBezTo>
                    <a:pt x="0" y="1639"/>
                    <a:pt x="473" y="2048"/>
                    <a:pt x="1008" y="2048"/>
                  </a:cubicBezTo>
                  <a:lnTo>
                    <a:pt x="3844" y="2048"/>
                  </a:lnTo>
                  <a:cubicBezTo>
                    <a:pt x="4442" y="2048"/>
                    <a:pt x="4883" y="1576"/>
                    <a:pt x="4883" y="1040"/>
                  </a:cubicBezTo>
                  <a:cubicBezTo>
                    <a:pt x="4852" y="473"/>
                    <a:pt x="4411"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3" name="Google Shape;9763;p77"/>
            <p:cNvSpPr/>
            <p:nvPr/>
          </p:nvSpPr>
          <p:spPr>
            <a:xfrm>
              <a:off x="6340625" y="23530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40" y="725"/>
                  </a:lnTo>
                  <a:cubicBezTo>
                    <a:pt x="1261" y="725"/>
                    <a:pt x="1418" y="567"/>
                    <a:pt x="1418" y="347"/>
                  </a:cubicBezTo>
                  <a:cubicBezTo>
                    <a:pt x="1355" y="158"/>
                    <a:pt x="119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4" name="Google Shape;9764;p77"/>
            <p:cNvSpPr/>
            <p:nvPr/>
          </p:nvSpPr>
          <p:spPr>
            <a:xfrm>
              <a:off x="6183100" y="2369550"/>
              <a:ext cx="35475" cy="18150"/>
            </a:xfrm>
            <a:custGeom>
              <a:avLst/>
              <a:gdLst/>
              <a:ahLst/>
              <a:cxnLst/>
              <a:rect l="l" t="t" r="r" b="b"/>
              <a:pathLst>
                <a:path w="1419" h="726" extrusionOk="0">
                  <a:moveTo>
                    <a:pt x="347" y="1"/>
                  </a:moveTo>
                  <a:cubicBezTo>
                    <a:pt x="158" y="1"/>
                    <a:pt x="0" y="158"/>
                    <a:pt x="0" y="379"/>
                  </a:cubicBezTo>
                  <a:cubicBezTo>
                    <a:pt x="0" y="568"/>
                    <a:pt x="158" y="725"/>
                    <a:pt x="347" y="725"/>
                  </a:cubicBezTo>
                  <a:lnTo>
                    <a:pt x="1040" y="725"/>
                  </a:lnTo>
                  <a:cubicBezTo>
                    <a:pt x="1261" y="725"/>
                    <a:pt x="1418" y="568"/>
                    <a:pt x="1418" y="379"/>
                  </a:cubicBezTo>
                  <a:cubicBezTo>
                    <a:pt x="1418" y="158"/>
                    <a:pt x="1261"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5" name="Google Shape;9765;p77"/>
          <p:cNvGrpSpPr/>
          <p:nvPr/>
        </p:nvGrpSpPr>
        <p:grpSpPr>
          <a:xfrm>
            <a:off x="5753997" y="1531966"/>
            <a:ext cx="351315" cy="349457"/>
            <a:chOff x="1412450" y="1954475"/>
            <a:chExt cx="297750" cy="296175"/>
          </a:xfrm>
        </p:grpSpPr>
        <p:sp>
          <p:nvSpPr>
            <p:cNvPr id="9766" name="Google Shape;9766;p77"/>
            <p:cNvSpPr/>
            <p:nvPr/>
          </p:nvSpPr>
          <p:spPr>
            <a:xfrm>
              <a:off x="1483350" y="2023800"/>
              <a:ext cx="155975" cy="155975"/>
            </a:xfrm>
            <a:custGeom>
              <a:avLst/>
              <a:gdLst/>
              <a:ahLst/>
              <a:cxnLst/>
              <a:rect l="l" t="t" r="r" b="b"/>
              <a:pathLst>
                <a:path w="6239" h="6239" extrusionOk="0">
                  <a:moveTo>
                    <a:pt x="3119" y="2079"/>
                  </a:moveTo>
                  <a:cubicBezTo>
                    <a:pt x="3529" y="2079"/>
                    <a:pt x="3844" y="2395"/>
                    <a:pt x="3844" y="2773"/>
                  </a:cubicBezTo>
                  <a:cubicBezTo>
                    <a:pt x="3844" y="3182"/>
                    <a:pt x="3529" y="3497"/>
                    <a:pt x="3119" y="3497"/>
                  </a:cubicBezTo>
                  <a:cubicBezTo>
                    <a:pt x="2741" y="3497"/>
                    <a:pt x="2426" y="3182"/>
                    <a:pt x="2426" y="2773"/>
                  </a:cubicBezTo>
                  <a:cubicBezTo>
                    <a:pt x="2426" y="2395"/>
                    <a:pt x="2741" y="2079"/>
                    <a:pt x="3119" y="2079"/>
                  </a:cubicBezTo>
                  <a:close/>
                  <a:moveTo>
                    <a:pt x="3119" y="725"/>
                  </a:moveTo>
                  <a:cubicBezTo>
                    <a:pt x="4474" y="725"/>
                    <a:pt x="5577" y="1827"/>
                    <a:pt x="5577" y="3182"/>
                  </a:cubicBezTo>
                  <a:cubicBezTo>
                    <a:pt x="5577" y="3686"/>
                    <a:pt x="5388" y="4159"/>
                    <a:pt x="5136" y="4537"/>
                  </a:cubicBezTo>
                  <a:cubicBezTo>
                    <a:pt x="4884" y="4190"/>
                    <a:pt x="4537" y="3907"/>
                    <a:pt x="4191" y="3718"/>
                  </a:cubicBezTo>
                  <a:cubicBezTo>
                    <a:pt x="4411" y="3497"/>
                    <a:pt x="4537" y="3182"/>
                    <a:pt x="4537" y="2804"/>
                  </a:cubicBezTo>
                  <a:cubicBezTo>
                    <a:pt x="4537" y="2079"/>
                    <a:pt x="3907" y="1449"/>
                    <a:pt x="3151" y="1449"/>
                  </a:cubicBezTo>
                  <a:cubicBezTo>
                    <a:pt x="2426" y="1449"/>
                    <a:pt x="1796" y="2079"/>
                    <a:pt x="1796" y="2804"/>
                  </a:cubicBezTo>
                  <a:cubicBezTo>
                    <a:pt x="1796" y="3182"/>
                    <a:pt x="1891" y="3497"/>
                    <a:pt x="2143" y="3718"/>
                  </a:cubicBezTo>
                  <a:cubicBezTo>
                    <a:pt x="1733" y="3907"/>
                    <a:pt x="1418" y="4190"/>
                    <a:pt x="1198" y="4537"/>
                  </a:cubicBezTo>
                  <a:cubicBezTo>
                    <a:pt x="914" y="4159"/>
                    <a:pt x="756" y="3686"/>
                    <a:pt x="756" y="3182"/>
                  </a:cubicBezTo>
                  <a:cubicBezTo>
                    <a:pt x="662" y="1796"/>
                    <a:pt x="1796" y="725"/>
                    <a:pt x="3119" y="725"/>
                  </a:cubicBezTo>
                  <a:close/>
                  <a:moveTo>
                    <a:pt x="3119" y="4190"/>
                  </a:moveTo>
                  <a:cubicBezTo>
                    <a:pt x="3749" y="4190"/>
                    <a:pt x="4317" y="4505"/>
                    <a:pt x="4632" y="5041"/>
                  </a:cubicBezTo>
                  <a:cubicBezTo>
                    <a:pt x="4222" y="5387"/>
                    <a:pt x="3686" y="5577"/>
                    <a:pt x="3119" y="5577"/>
                  </a:cubicBezTo>
                  <a:cubicBezTo>
                    <a:pt x="2584" y="5577"/>
                    <a:pt x="2017" y="5387"/>
                    <a:pt x="1639" y="5041"/>
                  </a:cubicBezTo>
                  <a:cubicBezTo>
                    <a:pt x="1954" y="4505"/>
                    <a:pt x="2489" y="4190"/>
                    <a:pt x="3119" y="4190"/>
                  </a:cubicBezTo>
                  <a:close/>
                  <a:moveTo>
                    <a:pt x="3119" y="0"/>
                  </a:moveTo>
                  <a:cubicBezTo>
                    <a:pt x="1387" y="0"/>
                    <a:pt x="0" y="1418"/>
                    <a:pt x="0" y="3119"/>
                  </a:cubicBezTo>
                  <a:cubicBezTo>
                    <a:pt x="0" y="4852"/>
                    <a:pt x="1387" y="6238"/>
                    <a:pt x="3119" y="6238"/>
                  </a:cubicBezTo>
                  <a:cubicBezTo>
                    <a:pt x="4852" y="6238"/>
                    <a:pt x="6238" y="4820"/>
                    <a:pt x="6238" y="3119"/>
                  </a:cubicBezTo>
                  <a:cubicBezTo>
                    <a:pt x="6238" y="1386"/>
                    <a:pt x="4821" y="0"/>
                    <a:pt x="31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7" name="Google Shape;9767;p77"/>
            <p:cNvSpPr/>
            <p:nvPr/>
          </p:nvSpPr>
          <p:spPr>
            <a:xfrm>
              <a:off x="1412450" y="1954475"/>
              <a:ext cx="297750" cy="296175"/>
            </a:xfrm>
            <a:custGeom>
              <a:avLst/>
              <a:gdLst/>
              <a:ahLst/>
              <a:cxnLst/>
              <a:rect l="l" t="t" r="r" b="b"/>
              <a:pathLst>
                <a:path w="11910" h="11847" extrusionOk="0">
                  <a:moveTo>
                    <a:pt x="6365" y="662"/>
                  </a:moveTo>
                  <a:lnTo>
                    <a:pt x="6522" y="1513"/>
                  </a:lnTo>
                  <a:cubicBezTo>
                    <a:pt x="6554" y="1702"/>
                    <a:pt x="6617" y="1765"/>
                    <a:pt x="6774" y="1797"/>
                  </a:cubicBezTo>
                  <a:cubicBezTo>
                    <a:pt x="7342" y="1923"/>
                    <a:pt x="7814" y="2112"/>
                    <a:pt x="8287" y="2427"/>
                  </a:cubicBezTo>
                  <a:cubicBezTo>
                    <a:pt x="8350" y="2474"/>
                    <a:pt x="8421" y="2498"/>
                    <a:pt x="8488" y="2498"/>
                  </a:cubicBezTo>
                  <a:cubicBezTo>
                    <a:pt x="8554" y="2498"/>
                    <a:pt x="8618" y="2474"/>
                    <a:pt x="8665" y="2427"/>
                  </a:cubicBezTo>
                  <a:lnTo>
                    <a:pt x="9389" y="1923"/>
                  </a:lnTo>
                  <a:lnTo>
                    <a:pt x="9925" y="2490"/>
                  </a:lnTo>
                  <a:lnTo>
                    <a:pt x="9421" y="3183"/>
                  </a:lnTo>
                  <a:cubicBezTo>
                    <a:pt x="9358" y="3309"/>
                    <a:pt x="9358" y="3466"/>
                    <a:pt x="9421" y="3592"/>
                  </a:cubicBezTo>
                  <a:cubicBezTo>
                    <a:pt x="9736" y="4065"/>
                    <a:pt x="9925" y="4537"/>
                    <a:pt x="10051" y="5073"/>
                  </a:cubicBezTo>
                  <a:cubicBezTo>
                    <a:pt x="10082" y="5231"/>
                    <a:pt x="10209" y="5294"/>
                    <a:pt x="10335" y="5357"/>
                  </a:cubicBezTo>
                  <a:lnTo>
                    <a:pt x="11185" y="5514"/>
                  </a:lnTo>
                  <a:lnTo>
                    <a:pt x="11185" y="6302"/>
                  </a:lnTo>
                  <a:lnTo>
                    <a:pt x="10335" y="6459"/>
                  </a:lnTo>
                  <a:cubicBezTo>
                    <a:pt x="10177" y="6491"/>
                    <a:pt x="10082" y="6585"/>
                    <a:pt x="10051" y="6743"/>
                  </a:cubicBezTo>
                  <a:cubicBezTo>
                    <a:pt x="9925" y="7278"/>
                    <a:pt x="9736" y="7751"/>
                    <a:pt x="9421" y="8224"/>
                  </a:cubicBezTo>
                  <a:cubicBezTo>
                    <a:pt x="9358" y="8350"/>
                    <a:pt x="9358" y="8507"/>
                    <a:pt x="9421" y="8633"/>
                  </a:cubicBezTo>
                  <a:lnTo>
                    <a:pt x="9925" y="9326"/>
                  </a:lnTo>
                  <a:lnTo>
                    <a:pt x="9389" y="9893"/>
                  </a:lnTo>
                  <a:lnTo>
                    <a:pt x="8665" y="9358"/>
                  </a:lnTo>
                  <a:cubicBezTo>
                    <a:pt x="8618" y="9326"/>
                    <a:pt x="8554" y="9310"/>
                    <a:pt x="8488" y="9310"/>
                  </a:cubicBezTo>
                  <a:cubicBezTo>
                    <a:pt x="8421" y="9310"/>
                    <a:pt x="8350" y="9326"/>
                    <a:pt x="8287" y="9358"/>
                  </a:cubicBezTo>
                  <a:cubicBezTo>
                    <a:pt x="7814" y="9673"/>
                    <a:pt x="7342" y="9893"/>
                    <a:pt x="6774" y="9988"/>
                  </a:cubicBezTo>
                  <a:cubicBezTo>
                    <a:pt x="6617" y="10051"/>
                    <a:pt x="6554" y="10145"/>
                    <a:pt x="6522" y="10271"/>
                  </a:cubicBezTo>
                  <a:lnTo>
                    <a:pt x="6365" y="11153"/>
                  </a:lnTo>
                  <a:lnTo>
                    <a:pt x="5577" y="11153"/>
                  </a:lnTo>
                  <a:lnTo>
                    <a:pt x="5420" y="10271"/>
                  </a:lnTo>
                  <a:cubicBezTo>
                    <a:pt x="5357" y="10114"/>
                    <a:pt x="5294" y="10051"/>
                    <a:pt x="5136" y="9988"/>
                  </a:cubicBezTo>
                  <a:cubicBezTo>
                    <a:pt x="4569" y="9893"/>
                    <a:pt x="4097" y="9673"/>
                    <a:pt x="3624" y="9358"/>
                  </a:cubicBezTo>
                  <a:cubicBezTo>
                    <a:pt x="3561" y="9326"/>
                    <a:pt x="3498" y="9310"/>
                    <a:pt x="3435" y="9310"/>
                  </a:cubicBezTo>
                  <a:cubicBezTo>
                    <a:pt x="3372" y="9310"/>
                    <a:pt x="3309" y="9326"/>
                    <a:pt x="3246" y="9358"/>
                  </a:cubicBezTo>
                  <a:lnTo>
                    <a:pt x="2521" y="9893"/>
                  </a:lnTo>
                  <a:lnTo>
                    <a:pt x="1986" y="9326"/>
                  </a:lnTo>
                  <a:lnTo>
                    <a:pt x="2490" y="8633"/>
                  </a:lnTo>
                  <a:cubicBezTo>
                    <a:pt x="2584" y="8507"/>
                    <a:pt x="2584" y="8350"/>
                    <a:pt x="2490" y="8224"/>
                  </a:cubicBezTo>
                  <a:cubicBezTo>
                    <a:pt x="2175" y="7751"/>
                    <a:pt x="1986" y="7278"/>
                    <a:pt x="1860" y="6743"/>
                  </a:cubicBezTo>
                  <a:cubicBezTo>
                    <a:pt x="1828" y="6585"/>
                    <a:pt x="1702" y="6491"/>
                    <a:pt x="1576" y="6459"/>
                  </a:cubicBezTo>
                  <a:lnTo>
                    <a:pt x="726" y="6302"/>
                  </a:lnTo>
                  <a:lnTo>
                    <a:pt x="726" y="5514"/>
                  </a:lnTo>
                  <a:lnTo>
                    <a:pt x="1576" y="5357"/>
                  </a:lnTo>
                  <a:cubicBezTo>
                    <a:pt x="1734" y="5325"/>
                    <a:pt x="1828" y="5231"/>
                    <a:pt x="1860" y="5073"/>
                  </a:cubicBezTo>
                  <a:cubicBezTo>
                    <a:pt x="1986" y="4506"/>
                    <a:pt x="2175" y="4065"/>
                    <a:pt x="2490" y="3592"/>
                  </a:cubicBezTo>
                  <a:cubicBezTo>
                    <a:pt x="2584" y="3466"/>
                    <a:pt x="2584" y="3309"/>
                    <a:pt x="2490" y="3183"/>
                  </a:cubicBezTo>
                  <a:lnTo>
                    <a:pt x="1986" y="2490"/>
                  </a:lnTo>
                  <a:lnTo>
                    <a:pt x="2521" y="1923"/>
                  </a:lnTo>
                  <a:lnTo>
                    <a:pt x="3246" y="2427"/>
                  </a:lnTo>
                  <a:cubicBezTo>
                    <a:pt x="3309" y="2474"/>
                    <a:pt x="3372" y="2498"/>
                    <a:pt x="3435" y="2498"/>
                  </a:cubicBezTo>
                  <a:cubicBezTo>
                    <a:pt x="3498" y="2498"/>
                    <a:pt x="3561" y="2474"/>
                    <a:pt x="3624" y="2427"/>
                  </a:cubicBezTo>
                  <a:cubicBezTo>
                    <a:pt x="4097" y="2112"/>
                    <a:pt x="4569" y="1923"/>
                    <a:pt x="5136" y="1797"/>
                  </a:cubicBezTo>
                  <a:cubicBezTo>
                    <a:pt x="5294" y="1765"/>
                    <a:pt x="5357" y="1639"/>
                    <a:pt x="5420" y="1513"/>
                  </a:cubicBezTo>
                  <a:lnTo>
                    <a:pt x="5577" y="662"/>
                  </a:lnTo>
                  <a:close/>
                  <a:moveTo>
                    <a:pt x="5262" y="1"/>
                  </a:moveTo>
                  <a:cubicBezTo>
                    <a:pt x="5073" y="1"/>
                    <a:pt x="4916" y="127"/>
                    <a:pt x="4884" y="284"/>
                  </a:cubicBezTo>
                  <a:lnTo>
                    <a:pt x="4727" y="1166"/>
                  </a:lnTo>
                  <a:cubicBezTo>
                    <a:pt x="4254" y="1292"/>
                    <a:pt x="3813" y="1481"/>
                    <a:pt x="3435" y="1734"/>
                  </a:cubicBezTo>
                  <a:lnTo>
                    <a:pt x="2679" y="1229"/>
                  </a:lnTo>
                  <a:cubicBezTo>
                    <a:pt x="2610" y="1174"/>
                    <a:pt x="2541" y="1149"/>
                    <a:pt x="2474" y="1149"/>
                  </a:cubicBezTo>
                  <a:cubicBezTo>
                    <a:pt x="2389" y="1149"/>
                    <a:pt x="2309" y="1190"/>
                    <a:pt x="2238" y="1261"/>
                  </a:cubicBezTo>
                  <a:lnTo>
                    <a:pt x="1261" y="2238"/>
                  </a:lnTo>
                  <a:cubicBezTo>
                    <a:pt x="1135" y="2364"/>
                    <a:pt x="1135" y="2553"/>
                    <a:pt x="1230" y="2679"/>
                  </a:cubicBezTo>
                  <a:lnTo>
                    <a:pt x="1734" y="3435"/>
                  </a:lnTo>
                  <a:cubicBezTo>
                    <a:pt x="1513" y="3813"/>
                    <a:pt x="1324" y="4254"/>
                    <a:pt x="1198" y="4726"/>
                  </a:cubicBezTo>
                  <a:lnTo>
                    <a:pt x="284" y="4884"/>
                  </a:lnTo>
                  <a:cubicBezTo>
                    <a:pt x="127" y="4915"/>
                    <a:pt x="1" y="5042"/>
                    <a:pt x="1" y="5231"/>
                  </a:cubicBezTo>
                  <a:lnTo>
                    <a:pt x="1" y="6617"/>
                  </a:lnTo>
                  <a:cubicBezTo>
                    <a:pt x="64" y="6774"/>
                    <a:pt x="158" y="6932"/>
                    <a:pt x="316" y="6963"/>
                  </a:cubicBezTo>
                  <a:lnTo>
                    <a:pt x="1230" y="7121"/>
                  </a:lnTo>
                  <a:cubicBezTo>
                    <a:pt x="1356" y="7593"/>
                    <a:pt x="1545" y="8034"/>
                    <a:pt x="1797" y="8413"/>
                  </a:cubicBezTo>
                  <a:lnTo>
                    <a:pt x="1261" y="9169"/>
                  </a:lnTo>
                  <a:cubicBezTo>
                    <a:pt x="1167" y="9295"/>
                    <a:pt x="1198" y="9484"/>
                    <a:pt x="1324" y="9610"/>
                  </a:cubicBezTo>
                  <a:lnTo>
                    <a:pt x="2301" y="10586"/>
                  </a:lnTo>
                  <a:cubicBezTo>
                    <a:pt x="2368" y="10654"/>
                    <a:pt x="2454" y="10685"/>
                    <a:pt x="2533" y="10685"/>
                  </a:cubicBezTo>
                  <a:cubicBezTo>
                    <a:pt x="2602" y="10685"/>
                    <a:pt x="2666" y="10662"/>
                    <a:pt x="2710" y="10618"/>
                  </a:cubicBezTo>
                  <a:lnTo>
                    <a:pt x="3466" y="10114"/>
                  </a:lnTo>
                  <a:cubicBezTo>
                    <a:pt x="3876" y="10366"/>
                    <a:pt x="4286" y="10555"/>
                    <a:pt x="4790" y="10681"/>
                  </a:cubicBezTo>
                  <a:lnTo>
                    <a:pt x="4947" y="11563"/>
                  </a:lnTo>
                  <a:cubicBezTo>
                    <a:pt x="4979" y="11721"/>
                    <a:pt x="5105" y="11847"/>
                    <a:pt x="5294" y="11847"/>
                  </a:cubicBezTo>
                  <a:lnTo>
                    <a:pt x="6680" y="11847"/>
                  </a:lnTo>
                  <a:cubicBezTo>
                    <a:pt x="6837" y="11847"/>
                    <a:pt x="6995" y="11721"/>
                    <a:pt x="7027" y="11563"/>
                  </a:cubicBezTo>
                  <a:lnTo>
                    <a:pt x="7184" y="10681"/>
                  </a:lnTo>
                  <a:cubicBezTo>
                    <a:pt x="7657" y="10555"/>
                    <a:pt x="8098" y="10366"/>
                    <a:pt x="8476" y="10114"/>
                  </a:cubicBezTo>
                  <a:lnTo>
                    <a:pt x="9232" y="10618"/>
                  </a:lnTo>
                  <a:cubicBezTo>
                    <a:pt x="9301" y="10673"/>
                    <a:pt x="9370" y="10698"/>
                    <a:pt x="9436" y="10698"/>
                  </a:cubicBezTo>
                  <a:cubicBezTo>
                    <a:pt x="9521" y="10698"/>
                    <a:pt x="9602" y="10657"/>
                    <a:pt x="9673" y="10586"/>
                  </a:cubicBezTo>
                  <a:lnTo>
                    <a:pt x="10650" y="9610"/>
                  </a:lnTo>
                  <a:cubicBezTo>
                    <a:pt x="10776" y="9484"/>
                    <a:pt x="10776" y="9295"/>
                    <a:pt x="10681" y="9169"/>
                  </a:cubicBezTo>
                  <a:lnTo>
                    <a:pt x="10177" y="8413"/>
                  </a:lnTo>
                  <a:cubicBezTo>
                    <a:pt x="10398" y="8034"/>
                    <a:pt x="10618" y="7593"/>
                    <a:pt x="10713" y="7121"/>
                  </a:cubicBezTo>
                  <a:lnTo>
                    <a:pt x="11626" y="6963"/>
                  </a:lnTo>
                  <a:cubicBezTo>
                    <a:pt x="11784" y="6932"/>
                    <a:pt x="11910" y="6806"/>
                    <a:pt x="11910" y="6617"/>
                  </a:cubicBezTo>
                  <a:lnTo>
                    <a:pt x="11910" y="5231"/>
                  </a:lnTo>
                  <a:cubicBezTo>
                    <a:pt x="11910" y="5073"/>
                    <a:pt x="11784" y="4915"/>
                    <a:pt x="11626" y="4884"/>
                  </a:cubicBezTo>
                  <a:lnTo>
                    <a:pt x="10713" y="4726"/>
                  </a:lnTo>
                  <a:cubicBezTo>
                    <a:pt x="10618" y="4254"/>
                    <a:pt x="10398" y="3813"/>
                    <a:pt x="10177" y="3403"/>
                  </a:cubicBezTo>
                  <a:lnTo>
                    <a:pt x="10681" y="2679"/>
                  </a:lnTo>
                  <a:cubicBezTo>
                    <a:pt x="10807" y="2553"/>
                    <a:pt x="10776" y="2364"/>
                    <a:pt x="10650" y="2238"/>
                  </a:cubicBezTo>
                  <a:lnTo>
                    <a:pt x="9673" y="1261"/>
                  </a:lnTo>
                  <a:cubicBezTo>
                    <a:pt x="9605" y="1193"/>
                    <a:pt x="9520" y="1162"/>
                    <a:pt x="9435" y="1162"/>
                  </a:cubicBezTo>
                  <a:cubicBezTo>
                    <a:pt x="9362" y="1162"/>
                    <a:pt x="9290" y="1186"/>
                    <a:pt x="9232" y="1229"/>
                  </a:cubicBezTo>
                  <a:lnTo>
                    <a:pt x="8476" y="1734"/>
                  </a:lnTo>
                  <a:cubicBezTo>
                    <a:pt x="8098" y="1481"/>
                    <a:pt x="7657" y="1292"/>
                    <a:pt x="7184" y="1166"/>
                  </a:cubicBezTo>
                  <a:lnTo>
                    <a:pt x="6995" y="284"/>
                  </a:lnTo>
                  <a:cubicBezTo>
                    <a:pt x="6932" y="127"/>
                    <a:pt x="6837" y="1"/>
                    <a:pt x="66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68" name="Google Shape;9768;p77"/>
          <p:cNvSpPr/>
          <p:nvPr/>
        </p:nvSpPr>
        <p:spPr>
          <a:xfrm>
            <a:off x="5755346" y="1985282"/>
            <a:ext cx="348542" cy="345740"/>
          </a:xfrm>
          <a:custGeom>
            <a:avLst/>
            <a:gdLst/>
            <a:ahLst/>
            <a:cxnLst/>
            <a:rect l="l" t="t" r="r" b="b"/>
            <a:pathLst>
              <a:path w="11816" h="11721" extrusionOk="0">
                <a:moveTo>
                  <a:pt x="2395" y="631"/>
                </a:moveTo>
                <a:cubicBezTo>
                  <a:pt x="2584" y="631"/>
                  <a:pt x="2742" y="789"/>
                  <a:pt x="2742" y="978"/>
                </a:cubicBezTo>
                <a:cubicBezTo>
                  <a:pt x="2742" y="1167"/>
                  <a:pt x="2584" y="1324"/>
                  <a:pt x="2395" y="1324"/>
                </a:cubicBezTo>
                <a:lnTo>
                  <a:pt x="1009" y="1324"/>
                </a:lnTo>
                <a:cubicBezTo>
                  <a:pt x="820" y="1324"/>
                  <a:pt x="663" y="1167"/>
                  <a:pt x="663" y="978"/>
                </a:cubicBezTo>
                <a:cubicBezTo>
                  <a:pt x="663" y="789"/>
                  <a:pt x="820" y="631"/>
                  <a:pt x="1009" y="631"/>
                </a:cubicBezTo>
                <a:close/>
                <a:moveTo>
                  <a:pt x="6554" y="631"/>
                </a:moveTo>
                <a:cubicBezTo>
                  <a:pt x="6774" y="631"/>
                  <a:pt x="6932" y="789"/>
                  <a:pt x="6932" y="978"/>
                </a:cubicBezTo>
                <a:cubicBezTo>
                  <a:pt x="6932" y="1167"/>
                  <a:pt x="6774" y="1324"/>
                  <a:pt x="6554" y="1324"/>
                </a:cubicBezTo>
                <a:lnTo>
                  <a:pt x="5199" y="1324"/>
                </a:lnTo>
                <a:cubicBezTo>
                  <a:pt x="4979" y="1324"/>
                  <a:pt x="4821" y="1167"/>
                  <a:pt x="4821" y="978"/>
                </a:cubicBezTo>
                <a:cubicBezTo>
                  <a:pt x="4821" y="789"/>
                  <a:pt x="4979" y="631"/>
                  <a:pt x="5199" y="631"/>
                </a:cubicBezTo>
                <a:close/>
                <a:moveTo>
                  <a:pt x="10776" y="631"/>
                </a:moveTo>
                <a:cubicBezTo>
                  <a:pt x="10965" y="631"/>
                  <a:pt x="11122" y="789"/>
                  <a:pt x="11122" y="978"/>
                </a:cubicBezTo>
                <a:cubicBezTo>
                  <a:pt x="11122" y="1167"/>
                  <a:pt x="10965" y="1324"/>
                  <a:pt x="10776" y="1324"/>
                </a:cubicBezTo>
                <a:lnTo>
                  <a:pt x="9389" y="1324"/>
                </a:lnTo>
                <a:cubicBezTo>
                  <a:pt x="9200" y="1324"/>
                  <a:pt x="9043" y="1167"/>
                  <a:pt x="9043" y="978"/>
                </a:cubicBezTo>
                <a:cubicBezTo>
                  <a:pt x="9043" y="789"/>
                  <a:pt x="9200" y="631"/>
                  <a:pt x="9389" y="631"/>
                </a:cubicBezTo>
                <a:close/>
                <a:moveTo>
                  <a:pt x="7279" y="4790"/>
                </a:moveTo>
                <a:cubicBezTo>
                  <a:pt x="7468" y="4790"/>
                  <a:pt x="7625" y="4947"/>
                  <a:pt x="7625" y="5136"/>
                </a:cubicBezTo>
                <a:lnTo>
                  <a:pt x="7625" y="6554"/>
                </a:lnTo>
                <a:cubicBezTo>
                  <a:pt x="7625" y="6775"/>
                  <a:pt x="7468" y="6932"/>
                  <a:pt x="7279" y="6932"/>
                </a:cubicBezTo>
                <a:lnTo>
                  <a:pt x="4506" y="6932"/>
                </a:lnTo>
                <a:cubicBezTo>
                  <a:pt x="4317" y="6932"/>
                  <a:pt x="4160" y="6775"/>
                  <a:pt x="4160" y="6554"/>
                </a:cubicBezTo>
                <a:lnTo>
                  <a:pt x="4160" y="5136"/>
                </a:lnTo>
                <a:cubicBezTo>
                  <a:pt x="4160" y="4947"/>
                  <a:pt x="4317" y="4790"/>
                  <a:pt x="4506" y="4790"/>
                </a:cubicBezTo>
                <a:close/>
                <a:moveTo>
                  <a:pt x="2395" y="10398"/>
                </a:moveTo>
                <a:cubicBezTo>
                  <a:pt x="2584" y="10398"/>
                  <a:pt x="2742" y="10555"/>
                  <a:pt x="2742" y="10744"/>
                </a:cubicBezTo>
                <a:cubicBezTo>
                  <a:pt x="2742" y="10933"/>
                  <a:pt x="2584" y="11091"/>
                  <a:pt x="2395" y="11091"/>
                </a:cubicBezTo>
                <a:lnTo>
                  <a:pt x="1009" y="11091"/>
                </a:lnTo>
                <a:cubicBezTo>
                  <a:pt x="820" y="11091"/>
                  <a:pt x="663" y="10933"/>
                  <a:pt x="663" y="10744"/>
                </a:cubicBezTo>
                <a:cubicBezTo>
                  <a:pt x="663" y="10555"/>
                  <a:pt x="820" y="10398"/>
                  <a:pt x="1009" y="10398"/>
                </a:cubicBezTo>
                <a:close/>
                <a:moveTo>
                  <a:pt x="6585" y="10398"/>
                </a:moveTo>
                <a:cubicBezTo>
                  <a:pt x="6806" y="10398"/>
                  <a:pt x="6964" y="10555"/>
                  <a:pt x="6964" y="10744"/>
                </a:cubicBezTo>
                <a:cubicBezTo>
                  <a:pt x="6964" y="10933"/>
                  <a:pt x="6806" y="11091"/>
                  <a:pt x="6585" y="11091"/>
                </a:cubicBezTo>
                <a:lnTo>
                  <a:pt x="5231" y="11091"/>
                </a:lnTo>
                <a:cubicBezTo>
                  <a:pt x="5010" y="11091"/>
                  <a:pt x="4853" y="10933"/>
                  <a:pt x="4853" y="10744"/>
                </a:cubicBezTo>
                <a:cubicBezTo>
                  <a:pt x="4853" y="10555"/>
                  <a:pt x="5010" y="10398"/>
                  <a:pt x="5231" y="10398"/>
                </a:cubicBezTo>
                <a:close/>
                <a:moveTo>
                  <a:pt x="10776" y="10398"/>
                </a:moveTo>
                <a:cubicBezTo>
                  <a:pt x="10965" y="10398"/>
                  <a:pt x="11122" y="10555"/>
                  <a:pt x="11122" y="10744"/>
                </a:cubicBezTo>
                <a:cubicBezTo>
                  <a:pt x="11122" y="10933"/>
                  <a:pt x="10965" y="11091"/>
                  <a:pt x="10776" y="11091"/>
                </a:cubicBezTo>
                <a:lnTo>
                  <a:pt x="9389" y="11091"/>
                </a:lnTo>
                <a:cubicBezTo>
                  <a:pt x="9200" y="11091"/>
                  <a:pt x="9043" y="10933"/>
                  <a:pt x="9043" y="10744"/>
                </a:cubicBezTo>
                <a:cubicBezTo>
                  <a:pt x="9043" y="10555"/>
                  <a:pt x="9200" y="10398"/>
                  <a:pt x="9389" y="10398"/>
                </a:cubicBezTo>
                <a:close/>
                <a:moveTo>
                  <a:pt x="1009" y="1"/>
                </a:moveTo>
                <a:cubicBezTo>
                  <a:pt x="410" y="1"/>
                  <a:pt x="1" y="474"/>
                  <a:pt x="1" y="1009"/>
                </a:cubicBezTo>
                <a:cubicBezTo>
                  <a:pt x="1" y="1608"/>
                  <a:pt x="473" y="2049"/>
                  <a:pt x="1009" y="2049"/>
                </a:cubicBezTo>
                <a:lnTo>
                  <a:pt x="1356" y="2049"/>
                </a:lnTo>
                <a:lnTo>
                  <a:pt x="1356" y="2395"/>
                </a:lnTo>
                <a:cubicBezTo>
                  <a:pt x="1356" y="2994"/>
                  <a:pt x="1828" y="3403"/>
                  <a:pt x="2395" y="3403"/>
                </a:cubicBezTo>
                <a:lnTo>
                  <a:pt x="5546" y="3403"/>
                </a:lnTo>
                <a:lnTo>
                  <a:pt x="5546" y="4128"/>
                </a:lnTo>
                <a:lnTo>
                  <a:pt x="4506" y="4128"/>
                </a:lnTo>
                <a:cubicBezTo>
                  <a:pt x="3939" y="4128"/>
                  <a:pt x="3466" y="4601"/>
                  <a:pt x="3466" y="5136"/>
                </a:cubicBezTo>
                <a:lnTo>
                  <a:pt x="3466" y="6554"/>
                </a:lnTo>
                <a:cubicBezTo>
                  <a:pt x="3466" y="7153"/>
                  <a:pt x="3939" y="7594"/>
                  <a:pt x="4506" y="7594"/>
                </a:cubicBezTo>
                <a:lnTo>
                  <a:pt x="5546" y="7594"/>
                </a:lnTo>
                <a:lnTo>
                  <a:pt x="5546" y="8287"/>
                </a:lnTo>
                <a:lnTo>
                  <a:pt x="2395" y="8287"/>
                </a:lnTo>
                <a:cubicBezTo>
                  <a:pt x="1797" y="8287"/>
                  <a:pt x="1356" y="8759"/>
                  <a:pt x="1356" y="9326"/>
                </a:cubicBezTo>
                <a:lnTo>
                  <a:pt x="1356" y="9673"/>
                </a:lnTo>
                <a:lnTo>
                  <a:pt x="1009" y="9673"/>
                </a:lnTo>
                <a:cubicBezTo>
                  <a:pt x="410" y="9673"/>
                  <a:pt x="1" y="10146"/>
                  <a:pt x="1" y="10713"/>
                </a:cubicBezTo>
                <a:cubicBezTo>
                  <a:pt x="1" y="11280"/>
                  <a:pt x="473" y="11721"/>
                  <a:pt x="1009" y="11721"/>
                </a:cubicBezTo>
                <a:lnTo>
                  <a:pt x="2395" y="11721"/>
                </a:lnTo>
                <a:cubicBezTo>
                  <a:pt x="2994" y="11721"/>
                  <a:pt x="3403" y="11248"/>
                  <a:pt x="3403" y="10713"/>
                </a:cubicBezTo>
                <a:cubicBezTo>
                  <a:pt x="3403" y="10114"/>
                  <a:pt x="2931" y="9673"/>
                  <a:pt x="2395" y="9673"/>
                </a:cubicBezTo>
                <a:lnTo>
                  <a:pt x="2049" y="9673"/>
                </a:lnTo>
                <a:lnTo>
                  <a:pt x="2049" y="9326"/>
                </a:lnTo>
                <a:cubicBezTo>
                  <a:pt x="2049" y="9137"/>
                  <a:pt x="2206" y="8980"/>
                  <a:pt x="2395" y="8980"/>
                </a:cubicBezTo>
                <a:lnTo>
                  <a:pt x="5546" y="8980"/>
                </a:lnTo>
                <a:lnTo>
                  <a:pt x="5546" y="9673"/>
                </a:lnTo>
                <a:lnTo>
                  <a:pt x="5199" y="9673"/>
                </a:lnTo>
                <a:cubicBezTo>
                  <a:pt x="4601" y="9673"/>
                  <a:pt x="4160" y="10146"/>
                  <a:pt x="4160" y="10713"/>
                </a:cubicBezTo>
                <a:cubicBezTo>
                  <a:pt x="4160" y="11280"/>
                  <a:pt x="4632" y="11721"/>
                  <a:pt x="5199" y="11721"/>
                </a:cubicBezTo>
                <a:lnTo>
                  <a:pt x="6554" y="11721"/>
                </a:lnTo>
                <a:cubicBezTo>
                  <a:pt x="7153" y="11721"/>
                  <a:pt x="7594" y="11248"/>
                  <a:pt x="7594" y="10713"/>
                </a:cubicBezTo>
                <a:cubicBezTo>
                  <a:pt x="7594" y="10114"/>
                  <a:pt x="7121" y="9673"/>
                  <a:pt x="6554" y="9673"/>
                </a:cubicBezTo>
                <a:lnTo>
                  <a:pt x="6207" y="9673"/>
                </a:lnTo>
                <a:lnTo>
                  <a:pt x="6207" y="8980"/>
                </a:lnTo>
                <a:lnTo>
                  <a:pt x="9358" y="8980"/>
                </a:lnTo>
                <a:cubicBezTo>
                  <a:pt x="9547" y="8980"/>
                  <a:pt x="9704" y="9137"/>
                  <a:pt x="9704" y="9326"/>
                </a:cubicBezTo>
                <a:lnTo>
                  <a:pt x="9704" y="9673"/>
                </a:lnTo>
                <a:lnTo>
                  <a:pt x="9358" y="9673"/>
                </a:lnTo>
                <a:cubicBezTo>
                  <a:pt x="8759" y="9673"/>
                  <a:pt x="8350" y="10146"/>
                  <a:pt x="8350" y="10713"/>
                </a:cubicBezTo>
                <a:cubicBezTo>
                  <a:pt x="8350" y="11280"/>
                  <a:pt x="8791" y="11721"/>
                  <a:pt x="9358" y="11721"/>
                </a:cubicBezTo>
                <a:lnTo>
                  <a:pt x="10744" y="11721"/>
                </a:lnTo>
                <a:cubicBezTo>
                  <a:pt x="11311" y="11721"/>
                  <a:pt x="11752" y="11248"/>
                  <a:pt x="11752" y="10713"/>
                </a:cubicBezTo>
                <a:cubicBezTo>
                  <a:pt x="11752" y="10114"/>
                  <a:pt x="11280" y="9673"/>
                  <a:pt x="10744" y="9673"/>
                </a:cubicBezTo>
                <a:lnTo>
                  <a:pt x="10366" y="9673"/>
                </a:lnTo>
                <a:lnTo>
                  <a:pt x="10366" y="9326"/>
                </a:lnTo>
                <a:cubicBezTo>
                  <a:pt x="10366" y="8728"/>
                  <a:pt x="9925" y="8287"/>
                  <a:pt x="9358" y="8287"/>
                </a:cubicBezTo>
                <a:lnTo>
                  <a:pt x="6207" y="8287"/>
                </a:lnTo>
                <a:lnTo>
                  <a:pt x="6207" y="7594"/>
                </a:lnTo>
                <a:lnTo>
                  <a:pt x="7216" y="7594"/>
                </a:lnTo>
                <a:cubicBezTo>
                  <a:pt x="7814" y="7594"/>
                  <a:pt x="8287" y="7121"/>
                  <a:pt x="8287" y="6554"/>
                </a:cubicBezTo>
                <a:lnTo>
                  <a:pt x="8287" y="5136"/>
                </a:lnTo>
                <a:cubicBezTo>
                  <a:pt x="8287" y="4569"/>
                  <a:pt x="7814" y="4128"/>
                  <a:pt x="7216" y="4128"/>
                </a:cubicBezTo>
                <a:lnTo>
                  <a:pt x="6207" y="4128"/>
                </a:lnTo>
                <a:lnTo>
                  <a:pt x="6207" y="3403"/>
                </a:lnTo>
                <a:lnTo>
                  <a:pt x="9389" y="3403"/>
                </a:lnTo>
                <a:cubicBezTo>
                  <a:pt x="9988" y="3403"/>
                  <a:pt x="10429" y="2931"/>
                  <a:pt x="10429" y="2395"/>
                </a:cubicBezTo>
                <a:lnTo>
                  <a:pt x="10429" y="2049"/>
                </a:lnTo>
                <a:lnTo>
                  <a:pt x="10776" y="2049"/>
                </a:lnTo>
                <a:cubicBezTo>
                  <a:pt x="11374" y="2049"/>
                  <a:pt x="11815" y="1576"/>
                  <a:pt x="11815" y="1009"/>
                </a:cubicBezTo>
                <a:cubicBezTo>
                  <a:pt x="11815" y="411"/>
                  <a:pt x="11343" y="1"/>
                  <a:pt x="10776" y="1"/>
                </a:cubicBezTo>
                <a:lnTo>
                  <a:pt x="9389" y="1"/>
                </a:lnTo>
                <a:cubicBezTo>
                  <a:pt x="8822" y="1"/>
                  <a:pt x="8381" y="474"/>
                  <a:pt x="8381" y="1009"/>
                </a:cubicBezTo>
                <a:cubicBezTo>
                  <a:pt x="8381" y="1608"/>
                  <a:pt x="8854" y="2049"/>
                  <a:pt x="9389" y="2049"/>
                </a:cubicBezTo>
                <a:lnTo>
                  <a:pt x="9767" y="2049"/>
                </a:lnTo>
                <a:lnTo>
                  <a:pt x="9767" y="2395"/>
                </a:lnTo>
                <a:cubicBezTo>
                  <a:pt x="9767" y="2584"/>
                  <a:pt x="9610" y="2742"/>
                  <a:pt x="9389" y="2742"/>
                </a:cubicBezTo>
                <a:lnTo>
                  <a:pt x="6239" y="2742"/>
                </a:lnTo>
                <a:lnTo>
                  <a:pt x="6239" y="2049"/>
                </a:lnTo>
                <a:lnTo>
                  <a:pt x="6617" y="2049"/>
                </a:lnTo>
                <a:cubicBezTo>
                  <a:pt x="7184" y="2049"/>
                  <a:pt x="7625" y="1576"/>
                  <a:pt x="7625" y="1009"/>
                </a:cubicBezTo>
                <a:cubicBezTo>
                  <a:pt x="7625" y="411"/>
                  <a:pt x="7153" y="1"/>
                  <a:pt x="6617" y="1"/>
                </a:cubicBezTo>
                <a:lnTo>
                  <a:pt x="5231" y="1"/>
                </a:lnTo>
                <a:cubicBezTo>
                  <a:pt x="4632" y="1"/>
                  <a:pt x="4191" y="474"/>
                  <a:pt x="4191" y="1009"/>
                </a:cubicBezTo>
                <a:cubicBezTo>
                  <a:pt x="4191" y="1608"/>
                  <a:pt x="4664" y="2049"/>
                  <a:pt x="5231" y="2049"/>
                </a:cubicBezTo>
                <a:lnTo>
                  <a:pt x="5577" y="2049"/>
                </a:lnTo>
                <a:lnTo>
                  <a:pt x="5577" y="2742"/>
                </a:lnTo>
                <a:lnTo>
                  <a:pt x="2427" y="2742"/>
                </a:lnTo>
                <a:cubicBezTo>
                  <a:pt x="2238" y="2742"/>
                  <a:pt x="2080" y="2584"/>
                  <a:pt x="2080" y="2395"/>
                </a:cubicBezTo>
                <a:lnTo>
                  <a:pt x="2080" y="2049"/>
                </a:lnTo>
                <a:lnTo>
                  <a:pt x="2427" y="2049"/>
                </a:lnTo>
                <a:cubicBezTo>
                  <a:pt x="3025" y="2049"/>
                  <a:pt x="3466" y="1576"/>
                  <a:pt x="3466" y="1009"/>
                </a:cubicBezTo>
                <a:cubicBezTo>
                  <a:pt x="3466" y="411"/>
                  <a:pt x="2994"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69" name="Google Shape;9769;p77"/>
          <p:cNvGrpSpPr/>
          <p:nvPr/>
        </p:nvGrpSpPr>
        <p:grpSpPr>
          <a:xfrm>
            <a:off x="5753997" y="2424494"/>
            <a:ext cx="351315" cy="351050"/>
            <a:chOff x="1413250" y="2680675"/>
            <a:chExt cx="297750" cy="297525"/>
          </a:xfrm>
        </p:grpSpPr>
        <p:sp>
          <p:nvSpPr>
            <p:cNvPr id="9770" name="Google Shape;9770;p77"/>
            <p:cNvSpPr/>
            <p:nvPr/>
          </p:nvSpPr>
          <p:spPr>
            <a:xfrm>
              <a:off x="1413250" y="2680675"/>
              <a:ext cx="297750" cy="297525"/>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1" name="Google Shape;9771;p77"/>
            <p:cNvSpPr/>
            <p:nvPr/>
          </p:nvSpPr>
          <p:spPr>
            <a:xfrm>
              <a:off x="1465225" y="2805100"/>
              <a:ext cx="52800" cy="52025"/>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2" name="Google Shape;9772;p77"/>
            <p:cNvSpPr/>
            <p:nvPr/>
          </p:nvSpPr>
          <p:spPr>
            <a:xfrm>
              <a:off x="1535325" y="2769675"/>
              <a:ext cx="52800" cy="87450"/>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77"/>
            <p:cNvSpPr/>
            <p:nvPr/>
          </p:nvSpPr>
          <p:spPr>
            <a:xfrm>
              <a:off x="1604650" y="2733425"/>
              <a:ext cx="52775" cy="122900"/>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74" name="Google Shape;9774;p77"/>
          <p:cNvSpPr/>
          <p:nvPr/>
        </p:nvSpPr>
        <p:spPr>
          <a:xfrm>
            <a:off x="8012357" y="1531944"/>
            <a:ext cx="270463" cy="349427"/>
          </a:xfrm>
          <a:custGeom>
            <a:avLst/>
            <a:gdLst/>
            <a:ahLst/>
            <a:cxnLst/>
            <a:rect l="l" t="t" r="r" b="b"/>
            <a:pathLst>
              <a:path w="9169" h="11846" extrusionOk="0">
                <a:moveTo>
                  <a:pt x="4695" y="2079"/>
                </a:moveTo>
                <a:cubicBezTo>
                  <a:pt x="5073" y="2079"/>
                  <a:pt x="5388" y="2394"/>
                  <a:pt x="5388" y="2772"/>
                </a:cubicBezTo>
                <a:cubicBezTo>
                  <a:pt x="5388" y="3181"/>
                  <a:pt x="5073" y="3496"/>
                  <a:pt x="4695" y="3496"/>
                </a:cubicBezTo>
                <a:cubicBezTo>
                  <a:pt x="4285" y="3496"/>
                  <a:pt x="3970" y="3181"/>
                  <a:pt x="3970" y="2772"/>
                </a:cubicBezTo>
                <a:cubicBezTo>
                  <a:pt x="3970" y="2394"/>
                  <a:pt x="4285" y="2079"/>
                  <a:pt x="4695" y="2079"/>
                </a:cubicBezTo>
                <a:close/>
                <a:moveTo>
                  <a:pt x="4695" y="4189"/>
                </a:moveTo>
                <a:cubicBezTo>
                  <a:pt x="5640" y="4189"/>
                  <a:pt x="6428" y="4977"/>
                  <a:pt x="6428" y="5922"/>
                </a:cubicBezTo>
                <a:lnTo>
                  <a:pt x="6428" y="6300"/>
                </a:lnTo>
                <a:lnTo>
                  <a:pt x="2962" y="6300"/>
                </a:lnTo>
                <a:lnTo>
                  <a:pt x="2962" y="5922"/>
                </a:lnTo>
                <a:cubicBezTo>
                  <a:pt x="2962" y="4945"/>
                  <a:pt x="3750" y="4189"/>
                  <a:pt x="4695" y="4189"/>
                </a:cubicBezTo>
                <a:close/>
                <a:moveTo>
                  <a:pt x="4730" y="664"/>
                </a:moveTo>
                <a:cubicBezTo>
                  <a:pt x="6870" y="664"/>
                  <a:pt x="8538" y="2418"/>
                  <a:pt x="8538" y="4473"/>
                </a:cubicBezTo>
                <a:cubicBezTo>
                  <a:pt x="8538" y="5544"/>
                  <a:pt x="8097" y="6552"/>
                  <a:pt x="7310" y="7277"/>
                </a:cubicBezTo>
                <a:cubicBezTo>
                  <a:pt x="7215" y="7403"/>
                  <a:pt x="7121" y="7466"/>
                  <a:pt x="6995" y="7497"/>
                </a:cubicBezTo>
                <a:cubicBezTo>
                  <a:pt x="6774" y="7718"/>
                  <a:pt x="6522" y="7907"/>
                  <a:pt x="6459" y="8285"/>
                </a:cubicBezTo>
                <a:lnTo>
                  <a:pt x="5041" y="8285"/>
                </a:lnTo>
                <a:lnTo>
                  <a:pt x="5041" y="6993"/>
                </a:lnTo>
                <a:lnTo>
                  <a:pt x="6774" y="6993"/>
                </a:lnTo>
                <a:cubicBezTo>
                  <a:pt x="6963" y="6993"/>
                  <a:pt x="7121" y="6836"/>
                  <a:pt x="7121" y="6647"/>
                </a:cubicBezTo>
                <a:lnTo>
                  <a:pt x="7121" y="5922"/>
                </a:lnTo>
                <a:cubicBezTo>
                  <a:pt x="7121" y="4945"/>
                  <a:pt x="6585" y="4126"/>
                  <a:pt x="5734" y="3717"/>
                </a:cubicBezTo>
                <a:cubicBezTo>
                  <a:pt x="5987" y="3496"/>
                  <a:pt x="6113" y="3181"/>
                  <a:pt x="6113" y="2835"/>
                </a:cubicBezTo>
                <a:cubicBezTo>
                  <a:pt x="6113" y="2079"/>
                  <a:pt x="5482" y="1448"/>
                  <a:pt x="4726" y="1448"/>
                </a:cubicBezTo>
                <a:cubicBezTo>
                  <a:pt x="3970" y="1448"/>
                  <a:pt x="3340" y="2079"/>
                  <a:pt x="3340" y="2835"/>
                </a:cubicBezTo>
                <a:cubicBezTo>
                  <a:pt x="3340" y="3181"/>
                  <a:pt x="3466" y="3496"/>
                  <a:pt x="3687" y="3717"/>
                </a:cubicBezTo>
                <a:cubicBezTo>
                  <a:pt x="2868" y="4126"/>
                  <a:pt x="2332" y="4945"/>
                  <a:pt x="2332" y="5922"/>
                </a:cubicBezTo>
                <a:lnTo>
                  <a:pt x="2332" y="6647"/>
                </a:lnTo>
                <a:cubicBezTo>
                  <a:pt x="2332" y="6836"/>
                  <a:pt x="2489" y="6993"/>
                  <a:pt x="2679" y="6993"/>
                </a:cubicBezTo>
                <a:lnTo>
                  <a:pt x="4411" y="6993"/>
                </a:lnTo>
                <a:lnTo>
                  <a:pt x="4411" y="8411"/>
                </a:lnTo>
                <a:lnTo>
                  <a:pt x="2931" y="8411"/>
                </a:lnTo>
                <a:lnTo>
                  <a:pt x="2931" y="8380"/>
                </a:lnTo>
                <a:cubicBezTo>
                  <a:pt x="2836" y="7938"/>
                  <a:pt x="2615" y="7749"/>
                  <a:pt x="2363" y="7560"/>
                </a:cubicBezTo>
                <a:cubicBezTo>
                  <a:pt x="2300" y="7466"/>
                  <a:pt x="2174" y="7403"/>
                  <a:pt x="2048" y="7277"/>
                </a:cubicBezTo>
                <a:cubicBezTo>
                  <a:pt x="1135" y="6395"/>
                  <a:pt x="757" y="5135"/>
                  <a:pt x="946" y="3874"/>
                </a:cubicBezTo>
                <a:cubicBezTo>
                  <a:pt x="1198" y="2236"/>
                  <a:pt x="2615" y="881"/>
                  <a:pt x="4254" y="692"/>
                </a:cubicBezTo>
                <a:cubicBezTo>
                  <a:pt x="4415" y="673"/>
                  <a:pt x="4574" y="664"/>
                  <a:pt x="4730" y="664"/>
                </a:cubicBezTo>
                <a:close/>
                <a:moveTo>
                  <a:pt x="6428" y="9073"/>
                </a:moveTo>
                <a:lnTo>
                  <a:pt x="6428" y="9419"/>
                </a:lnTo>
                <a:cubicBezTo>
                  <a:pt x="6428" y="9640"/>
                  <a:pt x="6270" y="9797"/>
                  <a:pt x="6081" y="9797"/>
                </a:cubicBezTo>
                <a:lnTo>
                  <a:pt x="3309" y="9797"/>
                </a:lnTo>
                <a:cubicBezTo>
                  <a:pt x="3120" y="9797"/>
                  <a:pt x="2962" y="9640"/>
                  <a:pt x="2962" y="9419"/>
                </a:cubicBezTo>
                <a:lnTo>
                  <a:pt x="2962" y="9073"/>
                </a:lnTo>
                <a:close/>
                <a:moveTo>
                  <a:pt x="5703" y="10459"/>
                </a:moveTo>
                <a:lnTo>
                  <a:pt x="5703" y="10805"/>
                </a:lnTo>
                <a:cubicBezTo>
                  <a:pt x="5703" y="10994"/>
                  <a:pt x="5545" y="11183"/>
                  <a:pt x="5356" y="11183"/>
                </a:cubicBezTo>
                <a:lnTo>
                  <a:pt x="3970" y="11183"/>
                </a:lnTo>
                <a:cubicBezTo>
                  <a:pt x="3781" y="11183"/>
                  <a:pt x="3624" y="10994"/>
                  <a:pt x="3624" y="10805"/>
                </a:cubicBezTo>
                <a:lnTo>
                  <a:pt x="3624" y="10459"/>
                </a:lnTo>
                <a:close/>
                <a:moveTo>
                  <a:pt x="4662" y="0"/>
                </a:moveTo>
                <a:cubicBezTo>
                  <a:pt x="4486" y="0"/>
                  <a:pt x="4308" y="10"/>
                  <a:pt x="4128" y="31"/>
                </a:cubicBezTo>
                <a:cubicBezTo>
                  <a:pt x="2174" y="251"/>
                  <a:pt x="568" y="1827"/>
                  <a:pt x="253" y="3780"/>
                </a:cubicBezTo>
                <a:cubicBezTo>
                  <a:pt x="1" y="5229"/>
                  <a:pt x="505" y="6710"/>
                  <a:pt x="1576" y="7749"/>
                </a:cubicBezTo>
                <a:cubicBezTo>
                  <a:pt x="1733" y="7875"/>
                  <a:pt x="1859" y="7970"/>
                  <a:pt x="1922" y="8064"/>
                </a:cubicBezTo>
                <a:cubicBezTo>
                  <a:pt x="2206" y="8285"/>
                  <a:pt x="2237" y="8348"/>
                  <a:pt x="2237" y="8695"/>
                </a:cubicBezTo>
                <a:lnTo>
                  <a:pt x="2237" y="9388"/>
                </a:lnTo>
                <a:cubicBezTo>
                  <a:pt x="2237" y="9829"/>
                  <a:pt x="2521" y="10238"/>
                  <a:pt x="2962" y="10396"/>
                </a:cubicBezTo>
                <a:lnTo>
                  <a:pt x="2962" y="10774"/>
                </a:lnTo>
                <a:cubicBezTo>
                  <a:pt x="2962" y="11404"/>
                  <a:pt x="3435" y="11845"/>
                  <a:pt x="3970" y="11845"/>
                </a:cubicBezTo>
                <a:lnTo>
                  <a:pt x="5356" y="11845"/>
                </a:lnTo>
                <a:cubicBezTo>
                  <a:pt x="5955" y="11845"/>
                  <a:pt x="6396" y="11372"/>
                  <a:pt x="6396" y="10805"/>
                </a:cubicBezTo>
                <a:lnTo>
                  <a:pt x="6396" y="10427"/>
                </a:lnTo>
                <a:cubicBezTo>
                  <a:pt x="6774" y="10270"/>
                  <a:pt x="7089" y="9923"/>
                  <a:pt x="7089" y="9451"/>
                </a:cubicBezTo>
                <a:lnTo>
                  <a:pt x="7089" y="8726"/>
                </a:lnTo>
                <a:cubicBezTo>
                  <a:pt x="7089" y="8380"/>
                  <a:pt x="7121" y="8348"/>
                  <a:pt x="7404" y="8096"/>
                </a:cubicBezTo>
                <a:cubicBezTo>
                  <a:pt x="7499" y="8033"/>
                  <a:pt x="7593" y="7938"/>
                  <a:pt x="7751" y="7812"/>
                </a:cubicBezTo>
                <a:cubicBezTo>
                  <a:pt x="8664" y="6962"/>
                  <a:pt x="9169" y="5765"/>
                  <a:pt x="9169" y="4504"/>
                </a:cubicBezTo>
                <a:cubicBezTo>
                  <a:pt x="9169" y="2060"/>
                  <a:pt x="7186" y="0"/>
                  <a:pt x="4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5" name="Google Shape;9775;p77"/>
          <p:cNvSpPr/>
          <p:nvPr/>
        </p:nvSpPr>
        <p:spPr>
          <a:xfrm>
            <a:off x="7964498" y="1984131"/>
            <a:ext cx="366182" cy="348041"/>
          </a:xfrm>
          <a:custGeom>
            <a:avLst/>
            <a:gdLst/>
            <a:ahLst/>
            <a:cxnLst/>
            <a:rect l="l" t="t" r="r" b="b"/>
            <a:pathLst>
              <a:path w="12414" h="11799" extrusionOk="0">
                <a:moveTo>
                  <a:pt x="8979" y="2127"/>
                </a:moveTo>
                <a:cubicBezTo>
                  <a:pt x="9247" y="2127"/>
                  <a:pt x="9515" y="2229"/>
                  <a:pt x="9704" y="2434"/>
                </a:cubicBezTo>
                <a:cubicBezTo>
                  <a:pt x="10113" y="2812"/>
                  <a:pt x="10113" y="3473"/>
                  <a:pt x="9704" y="3883"/>
                </a:cubicBezTo>
                <a:lnTo>
                  <a:pt x="8885" y="4702"/>
                </a:lnTo>
                <a:cubicBezTo>
                  <a:pt x="8790" y="4765"/>
                  <a:pt x="8696" y="4860"/>
                  <a:pt x="8601" y="4891"/>
                </a:cubicBezTo>
                <a:cubicBezTo>
                  <a:pt x="8790" y="4513"/>
                  <a:pt x="8727" y="4041"/>
                  <a:pt x="8412" y="3726"/>
                </a:cubicBezTo>
                <a:cubicBezTo>
                  <a:pt x="8206" y="3520"/>
                  <a:pt x="7933" y="3408"/>
                  <a:pt x="7654" y="3408"/>
                </a:cubicBezTo>
                <a:cubicBezTo>
                  <a:pt x="7507" y="3408"/>
                  <a:pt x="7357" y="3439"/>
                  <a:pt x="7215" y="3505"/>
                </a:cubicBezTo>
                <a:cubicBezTo>
                  <a:pt x="7278" y="3410"/>
                  <a:pt x="7341" y="3316"/>
                  <a:pt x="7436" y="3253"/>
                </a:cubicBezTo>
                <a:lnTo>
                  <a:pt x="8255" y="2434"/>
                </a:lnTo>
                <a:cubicBezTo>
                  <a:pt x="8444" y="2229"/>
                  <a:pt x="8711" y="2127"/>
                  <a:pt x="8979" y="2127"/>
                </a:cubicBezTo>
                <a:close/>
                <a:moveTo>
                  <a:pt x="9027" y="685"/>
                </a:moveTo>
                <a:cubicBezTo>
                  <a:pt x="9649" y="685"/>
                  <a:pt x="10271" y="922"/>
                  <a:pt x="10744" y="1394"/>
                </a:cubicBezTo>
                <a:cubicBezTo>
                  <a:pt x="11689" y="2339"/>
                  <a:pt x="11689" y="3883"/>
                  <a:pt x="10744" y="4828"/>
                </a:cubicBezTo>
                <a:lnTo>
                  <a:pt x="9893" y="5647"/>
                </a:lnTo>
                <a:cubicBezTo>
                  <a:pt x="9431" y="6109"/>
                  <a:pt x="8816" y="6356"/>
                  <a:pt x="8187" y="6356"/>
                </a:cubicBezTo>
                <a:cubicBezTo>
                  <a:pt x="7914" y="6356"/>
                  <a:pt x="7639" y="6310"/>
                  <a:pt x="7373" y="6214"/>
                </a:cubicBezTo>
                <a:lnTo>
                  <a:pt x="7940" y="5647"/>
                </a:lnTo>
                <a:cubicBezTo>
                  <a:pt x="8008" y="5655"/>
                  <a:pt x="8077" y="5659"/>
                  <a:pt x="8146" y="5659"/>
                </a:cubicBezTo>
                <a:cubicBezTo>
                  <a:pt x="8617" y="5659"/>
                  <a:pt x="9087" y="5477"/>
                  <a:pt x="9389" y="5175"/>
                </a:cubicBezTo>
                <a:lnTo>
                  <a:pt x="10208" y="4356"/>
                </a:lnTo>
                <a:cubicBezTo>
                  <a:pt x="10901" y="3694"/>
                  <a:pt x="10901" y="2591"/>
                  <a:pt x="10208" y="1898"/>
                </a:cubicBezTo>
                <a:cubicBezTo>
                  <a:pt x="9877" y="1567"/>
                  <a:pt x="9436" y="1402"/>
                  <a:pt x="8995" y="1402"/>
                </a:cubicBezTo>
                <a:cubicBezTo>
                  <a:pt x="8554" y="1402"/>
                  <a:pt x="8113" y="1567"/>
                  <a:pt x="7782" y="1898"/>
                </a:cubicBezTo>
                <a:lnTo>
                  <a:pt x="6931" y="2749"/>
                </a:lnTo>
                <a:cubicBezTo>
                  <a:pt x="6553" y="3127"/>
                  <a:pt x="6396" y="3694"/>
                  <a:pt x="6490" y="4198"/>
                </a:cubicBezTo>
                <a:lnTo>
                  <a:pt x="5923" y="4734"/>
                </a:lnTo>
                <a:cubicBezTo>
                  <a:pt x="5608" y="3883"/>
                  <a:pt x="5797" y="2906"/>
                  <a:pt x="6490" y="2213"/>
                </a:cubicBezTo>
                <a:lnTo>
                  <a:pt x="7309" y="1394"/>
                </a:lnTo>
                <a:cubicBezTo>
                  <a:pt x="7782" y="922"/>
                  <a:pt x="8404" y="685"/>
                  <a:pt x="9027" y="685"/>
                </a:cubicBezTo>
                <a:close/>
                <a:moveTo>
                  <a:pt x="7703" y="4104"/>
                </a:moveTo>
                <a:cubicBezTo>
                  <a:pt x="7790" y="4104"/>
                  <a:pt x="7877" y="4135"/>
                  <a:pt x="7940" y="4198"/>
                </a:cubicBezTo>
                <a:cubicBezTo>
                  <a:pt x="8066" y="4324"/>
                  <a:pt x="8066" y="4545"/>
                  <a:pt x="7940" y="4671"/>
                </a:cubicBezTo>
                <a:lnTo>
                  <a:pt x="4978" y="7632"/>
                </a:lnTo>
                <a:cubicBezTo>
                  <a:pt x="4915" y="7679"/>
                  <a:pt x="4828" y="7703"/>
                  <a:pt x="4742" y="7703"/>
                </a:cubicBezTo>
                <a:cubicBezTo>
                  <a:pt x="4655" y="7703"/>
                  <a:pt x="4569" y="7679"/>
                  <a:pt x="4506" y="7632"/>
                </a:cubicBezTo>
                <a:cubicBezTo>
                  <a:pt x="4380" y="7506"/>
                  <a:pt x="4380" y="7254"/>
                  <a:pt x="4506" y="7160"/>
                </a:cubicBezTo>
                <a:lnTo>
                  <a:pt x="7467" y="4198"/>
                </a:lnTo>
                <a:cubicBezTo>
                  <a:pt x="7530" y="4135"/>
                  <a:pt x="7617" y="4104"/>
                  <a:pt x="7703" y="4104"/>
                </a:cubicBezTo>
                <a:close/>
                <a:moveTo>
                  <a:pt x="3781" y="6939"/>
                </a:moveTo>
                <a:lnTo>
                  <a:pt x="3781" y="6939"/>
                </a:lnTo>
                <a:cubicBezTo>
                  <a:pt x="3592" y="7349"/>
                  <a:pt x="3686" y="7821"/>
                  <a:pt x="4001" y="8136"/>
                </a:cubicBezTo>
                <a:cubicBezTo>
                  <a:pt x="4198" y="8333"/>
                  <a:pt x="4457" y="8432"/>
                  <a:pt x="4715" y="8432"/>
                </a:cubicBezTo>
                <a:cubicBezTo>
                  <a:pt x="4870" y="8432"/>
                  <a:pt x="5025" y="8396"/>
                  <a:pt x="5167" y="8325"/>
                </a:cubicBezTo>
                <a:lnTo>
                  <a:pt x="5167" y="8325"/>
                </a:lnTo>
                <a:cubicBezTo>
                  <a:pt x="5136" y="8451"/>
                  <a:pt x="5041" y="8514"/>
                  <a:pt x="4978" y="8609"/>
                </a:cubicBezTo>
                <a:lnTo>
                  <a:pt x="4159" y="9428"/>
                </a:lnTo>
                <a:cubicBezTo>
                  <a:pt x="3954" y="9633"/>
                  <a:pt x="3686" y="9735"/>
                  <a:pt x="3419" y="9735"/>
                </a:cubicBezTo>
                <a:cubicBezTo>
                  <a:pt x="3151" y="9735"/>
                  <a:pt x="2883" y="9633"/>
                  <a:pt x="2678" y="9428"/>
                </a:cubicBezTo>
                <a:cubicBezTo>
                  <a:pt x="2300" y="9050"/>
                  <a:pt x="2300" y="8357"/>
                  <a:pt x="2678" y="7979"/>
                </a:cubicBezTo>
                <a:lnTo>
                  <a:pt x="3529" y="7160"/>
                </a:lnTo>
                <a:cubicBezTo>
                  <a:pt x="3592" y="7065"/>
                  <a:pt x="3718" y="7002"/>
                  <a:pt x="3781" y="6939"/>
                </a:cubicBezTo>
                <a:close/>
                <a:moveTo>
                  <a:pt x="4212" y="5467"/>
                </a:moveTo>
                <a:cubicBezTo>
                  <a:pt x="4492" y="5467"/>
                  <a:pt x="4773" y="5516"/>
                  <a:pt x="5041" y="5616"/>
                </a:cubicBezTo>
                <a:lnTo>
                  <a:pt x="4506" y="6151"/>
                </a:lnTo>
                <a:cubicBezTo>
                  <a:pt x="4437" y="6143"/>
                  <a:pt x="4368" y="6139"/>
                  <a:pt x="4299" y="6139"/>
                </a:cubicBezTo>
                <a:cubicBezTo>
                  <a:pt x="3828" y="6139"/>
                  <a:pt x="3358" y="6322"/>
                  <a:pt x="3056" y="6624"/>
                </a:cubicBezTo>
                <a:lnTo>
                  <a:pt x="2206" y="7475"/>
                </a:lnTo>
                <a:cubicBezTo>
                  <a:pt x="1544" y="8136"/>
                  <a:pt x="1544" y="9239"/>
                  <a:pt x="2206" y="9900"/>
                </a:cubicBezTo>
                <a:cubicBezTo>
                  <a:pt x="2552" y="10231"/>
                  <a:pt x="3001" y="10397"/>
                  <a:pt x="3446" y="10397"/>
                </a:cubicBezTo>
                <a:cubicBezTo>
                  <a:pt x="3891" y="10397"/>
                  <a:pt x="4332" y="10231"/>
                  <a:pt x="4663" y="9900"/>
                </a:cubicBezTo>
                <a:lnTo>
                  <a:pt x="5482" y="9081"/>
                </a:lnTo>
                <a:cubicBezTo>
                  <a:pt x="5892" y="8672"/>
                  <a:pt x="6049" y="8136"/>
                  <a:pt x="5955" y="7632"/>
                </a:cubicBezTo>
                <a:lnTo>
                  <a:pt x="6522" y="7065"/>
                </a:lnTo>
                <a:lnTo>
                  <a:pt x="6522" y="7065"/>
                </a:lnTo>
                <a:cubicBezTo>
                  <a:pt x="6837" y="7947"/>
                  <a:pt x="6648" y="8924"/>
                  <a:pt x="5955" y="9585"/>
                </a:cubicBezTo>
                <a:lnTo>
                  <a:pt x="5136" y="10405"/>
                </a:lnTo>
                <a:cubicBezTo>
                  <a:pt x="4663" y="10877"/>
                  <a:pt x="4041" y="11113"/>
                  <a:pt x="3419" y="11113"/>
                </a:cubicBezTo>
                <a:cubicBezTo>
                  <a:pt x="2796" y="11113"/>
                  <a:pt x="2174" y="10877"/>
                  <a:pt x="1702" y="10405"/>
                </a:cubicBezTo>
                <a:cubicBezTo>
                  <a:pt x="756" y="9459"/>
                  <a:pt x="756" y="7916"/>
                  <a:pt x="1702" y="7002"/>
                </a:cubicBezTo>
                <a:lnTo>
                  <a:pt x="2552" y="6151"/>
                </a:lnTo>
                <a:cubicBezTo>
                  <a:pt x="3005" y="5699"/>
                  <a:pt x="3605" y="5467"/>
                  <a:pt x="4212" y="5467"/>
                </a:cubicBezTo>
                <a:close/>
                <a:moveTo>
                  <a:pt x="8999" y="0"/>
                </a:moveTo>
                <a:cubicBezTo>
                  <a:pt x="8200" y="0"/>
                  <a:pt x="7404" y="307"/>
                  <a:pt x="6805" y="922"/>
                </a:cubicBezTo>
                <a:lnTo>
                  <a:pt x="5955" y="1741"/>
                </a:lnTo>
                <a:cubicBezTo>
                  <a:pt x="5136" y="2560"/>
                  <a:pt x="4852" y="3789"/>
                  <a:pt x="5230" y="4891"/>
                </a:cubicBezTo>
                <a:cubicBezTo>
                  <a:pt x="4920" y="4794"/>
                  <a:pt x="4601" y="4746"/>
                  <a:pt x="4283" y="4746"/>
                </a:cubicBezTo>
                <a:cubicBezTo>
                  <a:pt x="3469" y="4746"/>
                  <a:pt x="2669" y="5058"/>
                  <a:pt x="2080" y="5647"/>
                </a:cubicBezTo>
                <a:lnTo>
                  <a:pt x="1229" y="6466"/>
                </a:lnTo>
                <a:cubicBezTo>
                  <a:pt x="0" y="7695"/>
                  <a:pt x="0" y="9680"/>
                  <a:pt x="1229" y="10877"/>
                </a:cubicBezTo>
                <a:cubicBezTo>
                  <a:pt x="1843" y="11491"/>
                  <a:pt x="2647" y="11799"/>
                  <a:pt x="3446" y="11799"/>
                </a:cubicBezTo>
                <a:cubicBezTo>
                  <a:pt x="4246" y="11799"/>
                  <a:pt x="5041" y="11491"/>
                  <a:pt x="5640" y="10877"/>
                </a:cubicBezTo>
                <a:lnTo>
                  <a:pt x="6490" y="10058"/>
                </a:lnTo>
                <a:cubicBezTo>
                  <a:pt x="7309" y="9239"/>
                  <a:pt x="7593" y="8010"/>
                  <a:pt x="7215" y="6908"/>
                </a:cubicBezTo>
                <a:lnTo>
                  <a:pt x="7215" y="6908"/>
                </a:lnTo>
                <a:cubicBezTo>
                  <a:pt x="7525" y="7005"/>
                  <a:pt x="7844" y="7053"/>
                  <a:pt x="8162" y="7053"/>
                </a:cubicBezTo>
                <a:cubicBezTo>
                  <a:pt x="8976" y="7053"/>
                  <a:pt x="9776" y="6740"/>
                  <a:pt x="10365" y="6151"/>
                </a:cubicBezTo>
                <a:lnTo>
                  <a:pt x="11216" y="5332"/>
                </a:lnTo>
                <a:cubicBezTo>
                  <a:pt x="12413" y="4104"/>
                  <a:pt x="12413" y="2150"/>
                  <a:pt x="11216" y="922"/>
                </a:cubicBezTo>
                <a:cubicBezTo>
                  <a:pt x="10602" y="307"/>
                  <a:pt x="9798" y="0"/>
                  <a:pt x="8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6" name="Google Shape;9776;p77"/>
          <p:cNvSpPr/>
          <p:nvPr/>
        </p:nvSpPr>
        <p:spPr>
          <a:xfrm>
            <a:off x="7971931" y="2425254"/>
            <a:ext cx="351315" cy="349427"/>
          </a:xfrm>
          <a:custGeom>
            <a:avLst/>
            <a:gdLst/>
            <a:ahLst/>
            <a:cxnLst/>
            <a:rect l="l" t="t" r="r" b="b"/>
            <a:pathLst>
              <a:path w="11910" h="11846" extrusionOk="0">
                <a:moveTo>
                  <a:pt x="5924" y="2080"/>
                </a:moveTo>
                <a:cubicBezTo>
                  <a:pt x="6302" y="2080"/>
                  <a:pt x="6617" y="2395"/>
                  <a:pt x="6617" y="2773"/>
                </a:cubicBezTo>
                <a:cubicBezTo>
                  <a:pt x="6617" y="3182"/>
                  <a:pt x="6302" y="3497"/>
                  <a:pt x="5924" y="3497"/>
                </a:cubicBezTo>
                <a:cubicBezTo>
                  <a:pt x="5514" y="3497"/>
                  <a:pt x="5199" y="3182"/>
                  <a:pt x="5199" y="2773"/>
                </a:cubicBezTo>
                <a:cubicBezTo>
                  <a:pt x="5199" y="2395"/>
                  <a:pt x="5514" y="2080"/>
                  <a:pt x="5924" y="2080"/>
                </a:cubicBezTo>
                <a:close/>
                <a:moveTo>
                  <a:pt x="5924" y="662"/>
                </a:moveTo>
                <a:cubicBezTo>
                  <a:pt x="7247" y="662"/>
                  <a:pt x="8318" y="1764"/>
                  <a:pt x="8318" y="3088"/>
                </a:cubicBezTo>
                <a:cubicBezTo>
                  <a:pt x="8318" y="3655"/>
                  <a:pt x="8129" y="4190"/>
                  <a:pt x="7783" y="4631"/>
                </a:cubicBezTo>
                <a:cubicBezTo>
                  <a:pt x="7562" y="4222"/>
                  <a:pt x="7310" y="3907"/>
                  <a:pt x="6900" y="3686"/>
                </a:cubicBezTo>
                <a:cubicBezTo>
                  <a:pt x="7153" y="3434"/>
                  <a:pt x="7310" y="3088"/>
                  <a:pt x="7310" y="2741"/>
                </a:cubicBezTo>
                <a:cubicBezTo>
                  <a:pt x="7310" y="1985"/>
                  <a:pt x="6680" y="1355"/>
                  <a:pt x="5924" y="1355"/>
                </a:cubicBezTo>
                <a:cubicBezTo>
                  <a:pt x="5168" y="1355"/>
                  <a:pt x="4538" y="1985"/>
                  <a:pt x="4538" y="2741"/>
                </a:cubicBezTo>
                <a:cubicBezTo>
                  <a:pt x="4538" y="3088"/>
                  <a:pt x="4695" y="3434"/>
                  <a:pt x="4947" y="3686"/>
                </a:cubicBezTo>
                <a:cubicBezTo>
                  <a:pt x="4538" y="3938"/>
                  <a:pt x="4223" y="4285"/>
                  <a:pt x="4034" y="4631"/>
                </a:cubicBezTo>
                <a:cubicBezTo>
                  <a:pt x="3592" y="4096"/>
                  <a:pt x="3403" y="3403"/>
                  <a:pt x="3498" y="2741"/>
                </a:cubicBezTo>
                <a:cubicBezTo>
                  <a:pt x="3655" y="1638"/>
                  <a:pt x="4664" y="662"/>
                  <a:pt x="5924" y="662"/>
                </a:cubicBezTo>
                <a:close/>
                <a:moveTo>
                  <a:pt x="5924" y="4159"/>
                </a:moveTo>
                <a:cubicBezTo>
                  <a:pt x="6554" y="4159"/>
                  <a:pt x="7058" y="4600"/>
                  <a:pt x="7247" y="5135"/>
                </a:cubicBezTo>
                <a:cubicBezTo>
                  <a:pt x="6869" y="5388"/>
                  <a:pt x="6428" y="5545"/>
                  <a:pt x="5924" y="5545"/>
                </a:cubicBezTo>
                <a:cubicBezTo>
                  <a:pt x="5451" y="5545"/>
                  <a:pt x="4979" y="5388"/>
                  <a:pt x="4569" y="5135"/>
                </a:cubicBezTo>
                <a:cubicBezTo>
                  <a:pt x="4727" y="4568"/>
                  <a:pt x="5294" y="4159"/>
                  <a:pt x="5924" y="4159"/>
                </a:cubicBezTo>
                <a:close/>
                <a:moveTo>
                  <a:pt x="1734" y="9042"/>
                </a:moveTo>
                <a:cubicBezTo>
                  <a:pt x="2301" y="9042"/>
                  <a:pt x="2773" y="9483"/>
                  <a:pt x="2773" y="10082"/>
                </a:cubicBezTo>
                <a:cubicBezTo>
                  <a:pt x="2773" y="10649"/>
                  <a:pt x="2301" y="11121"/>
                  <a:pt x="1734" y="11121"/>
                </a:cubicBezTo>
                <a:cubicBezTo>
                  <a:pt x="1198" y="11121"/>
                  <a:pt x="726" y="10649"/>
                  <a:pt x="726" y="10082"/>
                </a:cubicBezTo>
                <a:cubicBezTo>
                  <a:pt x="726" y="9483"/>
                  <a:pt x="1198" y="9042"/>
                  <a:pt x="1734" y="9042"/>
                </a:cubicBezTo>
                <a:close/>
                <a:moveTo>
                  <a:pt x="5924" y="9042"/>
                </a:moveTo>
                <a:cubicBezTo>
                  <a:pt x="6522" y="9042"/>
                  <a:pt x="6932" y="9515"/>
                  <a:pt x="6932" y="10082"/>
                </a:cubicBezTo>
                <a:cubicBezTo>
                  <a:pt x="6932" y="10649"/>
                  <a:pt x="6459" y="11121"/>
                  <a:pt x="5924" y="11121"/>
                </a:cubicBezTo>
                <a:cubicBezTo>
                  <a:pt x="5357" y="11121"/>
                  <a:pt x="4884" y="10649"/>
                  <a:pt x="4884" y="10082"/>
                </a:cubicBezTo>
                <a:cubicBezTo>
                  <a:pt x="4884" y="9483"/>
                  <a:pt x="5325" y="9042"/>
                  <a:pt x="5924" y="9042"/>
                </a:cubicBezTo>
                <a:close/>
                <a:moveTo>
                  <a:pt x="10145" y="9042"/>
                </a:moveTo>
                <a:cubicBezTo>
                  <a:pt x="10681" y="9042"/>
                  <a:pt x="11154" y="9483"/>
                  <a:pt x="11154" y="10082"/>
                </a:cubicBezTo>
                <a:cubicBezTo>
                  <a:pt x="11154" y="10649"/>
                  <a:pt x="10681" y="11121"/>
                  <a:pt x="10145" y="11121"/>
                </a:cubicBezTo>
                <a:cubicBezTo>
                  <a:pt x="9578" y="11121"/>
                  <a:pt x="9106" y="10649"/>
                  <a:pt x="9106" y="10082"/>
                </a:cubicBezTo>
                <a:cubicBezTo>
                  <a:pt x="9106" y="9483"/>
                  <a:pt x="9578" y="9042"/>
                  <a:pt x="10145" y="9042"/>
                </a:cubicBezTo>
                <a:close/>
                <a:moveTo>
                  <a:pt x="5955" y="0"/>
                </a:moveTo>
                <a:cubicBezTo>
                  <a:pt x="4349" y="0"/>
                  <a:pt x="3088" y="1197"/>
                  <a:pt x="2868" y="2678"/>
                </a:cubicBezTo>
                <a:cubicBezTo>
                  <a:pt x="2647" y="4442"/>
                  <a:pt x="3908" y="6018"/>
                  <a:pt x="5640" y="6207"/>
                </a:cubicBezTo>
                <a:lnTo>
                  <a:pt x="5640" y="6963"/>
                </a:lnTo>
                <a:lnTo>
                  <a:pt x="2427" y="6963"/>
                </a:lnTo>
                <a:cubicBezTo>
                  <a:pt x="1828" y="6963"/>
                  <a:pt x="1387" y="7435"/>
                  <a:pt x="1387" y="7971"/>
                </a:cubicBezTo>
                <a:lnTo>
                  <a:pt x="1387" y="8380"/>
                </a:lnTo>
                <a:cubicBezTo>
                  <a:pt x="599" y="8538"/>
                  <a:pt x="1" y="9231"/>
                  <a:pt x="1" y="10082"/>
                </a:cubicBezTo>
                <a:cubicBezTo>
                  <a:pt x="1" y="11027"/>
                  <a:pt x="789" y="11846"/>
                  <a:pt x="1734" y="11846"/>
                </a:cubicBezTo>
                <a:cubicBezTo>
                  <a:pt x="2679" y="11846"/>
                  <a:pt x="3466" y="11058"/>
                  <a:pt x="3466" y="10082"/>
                </a:cubicBezTo>
                <a:cubicBezTo>
                  <a:pt x="3466" y="9231"/>
                  <a:pt x="2868" y="8538"/>
                  <a:pt x="2080" y="8380"/>
                </a:cubicBezTo>
                <a:lnTo>
                  <a:pt x="2080" y="7971"/>
                </a:lnTo>
                <a:cubicBezTo>
                  <a:pt x="2080" y="7782"/>
                  <a:pt x="2238" y="7624"/>
                  <a:pt x="2458" y="7624"/>
                </a:cubicBezTo>
                <a:lnTo>
                  <a:pt x="5609" y="7624"/>
                </a:lnTo>
                <a:lnTo>
                  <a:pt x="5609" y="8349"/>
                </a:lnTo>
                <a:cubicBezTo>
                  <a:pt x="4821" y="8506"/>
                  <a:pt x="4223" y="9200"/>
                  <a:pt x="4223" y="10019"/>
                </a:cubicBezTo>
                <a:cubicBezTo>
                  <a:pt x="4223" y="10964"/>
                  <a:pt x="5010" y="11814"/>
                  <a:pt x="5955" y="11814"/>
                </a:cubicBezTo>
                <a:cubicBezTo>
                  <a:pt x="6900" y="11814"/>
                  <a:pt x="7688" y="11027"/>
                  <a:pt x="7688" y="10019"/>
                </a:cubicBezTo>
                <a:cubicBezTo>
                  <a:pt x="7688" y="9200"/>
                  <a:pt x="7090" y="8506"/>
                  <a:pt x="6302" y="8349"/>
                </a:cubicBezTo>
                <a:lnTo>
                  <a:pt x="6302" y="7624"/>
                </a:lnTo>
                <a:lnTo>
                  <a:pt x="9452" y="7624"/>
                </a:lnTo>
                <a:cubicBezTo>
                  <a:pt x="9641" y="7624"/>
                  <a:pt x="9799" y="7782"/>
                  <a:pt x="9799" y="7971"/>
                </a:cubicBezTo>
                <a:lnTo>
                  <a:pt x="9799" y="8380"/>
                </a:lnTo>
                <a:cubicBezTo>
                  <a:pt x="9011" y="8538"/>
                  <a:pt x="8444" y="9231"/>
                  <a:pt x="8444" y="10082"/>
                </a:cubicBezTo>
                <a:cubicBezTo>
                  <a:pt x="8444" y="11027"/>
                  <a:pt x="9232" y="11846"/>
                  <a:pt x="10177" y="11846"/>
                </a:cubicBezTo>
                <a:cubicBezTo>
                  <a:pt x="11122" y="11846"/>
                  <a:pt x="11910" y="11058"/>
                  <a:pt x="11910" y="10082"/>
                </a:cubicBezTo>
                <a:cubicBezTo>
                  <a:pt x="11910" y="9231"/>
                  <a:pt x="11311" y="8538"/>
                  <a:pt x="10524" y="8380"/>
                </a:cubicBezTo>
                <a:lnTo>
                  <a:pt x="10524" y="7971"/>
                </a:lnTo>
                <a:cubicBezTo>
                  <a:pt x="10524" y="7404"/>
                  <a:pt x="10051" y="6963"/>
                  <a:pt x="9484" y="6963"/>
                </a:cubicBezTo>
                <a:lnTo>
                  <a:pt x="6333" y="6963"/>
                </a:lnTo>
                <a:lnTo>
                  <a:pt x="6333" y="6207"/>
                </a:lnTo>
                <a:cubicBezTo>
                  <a:pt x="7909" y="6049"/>
                  <a:pt x="9106" y="4726"/>
                  <a:pt x="9106" y="3088"/>
                </a:cubicBezTo>
                <a:cubicBezTo>
                  <a:pt x="9106" y="1355"/>
                  <a:pt x="7688"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77" name="Google Shape;9777;p77"/>
          <p:cNvGrpSpPr/>
          <p:nvPr/>
        </p:nvGrpSpPr>
        <p:grpSpPr>
          <a:xfrm>
            <a:off x="6630407" y="2898111"/>
            <a:ext cx="350371" cy="348247"/>
            <a:chOff x="5045775" y="1946400"/>
            <a:chExt cx="296950" cy="295150"/>
          </a:xfrm>
        </p:grpSpPr>
        <p:sp>
          <p:nvSpPr>
            <p:cNvPr id="9778" name="Google Shape;9778;p77"/>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9" name="Google Shape;9779;p77"/>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0" name="Google Shape;9780;p77"/>
          <p:cNvGrpSpPr/>
          <p:nvPr/>
        </p:nvGrpSpPr>
        <p:grpSpPr>
          <a:xfrm>
            <a:off x="6629006" y="3406938"/>
            <a:ext cx="353174" cy="308573"/>
            <a:chOff x="5046550" y="2327025"/>
            <a:chExt cx="299325" cy="261525"/>
          </a:xfrm>
        </p:grpSpPr>
        <p:sp>
          <p:nvSpPr>
            <p:cNvPr id="9781" name="Google Shape;9781;p77"/>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2" name="Google Shape;9782;p77"/>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3" name="Google Shape;9783;p77"/>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84" name="Google Shape;9784;p77"/>
          <p:cNvSpPr/>
          <p:nvPr/>
        </p:nvSpPr>
        <p:spPr>
          <a:xfrm>
            <a:off x="6707866" y="3835296"/>
            <a:ext cx="195185" cy="350371"/>
          </a:xfrm>
          <a:custGeom>
            <a:avLst/>
            <a:gdLst/>
            <a:ahLst/>
            <a:cxnLst/>
            <a:rect l="l" t="t" r="r" b="b"/>
            <a:pathLst>
              <a:path w="6617" h="11878" extrusionOk="0">
                <a:moveTo>
                  <a:pt x="2962" y="725"/>
                </a:moveTo>
                <a:lnTo>
                  <a:pt x="2489" y="2111"/>
                </a:lnTo>
                <a:lnTo>
                  <a:pt x="1575" y="2111"/>
                </a:lnTo>
                <a:lnTo>
                  <a:pt x="1103" y="725"/>
                </a:lnTo>
                <a:close/>
                <a:moveTo>
                  <a:pt x="3277" y="3529"/>
                </a:moveTo>
                <a:lnTo>
                  <a:pt x="5892" y="6144"/>
                </a:lnTo>
                <a:lnTo>
                  <a:pt x="5892" y="6616"/>
                </a:lnTo>
                <a:lnTo>
                  <a:pt x="5419" y="6616"/>
                </a:lnTo>
                <a:lnTo>
                  <a:pt x="3434" y="4663"/>
                </a:lnTo>
                <a:lnTo>
                  <a:pt x="3277" y="3529"/>
                </a:lnTo>
                <a:close/>
                <a:moveTo>
                  <a:pt x="2458" y="2804"/>
                </a:moveTo>
                <a:lnTo>
                  <a:pt x="3434" y="9357"/>
                </a:lnTo>
                <a:lnTo>
                  <a:pt x="2048" y="10964"/>
                </a:lnTo>
                <a:lnTo>
                  <a:pt x="693" y="9357"/>
                </a:lnTo>
                <a:lnTo>
                  <a:pt x="1670" y="2804"/>
                </a:lnTo>
                <a:close/>
                <a:moveTo>
                  <a:pt x="693" y="0"/>
                </a:moveTo>
                <a:cubicBezTo>
                  <a:pt x="567" y="0"/>
                  <a:pt x="473" y="32"/>
                  <a:pt x="410" y="158"/>
                </a:cubicBezTo>
                <a:cubicBezTo>
                  <a:pt x="315" y="252"/>
                  <a:pt x="315" y="378"/>
                  <a:pt x="378" y="473"/>
                </a:cubicBezTo>
                <a:lnTo>
                  <a:pt x="1040" y="2489"/>
                </a:lnTo>
                <a:lnTo>
                  <a:pt x="0" y="9389"/>
                </a:lnTo>
                <a:cubicBezTo>
                  <a:pt x="0" y="9452"/>
                  <a:pt x="0" y="9578"/>
                  <a:pt x="95" y="9672"/>
                </a:cubicBezTo>
                <a:lnTo>
                  <a:pt x="1828" y="11751"/>
                </a:lnTo>
                <a:cubicBezTo>
                  <a:pt x="1891" y="11814"/>
                  <a:pt x="1985" y="11877"/>
                  <a:pt x="2080" y="11877"/>
                </a:cubicBezTo>
                <a:cubicBezTo>
                  <a:pt x="2206" y="11877"/>
                  <a:pt x="2300" y="11814"/>
                  <a:pt x="2363" y="11751"/>
                </a:cubicBezTo>
                <a:lnTo>
                  <a:pt x="4096" y="9672"/>
                </a:lnTo>
                <a:cubicBezTo>
                  <a:pt x="4190" y="9578"/>
                  <a:pt x="4190" y="9483"/>
                  <a:pt x="4190" y="9389"/>
                </a:cubicBezTo>
                <a:lnTo>
                  <a:pt x="3623" y="5797"/>
                </a:lnTo>
                <a:lnTo>
                  <a:pt x="5041" y="7183"/>
                </a:lnTo>
                <a:cubicBezTo>
                  <a:pt x="5136" y="7246"/>
                  <a:pt x="5199" y="7309"/>
                  <a:pt x="5293" y="7309"/>
                </a:cubicBezTo>
                <a:lnTo>
                  <a:pt x="6270" y="7309"/>
                </a:lnTo>
                <a:cubicBezTo>
                  <a:pt x="6459" y="7309"/>
                  <a:pt x="6616" y="7152"/>
                  <a:pt x="6616" y="6931"/>
                </a:cubicBezTo>
                <a:lnTo>
                  <a:pt x="6616" y="5955"/>
                </a:lnTo>
                <a:cubicBezTo>
                  <a:pt x="6616" y="5892"/>
                  <a:pt x="6585" y="5766"/>
                  <a:pt x="6490" y="5734"/>
                </a:cubicBezTo>
                <a:lnTo>
                  <a:pt x="3119" y="2426"/>
                </a:lnTo>
                <a:lnTo>
                  <a:pt x="3749" y="473"/>
                </a:lnTo>
                <a:cubicBezTo>
                  <a:pt x="3781" y="378"/>
                  <a:pt x="3749" y="252"/>
                  <a:pt x="3718" y="158"/>
                </a:cubicBezTo>
                <a:cubicBezTo>
                  <a:pt x="3623" y="95"/>
                  <a:pt x="3560" y="0"/>
                  <a:pt x="34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85" name="Google Shape;9785;p77"/>
          <p:cNvGrpSpPr/>
          <p:nvPr/>
        </p:nvGrpSpPr>
        <p:grpSpPr>
          <a:xfrm>
            <a:off x="7956604" y="3836276"/>
            <a:ext cx="351315" cy="348513"/>
            <a:chOff x="6167350" y="2672800"/>
            <a:chExt cx="297750" cy="295375"/>
          </a:xfrm>
        </p:grpSpPr>
        <p:sp>
          <p:nvSpPr>
            <p:cNvPr id="9786" name="Google Shape;9786;p77"/>
            <p:cNvSpPr/>
            <p:nvPr/>
          </p:nvSpPr>
          <p:spPr>
            <a:xfrm>
              <a:off x="6167350" y="2672800"/>
              <a:ext cx="226850" cy="295375"/>
            </a:xfrm>
            <a:custGeom>
              <a:avLst/>
              <a:gdLst/>
              <a:ahLst/>
              <a:cxnLst/>
              <a:rect l="l" t="t" r="r" b="b"/>
              <a:pathLst>
                <a:path w="9074" h="11815" extrusionOk="0">
                  <a:moveTo>
                    <a:pt x="4537" y="725"/>
                  </a:moveTo>
                  <a:cubicBezTo>
                    <a:pt x="4758" y="725"/>
                    <a:pt x="4915" y="882"/>
                    <a:pt x="4915" y="1071"/>
                  </a:cubicBezTo>
                  <a:cubicBezTo>
                    <a:pt x="4915" y="1260"/>
                    <a:pt x="5073" y="1418"/>
                    <a:pt x="5262" y="1418"/>
                  </a:cubicBezTo>
                  <a:lnTo>
                    <a:pt x="5955" y="1418"/>
                  </a:lnTo>
                  <a:cubicBezTo>
                    <a:pt x="6175" y="1418"/>
                    <a:pt x="6333" y="1575"/>
                    <a:pt x="6333" y="1796"/>
                  </a:cubicBezTo>
                  <a:cubicBezTo>
                    <a:pt x="6333" y="1985"/>
                    <a:pt x="6175" y="2142"/>
                    <a:pt x="5955" y="2142"/>
                  </a:cubicBezTo>
                  <a:lnTo>
                    <a:pt x="3119" y="2142"/>
                  </a:lnTo>
                  <a:cubicBezTo>
                    <a:pt x="2930" y="2142"/>
                    <a:pt x="2773" y="1985"/>
                    <a:pt x="2773" y="1796"/>
                  </a:cubicBezTo>
                  <a:cubicBezTo>
                    <a:pt x="2773" y="1575"/>
                    <a:pt x="2930" y="1418"/>
                    <a:pt x="3151" y="1418"/>
                  </a:cubicBezTo>
                  <a:lnTo>
                    <a:pt x="3844" y="1418"/>
                  </a:lnTo>
                  <a:cubicBezTo>
                    <a:pt x="4033" y="1418"/>
                    <a:pt x="4191" y="1260"/>
                    <a:pt x="4191" y="1071"/>
                  </a:cubicBezTo>
                  <a:cubicBezTo>
                    <a:pt x="4191" y="882"/>
                    <a:pt x="4348" y="725"/>
                    <a:pt x="4537" y="725"/>
                  </a:cubicBezTo>
                  <a:close/>
                  <a:moveTo>
                    <a:pt x="8066" y="2111"/>
                  </a:moveTo>
                  <a:cubicBezTo>
                    <a:pt x="8255" y="2111"/>
                    <a:pt x="8412" y="2268"/>
                    <a:pt x="8412" y="2458"/>
                  </a:cubicBezTo>
                  <a:lnTo>
                    <a:pt x="8412" y="10806"/>
                  </a:lnTo>
                  <a:lnTo>
                    <a:pt x="8381" y="10806"/>
                  </a:lnTo>
                  <a:cubicBezTo>
                    <a:pt x="8381" y="10995"/>
                    <a:pt x="8223" y="11153"/>
                    <a:pt x="8034" y="11153"/>
                  </a:cubicBezTo>
                  <a:lnTo>
                    <a:pt x="1040" y="11153"/>
                  </a:lnTo>
                  <a:cubicBezTo>
                    <a:pt x="851" y="11153"/>
                    <a:pt x="693" y="10995"/>
                    <a:pt x="693" y="10806"/>
                  </a:cubicBezTo>
                  <a:lnTo>
                    <a:pt x="693" y="2458"/>
                  </a:lnTo>
                  <a:cubicBezTo>
                    <a:pt x="693" y="2268"/>
                    <a:pt x="851" y="2111"/>
                    <a:pt x="1040" y="2111"/>
                  </a:cubicBezTo>
                  <a:lnTo>
                    <a:pt x="2143" y="2111"/>
                  </a:lnTo>
                  <a:cubicBezTo>
                    <a:pt x="2300" y="2489"/>
                    <a:pt x="2647" y="2804"/>
                    <a:pt x="3119" y="2804"/>
                  </a:cubicBezTo>
                  <a:lnTo>
                    <a:pt x="5986" y="2804"/>
                  </a:lnTo>
                  <a:cubicBezTo>
                    <a:pt x="6396" y="2804"/>
                    <a:pt x="6805" y="2521"/>
                    <a:pt x="6963" y="2111"/>
                  </a:cubicBezTo>
                  <a:close/>
                  <a:moveTo>
                    <a:pt x="4506" y="0"/>
                  </a:moveTo>
                  <a:cubicBezTo>
                    <a:pt x="4096" y="0"/>
                    <a:pt x="3686" y="284"/>
                    <a:pt x="3529" y="725"/>
                  </a:cubicBezTo>
                  <a:lnTo>
                    <a:pt x="3088" y="725"/>
                  </a:lnTo>
                  <a:cubicBezTo>
                    <a:pt x="2678" y="725"/>
                    <a:pt x="2269" y="1008"/>
                    <a:pt x="2111" y="1418"/>
                  </a:cubicBezTo>
                  <a:lnTo>
                    <a:pt x="1009" y="1418"/>
                  </a:lnTo>
                  <a:cubicBezTo>
                    <a:pt x="410" y="1418"/>
                    <a:pt x="0" y="1890"/>
                    <a:pt x="0" y="2458"/>
                  </a:cubicBezTo>
                  <a:lnTo>
                    <a:pt x="0" y="10806"/>
                  </a:lnTo>
                  <a:cubicBezTo>
                    <a:pt x="0" y="11405"/>
                    <a:pt x="473" y="11814"/>
                    <a:pt x="1009" y="11814"/>
                  </a:cubicBezTo>
                  <a:lnTo>
                    <a:pt x="7971" y="11814"/>
                  </a:lnTo>
                  <a:cubicBezTo>
                    <a:pt x="8570" y="11814"/>
                    <a:pt x="9011" y="11342"/>
                    <a:pt x="9011" y="10806"/>
                  </a:cubicBezTo>
                  <a:lnTo>
                    <a:pt x="9011" y="2458"/>
                  </a:lnTo>
                  <a:cubicBezTo>
                    <a:pt x="9074" y="1859"/>
                    <a:pt x="8601" y="1418"/>
                    <a:pt x="8034" y="1418"/>
                  </a:cubicBezTo>
                  <a:lnTo>
                    <a:pt x="6931" y="1418"/>
                  </a:lnTo>
                  <a:cubicBezTo>
                    <a:pt x="6774" y="1040"/>
                    <a:pt x="6396" y="725"/>
                    <a:pt x="5923" y="725"/>
                  </a:cubicBezTo>
                  <a:lnTo>
                    <a:pt x="5545" y="725"/>
                  </a:lnTo>
                  <a:cubicBezTo>
                    <a:pt x="5514" y="567"/>
                    <a:pt x="5388" y="441"/>
                    <a:pt x="5262" y="315"/>
                  </a:cubicBezTo>
                  <a:cubicBezTo>
                    <a:pt x="5073" y="126"/>
                    <a:pt x="4789"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77"/>
            <p:cNvSpPr/>
            <p:nvPr/>
          </p:nvSpPr>
          <p:spPr>
            <a:xfrm>
              <a:off x="6201225" y="2762575"/>
              <a:ext cx="52775" cy="49650"/>
            </a:xfrm>
            <a:custGeom>
              <a:avLst/>
              <a:gdLst/>
              <a:ahLst/>
              <a:cxnLst/>
              <a:rect l="l" t="t" r="r" b="b"/>
              <a:pathLst>
                <a:path w="2111" h="1986" extrusionOk="0">
                  <a:moveTo>
                    <a:pt x="406" y="1"/>
                  </a:moveTo>
                  <a:cubicBezTo>
                    <a:pt x="315" y="1"/>
                    <a:pt x="221" y="32"/>
                    <a:pt x="158" y="95"/>
                  </a:cubicBezTo>
                  <a:cubicBezTo>
                    <a:pt x="63" y="190"/>
                    <a:pt x="63" y="442"/>
                    <a:pt x="158" y="568"/>
                  </a:cubicBezTo>
                  <a:lnTo>
                    <a:pt x="599" y="977"/>
                  </a:lnTo>
                  <a:lnTo>
                    <a:pt x="158" y="1418"/>
                  </a:lnTo>
                  <a:cubicBezTo>
                    <a:pt x="0" y="1544"/>
                    <a:pt x="0" y="1733"/>
                    <a:pt x="158" y="1891"/>
                  </a:cubicBezTo>
                  <a:cubicBezTo>
                    <a:pt x="221" y="1954"/>
                    <a:pt x="315" y="1985"/>
                    <a:pt x="406" y="1985"/>
                  </a:cubicBezTo>
                  <a:cubicBezTo>
                    <a:pt x="496" y="1985"/>
                    <a:pt x="583" y="1954"/>
                    <a:pt x="630" y="1891"/>
                  </a:cubicBezTo>
                  <a:lnTo>
                    <a:pt x="1071" y="1450"/>
                  </a:lnTo>
                  <a:lnTo>
                    <a:pt x="1512" y="1891"/>
                  </a:lnTo>
                  <a:cubicBezTo>
                    <a:pt x="1575" y="1954"/>
                    <a:pt x="1662" y="1985"/>
                    <a:pt x="1749" y="1985"/>
                  </a:cubicBezTo>
                  <a:cubicBezTo>
                    <a:pt x="1835" y="1985"/>
                    <a:pt x="1922" y="1954"/>
                    <a:pt x="1985" y="1891"/>
                  </a:cubicBezTo>
                  <a:cubicBezTo>
                    <a:pt x="2111" y="1765"/>
                    <a:pt x="2111" y="1544"/>
                    <a:pt x="1985" y="1418"/>
                  </a:cubicBezTo>
                  <a:lnTo>
                    <a:pt x="1544" y="977"/>
                  </a:lnTo>
                  <a:lnTo>
                    <a:pt x="1985" y="568"/>
                  </a:lnTo>
                  <a:cubicBezTo>
                    <a:pt x="2111" y="442"/>
                    <a:pt x="2111" y="190"/>
                    <a:pt x="1985" y="95"/>
                  </a:cubicBezTo>
                  <a:cubicBezTo>
                    <a:pt x="1922" y="32"/>
                    <a:pt x="1835" y="1"/>
                    <a:pt x="1749" y="1"/>
                  </a:cubicBezTo>
                  <a:cubicBezTo>
                    <a:pt x="1662" y="1"/>
                    <a:pt x="1575" y="32"/>
                    <a:pt x="1512" y="95"/>
                  </a:cubicBezTo>
                  <a:lnTo>
                    <a:pt x="1071" y="505"/>
                  </a:lnTo>
                  <a:lnTo>
                    <a:pt x="630" y="95"/>
                  </a:lnTo>
                  <a:cubicBezTo>
                    <a:pt x="583" y="32"/>
                    <a:pt x="496" y="1"/>
                    <a:pt x="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8" name="Google Shape;9788;p77"/>
            <p:cNvSpPr/>
            <p:nvPr/>
          </p:nvSpPr>
          <p:spPr>
            <a:xfrm>
              <a:off x="6308325" y="2882300"/>
              <a:ext cx="51225" cy="49650"/>
            </a:xfrm>
            <a:custGeom>
              <a:avLst/>
              <a:gdLst/>
              <a:ahLst/>
              <a:cxnLst/>
              <a:rect l="l" t="t" r="r" b="b"/>
              <a:pathLst>
                <a:path w="2049" h="1986" extrusionOk="0">
                  <a:moveTo>
                    <a:pt x="363" y="0"/>
                  </a:moveTo>
                  <a:cubicBezTo>
                    <a:pt x="276" y="0"/>
                    <a:pt x="190" y="32"/>
                    <a:pt x="127" y="95"/>
                  </a:cubicBezTo>
                  <a:cubicBezTo>
                    <a:pt x="1" y="221"/>
                    <a:pt x="1" y="441"/>
                    <a:pt x="127" y="567"/>
                  </a:cubicBezTo>
                  <a:lnTo>
                    <a:pt x="568" y="1009"/>
                  </a:lnTo>
                  <a:lnTo>
                    <a:pt x="127" y="1450"/>
                  </a:lnTo>
                  <a:cubicBezTo>
                    <a:pt x="1" y="1544"/>
                    <a:pt x="1" y="1796"/>
                    <a:pt x="127" y="1891"/>
                  </a:cubicBezTo>
                  <a:cubicBezTo>
                    <a:pt x="190" y="1954"/>
                    <a:pt x="276" y="1985"/>
                    <a:pt x="363" y="1985"/>
                  </a:cubicBezTo>
                  <a:cubicBezTo>
                    <a:pt x="450" y="1985"/>
                    <a:pt x="536" y="1954"/>
                    <a:pt x="599" y="1891"/>
                  </a:cubicBezTo>
                  <a:lnTo>
                    <a:pt x="1040" y="1481"/>
                  </a:lnTo>
                  <a:lnTo>
                    <a:pt x="1481" y="1891"/>
                  </a:lnTo>
                  <a:cubicBezTo>
                    <a:pt x="1529" y="1954"/>
                    <a:pt x="1615" y="1985"/>
                    <a:pt x="1706" y="1985"/>
                  </a:cubicBezTo>
                  <a:cubicBezTo>
                    <a:pt x="1797" y="1985"/>
                    <a:pt x="1891" y="1954"/>
                    <a:pt x="1954" y="1891"/>
                  </a:cubicBezTo>
                  <a:cubicBezTo>
                    <a:pt x="2049" y="1796"/>
                    <a:pt x="2049" y="1544"/>
                    <a:pt x="1954" y="1450"/>
                  </a:cubicBezTo>
                  <a:lnTo>
                    <a:pt x="1513" y="1009"/>
                  </a:lnTo>
                  <a:lnTo>
                    <a:pt x="1954" y="567"/>
                  </a:lnTo>
                  <a:cubicBezTo>
                    <a:pt x="2049" y="441"/>
                    <a:pt x="2049" y="252"/>
                    <a:pt x="1954" y="95"/>
                  </a:cubicBezTo>
                  <a:cubicBezTo>
                    <a:pt x="1891" y="32"/>
                    <a:pt x="1804" y="0"/>
                    <a:pt x="1718" y="0"/>
                  </a:cubicBezTo>
                  <a:cubicBezTo>
                    <a:pt x="1631" y="0"/>
                    <a:pt x="1544" y="32"/>
                    <a:pt x="1481" y="95"/>
                  </a:cubicBezTo>
                  <a:lnTo>
                    <a:pt x="1040" y="536"/>
                  </a:lnTo>
                  <a:lnTo>
                    <a:pt x="599" y="95"/>
                  </a:lnTo>
                  <a:cubicBezTo>
                    <a:pt x="536" y="32"/>
                    <a:pt x="450" y="0"/>
                    <a:pt x="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9" name="Google Shape;9789;p77"/>
            <p:cNvSpPr/>
            <p:nvPr/>
          </p:nvSpPr>
          <p:spPr>
            <a:xfrm>
              <a:off x="6200425" y="2759425"/>
              <a:ext cx="156775" cy="174875"/>
            </a:xfrm>
            <a:custGeom>
              <a:avLst/>
              <a:gdLst/>
              <a:ahLst/>
              <a:cxnLst/>
              <a:rect l="l" t="t" r="r" b="b"/>
              <a:pathLst>
                <a:path w="6271" h="6995" extrusionOk="0">
                  <a:moveTo>
                    <a:pt x="1103" y="5609"/>
                  </a:moveTo>
                  <a:cubicBezTo>
                    <a:pt x="1292" y="5609"/>
                    <a:pt x="1450" y="5766"/>
                    <a:pt x="1450" y="5955"/>
                  </a:cubicBezTo>
                  <a:cubicBezTo>
                    <a:pt x="1450" y="6144"/>
                    <a:pt x="1292" y="6302"/>
                    <a:pt x="1103" y="6302"/>
                  </a:cubicBezTo>
                  <a:cubicBezTo>
                    <a:pt x="914" y="6302"/>
                    <a:pt x="757" y="6144"/>
                    <a:pt x="757" y="5955"/>
                  </a:cubicBezTo>
                  <a:cubicBezTo>
                    <a:pt x="757" y="5766"/>
                    <a:pt x="914" y="5609"/>
                    <a:pt x="1103" y="5609"/>
                  </a:cubicBezTo>
                  <a:close/>
                  <a:moveTo>
                    <a:pt x="5325" y="1"/>
                  </a:moveTo>
                  <a:cubicBezTo>
                    <a:pt x="5230" y="1"/>
                    <a:pt x="5136" y="64"/>
                    <a:pt x="5073" y="127"/>
                  </a:cubicBezTo>
                  <a:lnTo>
                    <a:pt x="4380" y="851"/>
                  </a:lnTo>
                  <a:cubicBezTo>
                    <a:pt x="4254" y="946"/>
                    <a:pt x="4254" y="1198"/>
                    <a:pt x="4380" y="1324"/>
                  </a:cubicBezTo>
                  <a:cubicBezTo>
                    <a:pt x="4443" y="1371"/>
                    <a:pt x="4529" y="1395"/>
                    <a:pt x="4616" y="1395"/>
                  </a:cubicBezTo>
                  <a:cubicBezTo>
                    <a:pt x="4703" y="1395"/>
                    <a:pt x="4789" y="1371"/>
                    <a:pt x="4852" y="1324"/>
                  </a:cubicBezTo>
                  <a:lnTo>
                    <a:pt x="4978" y="1198"/>
                  </a:lnTo>
                  <a:lnTo>
                    <a:pt x="4978" y="2458"/>
                  </a:lnTo>
                  <a:cubicBezTo>
                    <a:pt x="4978" y="2647"/>
                    <a:pt x="4821" y="2805"/>
                    <a:pt x="4600" y="2805"/>
                  </a:cubicBezTo>
                  <a:lnTo>
                    <a:pt x="1765" y="2805"/>
                  </a:lnTo>
                  <a:cubicBezTo>
                    <a:pt x="1513" y="2805"/>
                    <a:pt x="1229" y="2931"/>
                    <a:pt x="1040" y="3120"/>
                  </a:cubicBezTo>
                  <a:cubicBezTo>
                    <a:pt x="820" y="3309"/>
                    <a:pt x="725" y="3592"/>
                    <a:pt x="725" y="3876"/>
                  </a:cubicBezTo>
                  <a:lnTo>
                    <a:pt x="725" y="4978"/>
                  </a:lnTo>
                  <a:cubicBezTo>
                    <a:pt x="316" y="5136"/>
                    <a:pt x="1" y="5482"/>
                    <a:pt x="1" y="5955"/>
                  </a:cubicBezTo>
                  <a:cubicBezTo>
                    <a:pt x="1" y="6554"/>
                    <a:pt x="473" y="6995"/>
                    <a:pt x="1040" y="6995"/>
                  </a:cubicBezTo>
                  <a:cubicBezTo>
                    <a:pt x="1607" y="6995"/>
                    <a:pt x="2048" y="6522"/>
                    <a:pt x="2048" y="5955"/>
                  </a:cubicBezTo>
                  <a:cubicBezTo>
                    <a:pt x="2048" y="5514"/>
                    <a:pt x="1765" y="5136"/>
                    <a:pt x="1355" y="4978"/>
                  </a:cubicBezTo>
                  <a:lnTo>
                    <a:pt x="1355" y="3876"/>
                  </a:lnTo>
                  <a:cubicBezTo>
                    <a:pt x="1355" y="3687"/>
                    <a:pt x="1513" y="3529"/>
                    <a:pt x="1702" y="3529"/>
                  </a:cubicBezTo>
                  <a:lnTo>
                    <a:pt x="4537" y="3529"/>
                  </a:lnTo>
                  <a:cubicBezTo>
                    <a:pt x="5136" y="3529"/>
                    <a:pt x="5545" y="3057"/>
                    <a:pt x="5545" y="2490"/>
                  </a:cubicBezTo>
                  <a:lnTo>
                    <a:pt x="5545" y="1229"/>
                  </a:lnTo>
                  <a:lnTo>
                    <a:pt x="5671" y="1355"/>
                  </a:lnTo>
                  <a:cubicBezTo>
                    <a:pt x="5734" y="1418"/>
                    <a:pt x="5821" y="1450"/>
                    <a:pt x="5908" y="1450"/>
                  </a:cubicBezTo>
                  <a:cubicBezTo>
                    <a:pt x="5994" y="1450"/>
                    <a:pt x="6081" y="1418"/>
                    <a:pt x="6144" y="1355"/>
                  </a:cubicBezTo>
                  <a:cubicBezTo>
                    <a:pt x="6270" y="1229"/>
                    <a:pt x="6270" y="1009"/>
                    <a:pt x="6144" y="883"/>
                  </a:cubicBezTo>
                  <a:lnTo>
                    <a:pt x="5545" y="127"/>
                  </a:lnTo>
                  <a:cubicBezTo>
                    <a:pt x="5482" y="64"/>
                    <a:pt x="5388"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0" name="Google Shape;9790;p77"/>
            <p:cNvSpPr/>
            <p:nvPr/>
          </p:nvSpPr>
          <p:spPr>
            <a:xfrm>
              <a:off x="6412300" y="2742900"/>
              <a:ext cx="52800" cy="208725"/>
            </a:xfrm>
            <a:custGeom>
              <a:avLst/>
              <a:gdLst/>
              <a:ahLst/>
              <a:cxnLst/>
              <a:rect l="l" t="t" r="r" b="b"/>
              <a:pathLst>
                <a:path w="2112" h="8349" extrusionOk="0">
                  <a:moveTo>
                    <a:pt x="1009" y="662"/>
                  </a:moveTo>
                  <a:cubicBezTo>
                    <a:pt x="1229" y="662"/>
                    <a:pt x="1387" y="819"/>
                    <a:pt x="1387" y="1040"/>
                  </a:cubicBezTo>
                  <a:lnTo>
                    <a:pt x="1387" y="1386"/>
                  </a:lnTo>
                  <a:lnTo>
                    <a:pt x="662" y="1386"/>
                  </a:lnTo>
                  <a:lnTo>
                    <a:pt x="662" y="1040"/>
                  </a:lnTo>
                  <a:cubicBezTo>
                    <a:pt x="662" y="819"/>
                    <a:pt x="820" y="662"/>
                    <a:pt x="1009" y="662"/>
                  </a:cubicBezTo>
                  <a:close/>
                  <a:moveTo>
                    <a:pt x="1387" y="2048"/>
                  </a:moveTo>
                  <a:lnTo>
                    <a:pt x="1387" y="6017"/>
                  </a:lnTo>
                  <a:cubicBezTo>
                    <a:pt x="1261" y="5986"/>
                    <a:pt x="1142" y="5970"/>
                    <a:pt x="1024" y="5970"/>
                  </a:cubicBezTo>
                  <a:cubicBezTo>
                    <a:pt x="906" y="5970"/>
                    <a:pt x="788" y="5986"/>
                    <a:pt x="662" y="6017"/>
                  </a:cubicBezTo>
                  <a:lnTo>
                    <a:pt x="662" y="2048"/>
                  </a:lnTo>
                  <a:close/>
                  <a:moveTo>
                    <a:pt x="1009" y="6711"/>
                  </a:moveTo>
                  <a:cubicBezTo>
                    <a:pt x="1103" y="6711"/>
                    <a:pt x="1166" y="6711"/>
                    <a:pt x="1261" y="6742"/>
                  </a:cubicBezTo>
                  <a:lnTo>
                    <a:pt x="1009" y="7246"/>
                  </a:lnTo>
                  <a:lnTo>
                    <a:pt x="788" y="6742"/>
                  </a:lnTo>
                  <a:cubicBezTo>
                    <a:pt x="851" y="6711"/>
                    <a:pt x="946" y="6711"/>
                    <a:pt x="1009" y="6711"/>
                  </a:cubicBezTo>
                  <a:close/>
                  <a:moveTo>
                    <a:pt x="1009" y="0"/>
                  </a:moveTo>
                  <a:cubicBezTo>
                    <a:pt x="441" y="0"/>
                    <a:pt x="0" y="473"/>
                    <a:pt x="0" y="1040"/>
                  </a:cubicBezTo>
                  <a:lnTo>
                    <a:pt x="0" y="6616"/>
                  </a:lnTo>
                  <a:cubicBezTo>
                    <a:pt x="0" y="6648"/>
                    <a:pt x="0" y="6742"/>
                    <a:pt x="32" y="6774"/>
                  </a:cubicBezTo>
                  <a:lnTo>
                    <a:pt x="757" y="8160"/>
                  </a:lnTo>
                  <a:cubicBezTo>
                    <a:pt x="788" y="8286"/>
                    <a:pt x="946" y="8349"/>
                    <a:pt x="1040" y="8349"/>
                  </a:cubicBezTo>
                  <a:cubicBezTo>
                    <a:pt x="1166" y="8349"/>
                    <a:pt x="1292" y="8286"/>
                    <a:pt x="1355" y="8160"/>
                  </a:cubicBezTo>
                  <a:lnTo>
                    <a:pt x="2080" y="6774"/>
                  </a:lnTo>
                  <a:cubicBezTo>
                    <a:pt x="2111" y="6742"/>
                    <a:pt x="2111" y="6648"/>
                    <a:pt x="2111" y="6616"/>
                  </a:cubicBezTo>
                  <a:lnTo>
                    <a:pt x="2111" y="1040"/>
                  </a:lnTo>
                  <a:cubicBezTo>
                    <a:pt x="2048"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91" name="Google Shape;9791;p77"/>
          <p:cNvGrpSpPr/>
          <p:nvPr/>
        </p:nvGrpSpPr>
        <p:grpSpPr>
          <a:xfrm>
            <a:off x="6197601" y="1531509"/>
            <a:ext cx="347599" cy="350371"/>
            <a:chOff x="1777925" y="1953700"/>
            <a:chExt cx="294600" cy="296950"/>
          </a:xfrm>
        </p:grpSpPr>
        <p:sp>
          <p:nvSpPr>
            <p:cNvPr id="9792" name="Google Shape;9792;p77"/>
            <p:cNvSpPr/>
            <p:nvPr/>
          </p:nvSpPr>
          <p:spPr>
            <a:xfrm>
              <a:off x="1794450" y="2052125"/>
              <a:ext cx="278075" cy="198525"/>
            </a:xfrm>
            <a:custGeom>
              <a:avLst/>
              <a:gdLst/>
              <a:ahLst/>
              <a:cxnLst/>
              <a:rect l="l" t="t" r="r" b="b"/>
              <a:pathLst>
                <a:path w="11123" h="7941" extrusionOk="0">
                  <a:moveTo>
                    <a:pt x="10545" y="1"/>
                  </a:moveTo>
                  <a:cubicBezTo>
                    <a:pt x="10499" y="1"/>
                    <a:pt x="10449" y="11"/>
                    <a:pt x="10397" y="33"/>
                  </a:cubicBezTo>
                  <a:cubicBezTo>
                    <a:pt x="10208" y="64"/>
                    <a:pt x="10145" y="253"/>
                    <a:pt x="10177" y="474"/>
                  </a:cubicBezTo>
                  <a:cubicBezTo>
                    <a:pt x="10334" y="1009"/>
                    <a:pt x="10460" y="1514"/>
                    <a:pt x="10460" y="1986"/>
                  </a:cubicBezTo>
                  <a:cubicBezTo>
                    <a:pt x="10460" y="4885"/>
                    <a:pt x="8129" y="7247"/>
                    <a:pt x="5199" y="7247"/>
                  </a:cubicBezTo>
                  <a:cubicBezTo>
                    <a:pt x="3561" y="7247"/>
                    <a:pt x="2017" y="6460"/>
                    <a:pt x="1040" y="5137"/>
                  </a:cubicBezTo>
                  <a:lnTo>
                    <a:pt x="1734" y="5137"/>
                  </a:lnTo>
                  <a:cubicBezTo>
                    <a:pt x="1954" y="5137"/>
                    <a:pt x="2112" y="4979"/>
                    <a:pt x="2112" y="4790"/>
                  </a:cubicBezTo>
                  <a:cubicBezTo>
                    <a:pt x="2112" y="4601"/>
                    <a:pt x="1954" y="4444"/>
                    <a:pt x="1734" y="4444"/>
                  </a:cubicBezTo>
                  <a:lnTo>
                    <a:pt x="379" y="4444"/>
                  </a:lnTo>
                  <a:cubicBezTo>
                    <a:pt x="158" y="4444"/>
                    <a:pt x="1" y="4601"/>
                    <a:pt x="1" y="4790"/>
                  </a:cubicBezTo>
                  <a:lnTo>
                    <a:pt x="1" y="6176"/>
                  </a:lnTo>
                  <a:cubicBezTo>
                    <a:pt x="1" y="6365"/>
                    <a:pt x="158" y="6523"/>
                    <a:pt x="379" y="6523"/>
                  </a:cubicBezTo>
                  <a:cubicBezTo>
                    <a:pt x="568" y="6523"/>
                    <a:pt x="725" y="6365"/>
                    <a:pt x="725" y="6176"/>
                  </a:cubicBezTo>
                  <a:lnTo>
                    <a:pt x="725" y="5830"/>
                  </a:lnTo>
                  <a:cubicBezTo>
                    <a:pt x="1860" y="7184"/>
                    <a:pt x="3529" y="7941"/>
                    <a:pt x="5199" y="7941"/>
                  </a:cubicBezTo>
                  <a:cubicBezTo>
                    <a:pt x="8476" y="7941"/>
                    <a:pt x="11122" y="5294"/>
                    <a:pt x="11122" y="2049"/>
                  </a:cubicBezTo>
                  <a:cubicBezTo>
                    <a:pt x="11122" y="1482"/>
                    <a:pt x="11028" y="883"/>
                    <a:pt x="10839" y="253"/>
                  </a:cubicBezTo>
                  <a:cubicBezTo>
                    <a:pt x="10814" y="109"/>
                    <a:pt x="10698" y="1"/>
                    <a:pt x="105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3" name="Google Shape;9793;p77"/>
            <p:cNvSpPr/>
            <p:nvPr/>
          </p:nvSpPr>
          <p:spPr>
            <a:xfrm>
              <a:off x="1777925" y="1953700"/>
              <a:ext cx="278050" cy="198675"/>
            </a:xfrm>
            <a:custGeom>
              <a:avLst/>
              <a:gdLst/>
              <a:ahLst/>
              <a:cxnLst/>
              <a:rect l="l" t="t" r="r" b="b"/>
              <a:pathLst>
                <a:path w="11122" h="7947" extrusionOk="0">
                  <a:moveTo>
                    <a:pt x="5892" y="0"/>
                  </a:moveTo>
                  <a:cubicBezTo>
                    <a:pt x="2647" y="0"/>
                    <a:pt x="0" y="2615"/>
                    <a:pt x="0" y="5892"/>
                  </a:cubicBezTo>
                  <a:cubicBezTo>
                    <a:pt x="0" y="6459"/>
                    <a:pt x="63" y="7026"/>
                    <a:pt x="284" y="7656"/>
                  </a:cubicBezTo>
                  <a:cubicBezTo>
                    <a:pt x="310" y="7869"/>
                    <a:pt x="450" y="7947"/>
                    <a:pt x="606" y="7947"/>
                  </a:cubicBezTo>
                  <a:cubicBezTo>
                    <a:pt x="635" y="7947"/>
                    <a:pt x="664" y="7944"/>
                    <a:pt x="693" y="7939"/>
                  </a:cubicBezTo>
                  <a:cubicBezTo>
                    <a:pt x="914" y="7908"/>
                    <a:pt x="977" y="7719"/>
                    <a:pt x="945" y="7498"/>
                  </a:cubicBezTo>
                  <a:cubicBezTo>
                    <a:pt x="788" y="6963"/>
                    <a:pt x="662" y="6459"/>
                    <a:pt x="662" y="5923"/>
                  </a:cubicBezTo>
                  <a:cubicBezTo>
                    <a:pt x="662" y="3056"/>
                    <a:pt x="2993" y="693"/>
                    <a:pt x="5923" y="693"/>
                  </a:cubicBezTo>
                  <a:cubicBezTo>
                    <a:pt x="7561" y="693"/>
                    <a:pt x="9105" y="1481"/>
                    <a:pt x="10082" y="2773"/>
                  </a:cubicBezTo>
                  <a:lnTo>
                    <a:pt x="9389" y="2773"/>
                  </a:lnTo>
                  <a:cubicBezTo>
                    <a:pt x="9168" y="2773"/>
                    <a:pt x="9011" y="2930"/>
                    <a:pt x="9011" y="3151"/>
                  </a:cubicBezTo>
                  <a:cubicBezTo>
                    <a:pt x="9011" y="3340"/>
                    <a:pt x="9168" y="3497"/>
                    <a:pt x="9389" y="3497"/>
                  </a:cubicBezTo>
                  <a:lnTo>
                    <a:pt x="10743" y="3497"/>
                  </a:lnTo>
                  <a:cubicBezTo>
                    <a:pt x="10964" y="3497"/>
                    <a:pt x="11121" y="3340"/>
                    <a:pt x="11121" y="3151"/>
                  </a:cubicBezTo>
                  <a:lnTo>
                    <a:pt x="11121" y="1765"/>
                  </a:lnTo>
                  <a:cubicBezTo>
                    <a:pt x="11121" y="1575"/>
                    <a:pt x="10964" y="1418"/>
                    <a:pt x="10743" y="1418"/>
                  </a:cubicBezTo>
                  <a:cubicBezTo>
                    <a:pt x="10554" y="1418"/>
                    <a:pt x="10397" y="1575"/>
                    <a:pt x="10397" y="1765"/>
                  </a:cubicBezTo>
                  <a:lnTo>
                    <a:pt x="10397" y="2111"/>
                  </a:lnTo>
                  <a:cubicBezTo>
                    <a:pt x="9263" y="725"/>
                    <a:pt x="7593"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4" name="Google Shape;9794;p77"/>
            <p:cNvSpPr/>
            <p:nvPr/>
          </p:nvSpPr>
          <p:spPr>
            <a:xfrm>
              <a:off x="1829125" y="2006475"/>
              <a:ext cx="191400" cy="191400"/>
            </a:xfrm>
            <a:custGeom>
              <a:avLst/>
              <a:gdLst/>
              <a:ahLst/>
              <a:cxnLst/>
              <a:rect l="l" t="t" r="r" b="b"/>
              <a:pathLst>
                <a:path w="7656" h="7656" extrusionOk="0">
                  <a:moveTo>
                    <a:pt x="4190" y="693"/>
                  </a:moveTo>
                  <a:cubicBezTo>
                    <a:pt x="4757" y="788"/>
                    <a:pt x="5324" y="1008"/>
                    <a:pt x="5797" y="1386"/>
                  </a:cubicBezTo>
                  <a:lnTo>
                    <a:pt x="5545" y="1607"/>
                  </a:lnTo>
                  <a:cubicBezTo>
                    <a:pt x="5450" y="1733"/>
                    <a:pt x="5450" y="1953"/>
                    <a:pt x="5545" y="2079"/>
                  </a:cubicBezTo>
                  <a:cubicBezTo>
                    <a:pt x="5608" y="2142"/>
                    <a:pt x="5702" y="2174"/>
                    <a:pt x="5793" y="2174"/>
                  </a:cubicBezTo>
                  <a:cubicBezTo>
                    <a:pt x="5884" y="2174"/>
                    <a:pt x="5970" y="2142"/>
                    <a:pt x="6017" y="2079"/>
                  </a:cubicBezTo>
                  <a:lnTo>
                    <a:pt x="6270" y="1859"/>
                  </a:lnTo>
                  <a:cubicBezTo>
                    <a:pt x="6616" y="2268"/>
                    <a:pt x="6868" y="2835"/>
                    <a:pt x="6931" y="3466"/>
                  </a:cubicBezTo>
                  <a:lnTo>
                    <a:pt x="6616" y="3466"/>
                  </a:lnTo>
                  <a:cubicBezTo>
                    <a:pt x="6427" y="3466"/>
                    <a:pt x="6270" y="3623"/>
                    <a:pt x="6270" y="3812"/>
                  </a:cubicBezTo>
                  <a:cubicBezTo>
                    <a:pt x="6270" y="4001"/>
                    <a:pt x="6427" y="4159"/>
                    <a:pt x="6616" y="4159"/>
                  </a:cubicBezTo>
                  <a:lnTo>
                    <a:pt x="6931" y="4159"/>
                  </a:lnTo>
                  <a:cubicBezTo>
                    <a:pt x="6868" y="4757"/>
                    <a:pt x="6616" y="5324"/>
                    <a:pt x="6270" y="5797"/>
                  </a:cubicBezTo>
                  <a:lnTo>
                    <a:pt x="6017" y="5545"/>
                  </a:lnTo>
                  <a:cubicBezTo>
                    <a:pt x="5970" y="5482"/>
                    <a:pt x="5884" y="5450"/>
                    <a:pt x="5793" y="5450"/>
                  </a:cubicBezTo>
                  <a:cubicBezTo>
                    <a:pt x="5702" y="5450"/>
                    <a:pt x="5608" y="5482"/>
                    <a:pt x="5545" y="5545"/>
                  </a:cubicBezTo>
                  <a:cubicBezTo>
                    <a:pt x="5450" y="5671"/>
                    <a:pt x="5450" y="5923"/>
                    <a:pt x="5545" y="6017"/>
                  </a:cubicBezTo>
                  <a:lnTo>
                    <a:pt x="5797" y="6270"/>
                  </a:lnTo>
                  <a:cubicBezTo>
                    <a:pt x="5356" y="6616"/>
                    <a:pt x="4820" y="6837"/>
                    <a:pt x="4190" y="6931"/>
                  </a:cubicBezTo>
                  <a:lnTo>
                    <a:pt x="4190" y="6616"/>
                  </a:lnTo>
                  <a:cubicBezTo>
                    <a:pt x="4190" y="6427"/>
                    <a:pt x="4033" y="6270"/>
                    <a:pt x="3812" y="6270"/>
                  </a:cubicBezTo>
                  <a:cubicBezTo>
                    <a:pt x="3623" y="6270"/>
                    <a:pt x="3466" y="6427"/>
                    <a:pt x="3466" y="6616"/>
                  </a:cubicBezTo>
                  <a:lnTo>
                    <a:pt x="3466" y="6931"/>
                  </a:lnTo>
                  <a:cubicBezTo>
                    <a:pt x="2867" y="6837"/>
                    <a:pt x="2331" y="6616"/>
                    <a:pt x="1859" y="6270"/>
                  </a:cubicBezTo>
                  <a:lnTo>
                    <a:pt x="2079" y="6017"/>
                  </a:lnTo>
                  <a:cubicBezTo>
                    <a:pt x="2205" y="5891"/>
                    <a:pt x="2205" y="5671"/>
                    <a:pt x="2079" y="5545"/>
                  </a:cubicBezTo>
                  <a:cubicBezTo>
                    <a:pt x="2032" y="5482"/>
                    <a:pt x="1945" y="5450"/>
                    <a:pt x="1855" y="5450"/>
                  </a:cubicBezTo>
                  <a:cubicBezTo>
                    <a:pt x="1764" y="5450"/>
                    <a:pt x="1670" y="5482"/>
                    <a:pt x="1607" y="5545"/>
                  </a:cubicBezTo>
                  <a:lnTo>
                    <a:pt x="1386" y="5797"/>
                  </a:lnTo>
                  <a:cubicBezTo>
                    <a:pt x="1040" y="5356"/>
                    <a:pt x="788" y="4789"/>
                    <a:pt x="725" y="4159"/>
                  </a:cubicBezTo>
                  <a:lnTo>
                    <a:pt x="1040" y="4159"/>
                  </a:lnTo>
                  <a:cubicBezTo>
                    <a:pt x="1229" y="4159"/>
                    <a:pt x="1386" y="4001"/>
                    <a:pt x="1386" y="3812"/>
                  </a:cubicBezTo>
                  <a:cubicBezTo>
                    <a:pt x="1386" y="3623"/>
                    <a:pt x="1229" y="3466"/>
                    <a:pt x="1040" y="3466"/>
                  </a:cubicBezTo>
                  <a:lnTo>
                    <a:pt x="725" y="3466"/>
                  </a:lnTo>
                  <a:cubicBezTo>
                    <a:pt x="788" y="2867"/>
                    <a:pt x="1040" y="2331"/>
                    <a:pt x="1386" y="1859"/>
                  </a:cubicBezTo>
                  <a:lnTo>
                    <a:pt x="1607" y="2079"/>
                  </a:lnTo>
                  <a:cubicBezTo>
                    <a:pt x="1701" y="2174"/>
                    <a:pt x="1764" y="2205"/>
                    <a:pt x="1859" y="2205"/>
                  </a:cubicBezTo>
                  <a:cubicBezTo>
                    <a:pt x="1922" y="2205"/>
                    <a:pt x="2048" y="2174"/>
                    <a:pt x="2079" y="2079"/>
                  </a:cubicBezTo>
                  <a:cubicBezTo>
                    <a:pt x="2205" y="1953"/>
                    <a:pt x="2205" y="1733"/>
                    <a:pt x="2079" y="1607"/>
                  </a:cubicBezTo>
                  <a:lnTo>
                    <a:pt x="1859" y="1386"/>
                  </a:lnTo>
                  <a:cubicBezTo>
                    <a:pt x="2300" y="1008"/>
                    <a:pt x="2835" y="788"/>
                    <a:pt x="3466" y="693"/>
                  </a:cubicBezTo>
                  <a:lnTo>
                    <a:pt x="3466" y="1008"/>
                  </a:lnTo>
                  <a:cubicBezTo>
                    <a:pt x="3466" y="1229"/>
                    <a:pt x="3623" y="1386"/>
                    <a:pt x="3812" y="1386"/>
                  </a:cubicBezTo>
                  <a:cubicBezTo>
                    <a:pt x="4033" y="1386"/>
                    <a:pt x="4190" y="1229"/>
                    <a:pt x="4190" y="1008"/>
                  </a:cubicBezTo>
                  <a:lnTo>
                    <a:pt x="4190" y="693"/>
                  </a:lnTo>
                  <a:close/>
                  <a:moveTo>
                    <a:pt x="3812" y="0"/>
                  </a:moveTo>
                  <a:cubicBezTo>
                    <a:pt x="1733" y="0"/>
                    <a:pt x="0" y="1701"/>
                    <a:pt x="0" y="3812"/>
                  </a:cubicBezTo>
                  <a:cubicBezTo>
                    <a:pt x="0" y="5923"/>
                    <a:pt x="1701" y="7656"/>
                    <a:pt x="3812" y="7656"/>
                  </a:cubicBezTo>
                  <a:cubicBezTo>
                    <a:pt x="5923" y="7656"/>
                    <a:pt x="7656" y="5954"/>
                    <a:pt x="7656" y="3812"/>
                  </a:cubicBezTo>
                  <a:cubicBezTo>
                    <a:pt x="7656" y="1733"/>
                    <a:pt x="5954" y="0"/>
                    <a:pt x="38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5" name="Google Shape;9795;p77"/>
            <p:cNvSpPr/>
            <p:nvPr/>
          </p:nvSpPr>
          <p:spPr>
            <a:xfrm>
              <a:off x="1915750" y="2058450"/>
              <a:ext cx="35475" cy="52800"/>
            </a:xfrm>
            <a:custGeom>
              <a:avLst/>
              <a:gdLst/>
              <a:ahLst/>
              <a:cxnLst/>
              <a:rect l="l" t="t" r="r" b="b"/>
              <a:pathLst>
                <a:path w="1419" h="2112" extrusionOk="0">
                  <a:moveTo>
                    <a:pt x="347" y="0"/>
                  </a:moveTo>
                  <a:cubicBezTo>
                    <a:pt x="158" y="0"/>
                    <a:pt x="1" y="158"/>
                    <a:pt x="1" y="378"/>
                  </a:cubicBezTo>
                  <a:lnTo>
                    <a:pt x="1" y="1733"/>
                  </a:lnTo>
                  <a:cubicBezTo>
                    <a:pt x="1" y="1954"/>
                    <a:pt x="158" y="2111"/>
                    <a:pt x="347" y="2111"/>
                  </a:cubicBezTo>
                  <a:lnTo>
                    <a:pt x="1072" y="2111"/>
                  </a:lnTo>
                  <a:cubicBezTo>
                    <a:pt x="1261" y="2111"/>
                    <a:pt x="1418" y="1954"/>
                    <a:pt x="1418" y="1733"/>
                  </a:cubicBezTo>
                  <a:cubicBezTo>
                    <a:pt x="1418" y="1544"/>
                    <a:pt x="1261" y="1387"/>
                    <a:pt x="1072" y="1387"/>
                  </a:cubicBezTo>
                  <a:lnTo>
                    <a:pt x="725" y="1387"/>
                  </a:lnTo>
                  <a:lnTo>
                    <a:pt x="725" y="378"/>
                  </a:ln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96" name="Google Shape;9796;p77"/>
          <p:cNvGrpSpPr/>
          <p:nvPr/>
        </p:nvGrpSpPr>
        <p:grpSpPr>
          <a:xfrm>
            <a:off x="6213411" y="1984397"/>
            <a:ext cx="315977" cy="347599"/>
            <a:chOff x="1790525" y="2319150"/>
            <a:chExt cx="267800" cy="294600"/>
          </a:xfrm>
        </p:grpSpPr>
        <p:sp>
          <p:nvSpPr>
            <p:cNvPr id="9797" name="Google Shape;9797;p77"/>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8" name="Google Shape;9798;p77"/>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799" name="Google Shape;9799;p77"/>
          <p:cNvSpPr/>
          <p:nvPr/>
        </p:nvSpPr>
        <p:spPr>
          <a:xfrm>
            <a:off x="6196153" y="2424782"/>
            <a:ext cx="350401" cy="350371"/>
          </a:xfrm>
          <a:custGeom>
            <a:avLst/>
            <a:gdLst/>
            <a:ahLst/>
            <a:cxnLst/>
            <a:rect l="l" t="t" r="r" b="b"/>
            <a:pathLst>
              <a:path w="11879" h="11878" extrusionOk="0">
                <a:moveTo>
                  <a:pt x="5892" y="693"/>
                </a:moveTo>
                <a:cubicBezTo>
                  <a:pt x="6302" y="693"/>
                  <a:pt x="6617" y="1008"/>
                  <a:pt x="6617" y="1418"/>
                </a:cubicBezTo>
                <a:cubicBezTo>
                  <a:pt x="6617" y="1796"/>
                  <a:pt x="6302" y="2111"/>
                  <a:pt x="5892" y="2111"/>
                </a:cubicBezTo>
                <a:cubicBezTo>
                  <a:pt x="5514" y="2111"/>
                  <a:pt x="5199" y="1796"/>
                  <a:pt x="5199" y="1418"/>
                </a:cubicBezTo>
                <a:cubicBezTo>
                  <a:pt x="5231" y="1008"/>
                  <a:pt x="5546" y="693"/>
                  <a:pt x="5892" y="693"/>
                </a:cubicBezTo>
                <a:close/>
                <a:moveTo>
                  <a:pt x="5892" y="2741"/>
                </a:moveTo>
                <a:cubicBezTo>
                  <a:pt x="6837" y="2741"/>
                  <a:pt x="7625" y="3529"/>
                  <a:pt x="7625" y="4505"/>
                </a:cubicBezTo>
                <a:lnTo>
                  <a:pt x="7625" y="5545"/>
                </a:lnTo>
                <a:lnTo>
                  <a:pt x="4159" y="5545"/>
                </a:lnTo>
                <a:lnTo>
                  <a:pt x="4159" y="4505"/>
                </a:lnTo>
                <a:cubicBezTo>
                  <a:pt x="4159" y="3529"/>
                  <a:pt x="4947" y="2741"/>
                  <a:pt x="5892" y="2741"/>
                </a:cubicBezTo>
                <a:close/>
                <a:moveTo>
                  <a:pt x="8381" y="5104"/>
                </a:moveTo>
                <a:cubicBezTo>
                  <a:pt x="9326" y="5356"/>
                  <a:pt x="9767" y="5703"/>
                  <a:pt x="9767" y="5892"/>
                </a:cubicBezTo>
                <a:cubicBezTo>
                  <a:pt x="9767" y="6238"/>
                  <a:pt x="8381" y="6931"/>
                  <a:pt x="5955" y="6931"/>
                </a:cubicBezTo>
                <a:cubicBezTo>
                  <a:pt x="5898" y="6932"/>
                  <a:pt x="5842" y="6932"/>
                  <a:pt x="5787" y="6932"/>
                </a:cubicBezTo>
                <a:cubicBezTo>
                  <a:pt x="3434" y="6932"/>
                  <a:pt x="2112" y="6292"/>
                  <a:pt x="2112" y="5892"/>
                </a:cubicBezTo>
                <a:cubicBezTo>
                  <a:pt x="2112" y="5703"/>
                  <a:pt x="2553" y="5388"/>
                  <a:pt x="3498" y="5104"/>
                </a:cubicBezTo>
                <a:lnTo>
                  <a:pt x="3498" y="5892"/>
                </a:lnTo>
                <a:cubicBezTo>
                  <a:pt x="3498" y="6081"/>
                  <a:pt x="3655" y="6238"/>
                  <a:pt x="3844" y="6238"/>
                </a:cubicBezTo>
                <a:lnTo>
                  <a:pt x="8034" y="6238"/>
                </a:lnTo>
                <a:cubicBezTo>
                  <a:pt x="8223" y="6238"/>
                  <a:pt x="8381" y="6081"/>
                  <a:pt x="8381" y="5892"/>
                </a:cubicBezTo>
                <a:lnTo>
                  <a:pt x="8381" y="5104"/>
                </a:lnTo>
                <a:close/>
                <a:moveTo>
                  <a:pt x="1765" y="10428"/>
                </a:moveTo>
                <a:cubicBezTo>
                  <a:pt x="2427" y="10428"/>
                  <a:pt x="2805" y="10680"/>
                  <a:pt x="2805" y="10775"/>
                </a:cubicBezTo>
                <a:cubicBezTo>
                  <a:pt x="2805" y="10869"/>
                  <a:pt x="2427" y="11121"/>
                  <a:pt x="1765" y="11121"/>
                </a:cubicBezTo>
                <a:cubicBezTo>
                  <a:pt x="1072" y="11121"/>
                  <a:pt x="694" y="10869"/>
                  <a:pt x="694" y="10775"/>
                </a:cubicBezTo>
                <a:cubicBezTo>
                  <a:pt x="694" y="10712"/>
                  <a:pt x="1072" y="10428"/>
                  <a:pt x="1765" y="10428"/>
                </a:cubicBezTo>
                <a:close/>
                <a:moveTo>
                  <a:pt x="5955" y="10428"/>
                </a:moveTo>
                <a:cubicBezTo>
                  <a:pt x="6617" y="10428"/>
                  <a:pt x="6963" y="10712"/>
                  <a:pt x="6963" y="10775"/>
                </a:cubicBezTo>
                <a:cubicBezTo>
                  <a:pt x="6963" y="10869"/>
                  <a:pt x="6617" y="11121"/>
                  <a:pt x="5955" y="11121"/>
                </a:cubicBezTo>
                <a:cubicBezTo>
                  <a:pt x="5262" y="11121"/>
                  <a:pt x="4915" y="10869"/>
                  <a:pt x="4915" y="10775"/>
                </a:cubicBezTo>
                <a:cubicBezTo>
                  <a:pt x="4915" y="10712"/>
                  <a:pt x="5262" y="10428"/>
                  <a:pt x="5955" y="10428"/>
                </a:cubicBezTo>
                <a:close/>
                <a:moveTo>
                  <a:pt x="10082" y="10428"/>
                </a:moveTo>
                <a:cubicBezTo>
                  <a:pt x="10775" y="10428"/>
                  <a:pt x="11153" y="10680"/>
                  <a:pt x="11153" y="10775"/>
                </a:cubicBezTo>
                <a:cubicBezTo>
                  <a:pt x="11153" y="10869"/>
                  <a:pt x="10775" y="11121"/>
                  <a:pt x="10082" y="11121"/>
                </a:cubicBezTo>
                <a:cubicBezTo>
                  <a:pt x="9421" y="11121"/>
                  <a:pt x="9043" y="10869"/>
                  <a:pt x="9043" y="10775"/>
                </a:cubicBezTo>
                <a:cubicBezTo>
                  <a:pt x="9043" y="10712"/>
                  <a:pt x="9421" y="10428"/>
                  <a:pt x="10082" y="10428"/>
                </a:cubicBezTo>
                <a:close/>
                <a:moveTo>
                  <a:pt x="5987" y="0"/>
                </a:moveTo>
                <a:cubicBezTo>
                  <a:pt x="5231" y="0"/>
                  <a:pt x="4600" y="630"/>
                  <a:pt x="4600" y="1355"/>
                </a:cubicBezTo>
                <a:cubicBezTo>
                  <a:pt x="4600" y="1733"/>
                  <a:pt x="4726" y="2016"/>
                  <a:pt x="4947" y="2300"/>
                </a:cubicBezTo>
                <a:cubicBezTo>
                  <a:pt x="4159" y="2710"/>
                  <a:pt x="3624" y="3497"/>
                  <a:pt x="3561" y="4442"/>
                </a:cubicBezTo>
                <a:cubicBezTo>
                  <a:pt x="2742" y="4631"/>
                  <a:pt x="1481" y="5072"/>
                  <a:pt x="1481" y="5923"/>
                </a:cubicBezTo>
                <a:cubicBezTo>
                  <a:pt x="1481" y="6679"/>
                  <a:pt x="2427" y="7120"/>
                  <a:pt x="3151" y="7309"/>
                </a:cubicBezTo>
                <a:lnTo>
                  <a:pt x="1954" y="9798"/>
                </a:lnTo>
                <a:lnTo>
                  <a:pt x="1828" y="9798"/>
                </a:lnTo>
                <a:cubicBezTo>
                  <a:pt x="851" y="9798"/>
                  <a:pt x="64" y="10239"/>
                  <a:pt x="64" y="10806"/>
                </a:cubicBezTo>
                <a:cubicBezTo>
                  <a:pt x="1" y="11373"/>
                  <a:pt x="725" y="11846"/>
                  <a:pt x="1765" y="11846"/>
                </a:cubicBezTo>
                <a:cubicBezTo>
                  <a:pt x="2679" y="11846"/>
                  <a:pt x="3498" y="11436"/>
                  <a:pt x="3498" y="10806"/>
                </a:cubicBezTo>
                <a:cubicBezTo>
                  <a:pt x="3498" y="10334"/>
                  <a:pt x="3057" y="10019"/>
                  <a:pt x="2584" y="9924"/>
                </a:cubicBezTo>
                <a:lnTo>
                  <a:pt x="3781" y="7498"/>
                </a:lnTo>
                <a:cubicBezTo>
                  <a:pt x="4317" y="7624"/>
                  <a:pt x="4947" y="7656"/>
                  <a:pt x="5577" y="7719"/>
                </a:cubicBezTo>
                <a:lnTo>
                  <a:pt x="5577" y="9830"/>
                </a:lnTo>
                <a:cubicBezTo>
                  <a:pt x="4947" y="9924"/>
                  <a:pt x="4222" y="10239"/>
                  <a:pt x="4222" y="10869"/>
                </a:cubicBezTo>
                <a:cubicBezTo>
                  <a:pt x="4222" y="11499"/>
                  <a:pt x="5041" y="11877"/>
                  <a:pt x="5955" y="11877"/>
                </a:cubicBezTo>
                <a:cubicBezTo>
                  <a:pt x="6837" y="11877"/>
                  <a:pt x="7688" y="11499"/>
                  <a:pt x="7688" y="10869"/>
                </a:cubicBezTo>
                <a:cubicBezTo>
                  <a:pt x="7688" y="10239"/>
                  <a:pt x="6932" y="9924"/>
                  <a:pt x="6302" y="9830"/>
                </a:cubicBezTo>
                <a:lnTo>
                  <a:pt x="6302" y="7719"/>
                </a:lnTo>
                <a:cubicBezTo>
                  <a:pt x="6932" y="7719"/>
                  <a:pt x="7562" y="7624"/>
                  <a:pt x="8097" y="7498"/>
                </a:cubicBezTo>
                <a:lnTo>
                  <a:pt x="9295" y="9924"/>
                </a:lnTo>
                <a:cubicBezTo>
                  <a:pt x="8822" y="10082"/>
                  <a:pt x="8381" y="10334"/>
                  <a:pt x="8381" y="10806"/>
                </a:cubicBezTo>
                <a:cubicBezTo>
                  <a:pt x="8381" y="11436"/>
                  <a:pt x="9200" y="11846"/>
                  <a:pt x="10114" y="11846"/>
                </a:cubicBezTo>
                <a:cubicBezTo>
                  <a:pt x="11090" y="11846"/>
                  <a:pt x="11878" y="11405"/>
                  <a:pt x="11878" y="10806"/>
                </a:cubicBezTo>
                <a:cubicBezTo>
                  <a:pt x="11878" y="10239"/>
                  <a:pt x="11153" y="9798"/>
                  <a:pt x="10114" y="9798"/>
                </a:cubicBezTo>
                <a:lnTo>
                  <a:pt x="9988" y="9798"/>
                </a:lnTo>
                <a:lnTo>
                  <a:pt x="8822" y="7309"/>
                </a:lnTo>
                <a:cubicBezTo>
                  <a:pt x="9515" y="7120"/>
                  <a:pt x="10460" y="6679"/>
                  <a:pt x="10460" y="5923"/>
                </a:cubicBezTo>
                <a:cubicBezTo>
                  <a:pt x="10460" y="5072"/>
                  <a:pt x="9200" y="4631"/>
                  <a:pt x="8381" y="4442"/>
                </a:cubicBezTo>
                <a:cubicBezTo>
                  <a:pt x="8350" y="3497"/>
                  <a:pt x="7782" y="2710"/>
                  <a:pt x="6995" y="2300"/>
                </a:cubicBezTo>
                <a:cubicBezTo>
                  <a:pt x="7247" y="2080"/>
                  <a:pt x="7341" y="1764"/>
                  <a:pt x="7341" y="1355"/>
                </a:cubicBezTo>
                <a:cubicBezTo>
                  <a:pt x="7341" y="630"/>
                  <a:pt x="6711" y="0"/>
                  <a:pt x="59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0" name="Google Shape;9800;p77"/>
          <p:cNvGrpSpPr/>
          <p:nvPr/>
        </p:nvGrpSpPr>
        <p:grpSpPr>
          <a:xfrm>
            <a:off x="4866386" y="2897963"/>
            <a:ext cx="349457" cy="348542"/>
            <a:chOff x="3599700" y="1954475"/>
            <a:chExt cx="296175" cy="295400"/>
          </a:xfrm>
        </p:grpSpPr>
        <p:sp>
          <p:nvSpPr>
            <p:cNvPr id="9801" name="Google Shape;9801;p77"/>
            <p:cNvSpPr/>
            <p:nvPr/>
          </p:nvSpPr>
          <p:spPr>
            <a:xfrm>
              <a:off x="3599700" y="1954475"/>
              <a:ext cx="296175" cy="295400"/>
            </a:xfrm>
            <a:custGeom>
              <a:avLst/>
              <a:gdLst/>
              <a:ahLst/>
              <a:cxnLst/>
              <a:rect l="l" t="t" r="r" b="b"/>
              <a:pathLst>
                <a:path w="11847" h="11816" extrusionOk="0">
                  <a:moveTo>
                    <a:pt x="3151" y="694"/>
                  </a:moveTo>
                  <a:cubicBezTo>
                    <a:pt x="3718" y="694"/>
                    <a:pt x="4159" y="1166"/>
                    <a:pt x="4159" y="1734"/>
                  </a:cubicBezTo>
                  <a:cubicBezTo>
                    <a:pt x="4159" y="2301"/>
                    <a:pt x="3686" y="2742"/>
                    <a:pt x="3151" y="2742"/>
                  </a:cubicBezTo>
                  <a:cubicBezTo>
                    <a:pt x="2584" y="2742"/>
                    <a:pt x="2111" y="2269"/>
                    <a:pt x="2111" y="1734"/>
                  </a:cubicBezTo>
                  <a:cubicBezTo>
                    <a:pt x="2080" y="1166"/>
                    <a:pt x="2552" y="694"/>
                    <a:pt x="3151" y="694"/>
                  </a:cubicBezTo>
                  <a:close/>
                  <a:moveTo>
                    <a:pt x="8727" y="694"/>
                  </a:moveTo>
                  <a:cubicBezTo>
                    <a:pt x="9326" y="694"/>
                    <a:pt x="9767" y="1166"/>
                    <a:pt x="9767" y="1734"/>
                  </a:cubicBezTo>
                  <a:cubicBezTo>
                    <a:pt x="9767" y="2301"/>
                    <a:pt x="9294" y="2742"/>
                    <a:pt x="8727" y="2742"/>
                  </a:cubicBezTo>
                  <a:cubicBezTo>
                    <a:pt x="8128" y="2742"/>
                    <a:pt x="7719" y="2269"/>
                    <a:pt x="7719" y="1734"/>
                  </a:cubicBezTo>
                  <a:cubicBezTo>
                    <a:pt x="7656" y="1166"/>
                    <a:pt x="8128" y="694"/>
                    <a:pt x="8727" y="694"/>
                  </a:cubicBezTo>
                  <a:close/>
                  <a:moveTo>
                    <a:pt x="5923" y="4852"/>
                  </a:moveTo>
                  <a:cubicBezTo>
                    <a:pt x="6522" y="4852"/>
                    <a:pt x="6994" y="5325"/>
                    <a:pt x="6994" y="5861"/>
                  </a:cubicBezTo>
                  <a:cubicBezTo>
                    <a:pt x="6994" y="6396"/>
                    <a:pt x="6522" y="6869"/>
                    <a:pt x="5923" y="6869"/>
                  </a:cubicBezTo>
                  <a:cubicBezTo>
                    <a:pt x="5356" y="6869"/>
                    <a:pt x="4883" y="6428"/>
                    <a:pt x="4883" y="5861"/>
                  </a:cubicBezTo>
                  <a:cubicBezTo>
                    <a:pt x="4883" y="5294"/>
                    <a:pt x="5356" y="4852"/>
                    <a:pt x="5923" y="4852"/>
                  </a:cubicBezTo>
                  <a:close/>
                  <a:moveTo>
                    <a:pt x="3151" y="3466"/>
                  </a:moveTo>
                  <a:cubicBezTo>
                    <a:pt x="3875" y="3466"/>
                    <a:pt x="4600" y="3813"/>
                    <a:pt x="5072" y="4380"/>
                  </a:cubicBezTo>
                  <a:cubicBezTo>
                    <a:pt x="4537" y="4695"/>
                    <a:pt x="4159" y="5231"/>
                    <a:pt x="4159" y="5861"/>
                  </a:cubicBezTo>
                  <a:cubicBezTo>
                    <a:pt x="4159" y="6239"/>
                    <a:pt x="4285" y="6617"/>
                    <a:pt x="4505" y="6900"/>
                  </a:cubicBezTo>
                  <a:lnTo>
                    <a:pt x="693" y="6900"/>
                  </a:lnTo>
                  <a:lnTo>
                    <a:pt x="693" y="5892"/>
                  </a:lnTo>
                  <a:cubicBezTo>
                    <a:pt x="693" y="4569"/>
                    <a:pt x="1796" y="3466"/>
                    <a:pt x="3151" y="3466"/>
                  </a:cubicBezTo>
                  <a:close/>
                  <a:moveTo>
                    <a:pt x="8696" y="3498"/>
                  </a:moveTo>
                  <a:cubicBezTo>
                    <a:pt x="10019" y="3498"/>
                    <a:pt x="11121" y="4600"/>
                    <a:pt x="11121" y="5955"/>
                  </a:cubicBezTo>
                  <a:lnTo>
                    <a:pt x="11121" y="6932"/>
                  </a:lnTo>
                  <a:lnTo>
                    <a:pt x="7309" y="6932"/>
                  </a:lnTo>
                  <a:cubicBezTo>
                    <a:pt x="7561" y="6617"/>
                    <a:pt x="7656" y="6270"/>
                    <a:pt x="7656" y="5892"/>
                  </a:cubicBezTo>
                  <a:cubicBezTo>
                    <a:pt x="7656" y="5262"/>
                    <a:pt x="7309" y="4726"/>
                    <a:pt x="6774" y="4411"/>
                  </a:cubicBezTo>
                  <a:cubicBezTo>
                    <a:pt x="7215" y="3813"/>
                    <a:pt x="7939" y="3498"/>
                    <a:pt x="8696" y="3498"/>
                  </a:cubicBezTo>
                  <a:close/>
                  <a:moveTo>
                    <a:pt x="5923" y="7625"/>
                  </a:moveTo>
                  <a:cubicBezTo>
                    <a:pt x="6207" y="7625"/>
                    <a:pt x="6490" y="7656"/>
                    <a:pt x="6711" y="7751"/>
                  </a:cubicBezTo>
                  <a:lnTo>
                    <a:pt x="5923" y="8791"/>
                  </a:lnTo>
                  <a:lnTo>
                    <a:pt x="5135" y="7751"/>
                  </a:lnTo>
                  <a:cubicBezTo>
                    <a:pt x="5388" y="7688"/>
                    <a:pt x="5671" y="7625"/>
                    <a:pt x="5923" y="7625"/>
                  </a:cubicBezTo>
                  <a:close/>
                  <a:moveTo>
                    <a:pt x="4505" y="8066"/>
                  </a:moveTo>
                  <a:lnTo>
                    <a:pt x="5577" y="9484"/>
                  </a:lnTo>
                  <a:lnTo>
                    <a:pt x="5577" y="11153"/>
                  </a:lnTo>
                  <a:lnTo>
                    <a:pt x="3497" y="11153"/>
                  </a:lnTo>
                  <a:lnTo>
                    <a:pt x="3497" y="10019"/>
                  </a:lnTo>
                  <a:cubicBezTo>
                    <a:pt x="3497" y="9200"/>
                    <a:pt x="3875" y="8507"/>
                    <a:pt x="4505" y="8066"/>
                  </a:cubicBezTo>
                  <a:close/>
                  <a:moveTo>
                    <a:pt x="7341" y="8066"/>
                  </a:moveTo>
                  <a:cubicBezTo>
                    <a:pt x="7939" y="8507"/>
                    <a:pt x="8381" y="9263"/>
                    <a:pt x="8381" y="10051"/>
                  </a:cubicBezTo>
                  <a:lnTo>
                    <a:pt x="8381" y="11153"/>
                  </a:lnTo>
                  <a:lnTo>
                    <a:pt x="6301" y="11153"/>
                  </a:lnTo>
                  <a:lnTo>
                    <a:pt x="6301" y="9484"/>
                  </a:lnTo>
                  <a:lnTo>
                    <a:pt x="7341" y="8066"/>
                  </a:lnTo>
                  <a:close/>
                  <a:moveTo>
                    <a:pt x="3088" y="1"/>
                  </a:moveTo>
                  <a:cubicBezTo>
                    <a:pt x="2143" y="1"/>
                    <a:pt x="1355" y="788"/>
                    <a:pt x="1355" y="1734"/>
                  </a:cubicBezTo>
                  <a:cubicBezTo>
                    <a:pt x="1355" y="2238"/>
                    <a:pt x="1575" y="2679"/>
                    <a:pt x="1922" y="2994"/>
                  </a:cubicBezTo>
                  <a:cubicBezTo>
                    <a:pt x="788" y="3466"/>
                    <a:pt x="0" y="4569"/>
                    <a:pt x="0" y="5861"/>
                  </a:cubicBezTo>
                  <a:lnTo>
                    <a:pt x="0" y="7247"/>
                  </a:lnTo>
                  <a:cubicBezTo>
                    <a:pt x="0" y="7436"/>
                    <a:pt x="158" y="7593"/>
                    <a:pt x="347" y="7593"/>
                  </a:cubicBezTo>
                  <a:lnTo>
                    <a:pt x="3938" y="7593"/>
                  </a:lnTo>
                  <a:cubicBezTo>
                    <a:pt x="3214" y="8192"/>
                    <a:pt x="2741" y="9043"/>
                    <a:pt x="2741" y="10019"/>
                  </a:cubicBezTo>
                  <a:lnTo>
                    <a:pt x="2741" y="11437"/>
                  </a:lnTo>
                  <a:cubicBezTo>
                    <a:pt x="2741" y="11658"/>
                    <a:pt x="2899" y="11815"/>
                    <a:pt x="3088" y="11815"/>
                  </a:cubicBezTo>
                  <a:lnTo>
                    <a:pt x="8696" y="11815"/>
                  </a:lnTo>
                  <a:cubicBezTo>
                    <a:pt x="8885" y="11815"/>
                    <a:pt x="9042" y="11658"/>
                    <a:pt x="9042" y="11437"/>
                  </a:cubicBezTo>
                  <a:lnTo>
                    <a:pt x="9042" y="10019"/>
                  </a:lnTo>
                  <a:cubicBezTo>
                    <a:pt x="9042" y="9043"/>
                    <a:pt x="8570" y="8192"/>
                    <a:pt x="7876" y="7593"/>
                  </a:cubicBezTo>
                  <a:lnTo>
                    <a:pt x="11436" y="7593"/>
                  </a:lnTo>
                  <a:cubicBezTo>
                    <a:pt x="11657" y="7593"/>
                    <a:pt x="11815" y="7436"/>
                    <a:pt x="11815" y="7247"/>
                  </a:cubicBezTo>
                  <a:lnTo>
                    <a:pt x="11815" y="5861"/>
                  </a:lnTo>
                  <a:cubicBezTo>
                    <a:pt x="11846" y="4600"/>
                    <a:pt x="11027" y="3466"/>
                    <a:pt x="9861" y="2994"/>
                  </a:cubicBezTo>
                  <a:cubicBezTo>
                    <a:pt x="10239" y="2679"/>
                    <a:pt x="10428" y="2206"/>
                    <a:pt x="10428" y="1734"/>
                  </a:cubicBezTo>
                  <a:cubicBezTo>
                    <a:pt x="10428" y="788"/>
                    <a:pt x="9641" y="1"/>
                    <a:pt x="8696" y="1"/>
                  </a:cubicBezTo>
                  <a:cubicBezTo>
                    <a:pt x="7750" y="1"/>
                    <a:pt x="6963" y="788"/>
                    <a:pt x="6963" y="1734"/>
                  </a:cubicBezTo>
                  <a:cubicBezTo>
                    <a:pt x="6963" y="2238"/>
                    <a:pt x="7152" y="2679"/>
                    <a:pt x="7498" y="2994"/>
                  </a:cubicBezTo>
                  <a:cubicBezTo>
                    <a:pt x="6931" y="3214"/>
                    <a:pt x="6396" y="3624"/>
                    <a:pt x="6049" y="4159"/>
                  </a:cubicBezTo>
                  <a:lnTo>
                    <a:pt x="5734" y="4159"/>
                  </a:lnTo>
                  <a:cubicBezTo>
                    <a:pt x="5388" y="3655"/>
                    <a:pt x="4883" y="3214"/>
                    <a:pt x="4285" y="2994"/>
                  </a:cubicBezTo>
                  <a:cubicBezTo>
                    <a:pt x="4631" y="2679"/>
                    <a:pt x="4820" y="2238"/>
                    <a:pt x="4820" y="1734"/>
                  </a:cubicBezTo>
                  <a:cubicBezTo>
                    <a:pt x="4820" y="788"/>
                    <a:pt x="4033"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2" name="Google Shape;9802;p77"/>
            <p:cNvSpPr/>
            <p:nvPr/>
          </p:nvSpPr>
          <p:spPr>
            <a:xfrm>
              <a:off x="3825750" y="2075775"/>
              <a:ext cx="35450" cy="17350"/>
            </a:xfrm>
            <a:custGeom>
              <a:avLst/>
              <a:gdLst/>
              <a:ahLst/>
              <a:cxnLst/>
              <a:rect l="l" t="t" r="r" b="b"/>
              <a:pathLst>
                <a:path w="1418" h="694" extrusionOk="0">
                  <a:moveTo>
                    <a:pt x="347" y="0"/>
                  </a:moveTo>
                  <a:cubicBezTo>
                    <a:pt x="158" y="0"/>
                    <a:pt x="0" y="158"/>
                    <a:pt x="0" y="347"/>
                  </a:cubicBezTo>
                  <a:cubicBezTo>
                    <a:pt x="0" y="536"/>
                    <a:pt x="158" y="694"/>
                    <a:pt x="347"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3" name="Google Shape;9803;p77"/>
            <p:cNvSpPr/>
            <p:nvPr/>
          </p:nvSpPr>
          <p:spPr>
            <a:xfrm>
              <a:off x="3633550" y="2075775"/>
              <a:ext cx="35475" cy="17350"/>
            </a:xfrm>
            <a:custGeom>
              <a:avLst/>
              <a:gdLst/>
              <a:ahLst/>
              <a:cxnLst/>
              <a:rect l="l" t="t" r="r" b="b"/>
              <a:pathLst>
                <a:path w="1419" h="694" extrusionOk="0">
                  <a:moveTo>
                    <a:pt x="379" y="0"/>
                  </a:moveTo>
                  <a:cubicBezTo>
                    <a:pt x="158" y="0"/>
                    <a:pt x="1" y="158"/>
                    <a:pt x="1" y="347"/>
                  </a:cubicBezTo>
                  <a:cubicBezTo>
                    <a:pt x="1" y="536"/>
                    <a:pt x="158" y="694"/>
                    <a:pt x="379" y="694"/>
                  </a:cubicBezTo>
                  <a:lnTo>
                    <a:pt x="1072" y="694"/>
                  </a:lnTo>
                  <a:cubicBezTo>
                    <a:pt x="1261" y="694"/>
                    <a:pt x="1419" y="536"/>
                    <a:pt x="1419" y="347"/>
                  </a:cubicBezTo>
                  <a:cubicBezTo>
                    <a:pt x="1419"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04" name="Google Shape;9804;p77"/>
          <p:cNvGrpSpPr/>
          <p:nvPr/>
        </p:nvGrpSpPr>
        <p:grpSpPr>
          <a:xfrm>
            <a:off x="4867316" y="3387426"/>
            <a:ext cx="347599" cy="347599"/>
            <a:chOff x="3601275" y="2319150"/>
            <a:chExt cx="294600" cy="294600"/>
          </a:xfrm>
        </p:grpSpPr>
        <p:sp>
          <p:nvSpPr>
            <p:cNvPr id="9805" name="Google Shape;9805;p77"/>
            <p:cNvSpPr/>
            <p:nvPr/>
          </p:nvSpPr>
          <p:spPr>
            <a:xfrm>
              <a:off x="3601275" y="2319150"/>
              <a:ext cx="294600" cy="294600"/>
            </a:xfrm>
            <a:custGeom>
              <a:avLst/>
              <a:gdLst/>
              <a:ahLst/>
              <a:cxnLst/>
              <a:rect l="l" t="t" r="r" b="b"/>
              <a:pathLst>
                <a:path w="11784" h="11784" extrusionOk="0">
                  <a:moveTo>
                    <a:pt x="8223" y="694"/>
                  </a:moveTo>
                  <a:cubicBezTo>
                    <a:pt x="8696" y="725"/>
                    <a:pt x="9168" y="914"/>
                    <a:pt x="9546" y="1198"/>
                  </a:cubicBezTo>
                  <a:lnTo>
                    <a:pt x="7057" y="3687"/>
                  </a:lnTo>
                  <a:cubicBezTo>
                    <a:pt x="6774" y="3498"/>
                    <a:pt x="6459" y="3340"/>
                    <a:pt x="6144" y="3245"/>
                  </a:cubicBezTo>
                  <a:lnTo>
                    <a:pt x="8223" y="694"/>
                  </a:lnTo>
                  <a:close/>
                  <a:moveTo>
                    <a:pt x="10523" y="1198"/>
                  </a:moveTo>
                  <a:cubicBezTo>
                    <a:pt x="10838" y="1576"/>
                    <a:pt x="11027" y="2111"/>
                    <a:pt x="11027" y="2615"/>
                  </a:cubicBezTo>
                  <a:lnTo>
                    <a:pt x="8286" y="4852"/>
                  </a:lnTo>
                  <a:lnTo>
                    <a:pt x="7561" y="4159"/>
                  </a:lnTo>
                  <a:lnTo>
                    <a:pt x="10523" y="1198"/>
                  </a:lnTo>
                  <a:close/>
                  <a:moveTo>
                    <a:pt x="5592" y="3923"/>
                  </a:moveTo>
                  <a:cubicBezTo>
                    <a:pt x="6033" y="3923"/>
                    <a:pt x="6474" y="4096"/>
                    <a:pt x="6805" y="4443"/>
                  </a:cubicBezTo>
                  <a:cubicBezTo>
                    <a:pt x="7498" y="5104"/>
                    <a:pt x="7498" y="6207"/>
                    <a:pt x="6805" y="6869"/>
                  </a:cubicBezTo>
                  <a:cubicBezTo>
                    <a:pt x="6474" y="7199"/>
                    <a:pt x="6033" y="7365"/>
                    <a:pt x="5592" y="7365"/>
                  </a:cubicBezTo>
                  <a:cubicBezTo>
                    <a:pt x="5151" y="7365"/>
                    <a:pt x="4710" y="7199"/>
                    <a:pt x="4379" y="6869"/>
                  </a:cubicBezTo>
                  <a:cubicBezTo>
                    <a:pt x="3718" y="6207"/>
                    <a:pt x="3718" y="5104"/>
                    <a:pt x="4379" y="4443"/>
                  </a:cubicBezTo>
                  <a:cubicBezTo>
                    <a:pt x="4710" y="4096"/>
                    <a:pt x="5151" y="3923"/>
                    <a:pt x="5592" y="3923"/>
                  </a:cubicBezTo>
                  <a:close/>
                  <a:moveTo>
                    <a:pt x="8034" y="5577"/>
                  </a:moveTo>
                  <a:lnTo>
                    <a:pt x="8191" y="5734"/>
                  </a:lnTo>
                  <a:cubicBezTo>
                    <a:pt x="8696" y="6270"/>
                    <a:pt x="9326" y="6742"/>
                    <a:pt x="10019" y="7058"/>
                  </a:cubicBezTo>
                  <a:lnTo>
                    <a:pt x="9420" y="7278"/>
                  </a:lnTo>
                  <a:cubicBezTo>
                    <a:pt x="9263" y="7310"/>
                    <a:pt x="9168" y="7467"/>
                    <a:pt x="9168" y="7593"/>
                  </a:cubicBezTo>
                  <a:lnTo>
                    <a:pt x="9168" y="8066"/>
                  </a:lnTo>
                  <a:cubicBezTo>
                    <a:pt x="8601" y="7814"/>
                    <a:pt x="8034" y="7467"/>
                    <a:pt x="7561" y="7058"/>
                  </a:cubicBezTo>
                  <a:cubicBezTo>
                    <a:pt x="7876" y="6648"/>
                    <a:pt x="8034" y="6175"/>
                    <a:pt x="8034" y="5608"/>
                  </a:cubicBezTo>
                  <a:lnTo>
                    <a:pt x="8034" y="5577"/>
                  </a:lnTo>
                  <a:close/>
                  <a:moveTo>
                    <a:pt x="3245" y="6081"/>
                  </a:moveTo>
                  <a:cubicBezTo>
                    <a:pt x="3308" y="6427"/>
                    <a:pt x="3466" y="6806"/>
                    <a:pt x="3655" y="7058"/>
                  </a:cubicBezTo>
                  <a:lnTo>
                    <a:pt x="1197" y="9546"/>
                  </a:lnTo>
                  <a:cubicBezTo>
                    <a:pt x="882" y="9200"/>
                    <a:pt x="662" y="8696"/>
                    <a:pt x="630" y="8160"/>
                  </a:cubicBezTo>
                  <a:lnTo>
                    <a:pt x="3245" y="6081"/>
                  </a:lnTo>
                  <a:close/>
                  <a:moveTo>
                    <a:pt x="7057" y="7593"/>
                  </a:moveTo>
                  <a:cubicBezTo>
                    <a:pt x="7435" y="8066"/>
                    <a:pt x="7813" y="8601"/>
                    <a:pt x="8034" y="9200"/>
                  </a:cubicBezTo>
                  <a:lnTo>
                    <a:pt x="7561" y="9200"/>
                  </a:lnTo>
                  <a:cubicBezTo>
                    <a:pt x="7404" y="9200"/>
                    <a:pt x="7278" y="9263"/>
                    <a:pt x="7246" y="9420"/>
                  </a:cubicBezTo>
                  <a:lnTo>
                    <a:pt x="7057" y="10019"/>
                  </a:lnTo>
                  <a:cubicBezTo>
                    <a:pt x="6742" y="9357"/>
                    <a:pt x="6270" y="8727"/>
                    <a:pt x="5766" y="8223"/>
                  </a:cubicBezTo>
                  <a:lnTo>
                    <a:pt x="5608" y="8066"/>
                  </a:lnTo>
                  <a:lnTo>
                    <a:pt x="5640" y="8066"/>
                  </a:lnTo>
                  <a:cubicBezTo>
                    <a:pt x="6144" y="8066"/>
                    <a:pt x="6648" y="7877"/>
                    <a:pt x="7057" y="7593"/>
                  </a:cubicBezTo>
                  <a:close/>
                  <a:moveTo>
                    <a:pt x="4096" y="7625"/>
                  </a:moveTo>
                  <a:lnTo>
                    <a:pt x="4820" y="8318"/>
                  </a:lnTo>
                  <a:lnTo>
                    <a:pt x="2552" y="11090"/>
                  </a:lnTo>
                  <a:cubicBezTo>
                    <a:pt x="2048" y="11059"/>
                    <a:pt x="1575" y="10901"/>
                    <a:pt x="1134" y="10586"/>
                  </a:cubicBezTo>
                  <a:lnTo>
                    <a:pt x="4096" y="7625"/>
                  </a:lnTo>
                  <a:close/>
                  <a:moveTo>
                    <a:pt x="8160" y="0"/>
                  </a:moveTo>
                  <a:cubicBezTo>
                    <a:pt x="8034" y="0"/>
                    <a:pt x="7971" y="63"/>
                    <a:pt x="7876" y="126"/>
                  </a:cubicBezTo>
                  <a:lnTo>
                    <a:pt x="5356" y="3245"/>
                  </a:lnTo>
                  <a:cubicBezTo>
                    <a:pt x="4852" y="3308"/>
                    <a:pt x="4348" y="3529"/>
                    <a:pt x="3938" y="3970"/>
                  </a:cubicBezTo>
                  <a:cubicBezTo>
                    <a:pt x="3592" y="4317"/>
                    <a:pt x="3340" y="4758"/>
                    <a:pt x="3277" y="5262"/>
                  </a:cubicBezTo>
                  <a:lnTo>
                    <a:pt x="126" y="7782"/>
                  </a:lnTo>
                  <a:cubicBezTo>
                    <a:pt x="32" y="7845"/>
                    <a:pt x="0" y="7940"/>
                    <a:pt x="0" y="8066"/>
                  </a:cubicBezTo>
                  <a:cubicBezTo>
                    <a:pt x="0" y="8790"/>
                    <a:pt x="284" y="9546"/>
                    <a:pt x="756" y="10114"/>
                  </a:cubicBezTo>
                  <a:lnTo>
                    <a:pt x="473" y="10366"/>
                  </a:lnTo>
                  <a:cubicBezTo>
                    <a:pt x="410" y="10460"/>
                    <a:pt x="347" y="10523"/>
                    <a:pt x="347" y="10618"/>
                  </a:cubicBezTo>
                  <a:cubicBezTo>
                    <a:pt x="347" y="10681"/>
                    <a:pt x="410" y="10807"/>
                    <a:pt x="473" y="10838"/>
                  </a:cubicBezTo>
                  <a:cubicBezTo>
                    <a:pt x="1103" y="11468"/>
                    <a:pt x="1922" y="11783"/>
                    <a:pt x="2804" y="11783"/>
                  </a:cubicBezTo>
                  <a:cubicBezTo>
                    <a:pt x="2930" y="11783"/>
                    <a:pt x="2993" y="11752"/>
                    <a:pt x="3088" y="11657"/>
                  </a:cubicBezTo>
                  <a:lnTo>
                    <a:pt x="5388" y="8790"/>
                  </a:lnTo>
                  <a:cubicBezTo>
                    <a:pt x="6018" y="9452"/>
                    <a:pt x="6553" y="10303"/>
                    <a:pt x="6805" y="11153"/>
                  </a:cubicBezTo>
                  <a:cubicBezTo>
                    <a:pt x="6868" y="11311"/>
                    <a:pt x="7026" y="11405"/>
                    <a:pt x="7120" y="11405"/>
                  </a:cubicBezTo>
                  <a:cubicBezTo>
                    <a:pt x="7278" y="11405"/>
                    <a:pt x="7404" y="11311"/>
                    <a:pt x="7435" y="11153"/>
                  </a:cubicBezTo>
                  <a:lnTo>
                    <a:pt x="7845" y="9924"/>
                  </a:lnTo>
                  <a:lnTo>
                    <a:pt x="8601" y="9924"/>
                  </a:lnTo>
                  <a:cubicBezTo>
                    <a:pt x="8696" y="9924"/>
                    <a:pt x="8790" y="9893"/>
                    <a:pt x="8853" y="9767"/>
                  </a:cubicBezTo>
                  <a:cubicBezTo>
                    <a:pt x="8948" y="9704"/>
                    <a:pt x="8948" y="9578"/>
                    <a:pt x="8916" y="9452"/>
                  </a:cubicBezTo>
                  <a:cubicBezTo>
                    <a:pt x="8790" y="9137"/>
                    <a:pt x="8664" y="8822"/>
                    <a:pt x="8507" y="8507"/>
                  </a:cubicBezTo>
                  <a:lnTo>
                    <a:pt x="8507" y="8507"/>
                  </a:lnTo>
                  <a:cubicBezTo>
                    <a:pt x="8822" y="8664"/>
                    <a:pt x="9137" y="8790"/>
                    <a:pt x="9452" y="8916"/>
                  </a:cubicBezTo>
                  <a:cubicBezTo>
                    <a:pt x="9489" y="8926"/>
                    <a:pt x="9526" y="8929"/>
                    <a:pt x="9561" y="8929"/>
                  </a:cubicBezTo>
                  <a:cubicBezTo>
                    <a:pt x="9646" y="8929"/>
                    <a:pt x="9722" y="8907"/>
                    <a:pt x="9767" y="8885"/>
                  </a:cubicBezTo>
                  <a:cubicBezTo>
                    <a:pt x="9861" y="8790"/>
                    <a:pt x="9924" y="8727"/>
                    <a:pt x="9924" y="8601"/>
                  </a:cubicBezTo>
                  <a:lnTo>
                    <a:pt x="9924" y="7845"/>
                  </a:lnTo>
                  <a:lnTo>
                    <a:pt x="11153" y="7467"/>
                  </a:lnTo>
                  <a:cubicBezTo>
                    <a:pt x="11310" y="7404"/>
                    <a:pt x="11373" y="7247"/>
                    <a:pt x="11373" y="7152"/>
                  </a:cubicBezTo>
                  <a:cubicBezTo>
                    <a:pt x="11373" y="6995"/>
                    <a:pt x="11310" y="6869"/>
                    <a:pt x="11153" y="6837"/>
                  </a:cubicBezTo>
                  <a:cubicBezTo>
                    <a:pt x="10271" y="6553"/>
                    <a:pt x="9452" y="6049"/>
                    <a:pt x="8790" y="5419"/>
                  </a:cubicBezTo>
                  <a:lnTo>
                    <a:pt x="11657" y="3088"/>
                  </a:lnTo>
                  <a:cubicBezTo>
                    <a:pt x="11689" y="2962"/>
                    <a:pt x="11783" y="2867"/>
                    <a:pt x="11783" y="2773"/>
                  </a:cubicBezTo>
                  <a:cubicBezTo>
                    <a:pt x="11783" y="1922"/>
                    <a:pt x="11436" y="1072"/>
                    <a:pt x="10838" y="442"/>
                  </a:cubicBezTo>
                  <a:cubicBezTo>
                    <a:pt x="10775" y="379"/>
                    <a:pt x="10688" y="347"/>
                    <a:pt x="10602" y="347"/>
                  </a:cubicBezTo>
                  <a:cubicBezTo>
                    <a:pt x="10515" y="347"/>
                    <a:pt x="10428" y="379"/>
                    <a:pt x="10365" y="442"/>
                  </a:cubicBezTo>
                  <a:lnTo>
                    <a:pt x="10082" y="725"/>
                  </a:lnTo>
                  <a:cubicBezTo>
                    <a:pt x="9546" y="284"/>
                    <a:pt x="8853" y="0"/>
                    <a:pt x="81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6" name="Google Shape;9806;p77"/>
            <p:cNvSpPr/>
            <p:nvPr/>
          </p:nvSpPr>
          <p:spPr>
            <a:xfrm>
              <a:off x="3713900" y="2434350"/>
              <a:ext cx="55950" cy="52200"/>
            </a:xfrm>
            <a:custGeom>
              <a:avLst/>
              <a:gdLst/>
              <a:ahLst/>
              <a:cxnLst/>
              <a:rect l="l" t="t" r="r" b="b"/>
              <a:pathLst>
                <a:path w="2238" h="2088" extrusionOk="0">
                  <a:moveTo>
                    <a:pt x="1087" y="685"/>
                  </a:moveTo>
                  <a:cubicBezTo>
                    <a:pt x="1174" y="685"/>
                    <a:pt x="1261" y="717"/>
                    <a:pt x="1324" y="780"/>
                  </a:cubicBezTo>
                  <a:cubicBezTo>
                    <a:pt x="1450" y="874"/>
                    <a:pt x="1450" y="1126"/>
                    <a:pt x="1324" y="1252"/>
                  </a:cubicBezTo>
                  <a:cubicBezTo>
                    <a:pt x="1261" y="1300"/>
                    <a:pt x="1174" y="1323"/>
                    <a:pt x="1087" y="1323"/>
                  </a:cubicBezTo>
                  <a:cubicBezTo>
                    <a:pt x="1001" y="1323"/>
                    <a:pt x="914" y="1300"/>
                    <a:pt x="851" y="1252"/>
                  </a:cubicBezTo>
                  <a:cubicBezTo>
                    <a:pt x="725" y="1126"/>
                    <a:pt x="725" y="937"/>
                    <a:pt x="851" y="780"/>
                  </a:cubicBezTo>
                  <a:cubicBezTo>
                    <a:pt x="914" y="717"/>
                    <a:pt x="1001" y="685"/>
                    <a:pt x="1087" y="685"/>
                  </a:cubicBezTo>
                  <a:close/>
                  <a:moveTo>
                    <a:pt x="1115" y="0"/>
                  </a:moveTo>
                  <a:cubicBezTo>
                    <a:pt x="851" y="0"/>
                    <a:pt x="583" y="102"/>
                    <a:pt x="378" y="307"/>
                  </a:cubicBezTo>
                  <a:cubicBezTo>
                    <a:pt x="0" y="685"/>
                    <a:pt x="0" y="1347"/>
                    <a:pt x="378" y="1756"/>
                  </a:cubicBezTo>
                  <a:cubicBezTo>
                    <a:pt x="583" y="1977"/>
                    <a:pt x="851" y="2087"/>
                    <a:pt x="1115" y="2087"/>
                  </a:cubicBezTo>
                  <a:cubicBezTo>
                    <a:pt x="1379" y="2087"/>
                    <a:pt x="1639" y="1977"/>
                    <a:pt x="1828" y="1756"/>
                  </a:cubicBezTo>
                  <a:cubicBezTo>
                    <a:pt x="2237" y="1347"/>
                    <a:pt x="2237" y="685"/>
                    <a:pt x="1828" y="307"/>
                  </a:cubicBezTo>
                  <a:cubicBezTo>
                    <a:pt x="1639" y="102"/>
                    <a:pt x="1379" y="0"/>
                    <a:pt x="11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07" name="Google Shape;9807;p77"/>
          <p:cNvSpPr/>
          <p:nvPr/>
        </p:nvSpPr>
        <p:spPr>
          <a:xfrm>
            <a:off x="4866749" y="3836225"/>
            <a:ext cx="348542" cy="348513"/>
          </a:xfrm>
          <a:custGeom>
            <a:avLst/>
            <a:gdLst/>
            <a:ahLst/>
            <a:cxnLst/>
            <a:rect l="l" t="t" r="r" b="b"/>
            <a:pathLst>
              <a:path w="11816" h="11815" extrusionOk="0">
                <a:moveTo>
                  <a:pt x="6207" y="693"/>
                </a:moveTo>
                <a:cubicBezTo>
                  <a:pt x="7877" y="819"/>
                  <a:pt x="9326" y="1670"/>
                  <a:pt x="10208" y="2993"/>
                </a:cubicBezTo>
                <a:lnTo>
                  <a:pt x="6207" y="5293"/>
                </a:lnTo>
                <a:lnTo>
                  <a:pt x="6207" y="693"/>
                </a:lnTo>
                <a:close/>
                <a:moveTo>
                  <a:pt x="10555" y="3623"/>
                </a:moveTo>
                <a:cubicBezTo>
                  <a:pt x="10901" y="4316"/>
                  <a:pt x="11090" y="5104"/>
                  <a:pt x="11090" y="5923"/>
                </a:cubicBezTo>
                <a:cubicBezTo>
                  <a:pt x="11090" y="7026"/>
                  <a:pt x="10744" y="8097"/>
                  <a:pt x="10114" y="8979"/>
                </a:cubicBezTo>
                <a:lnTo>
                  <a:pt x="6491" y="5986"/>
                </a:lnTo>
                <a:lnTo>
                  <a:pt x="10555" y="3623"/>
                </a:lnTo>
                <a:close/>
                <a:moveTo>
                  <a:pt x="5546" y="693"/>
                </a:moveTo>
                <a:lnTo>
                  <a:pt x="5546" y="5892"/>
                </a:lnTo>
                <a:cubicBezTo>
                  <a:pt x="5546" y="6018"/>
                  <a:pt x="5577" y="6081"/>
                  <a:pt x="5672" y="6175"/>
                </a:cubicBezTo>
                <a:lnTo>
                  <a:pt x="9673" y="9483"/>
                </a:lnTo>
                <a:cubicBezTo>
                  <a:pt x="8728" y="10491"/>
                  <a:pt x="7373" y="11121"/>
                  <a:pt x="5892" y="11121"/>
                </a:cubicBezTo>
                <a:cubicBezTo>
                  <a:pt x="3025" y="11121"/>
                  <a:pt x="662" y="8822"/>
                  <a:pt x="662" y="5892"/>
                </a:cubicBezTo>
                <a:cubicBezTo>
                  <a:pt x="662" y="3151"/>
                  <a:pt x="2836" y="851"/>
                  <a:pt x="5546" y="693"/>
                </a:cubicBezTo>
                <a:close/>
                <a:moveTo>
                  <a:pt x="5892" y="0"/>
                </a:moveTo>
                <a:cubicBezTo>
                  <a:pt x="2647" y="0"/>
                  <a:pt x="1" y="2615"/>
                  <a:pt x="1" y="5892"/>
                </a:cubicBezTo>
                <a:cubicBezTo>
                  <a:pt x="1" y="9168"/>
                  <a:pt x="2647" y="11814"/>
                  <a:pt x="5892" y="11814"/>
                </a:cubicBezTo>
                <a:cubicBezTo>
                  <a:pt x="9169" y="11814"/>
                  <a:pt x="11815" y="9168"/>
                  <a:pt x="11815" y="5892"/>
                </a:cubicBezTo>
                <a:cubicBezTo>
                  <a:pt x="11815" y="2678"/>
                  <a:pt x="9137"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8" name="Google Shape;9808;p77"/>
          <p:cNvGrpSpPr/>
          <p:nvPr/>
        </p:nvGrpSpPr>
        <p:grpSpPr>
          <a:xfrm>
            <a:off x="7087019" y="2897521"/>
            <a:ext cx="328071" cy="349427"/>
            <a:chOff x="5421475" y="1945825"/>
            <a:chExt cx="278050" cy="296150"/>
          </a:xfrm>
        </p:grpSpPr>
        <p:sp>
          <p:nvSpPr>
            <p:cNvPr id="9809" name="Google Shape;9809;p77"/>
            <p:cNvSpPr/>
            <p:nvPr/>
          </p:nvSpPr>
          <p:spPr>
            <a:xfrm>
              <a:off x="5472650" y="1999375"/>
              <a:ext cx="172525" cy="242600"/>
            </a:xfrm>
            <a:custGeom>
              <a:avLst/>
              <a:gdLst/>
              <a:ahLst/>
              <a:cxnLst/>
              <a:rect l="l" t="t" r="r" b="b"/>
              <a:pathLst>
                <a:path w="6901" h="9704" extrusionOk="0">
                  <a:moveTo>
                    <a:pt x="1765" y="1355"/>
                  </a:moveTo>
                  <a:cubicBezTo>
                    <a:pt x="1986" y="1355"/>
                    <a:pt x="2143" y="1513"/>
                    <a:pt x="2143" y="1702"/>
                  </a:cubicBezTo>
                  <a:lnTo>
                    <a:pt x="2143" y="2048"/>
                  </a:lnTo>
                  <a:lnTo>
                    <a:pt x="1765" y="2048"/>
                  </a:lnTo>
                  <a:cubicBezTo>
                    <a:pt x="1671" y="2048"/>
                    <a:pt x="1545" y="2048"/>
                    <a:pt x="1419" y="2111"/>
                  </a:cubicBezTo>
                  <a:lnTo>
                    <a:pt x="1419" y="1702"/>
                  </a:lnTo>
                  <a:cubicBezTo>
                    <a:pt x="1419" y="1513"/>
                    <a:pt x="1576" y="1355"/>
                    <a:pt x="1765" y="1355"/>
                  </a:cubicBezTo>
                  <a:close/>
                  <a:moveTo>
                    <a:pt x="3151" y="631"/>
                  </a:moveTo>
                  <a:cubicBezTo>
                    <a:pt x="3341" y="631"/>
                    <a:pt x="3498" y="788"/>
                    <a:pt x="3498" y="1009"/>
                  </a:cubicBezTo>
                  <a:lnTo>
                    <a:pt x="3498" y="2111"/>
                  </a:lnTo>
                  <a:cubicBezTo>
                    <a:pt x="3404" y="2048"/>
                    <a:pt x="3277" y="2017"/>
                    <a:pt x="3151" y="2017"/>
                  </a:cubicBezTo>
                  <a:lnTo>
                    <a:pt x="2805" y="2017"/>
                  </a:lnTo>
                  <a:lnTo>
                    <a:pt x="2805" y="1009"/>
                  </a:lnTo>
                  <a:cubicBezTo>
                    <a:pt x="2805" y="788"/>
                    <a:pt x="2962" y="631"/>
                    <a:pt x="3151" y="631"/>
                  </a:cubicBezTo>
                  <a:close/>
                  <a:moveTo>
                    <a:pt x="4538" y="1355"/>
                  </a:moveTo>
                  <a:cubicBezTo>
                    <a:pt x="4727" y="1355"/>
                    <a:pt x="4884" y="1513"/>
                    <a:pt x="4884" y="1702"/>
                  </a:cubicBezTo>
                  <a:lnTo>
                    <a:pt x="4884" y="3088"/>
                  </a:lnTo>
                  <a:cubicBezTo>
                    <a:pt x="4884" y="3277"/>
                    <a:pt x="4727" y="3435"/>
                    <a:pt x="4538" y="3435"/>
                  </a:cubicBezTo>
                  <a:cubicBezTo>
                    <a:pt x="4349" y="3435"/>
                    <a:pt x="4191" y="3277"/>
                    <a:pt x="4191" y="3088"/>
                  </a:cubicBezTo>
                  <a:lnTo>
                    <a:pt x="4191" y="1702"/>
                  </a:lnTo>
                  <a:cubicBezTo>
                    <a:pt x="4191" y="1513"/>
                    <a:pt x="4349" y="1355"/>
                    <a:pt x="4538" y="1355"/>
                  </a:cubicBezTo>
                  <a:close/>
                  <a:moveTo>
                    <a:pt x="5924" y="2017"/>
                  </a:moveTo>
                  <a:cubicBezTo>
                    <a:pt x="6113" y="2017"/>
                    <a:pt x="6270" y="2174"/>
                    <a:pt x="6270" y="2363"/>
                  </a:cubicBezTo>
                  <a:lnTo>
                    <a:pt x="6270" y="3088"/>
                  </a:lnTo>
                  <a:cubicBezTo>
                    <a:pt x="6270" y="3277"/>
                    <a:pt x="6113" y="3435"/>
                    <a:pt x="5924" y="3435"/>
                  </a:cubicBezTo>
                  <a:cubicBezTo>
                    <a:pt x="5703" y="3435"/>
                    <a:pt x="5546" y="3277"/>
                    <a:pt x="5546" y="3088"/>
                  </a:cubicBezTo>
                  <a:lnTo>
                    <a:pt x="5546" y="2363"/>
                  </a:lnTo>
                  <a:cubicBezTo>
                    <a:pt x="5546" y="2174"/>
                    <a:pt x="5703" y="2017"/>
                    <a:pt x="5924" y="2017"/>
                  </a:cubicBezTo>
                  <a:close/>
                  <a:moveTo>
                    <a:pt x="3120" y="2741"/>
                  </a:moveTo>
                  <a:cubicBezTo>
                    <a:pt x="3309" y="2741"/>
                    <a:pt x="3467" y="2899"/>
                    <a:pt x="3467" y="3088"/>
                  </a:cubicBezTo>
                  <a:cubicBezTo>
                    <a:pt x="3467" y="3277"/>
                    <a:pt x="3309" y="3435"/>
                    <a:pt x="3120" y="3435"/>
                  </a:cubicBezTo>
                  <a:lnTo>
                    <a:pt x="1734" y="3435"/>
                  </a:lnTo>
                  <a:cubicBezTo>
                    <a:pt x="1545" y="3435"/>
                    <a:pt x="1387" y="3592"/>
                    <a:pt x="1387" y="3781"/>
                  </a:cubicBezTo>
                  <a:cubicBezTo>
                    <a:pt x="1387" y="4002"/>
                    <a:pt x="1545" y="4159"/>
                    <a:pt x="1734" y="4159"/>
                  </a:cubicBezTo>
                  <a:cubicBezTo>
                    <a:pt x="2679" y="4159"/>
                    <a:pt x="3467" y="4947"/>
                    <a:pt x="3467" y="5892"/>
                  </a:cubicBezTo>
                  <a:cubicBezTo>
                    <a:pt x="3467" y="6081"/>
                    <a:pt x="3624" y="6238"/>
                    <a:pt x="3845" y="6238"/>
                  </a:cubicBezTo>
                  <a:cubicBezTo>
                    <a:pt x="4034" y="6238"/>
                    <a:pt x="4191" y="6081"/>
                    <a:pt x="4191" y="5892"/>
                  </a:cubicBezTo>
                  <a:cubicBezTo>
                    <a:pt x="4191" y="5167"/>
                    <a:pt x="3876" y="4537"/>
                    <a:pt x="3435" y="4096"/>
                  </a:cubicBezTo>
                  <a:cubicBezTo>
                    <a:pt x="3593" y="4065"/>
                    <a:pt x="3750" y="4002"/>
                    <a:pt x="3876" y="3876"/>
                  </a:cubicBezTo>
                  <a:cubicBezTo>
                    <a:pt x="4065" y="4033"/>
                    <a:pt x="4317" y="4159"/>
                    <a:pt x="4569" y="4159"/>
                  </a:cubicBezTo>
                  <a:cubicBezTo>
                    <a:pt x="4853" y="4159"/>
                    <a:pt x="5073" y="4033"/>
                    <a:pt x="5294" y="3876"/>
                  </a:cubicBezTo>
                  <a:cubicBezTo>
                    <a:pt x="5483" y="4033"/>
                    <a:pt x="5703" y="4159"/>
                    <a:pt x="5987" y="4159"/>
                  </a:cubicBezTo>
                  <a:cubicBezTo>
                    <a:pt x="6113" y="4159"/>
                    <a:pt x="6239" y="4096"/>
                    <a:pt x="6333" y="4065"/>
                  </a:cubicBezTo>
                  <a:lnTo>
                    <a:pt x="6333" y="5167"/>
                  </a:lnTo>
                  <a:cubicBezTo>
                    <a:pt x="6333" y="5923"/>
                    <a:pt x="5861" y="6554"/>
                    <a:pt x="5199" y="6774"/>
                  </a:cubicBezTo>
                  <a:cubicBezTo>
                    <a:pt x="5042" y="6837"/>
                    <a:pt x="4979" y="6995"/>
                    <a:pt x="4979" y="7089"/>
                  </a:cubicBezTo>
                  <a:lnTo>
                    <a:pt x="4979" y="7562"/>
                  </a:lnTo>
                  <a:lnTo>
                    <a:pt x="2206" y="7562"/>
                  </a:lnTo>
                  <a:lnTo>
                    <a:pt x="2206" y="7089"/>
                  </a:lnTo>
                  <a:cubicBezTo>
                    <a:pt x="2206" y="6932"/>
                    <a:pt x="2143" y="6837"/>
                    <a:pt x="1986" y="6774"/>
                  </a:cubicBezTo>
                  <a:cubicBezTo>
                    <a:pt x="1261" y="6554"/>
                    <a:pt x="820" y="5892"/>
                    <a:pt x="820" y="5167"/>
                  </a:cubicBezTo>
                  <a:lnTo>
                    <a:pt x="820" y="3750"/>
                  </a:lnTo>
                  <a:lnTo>
                    <a:pt x="726" y="3750"/>
                  </a:lnTo>
                  <a:cubicBezTo>
                    <a:pt x="726" y="3151"/>
                    <a:pt x="1198" y="2741"/>
                    <a:pt x="1734" y="2741"/>
                  </a:cubicBezTo>
                  <a:close/>
                  <a:moveTo>
                    <a:pt x="5199" y="8286"/>
                  </a:moveTo>
                  <a:cubicBezTo>
                    <a:pt x="5388" y="8286"/>
                    <a:pt x="5546" y="8444"/>
                    <a:pt x="5546" y="8633"/>
                  </a:cubicBezTo>
                  <a:lnTo>
                    <a:pt x="5546" y="8979"/>
                  </a:lnTo>
                  <a:lnTo>
                    <a:pt x="1387" y="8979"/>
                  </a:lnTo>
                  <a:lnTo>
                    <a:pt x="1387" y="8633"/>
                  </a:lnTo>
                  <a:cubicBezTo>
                    <a:pt x="1387" y="8444"/>
                    <a:pt x="1545" y="8286"/>
                    <a:pt x="1734" y="8286"/>
                  </a:cubicBezTo>
                  <a:close/>
                  <a:moveTo>
                    <a:pt x="3120" y="1"/>
                  </a:moveTo>
                  <a:cubicBezTo>
                    <a:pt x="2647" y="1"/>
                    <a:pt x="2269" y="316"/>
                    <a:pt x="2143" y="757"/>
                  </a:cubicBezTo>
                  <a:cubicBezTo>
                    <a:pt x="2017" y="725"/>
                    <a:pt x="1891" y="694"/>
                    <a:pt x="1734" y="694"/>
                  </a:cubicBezTo>
                  <a:cubicBezTo>
                    <a:pt x="1167" y="694"/>
                    <a:pt x="726" y="1166"/>
                    <a:pt x="726" y="1702"/>
                  </a:cubicBezTo>
                  <a:lnTo>
                    <a:pt x="726" y="2426"/>
                  </a:lnTo>
                  <a:cubicBezTo>
                    <a:pt x="285" y="2678"/>
                    <a:pt x="1" y="3214"/>
                    <a:pt x="1" y="3750"/>
                  </a:cubicBezTo>
                  <a:lnTo>
                    <a:pt x="1" y="5136"/>
                  </a:lnTo>
                  <a:cubicBezTo>
                    <a:pt x="1" y="6081"/>
                    <a:pt x="568" y="6932"/>
                    <a:pt x="1387" y="7341"/>
                  </a:cubicBezTo>
                  <a:lnTo>
                    <a:pt x="1387" y="7656"/>
                  </a:lnTo>
                  <a:cubicBezTo>
                    <a:pt x="1009" y="7814"/>
                    <a:pt x="694" y="8160"/>
                    <a:pt x="694" y="8633"/>
                  </a:cubicBezTo>
                  <a:lnTo>
                    <a:pt x="694" y="9357"/>
                  </a:lnTo>
                  <a:cubicBezTo>
                    <a:pt x="694" y="9546"/>
                    <a:pt x="852" y="9704"/>
                    <a:pt x="1041" y="9704"/>
                  </a:cubicBezTo>
                  <a:lnTo>
                    <a:pt x="5892" y="9704"/>
                  </a:lnTo>
                  <a:cubicBezTo>
                    <a:pt x="6081" y="9704"/>
                    <a:pt x="6239" y="9546"/>
                    <a:pt x="6239" y="9357"/>
                  </a:cubicBezTo>
                  <a:lnTo>
                    <a:pt x="6239" y="8633"/>
                  </a:lnTo>
                  <a:cubicBezTo>
                    <a:pt x="6239" y="8192"/>
                    <a:pt x="5955" y="7814"/>
                    <a:pt x="5514" y="7656"/>
                  </a:cubicBezTo>
                  <a:lnTo>
                    <a:pt x="5514" y="7341"/>
                  </a:lnTo>
                  <a:cubicBezTo>
                    <a:pt x="6365" y="6932"/>
                    <a:pt x="6901" y="6081"/>
                    <a:pt x="6901" y="5136"/>
                  </a:cubicBezTo>
                  <a:lnTo>
                    <a:pt x="6901" y="2363"/>
                  </a:lnTo>
                  <a:cubicBezTo>
                    <a:pt x="6901" y="1796"/>
                    <a:pt x="6428" y="1355"/>
                    <a:pt x="5892" y="1355"/>
                  </a:cubicBezTo>
                  <a:cubicBezTo>
                    <a:pt x="5766" y="1355"/>
                    <a:pt x="5609" y="1387"/>
                    <a:pt x="5483" y="1418"/>
                  </a:cubicBezTo>
                  <a:cubicBezTo>
                    <a:pt x="5357" y="1009"/>
                    <a:pt x="4979" y="694"/>
                    <a:pt x="4506" y="694"/>
                  </a:cubicBezTo>
                  <a:cubicBezTo>
                    <a:pt x="4380" y="694"/>
                    <a:pt x="4223" y="725"/>
                    <a:pt x="4097" y="757"/>
                  </a:cubicBezTo>
                  <a:cubicBezTo>
                    <a:pt x="4002" y="316"/>
                    <a:pt x="3593"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0" name="Google Shape;9810;p77"/>
            <p:cNvSpPr/>
            <p:nvPr/>
          </p:nvSpPr>
          <p:spPr>
            <a:xfrm>
              <a:off x="5559300" y="1945825"/>
              <a:ext cx="18150" cy="44125"/>
            </a:xfrm>
            <a:custGeom>
              <a:avLst/>
              <a:gdLst/>
              <a:ahLst/>
              <a:cxnLst/>
              <a:rect l="l" t="t" r="r" b="b"/>
              <a:pathLst>
                <a:path w="726" h="1765" extrusionOk="0">
                  <a:moveTo>
                    <a:pt x="379" y="0"/>
                  </a:moveTo>
                  <a:cubicBezTo>
                    <a:pt x="158" y="0"/>
                    <a:pt x="1" y="158"/>
                    <a:pt x="1" y="347"/>
                  </a:cubicBezTo>
                  <a:lnTo>
                    <a:pt x="1" y="1418"/>
                  </a:lnTo>
                  <a:cubicBezTo>
                    <a:pt x="1" y="1607"/>
                    <a:pt x="158" y="1764"/>
                    <a:pt x="379" y="1764"/>
                  </a:cubicBezTo>
                  <a:cubicBezTo>
                    <a:pt x="568" y="1764"/>
                    <a:pt x="725" y="1607"/>
                    <a:pt x="725" y="1418"/>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1" name="Google Shape;9811;p77"/>
            <p:cNvSpPr/>
            <p:nvPr/>
          </p:nvSpPr>
          <p:spPr>
            <a:xfrm>
              <a:off x="5611275" y="1963925"/>
              <a:ext cx="35475" cy="34500"/>
            </a:xfrm>
            <a:custGeom>
              <a:avLst/>
              <a:gdLst/>
              <a:ahLst/>
              <a:cxnLst/>
              <a:rect l="l" t="t" r="r" b="b"/>
              <a:pathLst>
                <a:path w="1419" h="1380" extrusionOk="0">
                  <a:moveTo>
                    <a:pt x="1076" y="1"/>
                  </a:moveTo>
                  <a:cubicBezTo>
                    <a:pt x="985" y="1"/>
                    <a:pt x="899" y="32"/>
                    <a:pt x="851" y="95"/>
                  </a:cubicBezTo>
                  <a:lnTo>
                    <a:pt x="127" y="788"/>
                  </a:lnTo>
                  <a:cubicBezTo>
                    <a:pt x="1" y="914"/>
                    <a:pt x="1" y="1166"/>
                    <a:pt x="127" y="1261"/>
                  </a:cubicBezTo>
                  <a:cubicBezTo>
                    <a:pt x="190" y="1340"/>
                    <a:pt x="284" y="1379"/>
                    <a:pt x="375" y="1379"/>
                  </a:cubicBezTo>
                  <a:cubicBezTo>
                    <a:pt x="466" y="1379"/>
                    <a:pt x="552" y="1340"/>
                    <a:pt x="599" y="1261"/>
                  </a:cubicBezTo>
                  <a:lnTo>
                    <a:pt x="1324" y="568"/>
                  </a:lnTo>
                  <a:cubicBezTo>
                    <a:pt x="1419" y="442"/>
                    <a:pt x="1419" y="221"/>
                    <a:pt x="1324" y="95"/>
                  </a:cubicBezTo>
                  <a:cubicBezTo>
                    <a:pt x="1261" y="32"/>
                    <a:pt x="1167" y="1"/>
                    <a:pt x="10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2" name="Google Shape;9812;p77"/>
            <p:cNvSpPr/>
            <p:nvPr/>
          </p:nvSpPr>
          <p:spPr>
            <a:xfrm>
              <a:off x="5664050" y="2067900"/>
              <a:ext cx="35475" cy="17350"/>
            </a:xfrm>
            <a:custGeom>
              <a:avLst/>
              <a:gdLst/>
              <a:ahLst/>
              <a:cxnLst/>
              <a:rect l="l" t="t" r="r" b="b"/>
              <a:pathLst>
                <a:path w="1419" h="694" extrusionOk="0">
                  <a:moveTo>
                    <a:pt x="347" y="0"/>
                  </a:moveTo>
                  <a:cubicBezTo>
                    <a:pt x="158" y="0"/>
                    <a:pt x="1" y="158"/>
                    <a:pt x="1" y="347"/>
                  </a:cubicBezTo>
                  <a:cubicBezTo>
                    <a:pt x="1" y="536"/>
                    <a:pt x="158" y="694"/>
                    <a:pt x="347" y="694"/>
                  </a:cubicBezTo>
                  <a:lnTo>
                    <a:pt x="1040" y="694"/>
                  </a:lnTo>
                  <a:cubicBezTo>
                    <a:pt x="1261" y="694"/>
                    <a:pt x="1418" y="536"/>
                    <a:pt x="1418" y="347"/>
                  </a:cubicBezTo>
                  <a:cubicBezTo>
                    <a:pt x="1418" y="158"/>
                    <a:pt x="1261"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3" name="Google Shape;9813;p77"/>
            <p:cNvSpPr/>
            <p:nvPr/>
          </p:nvSpPr>
          <p:spPr>
            <a:xfrm>
              <a:off x="5421475" y="2067900"/>
              <a:ext cx="35450" cy="17350"/>
            </a:xfrm>
            <a:custGeom>
              <a:avLst/>
              <a:gdLst/>
              <a:ahLst/>
              <a:cxnLst/>
              <a:rect l="l" t="t" r="r" b="b"/>
              <a:pathLst>
                <a:path w="1418" h="694" extrusionOk="0">
                  <a:moveTo>
                    <a:pt x="378" y="0"/>
                  </a:moveTo>
                  <a:cubicBezTo>
                    <a:pt x="158" y="0"/>
                    <a:pt x="0" y="158"/>
                    <a:pt x="0" y="347"/>
                  </a:cubicBezTo>
                  <a:cubicBezTo>
                    <a:pt x="0" y="536"/>
                    <a:pt x="158" y="694"/>
                    <a:pt x="378"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4" name="Google Shape;9814;p77"/>
            <p:cNvSpPr/>
            <p:nvPr/>
          </p:nvSpPr>
          <p:spPr>
            <a:xfrm>
              <a:off x="5490000" y="1963925"/>
              <a:ext cx="35450" cy="33900"/>
            </a:xfrm>
            <a:custGeom>
              <a:avLst/>
              <a:gdLst/>
              <a:ahLst/>
              <a:cxnLst/>
              <a:rect l="l" t="t" r="r" b="b"/>
              <a:pathLst>
                <a:path w="1418" h="1356" extrusionOk="0">
                  <a:moveTo>
                    <a:pt x="343" y="1"/>
                  </a:moveTo>
                  <a:cubicBezTo>
                    <a:pt x="252" y="1"/>
                    <a:pt x="158" y="32"/>
                    <a:pt x="95" y="95"/>
                  </a:cubicBezTo>
                  <a:cubicBezTo>
                    <a:pt x="0" y="221"/>
                    <a:pt x="0" y="442"/>
                    <a:pt x="95" y="568"/>
                  </a:cubicBezTo>
                  <a:lnTo>
                    <a:pt x="819" y="1261"/>
                  </a:lnTo>
                  <a:cubicBezTo>
                    <a:pt x="866" y="1324"/>
                    <a:pt x="953" y="1356"/>
                    <a:pt x="1044" y="1356"/>
                  </a:cubicBezTo>
                  <a:cubicBezTo>
                    <a:pt x="1134" y="1356"/>
                    <a:pt x="1229" y="1324"/>
                    <a:pt x="1292" y="1261"/>
                  </a:cubicBezTo>
                  <a:cubicBezTo>
                    <a:pt x="1418" y="1166"/>
                    <a:pt x="1418" y="914"/>
                    <a:pt x="1292" y="788"/>
                  </a:cubicBezTo>
                  <a:lnTo>
                    <a:pt x="567" y="95"/>
                  </a:lnTo>
                  <a:cubicBezTo>
                    <a:pt x="520" y="32"/>
                    <a:pt x="433" y="1"/>
                    <a:pt x="3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5" name="Google Shape;9815;p77"/>
            <p:cNvSpPr/>
            <p:nvPr/>
          </p:nvSpPr>
          <p:spPr>
            <a:xfrm>
              <a:off x="5437225" y="1997650"/>
              <a:ext cx="37825" cy="26325"/>
            </a:xfrm>
            <a:custGeom>
              <a:avLst/>
              <a:gdLst/>
              <a:ahLst/>
              <a:cxnLst/>
              <a:rect l="l" t="t" r="r" b="b"/>
              <a:pathLst>
                <a:path w="1513" h="1053" extrusionOk="0">
                  <a:moveTo>
                    <a:pt x="422" y="0"/>
                  </a:moveTo>
                  <a:cubicBezTo>
                    <a:pt x="285" y="0"/>
                    <a:pt x="140" y="81"/>
                    <a:pt x="95" y="196"/>
                  </a:cubicBezTo>
                  <a:cubicBezTo>
                    <a:pt x="0" y="353"/>
                    <a:pt x="95" y="574"/>
                    <a:pt x="252" y="668"/>
                  </a:cubicBezTo>
                  <a:lnTo>
                    <a:pt x="945" y="1015"/>
                  </a:lnTo>
                  <a:cubicBezTo>
                    <a:pt x="989" y="1041"/>
                    <a:pt x="1039" y="1052"/>
                    <a:pt x="1091" y="1052"/>
                  </a:cubicBezTo>
                  <a:cubicBezTo>
                    <a:pt x="1227" y="1052"/>
                    <a:pt x="1372" y="971"/>
                    <a:pt x="1418" y="857"/>
                  </a:cubicBezTo>
                  <a:cubicBezTo>
                    <a:pt x="1512" y="700"/>
                    <a:pt x="1418" y="479"/>
                    <a:pt x="1260" y="385"/>
                  </a:cubicBezTo>
                  <a:lnTo>
                    <a:pt x="567" y="38"/>
                  </a:lnTo>
                  <a:cubicBezTo>
                    <a:pt x="524" y="12"/>
                    <a:pt x="473" y="0"/>
                    <a:pt x="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6" name="Google Shape;9816;p77"/>
            <p:cNvSpPr/>
            <p:nvPr/>
          </p:nvSpPr>
          <p:spPr>
            <a:xfrm>
              <a:off x="5645150" y="1998300"/>
              <a:ext cx="37825" cy="26900"/>
            </a:xfrm>
            <a:custGeom>
              <a:avLst/>
              <a:gdLst/>
              <a:ahLst/>
              <a:cxnLst/>
              <a:rect l="l" t="t" r="r" b="b"/>
              <a:pathLst>
                <a:path w="1513" h="1076" extrusionOk="0">
                  <a:moveTo>
                    <a:pt x="1098" y="0"/>
                  </a:moveTo>
                  <a:cubicBezTo>
                    <a:pt x="1046" y="0"/>
                    <a:pt x="994" y="14"/>
                    <a:pt x="946" y="44"/>
                  </a:cubicBezTo>
                  <a:lnTo>
                    <a:pt x="253" y="422"/>
                  </a:lnTo>
                  <a:cubicBezTo>
                    <a:pt x="95" y="485"/>
                    <a:pt x="1" y="674"/>
                    <a:pt x="95" y="894"/>
                  </a:cubicBezTo>
                  <a:cubicBezTo>
                    <a:pt x="142" y="1011"/>
                    <a:pt x="258" y="1076"/>
                    <a:pt x="405" y="1076"/>
                  </a:cubicBezTo>
                  <a:cubicBezTo>
                    <a:pt x="456" y="1076"/>
                    <a:pt x="511" y="1068"/>
                    <a:pt x="568" y="1052"/>
                  </a:cubicBezTo>
                  <a:lnTo>
                    <a:pt x="1261" y="674"/>
                  </a:lnTo>
                  <a:cubicBezTo>
                    <a:pt x="1418" y="611"/>
                    <a:pt x="1513" y="422"/>
                    <a:pt x="1418" y="201"/>
                  </a:cubicBezTo>
                  <a:cubicBezTo>
                    <a:pt x="1331" y="71"/>
                    <a:pt x="1214" y="0"/>
                    <a:pt x="10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17" name="Google Shape;9817;p77"/>
          <p:cNvSpPr/>
          <p:nvPr/>
        </p:nvSpPr>
        <p:spPr>
          <a:xfrm>
            <a:off x="7074326" y="3385523"/>
            <a:ext cx="353174" cy="351315"/>
          </a:xfrm>
          <a:custGeom>
            <a:avLst/>
            <a:gdLst/>
            <a:ahLst/>
            <a:cxnLst/>
            <a:rect l="l" t="t" r="r" b="b"/>
            <a:pathLst>
              <a:path w="11973" h="11910" extrusionOk="0">
                <a:moveTo>
                  <a:pt x="11027" y="662"/>
                </a:moveTo>
                <a:lnTo>
                  <a:pt x="11027" y="1387"/>
                </a:lnTo>
                <a:lnTo>
                  <a:pt x="8601" y="1387"/>
                </a:lnTo>
                <a:cubicBezTo>
                  <a:pt x="8412" y="1387"/>
                  <a:pt x="8255" y="1229"/>
                  <a:pt x="8255" y="1040"/>
                </a:cubicBezTo>
                <a:cubicBezTo>
                  <a:pt x="8255" y="820"/>
                  <a:pt x="8412" y="662"/>
                  <a:pt x="8601" y="662"/>
                </a:cubicBezTo>
                <a:close/>
                <a:moveTo>
                  <a:pt x="10366" y="2048"/>
                </a:moveTo>
                <a:lnTo>
                  <a:pt x="10366" y="2773"/>
                </a:lnTo>
                <a:lnTo>
                  <a:pt x="7940" y="2773"/>
                </a:lnTo>
                <a:cubicBezTo>
                  <a:pt x="7926" y="2775"/>
                  <a:pt x="7912" y="2776"/>
                  <a:pt x="7899" y="2776"/>
                </a:cubicBezTo>
                <a:cubicBezTo>
                  <a:pt x="7728" y="2776"/>
                  <a:pt x="7593" y="2599"/>
                  <a:pt x="7593" y="2395"/>
                </a:cubicBezTo>
                <a:cubicBezTo>
                  <a:pt x="7593" y="2206"/>
                  <a:pt x="7751" y="2048"/>
                  <a:pt x="7940" y="2048"/>
                </a:cubicBezTo>
                <a:close/>
                <a:moveTo>
                  <a:pt x="11027" y="3466"/>
                </a:moveTo>
                <a:lnTo>
                  <a:pt x="11027" y="4191"/>
                </a:lnTo>
                <a:lnTo>
                  <a:pt x="8601" y="4191"/>
                </a:lnTo>
                <a:cubicBezTo>
                  <a:pt x="8412" y="4191"/>
                  <a:pt x="8255" y="4033"/>
                  <a:pt x="8255" y="3812"/>
                </a:cubicBezTo>
                <a:cubicBezTo>
                  <a:pt x="8255" y="3623"/>
                  <a:pt x="8412" y="3466"/>
                  <a:pt x="8601" y="3466"/>
                </a:cubicBezTo>
                <a:close/>
                <a:moveTo>
                  <a:pt x="1292" y="4884"/>
                </a:moveTo>
                <a:lnTo>
                  <a:pt x="1292" y="5608"/>
                </a:lnTo>
                <a:lnTo>
                  <a:pt x="568" y="5608"/>
                </a:lnTo>
                <a:lnTo>
                  <a:pt x="568" y="4884"/>
                </a:lnTo>
                <a:close/>
                <a:moveTo>
                  <a:pt x="11027" y="4884"/>
                </a:moveTo>
                <a:lnTo>
                  <a:pt x="11027" y="5608"/>
                </a:lnTo>
                <a:lnTo>
                  <a:pt x="6207" y="5608"/>
                </a:lnTo>
                <a:lnTo>
                  <a:pt x="6207" y="4884"/>
                </a:lnTo>
                <a:close/>
                <a:moveTo>
                  <a:pt x="3718" y="2080"/>
                </a:moveTo>
                <a:cubicBezTo>
                  <a:pt x="4663" y="2080"/>
                  <a:pt x="5482" y="2867"/>
                  <a:pt x="5482" y="3844"/>
                </a:cubicBezTo>
                <a:lnTo>
                  <a:pt x="5482" y="5955"/>
                </a:lnTo>
                <a:cubicBezTo>
                  <a:pt x="5482" y="6144"/>
                  <a:pt x="5325" y="6301"/>
                  <a:pt x="5136" y="6301"/>
                </a:cubicBezTo>
                <a:lnTo>
                  <a:pt x="2300" y="6301"/>
                </a:lnTo>
                <a:cubicBezTo>
                  <a:pt x="2111" y="6301"/>
                  <a:pt x="1954" y="6144"/>
                  <a:pt x="1954" y="5955"/>
                </a:cubicBezTo>
                <a:lnTo>
                  <a:pt x="1954" y="3844"/>
                </a:lnTo>
                <a:cubicBezTo>
                  <a:pt x="1954" y="2899"/>
                  <a:pt x="2742" y="2080"/>
                  <a:pt x="3718" y="2080"/>
                </a:cubicBezTo>
                <a:close/>
                <a:moveTo>
                  <a:pt x="11027" y="6301"/>
                </a:moveTo>
                <a:lnTo>
                  <a:pt x="11027" y="7688"/>
                </a:lnTo>
                <a:lnTo>
                  <a:pt x="7593" y="7688"/>
                </a:lnTo>
                <a:lnTo>
                  <a:pt x="7593" y="6301"/>
                </a:lnTo>
                <a:lnTo>
                  <a:pt x="8948" y="6301"/>
                </a:lnTo>
                <a:lnTo>
                  <a:pt x="8948" y="6648"/>
                </a:lnTo>
                <a:cubicBezTo>
                  <a:pt x="8948" y="6868"/>
                  <a:pt x="9106" y="7026"/>
                  <a:pt x="9326" y="7026"/>
                </a:cubicBezTo>
                <a:cubicBezTo>
                  <a:pt x="9515" y="7026"/>
                  <a:pt x="9673" y="6868"/>
                  <a:pt x="9673" y="6648"/>
                </a:cubicBezTo>
                <a:lnTo>
                  <a:pt x="9673" y="6301"/>
                </a:lnTo>
                <a:close/>
                <a:moveTo>
                  <a:pt x="4443" y="8349"/>
                </a:moveTo>
                <a:cubicBezTo>
                  <a:pt x="4852" y="8349"/>
                  <a:pt x="5293" y="8633"/>
                  <a:pt x="5419" y="9074"/>
                </a:cubicBezTo>
                <a:lnTo>
                  <a:pt x="2080" y="9074"/>
                </a:lnTo>
                <a:cubicBezTo>
                  <a:pt x="2237" y="8664"/>
                  <a:pt x="2616" y="8349"/>
                  <a:pt x="3057" y="8349"/>
                </a:cubicBezTo>
                <a:close/>
                <a:moveTo>
                  <a:pt x="11027" y="8349"/>
                </a:moveTo>
                <a:lnTo>
                  <a:pt x="11027" y="9735"/>
                </a:lnTo>
                <a:lnTo>
                  <a:pt x="7593" y="9735"/>
                </a:lnTo>
                <a:lnTo>
                  <a:pt x="7593" y="8349"/>
                </a:lnTo>
                <a:lnTo>
                  <a:pt x="8948" y="8349"/>
                </a:lnTo>
                <a:lnTo>
                  <a:pt x="8948" y="8696"/>
                </a:lnTo>
                <a:cubicBezTo>
                  <a:pt x="8948" y="8916"/>
                  <a:pt x="9106" y="9074"/>
                  <a:pt x="9326" y="9074"/>
                </a:cubicBezTo>
                <a:cubicBezTo>
                  <a:pt x="9515" y="9074"/>
                  <a:pt x="9673" y="8916"/>
                  <a:pt x="9673" y="8696"/>
                </a:cubicBezTo>
                <a:lnTo>
                  <a:pt x="9673" y="8349"/>
                </a:lnTo>
                <a:close/>
                <a:moveTo>
                  <a:pt x="8633" y="0"/>
                </a:moveTo>
                <a:cubicBezTo>
                  <a:pt x="8066" y="0"/>
                  <a:pt x="7625" y="473"/>
                  <a:pt x="7625" y="1040"/>
                </a:cubicBezTo>
                <a:cubicBezTo>
                  <a:pt x="7625" y="1135"/>
                  <a:pt x="7656" y="1292"/>
                  <a:pt x="7688" y="1418"/>
                </a:cubicBezTo>
                <a:cubicBezTo>
                  <a:pt x="7278" y="1544"/>
                  <a:pt x="6963" y="1922"/>
                  <a:pt x="6963" y="2395"/>
                </a:cubicBezTo>
                <a:cubicBezTo>
                  <a:pt x="6963" y="2678"/>
                  <a:pt x="7058" y="2962"/>
                  <a:pt x="7278" y="3151"/>
                </a:cubicBezTo>
                <a:cubicBezTo>
                  <a:pt x="7373" y="3308"/>
                  <a:pt x="7530" y="3403"/>
                  <a:pt x="7751" y="3434"/>
                </a:cubicBezTo>
                <a:cubicBezTo>
                  <a:pt x="7688" y="3560"/>
                  <a:pt x="7656" y="3655"/>
                  <a:pt x="7656" y="3812"/>
                </a:cubicBezTo>
                <a:cubicBezTo>
                  <a:pt x="7656" y="3939"/>
                  <a:pt x="7688" y="4065"/>
                  <a:pt x="7751" y="4191"/>
                </a:cubicBezTo>
                <a:lnTo>
                  <a:pt x="6270" y="4191"/>
                </a:lnTo>
                <a:lnTo>
                  <a:pt x="6270" y="3812"/>
                </a:lnTo>
                <a:cubicBezTo>
                  <a:pt x="6270" y="2489"/>
                  <a:pt x="5167" y="1387"/>
                  <a:pt x="3844" y="1387"/>
                </a:cubicBezTo>
                <a:cubicBezTo>
                  <a:pt x="2490" y="1387"/>
                  <a:pt x="1387" y="2489"/>
                  <a:pt x="1387" y="3812"/>
                </a:cubicBezTo>
                <a:lnTo>
                  <a:pt x="1387" y="4191"/>
                </a:lnTo>
                <a:lnTo>
                  <a:pt x="379" y="4191"/>
                </a:lnTo>
                <a:cubicBezTo>
                  <a:pt x="158" y="4191"/>
                  <a:pt x="1" y="4348"/>
                  <a:pt x="1" y="4537"/>
                </a:cubicBezTo>
                <a:lnTo>
                  <a:pt x="1" y="11500"/>
                </a:lnTo>
                <a:cubicBezTo>
                  <a:pt x="1" y="11689"/>
                  <a:pt x="158" y="11846"/>
                  <a:pt x="379" y="11846"/>
                </a:cubicBezTo>
                <a:cubicBezTo>
                  <a:pt x="568" y="11846"/>
                  <a:pt x="725" y="11689"/>
                  <a:pt x="725" y="11500"/>
                </a:cubicBezTo>
                <a:lnTo>
                  <a:pt x="725" y="6301"/>
                </a:lnTo>
                <a:lnTo>
                  <a:pt x="1481" y="6301"/>
                </a:lnTo>
                <a:cubicBezTo>
                  <a:pt x="1639" y="6711"/>
                  <a:pt x="1985" y="7026"/>
                  <a:pt x="2458" y="7026"/>
                </a:cubicBezTo>
                <a:lnTo>
                  <a:pt x="3529" y="7026"/>
                </a:lnTo>
                <a:lnTo>
                  <a:pt x="3529" y="7719"/>
                </a:lnTo>
                <a:lnTo>
                  <a:pt x="3151" y="7719"/>
                </a:lnTo>
                <a:cubicBezTo>
                  <a:pt x="2237" y="7719"/>
                  <a:pt x="1387" y="8507"/>
                  <a:pt x="1387" y="9452"/>
                </a:cubicBezTo>
                <a:cubicBezTo>
                  <a:pt x="1387" y="9641"/>
                  <a:pt x="1544" y="9798"/>
                  <a:pt x="1733" y="9798"/>
                </a:cubicBezTo>
                <a:lnTo>
                  <a:pt x="3529" y="9798"/>
                </a:lnTo>
                <a:lnTo>
                  <a:pt x="3529" y="10523"/>
                </a:lnTo>
                <a:lnTo>
                  <a:pt x="2458" y="10523"/>
                </a:lnTo>
                <a:cubicBezTo>
                  <a:pt x="1859" y="10523"/>
                  <a:pt x="1418" y="10996"/>
                  <a:pt x="1418" y="11531"/>
                </a:cubicBezTo>
                <a:cubicBezTo>
                  <a:pt x="1418" y="11752"/>
                  <a:pt x="1576" y="11909"/>
                  <a:pt x="1796" y="11909"/>
                </a:cubicBezTo>
                <a:cubicBezTo>
                  <a:pt x="1985" y="11909"/>
                  <a:pt x="2143" y="11752"/>
                  <a:pt x="2143" y="11531"/>
                </a:cubicBezTo>
                <a:cubicBezTo>
                  <a:pt x="2143" y="11342"/>
                  <a:pt x="2300" y="11185"/>
                  <a:pt x="2490" y="11185"/>
                </a:cubicBezTo>
                <a:lnTo>
                  <a:pt x="3561" y="11185"/>
                </a:lnTo>
                <a:lnTo>
                  <a:pt x="3561" y="11531"/>
                </a:lnTo>
                <a:cubicBezTo>
                  <a:pt x="3561" y="11752"/>
                  <a:pt x="3718" y="11909"/>
                  <a:pt x="3907" y="11909"/>
                </a:cubicBezTo>
                <a:cubicBezTo>
                  <a:pt x="4096" y="11909"/>
                  <a:pt x="4254" y="11752"/>
                  <a:pt x="4254" y="11531"/>
                </a:cubicBezTo>
                <a:lnTo>
                  <a:pt x="4254" y="11185"/>
                </a:lnTo>
                <a:lnTo>
                  <a:pt x="5325" y="11185"/>
                </a:lnTo>
                <a:cubicBezTo>
                  <a:pt x="5514" y="11185"/>
                  <a:pt x="5672" y="11342"/>
                  <a:pt x="5672" y="11531"/>
                </a:cubicBezTo>
                <a:cubicBezTo>
                  <a:pt x="5672" y="11752"/>
                  <a:pt x="5829" y="11909"/>
                  <a:pt x="6050" y="11909"/>
                </a:cubicBezTo>
                <a:cubicBezTo>
                  <a:pt x="6239" y="11909"/>
                  <a:pt x="6396" y="11752"/>
                  <a:pt x="6396" y="11531"/>
                </a:cubicBezTo>
                <a:cubicBezTo>
                  <a:pt x="6396" y="10964"/>
                  <a:pt x="5924" y="10523"/>
                  <a:pt x="5356" y="10523"/>
                </a:cubicBezTo>
                <a:lnTo>
                  <a:pt x="4317" y="10523"/>
                </a:lnTo>
                <a:lnTo>
                  <a:pt x="4317" y="9798"/>
                </a:lnTo>
                <a:lnTo>
                  <a:pt x="6081" y="9798"/>
                </a:lnTo>
                <a:cubicBezTo>
                  <a:pt x="6270" y="9798"/>
                  <a:pt x="6428" y="9641"/>
                  <a:pt x="6428" y="9452"/>
                </a:cubicBezTo>
                <a:cubicBezTo>
                  <a:pt x="6428" y="8507"/>
                  <a:pt x="5640" y="7719"/>
                  <a:pt x="4663" y="7719"/>
                </a:cubicBezTo>
                <a:lnTo>
                  <a:pt x="4317" y="7719"/>
                </a:lnTo>
                <a:lnTo>
                  <a:pt x="4317" y="7026"/>
                </a:lnTo>
                <a:lnTo>
                  <a:pt x="5356" y="7026"/>
                </a:lnTo>
                <a:cubicBezTo>
                  <a:pt x="5798" y="7026"/>
                  <a:pt x="6207" y="6742"/>
                  <a:pt x="6365" y="6301"/>
                </a:cubicBezTo>
                <a:lnTo>
                  <a:pt x="7089" y="6301"/>
                </a:lnTo>
                <a:lnTo>
                  <a:pt x="7089" y="11500"/>
                </a:lnTo>
                <a:cubicBezTo>
                  <a:pt x="7089" y="11689"/>
                  <a:pt x="7247" y="11846"/>
                  <a:pt x="7467" y="11846"/>
                </a:cubicBezTo>
                <a:cubicBezTo>
                  <a:pt x="7656" y="11846"/>
                  <a:pt x="7814" y="11689"/>
                  <a:pt x="7814" y="11500"/>
                </a:cubicBezTo>
                <a:lnTo>
                  <a:pt x="7814" y="10492"/>
                </a:lnTo>
                <a:lnTo>
                  <a:pt x="11279" y="10492"/>
                </a:lnTo>
                <a:lnTo>
                  <a:pt x="11279" y="11500"/>
                </a:lnTo>
                <a:cubicBezTo>
                  <a:pt x="11279" y="11689"/>
                  <a:pt x="11437" y="11846"/>
                  <a:pt x="11626" y="11846"/>
                </a:cubicBezTo>
                <a:cubicBezTo>
                  <a:pt x="11815" y="11846"/>
                  <a:pt x="11972" y="11689"/>
                  <a:pt x="11972" y="11500"/>
                </a:cubicBezTo>
                <a:lnTo>
                  <a:pt x="11972" y="3151"/>
                </a:lnTo>
                <a:cubicBezTo>
                  <a:pt x="11972" y="2962"/>
                  <a:pt x="11815" y="2804"/>
                  <a:pt x="11626" y="2804"/>
                </a:cubicBezTo>
                <a:lnTo>
                  <a:pt x="11279" y="2804"/>
                </a:lnTo>
                <a:lnTo>
                  <a:pt x="11279" y="2080"/>
                </a:lnTo>
                <a:lnTo>
                  <a:pt x="11626" y="2080"/>
                </a:lnTo>
                <a:cubicBezTo>
                  <a:pt x="11815" y="2080"/>
                  <a:pt x="11972" y="1922"/>
                  <a:pt x="11972" y="1733"/>
                </a:cubicBezTo>
                <a:lnTo>
                  <a:pt x="11972" y="347"/>
                </a:lnTo>
                <a:cubicBezTo>
                  <a:pt x="11752" y="158"/>
                  <a:pt x="11594"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18" name="Google Shape;9818;p77"/>
          <p:cNvGrpSpPr/>
          <p:nvPr/>
        </p:nvGrpSpPr>
        <p:grpSpPr>
          <a:xfrm>
            <a:off x="7075869" y="3898073"/>
            <a:ext cx="350371" cy="224918"/>
            <a:chOff x="5411225" y="2726350"/>
            <a:chExt cx="296950" cy="190625"/>
          </a:xfrm>
        </p:grpSpPr>
        <p:sp>
          <p:nvSpPr>
            <p:cNvPr id="9819" name="Google Shape;9819;p77"/>
            <p:cNvSpPr/>
            <p:nvPr/>
          </p:nvSpPr>
          <p:spPr>
            <a:xfrm>
              <a:off x="5534100" y="2794875"/>
              <a:ext cx="52000" cy="51225"/>
            </a:xfrm>
            <a:custGeom>
              <a:avLst/>
              <a:gdLst/>
              <a:ahLst/>
              <a:cxnLst/>
              <a:rect l="l" t="t" r="r" b="b"/>
              <a:pathLst>
                <a:path w="2080" h="2049" extrusionOk="0">
                  <a:moveTo>
                    <a:pt x="1009" y="662"/>
                  </a:moveTo>
                  <a:cubicBezTo>
                    <a:pt x="1229" y="662"/>
                    <a:pt x="1387" y="851"/>
                    <a:pt x="1387" y="1040"/>
                  </a:cubicBezTo>
                  <a:cubicBezTo>
                    <a:pt x="1387" y="1229"/>
                    <a:pt x="1229" y="1387"/>
                    <a:pt x="1009" y="1387"/>
                  </a:cubicBezTo>
                  <a:cubicBezTo>
                    <a:pt x="819" y="1387"/>
                    <a:pt x="662" y="1229"/>
                    <a:pt x="662" y="1040"/>
                  </a:cubicBezTo>
                  <a:cubicBezTo>
                    <a:pt x="662" y="851"/>
                    <a:pt x="819" y="662"/>
                    <a:pt x="1009" y="662"/>
                  </a:cubicBezTo>
                  <a:close/>
                  <a:moveTo>
                    <a:pt x="1009" y="0"/>
                  </a:moveTo>
                  <a:cubicBezTo>
                    <a:pt x="441" y="0"/>
                    <a:pt x="0" y="473"/>
                    <a:pt x="0" y="1040"/>
                  </a:cubicBezTo>
                  <a:cubicBezTo>
                    <a:pt x="0" y="1639"/>
                    <a:pt x="473" y="2048"/>
                    <a:pt x="1009" y="2048"/>
                  </a:cubicBezTo>
                  <a:cubicBezTo>
                    <a:pt x="1607" y="2048"/>
                    <a:pt x="2048" y="1576"/>
                    <a:pt x="2048" y="1040"/>
                  </a:cubicBezTo>
                  <a:cubicBezTo>
                    <a:pt x="2080" y="473"/>
                    <a:pt x="160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77"/>
            <p:cNvSpPr/>
            <p:nvPr/>
          </p:nvSpPr>
          <p:spPr>
            <a:xfrm>
              <a:off x="5411225" y="2726350"/>
              <a:ext cx="296950" cy="190625"/>
            </a:xfrm>
            <a:custGeom>
              <a:avLst/>
              <a:gdLst/>
              <a:ahLst/>
              <a:cxnLst/>
              <a:rect l="l" t="t" r="r" b="b"/>
              <a:pathLst>
                <a:path w="11878" h="7625" extrusionOk="0">
                  <a:moveTo>
                    <a:pt x="5924" y="662"/>
                  </a:moveTo>
                  <a:cubicBezTo>
                    <a:pt x="7404" y="662"/>
                    <a:pt x="8759" y="1576"/>
                    <a:pt x="9641" y="2332"/>
                  </a:cubicBezTo>
                  <a:cubicBezTo>
                    <a:pt x="9736" y="2395"/>
                    <a:pt x="9830" y="2489"/>
                    <a:pt x="9925" y="2584"/>
                  </a:cubicBezTo>
                  <a:cubicBezTo>
                    <a:pt x="8696" y="2080"/>
                    <a:pt x="7278" y="1733"/>
                    <a:pt x="5924" y="1733"/>
                  </a:cubicBezTo>
                  <a:cubicBezTo>
                    <a:pt x="4569" y="1733"/>
                    <a:pt x="3183" y="2080"/>
                    <a:pt x="1954" y="2584"/>
                  </a:cubicBezTo>
                  <a:cubicBezTo>
                    <a:pt x="2048" y="2521"/>
                    <a:pt x="2111" y="2458"/>
                    <a:pt x="2206" y="2395"/>
                  </a:cubicBezTo>
                  <a:cubicBezTo>
                    <a:pt x="3151" y="1544"/>
                    <a:pt x="4474" y="662"/>
                    <a:pt x="5924" y="662"/>
                  </a:cubicBezTo>
                  <a:close/>
                  <a:moveTo>
                    <a:pt x="5924" y="2426"/>
                  </a:moveTo>
                  <a:cubicBezTo>
                    <a:pt x="6333" y="2426"/>
                    <a:pt x="6711" y="2489"/>
                    <a:pt x="7089" y="2521"/>
                  </a:cubicBezTo>
                  <a:cubicBezTo>
                    <a:pt x="7467" y="2836"/>
                    <a:pt x="7656" y="3308"/>
                    <a:pt x="7656" y="3813"/>
                  </a:cubicBezTo>
                  <a:cubicBezTo>
                    <a:pt x="7656" y="4758"/>
                    <a:pt x="6869" y="5545"/>
                    <a:pt x="5924" y="5545"/>
                  </a:cubicBezTo>
                  <a:cubicBezTo>
                    <a:pt x="4978" y="5545"/>
                    <a:pt x="4191" y="4758"/>
                    <a:pt x="4191" y="3813"/>
                  </a:cubicBezTo>
                  <a:cubicBezTo>
                    <a:pt x="4191" y="3308"/>
                    <a:pt x="4411" y="2836"/>
                    <a:pt x="4789" y="2521"/>
                  </a:cubicBezTo>
                  <a:cubicBezTo>
                    <a:pt x="5136" y="2489"/>
                    <a:pt x="5545" y="2426"/>
                    <a:pt x="5924" y="2426"/>
                  </a:cubicBezTo>
                  <a:close/>
                  <a:moveTo>
                    <a:pt x="3781" y="2710"/>
                  </a:moveTo>
                  <a:lnTo>
                    <a:pt x="3781" y="2710"/>
                  </a:lnTo>
                  <a:cubicBezTo>
                    <a:pt x="3624" y="3056"/>
                    <a:pt x="3498" y="3434"/>
                    <a:pt x="3498" y="3813"/>
                  </a:cubicBezTo>
                  <a:cubicBezTo>
                    <a:pt x="3498" y="5167"/>
                    <a:pt x="4600" y="6270"/>
                    <a:pt x="5924" y="6270"/>
                  </a:cubicBezTo>
                  <a:cubicBezTo>
                    <a:pt x="7278" y="6270"/>
                    <a:pt x="8381" y="5167"/>
                    <a:pt x="8381" y="3813"/>
                  </a:cubicBezTo>
                  <a:cubicBezTo>
                    <a:pt x="8381" y="3434"/>
                    <a:pt x="8286" y="3056"/>
                    <a:pt x="8097" y="2710"/>
                  </a:cubicBezTo>
                  <a:lnTo>
                    <a:pt x="8097" y="2710"/>
                  </a:lnTo>
                  <a:cubicBezTo>
                    <a:pt x="9137" y="2993"/>
                    <a:pt x="10145" y="3434"/>
                    <a:pt x="11027" y="3907"/>
                  </a:cubicBezTo>
                  <a:cubicBezTo>
                    <a:pt x="10744" y="4222"/>
                    <a:pt x="10240" y="4789"/>
                    <a:pt x="9547" y="5356"/>
                  </a:cubicBezTo>
                  <a:cubicBezTo>
                    <a:pt x="8601" y="6144"/>
                    <a:pt x="7310" y="6932"/>
                    <a:pt x="5924" y="6932"/>
                  </a:cubicBezTo>
                  <a:cubicBezTo>
                    <a:pt x="4474" y="6932"/>
                    <a:pt x="3088" y="6018"/>
                    <a:pt x="2237" y="5262"/>
                  </a:cubicBezTo>
                  <a:cubicBezTo>
                    <a:pt x="1607" y="4726"/>
                    <a:pt x="1135" y="4222"/>
                    <a:pt x="851" y="3907"/>
                  </a:cubicBezTo>
                  <a:cubicBezTo>
                    <a:pt x="1733" y="3371"/>
                    <a:pt x="2710" y="2962"/>
                    <a:pt x="3781" y="2710"/>
                  </a:cubicBezTo>
                  <a:close/>
                  <a:moveTo>
                    <a:pt x="5924" y="0"/>
                  </a:moveTo>
                  <a:cubicBezTo>
                    <a:pt x="4411" y="0"/>
                    <a:pt x="2931" y="820"/>
                    <a:pt x="1765" y="1796"/>
                  </a:cubicBezTo>
                  <a:cubicBezTo>
                    <a:pt x="725" y="2678"/>
                    <a:pt x="95" y="3592"/>
                    <a:pt x="64" y="3624"/>
                  </a:cubicBezTo>
                  <a:cubicBezTo>
                    <a:pt x="1" y="3750"/>
                    <a:pt x="1" y="3907"/>
                    <a:pt x="64" y="4002"/>
                  </a:cubicBezTo>
                  <a:cubicBezTo>
                    <a:pt x="95" y="4065"/>
                    <a:pt x="725" y="4915"/>
                    <a:pt x="1765" y="5829"/>
                  </a:cubicBezTo>
                  <a:cubicBezTo>
                    <a:pt x="2931" y="6805"/>
                    <a:pt x="4348" y="7625"/>
                    <a:pt x="5924" y="7625"/>
                  </a:cubicBezTo>
                  <a:cubicBezTo>
                    <a:pt x="7436" y="7625"/>
                    <a:pt x="8759" y="6900"/>
                    <a:pt x="9925" y="5955"/>
                  </a:cubicBezTo>
                  <a:cubicBezTo>
                    <a:pt x="10712" y="5325"/>
                    <a:pt x="11374" y="4600"/>
                    <a:pt x="11815" y="4002"/>
                  </a:cubicBezTo>
                  <a:cubicBezTo>
                    <a:pt x="11878" y="3907"/>
                    <a:pt x="11878" y="3750"/>
                    <a:pt x="11815" y="3624"/>
                  </a:cubicBezTo>
                  <a:cubicBezTo>
                    <a:pt x="11752" y="3592"/>
                    <a:pt x="11122" y="2710"/>
                    <a:pt x="10114" y="1796"/>
                  </a:cubicBezTo>
                  <a:cubicBezTo>
                    <a:pt x="8916" y="820"/>
                    <a:pt x="7499" y="0"/>
                    <a:pt x="59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1" name="Google Shape;9821;p77"/>
          <p:cNvGrpSpPr/>
          <p:nvPr/>
        </p:nvGrpSpPr>
        <p:grpSpPr>
          <a:xfrm>
            <a:off x="6185904" y="4287346"/>
            <a:ext cx="351286" cy="326390"/>
            <a:chOff x="6524150" y="1938725"/>
            <a:chExt cx="297725" cy="276625"/>
          </a:xfrm>
        </p:grpSpPr>
        <p:sp>
          <p:nvSpPr>
            <p:cNvPr id="9822" name="Google Shape;9822;p77"/>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77"/>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4" name="Google Shape;9824;p77"/>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5" name="Google Shape;9825;p77"/>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6" name="Google Shape;9826;p77"/>
          <p:cNvGrpSpPr/>
          <p:nvPr/>
        </p:nvGrpSpPr>
        <p:grpSpPr>
          <a:xfrm>
            <a:off x="6637536" y="1531966"/>
            <a:ext cx="350401" cy="349457"/>
            <a:chOff x="2141000" y="1954475"/>
            <a:chExt cx="296975" cy="296175"/>
          </a:xfrm>
        </p:grpSpPr>
        <p:sp>
          <p:nvSpPr>
            <p:cNvPr id="9827" name="Google Shape;9827;p77"/>
            <p:cNvSpPr/>
            <p:nvPr/>
          </p:nvSpPr>
          <p:spPr>
            <a:xfrm>
              <a:off x="2280425" y="1989925"/>
              <a:ext cx="104775" cy="68550"/>
            </a:xfrm>
            <a:custGeom>
              <a:avLst/>
              <a:gdLst/>
              <a:ahLst/>
              <a:cxnLst/>
              <a:rect l="l" t="t" r="r" b="b"/>
              <a:pathLst>
                <a:path w="4191" h="2742" extrusionOk="0">
                  <a:moveTo>
                    <a:pt x="347" y="0"/>
                  </a:moveTo>
                  <a:cubicBezTo>
                    <a:pt x="158" y="0"/>
                    <a:pt x="0" y="158"/>
                    <a:pt x="0" y="347"/>
                  </a:cubicBezTo>
                  <a:cubicBezTo>
                    <a:pt x="0" y="505"/>
                    <a:pt x="158" y="662"/>
                    <a:pt x="315" y="662"/>
                  </a:cubicBezTo>
                  <a:lnTo>
                    <a:pt x="2426" y="662"/>
                  </a:lnTo>
                  <a:cubicBezTo>
                    <a:pt x="2615" y="662"/>
                    <a:pt x="2773" y="820"/>
                    <a:pt x="2773" y="1009"/>
                  </a:cubicBezTo>
                  <a:lnTo>
                    <a:pt x="2773" y="1576"/>
                  </a:lnTo>
                  <a:lnTo>
                    <a:pt x="2678" y="1450"/>
                  </a:lnTo>
                  <a:cubicBezTo>
                    <a:pt x="2615" y="1387"/>
                    <a:pt x="2521" y="1355"/>
                    <a:pt x="2430" y="1355"/>
                  </a:cubicBezTo>
                  <a:cubicBezTo>
                    <a:pt x="2340" y="1355"/>
                    <a:pt x="2253" y="1387"/>
                    <a:pt x="2206" y="1450"/>
                  </a:cubicBezTo>
                  <a:cubicBezTo>
                    <a:pt x="2080" y="1576"/>
                    <a:pt x="2080" y="1796"/>
                    <a:pt x="2206" y="1922"/>
                  </a:cubicBezTo>
                  <a:lnTo>
                    <a:pt x="2899" y="2647"/>
                  </a:lnTo>
                  <a:cubicBezTo>
                    <a:pt x="2993" y="2710"/>
                    <a:pt x="3056" y="2741"/>
                    <a:pt x="3151" y="2741"/>
                  </a:cubicBezTo>
                  <a:cubicBezTo>
                    <a:pt x="3214" y="2741"/>
                    <a:pt x="3340" y="2710"/>
                    <a:pt x="3371" y="2647"/>
                  </a:cubicBezTo>
                  <a:lnTo>
                    <a:pt x="4096" y="1922"/>
                  </a:lnTo>
                  <a:cubicBezTo>
                    <a:pt x="4191" y="1796"/>
                    <a:pt x="4191" y="1576"/>
                    <a:pt x="4096" y="1450"/>
                  </a:cubicBezTo>
                  <a:cubicBezTo>
                    <a:pt x="4033" y="1387"/>
                    <a:pt x="3938" y="1355"/>
                    <a:pt x="3848" y="1355"/>
                  </a:cubicBezTo>
                  <a:cubicBezTo>
                    <a:pt x="3757" y="1355"/>
                    <a:pt x="3671" y="1387"/>
                    <a:pt x="3623" y="1450"/>
                  </a:cubicBezTo>
                  <a:lnTo>
                    <a:pt x="3497" y="1576"/>
                  </a:lnTo>
                  <a:lnTo>
                    <a:pt x="3497" y="1009"/>
                  </a:lnTo>
                  <a:cubicBezTo>
                    <a:pt x="3497" y="442"/>
                    <a:pt x="3025"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77"/>
            <p:cNvSpPr/>
            <p:nvPr/>
          </p:nvSpPr>
          <p:spPr>
            <a:xfrm>
              <a:off x="2174875" y="2145875"/>
              <a:ext cx="105575" cy="69325"/>
            </a:xfrm>
            <a:custGeom>
              <a:avLst/>
              <a:gdLst/>
              <a:ahLst/>
              <a:cxnLst/>
              <a:rect l="l" t="t" r="r" b="b"/>
              <a:pathLst>
                <a:path w="4223" h="2773" extrusionOk="0">
                  <a:moveTo>
                    <a:pt x="1056" y="0"/>
                  </a:moveTo>
                  <a:cubicBezTo>
                    <a:pt x="969" y="0"/>
                    <a:pt x="883" y="32"/>
                    <a:pt x="820" y="95"/>
                  </a:cubicBezTo>
                  <a:lnTo>
                    <a:pt x="95" y="820"/>
                  </a:lnTo>
                  <a:cubicBezTo>
                    <a:pt x="1" y="914"/>
                    <a:pt x="1" y="1166"/>
                    <a:pt x="95" y="1292"/>
                  </a:cubicBezTo>
                  <a:cubicBezTo>
                    <a:pt x="158" y="1339"/>
                    <a:pt x="253" y="1363"/>
                    <a:pt x="343" y="1363"/>
                  </a:cubicBezTo>
                  <a:cubicBezTo>
                    <a:pt x="434" y="1363"/>
                    <a:pt x="521" y="1339"/>
                    <a:pt x="568" y="1292"/>
                  </a:cubicBezTo>
                  <a:lnTo>
                    <a:pt x="694" y="1166"/>
                  </a:lnTo>
                  <a:lnTo>
                    <a:pt x="694" y="1702"/>
                  </a:lnTo>
                  <a:cubicBezTo>
                    <a:pt x="757" y="2300"/>
                    <a:pt x="1229" y="2773"/>
                    <a:pt x="1765" y="2773"/>
                  </a:cubicBezTo>
                  <a:lnTo>
                    <a:pt x="3844" y="2773"/>
                  </a:lnTo>
                  <a:cubicBezTo>
                    <a:pt x="4065" y="2773"/>
                    <a:pt x="4222" y="2615"/>
                    <a:pt x="4222" y="2426"/>
                  </a:cubicBezTo>
                  <a:cubicBezTo>
                    <a:pt x="4222" y="2237"/>
                    <a:pt x="4065" y="2080"/>
                    <a:pt x="3844" y="2080"/>
                  </a:cubicBezTo>
                  <a:lnTo>
                    <a:pt x="1765" y="2080"/>
                  </a:lnTo>
                  <a:cubicBezTo>
                    <a:pt x="1576" y="2080"/>
                    <a:pt x="1418" y="1922"/>
                    <a:pt x="1418" y="1702"/>
                  </a:cubicBezTo>
                  <a:lnTo>
                    <a:pt x="1418" y="1166"/>
                  </a:lnTo>
                  <a:lnTo>
                    <a:pt x="1544" y="1292"/>
                  </a:lnTo>
                  <a:cubicBezTo>
                    <a:pt x="1592" y="1339"/>
                    <a:pt x="1678" y="1363"/>
                    <a:pt x="1769" y="1363"/>
                  </a:cubicBezTo>
                  <a:cubicBezTo>
                    <a:pt x="1859" y="1363"/>
                    <a:pt x="1954" y="1339"/>
                    <a:pt x="2017" y="1292"/>
                  </a:cubicBezTo>
                  <a:cubicBezTo>
                    <a:pt x="2112" y="1166"/>
                    <a:pt x="2112" y="914"/>
                    <a:pt x="2017" y="820"/>
                  </a:cubicBezTo>
                  <a:lnTo>
                    <a:pt x="1292" y="95"/>
                  </a:lnTo>
                  <a:cubicBezTo>
                    <a:pt x="1229" y="32"/>
                    <a:pt x="1143" y="0"/>
                    <a:pt x="10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9" name="Google Shape;9829;p77"/>
            <p:cNvSpPr/>
            <p:nvPr/>
          </p:nvSpPr>
          <p:spPr>
            <a:xfrm>
              <a:off x="2141000" y="1954475"/>
              <a:ext cx="139450" cy="174100"/>
            </a:xfrm>
            <a:custGeom>
              <a:avLst/>
              <a:gdLst/>
              <a:ahLst/>
              <a:cxnLst/>
              <a:rect l="l" t="t" r="r" b="b"/>
              <a:pathLst>
                <a:path w="5578" h="6964" extrusionOk="0">
                  <a:moveTo>
                    <a:pt x="2773" y="694"/>
                  </a:moveTo>
                  <a:cubicBezTo>
                    <a:pt x="3372" y="694"/>
                    <a:pt x="3782" y="1166"/>
                    <a:pt x="3782" y="1734"/>
                  </a:cubicBezTo>
                  <a:cubicBezTo>
                    <a:pt x="3782" y="2301"/>
                    <a:pt x="3309" y="2742"/>
                    <a:pt x="2773" y="2742"/>
                  </a:cubicBezTo>
                  <a:cubicBezTo>
                    <a:pt x="2175" y="2742"/>
                    <a:pt x="1734" y="2269"/>
                    <a:pt x="1734" y="1734"/>
                  </a:cubicBezTo>
                  <a:cubicBezTo>
                    <a:pt x="1734" y="1166"/>
                    <a:pt x="2206" y="694"/>
                    <a:pt x="2773" y="694"/>
                  </a:cubicBezTo>
                  <a:close/>
                  <a:moveTo>
                    <a:pt x="2773" y="3466"/>
                  </a:moveTo>
                  <a:cubicBezTo>
                    <a:pt x="3908" y="3466"/>
                    <a:pt x="4853" y="4411"/>
                    <a:pt x="4853" y="5546"/>
                  </a:cubicBezTo>
                  <a:lnTo>
                    <a:pt x="4853" y="6270"/>
                  </a:lnTo>
                  <a:lnTo>
                    <a:pt x="694" y="6270"/>
                  </a:lnTo>
                  <a:lnTo>
                    <a:pt x="694" y="5546"/>
                  </a:lnTo>
                  <a:cubicBezTo>
                    <a:pt x="694" y="4411"/>
                    <a:pt x="1639" y="3466"/>
                    <a:pt x="2773" y="3466"/>
                  </a:cubicBezTo>
                  <a:close/>
                  <a:moveTo>
                    <a:pt x="2805" y="1"/>
                  </a:moveTo>
                  <a:cubicBezTo>
                    <a:pt x="1860" y="1"/>
                    <a:pt x="1072" y="788"/>
                    <a:pt x="1072" y="1734"/>
                  </a:cubicBezTo>
                  <a:cubicBezTo>
                    <a:pt x="1072" y="2238"/>
                    <a:pt x="1324" y="2710"/>
                    <a:pt x="1671" y="3025"/>
                  </a:cubicBezTo>
                  <a:cubicBezTo>
                    <a:pt x="726" y="3466"/>
                    <a:pt x="64" y="4443"/>
                    <a:pt x="64" y="5577"/>
                  </a:cubicBezTo>
                  <a:lnTo>
                    <a:pt x="64" y="6617"/>
                  </a:lnTo>
                  <a:cubicBezTo>
                    <a:pt x="1" y="6806"/>
                    <a:pt x="159" y="6963"/>
                    <a:pt x="379" y="6963"/>
                  </a:cubicBezTo>
                  <a:lnTo>
                    <a:pt x="5199" y="6963"/>
                  </a:lnTo>
                  <a:cubicBezTo>
                    <a:pt x="5420" y="6963"/>
                    <a:pt x="5577" y="6806"/>
                    <a:pt x="5577" y="6617"/>
                  </a:cubicBezTo>
                  <a:lnTo>
                    <a:pt x="5577" y="5577"/>
                  </a:lnTo>
                  <a:cubicBezTo>
                    <a:pt x="5577" y="4443"/>
                    <a:pt x="4884" y="3498"/>
                    <a:pt x="3939" y="3025"/>
                  </a:cubicBezTo>
                  <a:cubicBezTo>
                    <a:pt x="4317" y="2710"/>
                    <a:pt x="4538" y="2238"/>
                    <a:pt x="4538" y="1734"/>
                  </a:cubicBezTo>
                  <a:cubicBezTo>
                    <a:pt x="4538" y="788"/>
                    <a:pt x="3750" y="1"/>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0" name="Google Shape;9830;p77"/>
            <p:cNvSpPr/>
            <p:nvPr/>
          </p:nvSpPr>
          <p:spPr>
            <a:xfrm>
              <a:off x="2298525" y="2076550"/>
              <a:ext cx="139450" cy="174100"/>
            </a:xfrm>
            <a:custGeom>
              <a:avLst/>
              <a:gdLst/>
              <a:ahLst/>
              <a:cxnLst/>
              <a:rect l="l" t="t" r="r" b="b"/>
              <a:pathLst>
                <a:path w="5578" h="6964" extrusionOk="0">
                  <a:moveTo>
                    <a:pt x="2773" y="663"/>
                  </a:moveTo>
                  <a:cubicBezTo>
                    <a:pt x="3372" y="663"/>
                    <a:pt x="3782" y="1135"/>
                    <a:pt x="3782" y="1702"/>
                  </a:cubicBezTo>
                  <a:cubicBezTo>
                    <a:pt x="3782" y="2238"/>
                    <a:pt x="3309" y="2710"/>
                    <a:pt x="2773" y="2710"/>
                  </a:cubicBezTo>
                  <a:cubicBezTo>
                    <a:pt x="2175" y="2710"/>
                    <a:pt x="1734" y="2238"/>
                    <a:pt x="1734" y="1702"/>
                  </a:cubicBezTo>
                  <a:cubicBezTo>
                    <a:pt x="1734" y="1135"/>
                    <a:pt x="2175" y="663"/>
                    <a:pt x="2773" y="663"/>
                  </a:cubicBezTo>
                  <a:close/>
                  <a:moveTo>
                    <a:pt x="2773" y="3467"/>
                  </a:moveTo>
                  <a:cubicBezTo>
                    <a:pt x="3908" y="3467"/>
                    <a:pt x="4853" y="4412"/>
                    <a:pt x="4853" y="5546"/>
                  </a:cubicBezTo>
                  <a:lnTo>
                    <a:pt x="4853" y="6270"/>
                  </a:lnTo>
                  <a:lnTo>
                    <a:pt x="694" y="6270"/>
                  </a:lnTo>
                  <a:lnTo>
                    <a:pt x="694" y="5546"/>
                  </a:lnTo>
                  <a:cubicBezTo>
                    <a:pt x="694" y="4412"/>
                    <a:pt x="1639" y="3467"/>
                    <a:pt x="2773" y="3467"/>
                  </a:cubicBezTo>
                  <a:close/>
                  <a:moveTo>
                    <a:pt x="2773" y="1"/>
                  </a:moveTo>
                  <a:cubicBezTo>
                    <a:pt x="1828" y="1"/>
                    <a:pt x="1041" y="789"/>
                    <a:pt x="1041" y="1734"/>
                  </a:cubicBezTo>
                  <a:cubicBezTo>
                    <a:pt x="1041" y="2238"/>
                    <a:pt x="1261" y="2710"/>
                    <a:pt x="1608" y="3025"/>
                  </a:cubicBezTo>
                  <a:cubicBezTo>
                    <a:pt x="663" y="3467"/>
                    <a:pt x="1" y="4443"/>
                    <a:pt x="1" y="5546"/>
                  </a:cubicBezTo>
                  <a:lnTo>
                    <a:pt x="1" y="6617"/>
                  </a:lnTo>
                  <a:cubicBezTo>
                    <a:pt x="1" y="6806"/>
                    <a:pt x="159" y="6964"/>
                    <a:pt x="379" y="6964"/>
                  </a:cubicBezTo>
                  <a:lnTo>
                    <a:pt x="5199" y="6964"/>
                  </a:lnTo>
                  <a:cubicBezTo>
                    <a:pt x="5420" y="6964"/>
                    <a:pt x="5577" y="6806"/>
                    <a:pt x="5577" y="6617"/>
                  </a:cubicBezTo>
                  <a:lnTo>
                    <a:pt x="5577" y="5546"/>
                  </a:lnTo>
                  <a:cubicBezTo>
                    <a:pt x="5514" y="4412"/>
                    <a:pt x="4853" y="3467"/>
                    <a:pt x="3908" y="3025"/>
                  </a:cubicBezTo>
                  <a:cubicBezTo>
                    <a:pt x="4254" y="2710"/>
                    <a:pt x="4506" y="2238"/>
                    <a:pt x="4506" y="1734"/>
                  </a:cubicBezTo>
                  <a:cubicBezTo>
                    <a:pt x="4506" y="789"/>
                    <a:pt x="3719"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1" name="Google Shape;9831;p77"/>
          <p:cNvGrpSpPr/>
          <p:nvPr/>
        </p:nvGrpSpPr>
        <p:grpSpPr>
          <a:xfrm>
            <a:off x="6631047" y="1983807"/>
            <a:ext cx="363380" cy="348778"/>
            <a:chOff x="2140225" y="2318650"/>
            <a:chExt cx="307975" cy="295600"/>
          </a:xfrm>
        </p:grpSpPr>
        <p:sp>
          <p:nvSpPr>
            <p:cNvPr id="9832" name="Google Shape;9832;p77"/>
            <p:cNvSpPr/>
            <p:nvPr/>
          </p:nvSpPr>
          <p:spPr>
            <a:xfrm>
              <a:off x="2281200" y="2353025"/>
              <a:ext cx="104000" cy="121300"/>
            </a:xfrm>
            <a:custGeom>
              <a:avLst/>
              <a:gdLst/>
              <a:ahLst/>
              <a:cxnLst/>
              <a:rect l="l" t="t" r="r" b="b"/>
              <a:pathLst>
                <a:path w="4160" h="4852" extrusionOk="0">
                  <a:moveTo>
                    <a:pt x="2080" y="662"/>
                  </a:moveTo>
                  <a:cubicBezTo>
                    <a:pt x="2490" y="662"/>
                    <a:pt x="2805" y="977"/>
                    <a:pt x="2805" y="1386"/>
                  </a:cubicBezTo>
                  <a:cubicBezTo>
                    <a:pt x="2805" y="1764"/>
                    <a:pt x="2490" y="2079"/>
                    <a:pt x="2080" y="2079"/>
                  </a:cubicBezTo>
                  <a:cubicBezTo>
                    <a:pt x="1702" y="2079"/>
                    <a:pt x="1387" y="1764"/>
                    <a:pt x="1387" y="1386"/>
                  </a:cubicBezTo>
                  <a:cubicBezTo>
                    <a:pt x="1387" y="977"/>
                    <a:pt x="1702" y="662"/>
                    <a:pt x="2080" y="662"/>
                  </a:cubicBezTo>
                  <a:close/>
                  <a:moveTo>
                    <a:pt x="2080" y="2773"/>
                  </a:moveTo>
                  <a:cubicBezTo>
                    <a:pt x="2836" y="2773"/>
                    <a:pt x="3466" y="3403"/>
                    <a:pt x="3466" y="4127"/>
                  </a:cubicBezTo>
                  <a:lnTo>
                    <a:pt x="662" y="4127"/>
                  </a:lnTo>
                  <a:cubicBezTo>
                    <a:pt x="662" y="3403"/>
                    <a:pt x="1293" y="2773"/>
                    <a:pt x="2080" y="2773"/>
                  </a:cubicBezTo>
                  <a:close/>
                  <a:moveTo>
                    <a:pt x="2112" y="0"/>
                  </a:moveTo>
                  <a:cubicBezTo>
                    <a:pt x="1387" y="0"/>
                    <a:pt x="757" y="630"/>
                    <a:pt x="757" y="1386"/>
                  </a:cubicBezTo>
                  <a:cubicBezTo>
                    <a:pt x="757" y="1733"/>
                    <a:pt x="915" y="2079"/>
                    <a:pt x="1135" y="2332"/>
                  </a:cubicBezTo>
                  <a:cubicBezTo>
                    <a:pt x="505" y="2678"/>
                    <a:pt x="64" y="3340"/>
                    <a:pt x="64" y="4127"/>
                  </a:cubicBezTo>
                  <a:lnTo>
                    <a:pt x="64" y="4505"/>
                  </a:lnTo>
                  <a:cubicBezTo>
                    <a:pt x="1" y="4694"/>
                    <a:pt x="158" y="4852"/>
                    <a:pt x="347" y="4852"/>
                  </a:cubicBezTo>
                  <a:lnTo>
                    <a:pt x="3813" y="4852"/>
                  </a:lnTo>
                  <a:cubicBezTo>
                    <a:pt x="4002" y="4852"/>
                    <a:pt x="4160" y="4694"/>
                    <a:pt x="4160" y="4505"/>
                  </a:cubicBezTo>
                  <a:lnTo>
                    <a:pt x="4160" y="4127"/>
                  </a:lnTo>
                  <a:cubicBezTo>
                    <a:pt x="4160" y="3340"/>
                    <a:pt x="3750" y="2678"/>
                    <a:pt x="3120" y="2332"/>
                  </a:cubicBezTo>
                  <a:cubicBezTo>
                    <a:pt x="3340" y="2079"/>
                    <a:pt x="3498" y="1733"/>
                    <a:pt x="3498" y="1386"/>
                  </a:cubicBezTo>
                  <a:cubicBezTo>
                    <a:pt x="3498" y="630"/>
                    <a:pt x="2868" y="0"/>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77"/>
            <p:cNvSpPr/>
            <p:nvPr/>
          </p:nvSpPr>
          <p:spPr>
            <a:xfrm>
              <a:off x="2140225" y="2318650"/>
              <a:ext cx="307975" cy="295600"/>
            </a:xfrm>
            <a:custGeom>
              <a:avLst/>
              <a:gdLst/>
              <a:ahLst/>
              <a:cxnLst/>
              <a:rect l="l" t="t" r="r" b="b"/>
              <a:pathLst>
                <a:path w="12319" h="11824" extrusionOk="0">
                  <a:moveTo>
                    <a:pt x="7712" y="682"/>
                  </a:moveTo>
                  <a:cubicBezTo>
                    <a:pt x="8607" y="682"/>
                    <a:pt x="9499" y="1029"/>
                    <a:pt x="10177" y="1690"/>
                  </a:cubicBezTo>
                  <a:cubicBezTo>
                    <a:pt x="11468" y="2982"/>
                    <a:pt x="11531" y="5187"/>
                    <a:pt x="10177" y="6573"/>
                  </a:cubicBezTo>
                  <a:cubicBezTo>
                    <a:pt x="9500" y="7266"/>
                    <a:pt x="8627" y="7590"/>
                    <a:pt x="7754" y="7590"/>
                  </a:cubicBezTo>
                  <a:cubicBezTo>
                    <a:pt x="6839" y="7590"/>
                    <a:pt x="5923" y="7234"/>
                    <a:pt x="5230" y="6573"/>
                  </a:cubicBezTo>
                  <a:cubicBezTo>
                    <a:pt x="3939" y="5282"/>
                    <a:pt x="3876" y="3045"/>
                    <a:pt x="5325" y="1659"/>
                  </a:cubicBezTo>
                  <a:cubicBezTo>
                    <a:pt x="6001" y="997"/>
                    <a:pt x="6858" y="682"/>
                    <a:pt x="7712" y="682"/>
                  </a:cubicBezTo>
                  <a:close/>
                  <a:moveTo>
                    <a:pt x="4128" y="6258"/>
                  </a:moveTo>
                  <a:cubicBezTo>
                    <a:pt x="4285" y="6573"/>
                    <a:pt x="4537" y="6857"/>
                    <a:pt x="4758" y="7078"/>
                  </a:cubicBezTo>
                  <a:cubicBezTo>
                    <a:pt x="5010" y="7330"/>
                    <a:pt x="5293" y="7550"/>
                    <a:pt x="5577" y="7708"/>
                  </a:cubicBezTo>
                  <a:lnTo>
                    <a:pt x="5136" y="8180"/>
                  </a:lnTo>
                  <a:cubicBezTo>
                    <a:pt x="5073" y="8243"/>
                    <a:pt x="4978" y="8275"/>
                    <a:pt x="4888" y="8275"/>
                  </a:cubicBezTo>
                  <a:cubicBezTo>
                    <a:pt x="4797" y="8275"/>
                    <a:pt x="4710" y="8243"/>
                    <a:pt x="4663" y="8180"/>
                  </a:cubicBezTo>
                  <a:lnTo>
                    <a:pt x="3655" y="7204"/>
                  </a:lnTo>
                  <a:cubicBezTo>
                    <a:pt x="3498" y="7078"/>
                    <a:pt x="3498" y="6857"/>
                    <a:pt x="3655" y="6731"/>
                  </a:cubicBezTo>
                  <a:lnTo>
                    <a:pt x="4128" y="6258"/>
                  </a:lnTo>
                  <a:close/>
                  <a:moveTo>
                    <a:pt x="3403" y="7960"/>
                  </a:moveTo>
                  <a:lnTo>
                    <a:pt x="3876" y="8432"/>
                  </a:lnTo>
                  <a:lnTo>
                    <a:pt x="3309" y="8968"/>
                  </a:lnTo>
                  <a:lnTo>
                    <a:pt x="2836" y="8495"/>
                  </a:lnTo>
                  <a:lnTo>
                    <a:pt x="3403" y="7960"/>
                  </a:lnTo>
                  <a:close/>
                  <a:moveTo>
                    <a:pt x="2363" y="8968"/>
                  </a:moveTo>
                  <a:lnTo>
                    <a:pt x="2836" y="9440"/>
                  </a:lnTo>
                  <a:lnTo>
                    <a:pt x="1292" y="10984"/>
                  </a:lnTo>
                  <a:cubicBezTo>
                    <a:pt x="1245" y="11047"/>
                    <a:pt x="1158" y="11079"/>
                    <a:pt x="1068" y="11079"/>
                  </a:cubicBezTo>
                  <a:cubicBezTo>
                    <a:pt x="977" y="11079"/>
                    <a:pt x="883" y="11047"/>
                    <a:pt x="820" y="10984"/>
                  </a:cubicBezTo>
                  <a:cubicBezTo>
                    <a:pt x="725" y="10858"/>
                    <a:pt x="725" y="10669"/>
                    <a:pt x="820" y="10512"/>
                  </a:cubicBezTo>
                  <a:lnTo>
                    <a:pt x="2363" y="8968"/>
                  </a:lnTo>
                  <a:close/>
                  <a:moveTo>
                    <a:pt x="7731" y="1"/>
                  </a:moveTo>
                  <a:cubicBezTo>
                    <a:pt x="6669" y="1"/>
                    <a:pt x="5604" y="403"/>
                    <a:pt x="4789" y="1218"/>
                  </a:cubicBezTo>
                  <a:cubicBezTo>
                    <a:pt x="3592" y="2446"/>
                    <a:pt x="3309" y="4179"/>
                    <a:pt x="3844" y="5628"/>
                  </a:cubicBezTo>
                  <a:lnTo>
                    <a:pt x="3182" y="6290"/>
                  </a:lnTo>
                  <a:cubicBezTo>
                    <a:pt x="2867" y="6605"/>
                    <a:pt x="2804" y="7078"/>
                    <a:pt x="2993" y="7487"/>
                  </a:cubicBezTo>
                  <a:lnTo>
                    <a:pt x="410" y="10071"/>
                  </a:lnTo>
                  <a:cubicBezTo>
                    <a:pt x="0" y="10480"/>
                    <a:pt x="0" y="11142"/>
                    <a:pt x="410" y="11520"/>
                  </a:cubicBezTo>
                  <a:cubicBezTo>
                    <a:pt x="580" y="11721"/>
                    <a:pt x="826" y="11823"/>
                    <a:pt x="1081" y="11823"/>
                  </a:cubicBezTo>
                  <a:cubicBezTo>
                    <a:pt x="1345" y="11823"/>
                    <a:pt x="1619" y="11713"/>
                    <a:pt x="1828" y="11488"/>
                  </a:cubicBezTo>
                  <a:lnTo>
                    <a:pt x="4411" y="8905"/>
                  </a:lnTo>
                  <a:cubicBezTo>
                    <a:pt x="4565" y="8976"/>
                    <a:pt x="4727" y="9011"/>
                    <a:pt x="4887" y="9011"/>
                  </a:cubicBezTo>
                  <a:cubicBezTo>
                    <a:pt x="5153" y="9011"/>
                    <a:pt x="5411" y="8913"/>
                    <a:pt x="5608" y="8716"/>
                  </a:cubicBezTo>
                  <a:lnTo>
                    <a:pt x="6270" y="8023"/>
                  </a:lnTo>
                  <a:cubicBezTo>
                    <a:pt x="6736" y="8205"/>
                    <a:pt x="7231" y="8296"/>
                    <a:pt x="7729" y="8296"/>
                  </a:cubicBezTo>
                  <a:cubicBezTo>
                    <a:pt x="8781" y="8296"/>
                    <a:pt x="9847" y="7890"/>
                    <a:pt x="10681" y="7078"/>
                  </a:cubicBezTo>
                  <a:cubicBezTo>
                    <a:pt x="12319" y="5439"/>
                    <a:pt x="12287" y="2793"/>
                    <a:pt x="10681" y="1218"/>
                  </a:cubicBezTo>
                  <a:cubicBezTo>
                    <a:pt x="9873" y="410"/>
                    <a:pt x="8804" y="1"/>
                    <a:pt x="77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77"/>
          <p:cNvGrpSpPr/>
          <p:nvPr/>
        </p:nvGrpSpPr>
        <p:grpSpPr>
          <a:xfrm>
            <a:off x="6636607" y="2425305"/>
            <a:ext cx="352259" cy="349427"/>
            <a:chOff x="2139425" y="2682250"/>
            <a:chExt cx="298550" cy="296150"/>
          </a:xfrm>
        </p:grpSpPr>
        <p:sp>
          <p:nvSpPr>
            <p:cNvPr id="9835" name="Google Shape;9835;p77"/>
            <p:cNvSpPr/>
            <p:nvPr/>
          </p:nvSpPr>
          <p:spPr>
            <a:xfrm>
              <a:off x="2139425" y="2787000"/>
              <a:ext cx="159125" cy="191400"/>
            </a:xfrm>
            <a:custGeom>
              <a:avLst/>
              <a:gdLst/>
              <a:ahLst/>
              <a:cxnLst/>
              <a:rect l="l" t="t" r="r" b="b"/>
              <a:pathLst>
                <a:path w="6365" h="7656" extrusionOk="0">
                  <a:moveTo>
                    <a:pt x="3214" y="630"/>
                  </a:moveTo>
                  <a:cubicBezTo>
                    <a:pt x="3813" y="630"/>
                    <a:pt x="4286" y="1103"/>
                    <a:pt x="4286" y="1670"/>
                  </a:cubicBezTo>
                  <a:cubicBezTo>
                    <a:pt x="4286" y="2206"/>
                    <a:pt x="3813" y="2678"/>
                    <a:pt x="3214" y="2678"/>
                  </a:cubicBezTo>
                  <a:cubicBezTo>
                    <a:pt x="2647" y="2678"/>
                    <a:pt x="2175" y="2206"/>
                    <a:pt x="2175" y="1670"/>
                  </a:cubicBezTo>
                  <a:cubicBezTo>
                    <a:pt x="2175" y="1166"/>
                    <a:pt x="2647" y="630"/>
                    <a:pt x="3214" y="630"/>
                  </a:cubicBezTo>
                  <a:close/>
                  <a:moveTo>
                    <a:pt x="3183" y="3403"/>
                  </a:moveTo>
                  <a:cubicBezTo>
                    <a:pt x="4538" y="3403"/>
                    <a:pt x="5609" y="4506"/>
                    <a:pt x="5609" y="5829"/>
                  </a:cubicBezTo>
                  <a:lnTo>
                    <a:pt x="5609" y="6931"/>
                  </a:lnTo>
                  <a:lnTo>
                    <a:pt x="757" y="6931"/>
                  </a:lnTo>
                  <a:lnTo>
                    <a:pt x="757" y="5829"/>
                  </a:lnTo>
                  <a:cubicBezTo>
                    <a:pt x="757" y="4506"/>
                    <a:pt x="1860" y="3403"/>
                    <a:pt x="3183" y="3403"/>
                  </a:cubicBezTo>
                  <a:close/>
                  <a:moveTo>
                    <a:pt x="3183" y="0"/>
                  </a:moveTo>
                  <a:cubicBezTo>
                    <a:pt x="2238" y="0"/>
                    <a:pt x="1419" y="788"/>
                    <a:pt x="1419" y="1733"/>
                  </a:cubicBezTo>
                  <a:cubicBezTo>
                    <a:pt x="1419" y="2206"/>
                    <a:pt x="1608" y="2678"/>
                    <a:pt x="1954" y="2993"/>
                  </a:cubicBezTo>
                  <a:cubicBezTo>
                    <a:pt x="820" y="3466"/>
                    <a:pt x="1" y="4569"/>
                    <a:pt x="1" y="5892"/>
                  </a:cubicBezTo>
                  <a:lnTo>
                    <a:pt x="1" y="7309"/>
                  </a:lnTo>
                  <a:cubicBezTo>
                    <a:pt x="64" y="7498"/>
                    <a:pt x="222" y="7656"/>
                    <a:pt x="442" y="7656"/>
                  </a:cubicBezTo>
                  <a:lnTo>
                    <a:pt x="6018" y="7656"/>
                  </a:lnTo>
                  <a:cubicBezTo>
                    <a:pt x="6207" y="7656"/>
                    <a:pt x="6365" y="7498"/>
                    <a:pt x="6365" y="7309"/>
                  </a:cubicBezTo>
                  <a:lnTo>
                    <a:pt x="6365" y="5892"/>
                  </a:lnTo>
                  <a:cubicBezTo>
                    <a:pt x="6365" y="4569"/>
                    <a:pt x="5546" y="3466"/>
                    <a:pt x="4412" y="2993"/>
                  </a:cubicBezTo>
                  <a:cubicBezTo>
                    <a:pt x="4758" y="2647"/>
                    <a:pt x="4947" y="2206"/>
                    <a:pt x="4947" y="1733"/>
                  </a:cubicBezTo>
                  <a:cubicBezTo>
                    <a:pt x="4947" y="788"/>
                    <a:pt x="4160"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77"/>
            <p:cNvSpPr/>
            <p:nvPr/>
          </p:nvSpPr>
          <p:spPr>
            <a:xfrm>
              <a:off x="2280425" y="2682250"/>
              <a:ext cx="157550" cy="155975"/>
            </a:xfrm>
            <a:custGeom>
              <a:avLst/>
              <a:gdLst/>
              <a:ahLst/>
              <a:cxnLst/>
              <a:rect l="l" t="t" r="r" b="b"/>
              <a:pathLst>
                <a:path w="6302" h="6239" extrusionOk="0">
                  <a:moveTo>
                    <a:pt x="3182" y="662"/>
                  </a:moveTo>
                  <a:cubicBezTo>
                    <a:pt x="4506" y="662"/>
                    <a:pt x="5608" y="1764"/>
                    <a:pt x="5608" y="3088"/>
                  </a:cubicBezTo>
                  <a:cubicBezTo>
                    <a:pt x="5577" y="4442"/>
                    <a:pt x="4474" y="5545"/>
                    <a:pt x="3151" y="5545"/>
                  </a:cubicBezTo>
                  <a:cubicBezTo>
                    <a:pt x="2710" y="5545"/>
                    <a:pt x="2300" y="5419"/>
                    <a:pt x="1954" y="5230"/>
                  </a:cubicBezTo>
                  <a:cubicBezTo>
                    <a:pt x="1891" y="5198"/>
                    <a:pt x="1796" y="5198"/>
                    <a:pt x="1733" y="5198"/>
                  </a:cubicBezTo>
                  <a:lnTo>
                    <a:pt x="946" y="5388"/>
                  </a:lnTo>
                  <a:lnTo>
                    <a:pt x="1166" y="4663"/>
                  </a:lnTo>
                  <a:cubicBezTo>
                    <a:pt x="1198" y="4568"/>
                    <a:pt x="1166" y="4474"/>
                    <a:pt x="1135" y="4411"/>
                  </a:cubicBezTo>
                  <a:cubicBezTo>
                    <a:pt x="883" y="4001"/>
                    <a:pt x="725" y="3560"/>
                    <a:pt x="725" y="3088"/>
                  </a:cubicBezTo>
                  <a:cubicBezTo>
                    <a:pt x="725" y="1764"/>
                    <a:pt x="1828" y="662"/>
                    <a:pt x="3182" y="662"/>
                  </a:cubicBezTo>
                  <a:close/>
                  <a:moveTo>
                    <a:pt x="3151" y="0"/>
                  </a:moveTo>
                  <a:cubicBezTo>
                    <a:pt x="1418" y="0"/>
                    <a:pt x="32" y="1418"/>
                    <a:pt x="32" y="3088"/>
                  </a:cubicBezTo>
                  <a:cubicBezTo>
                    <a:pt x="32" y="3655"/>
                    <a:pt x="158" y="4159"/>
                    <a:pt x="410" y="4631"/>
                  </a:cubicBezTo>
                  <a:lnTo>
                    <a:pt x="32" y="5766"/>
                  </a:lnTo>
                  <a:cubicBezTo>
                    <a:pt x="0" y="5892"/>
                    <a:pt x="32" y="6018"/>
                    <a:pt x="95" y="6144"/>
                  </a:cubicBezTo>
                  <a:cubicBezTo>
                    <a:pt x="189" y="6207"/>
                    <a:pt x="315" y="6238"/>
                    <a:pt x="473" y="6238"/>
                  </a:cubicBezTo>
                  <a:lnTo>
                    <a:pt x="1765" y="5923"/>
                  </a:lnTo>
                  <a:cubicBezTo>
                    <a:pt x="2206" y="6175"/>
                    <a:pt x="2678" y="6238"/>
                    <a:pt x="3182" y="6238"/>
                  </a:cubicBezTo>
                  <a:cubicBezTo>
                    <a:pt x="4915" y="6238"/>
                    <a:pt x="6301" y="4820"/>
                    <a:pt x="6301" y="3151"/>
                  </a:cubicBezTo>
                  <a:cubicBezTo>
                    <a:pt x="6238" y="1418"/>
                    <a:pt x="488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77"/>
            <p:cNvSpPr/>
            <p:nvPr/>
          </p:nvSpPr>
          <p:spPr>
            <a:xfrm>
              <a:off x="2349725" y="2725550"/>
              <a:ext cx="18150" cy="17375"/>
            </a:xfrm>
            <a:custGeom>
              <a:avLst/>
              <a:gdLst/>
              <a:ahLst/>
              <a:cxnLst/>
              <a:rect l="l" t="t" r="r" b="b"/>
              <a:pathLst>
                <a:path w="726" h="695" extrusionOk="0">
                  <a:moveTo>
                    <a:pt x="379" y="1"/>
                  </a:moveTo>
                  <a:cubicBezTo>
                    <a:pt x="158" y="1"/>
                    <a:pt x="1" y="158"/>
                    <a:pt x="1" y="348"/>
                  </a:cubicBezTo>
                  <a:cubicBezTo>
                    <a:pt x="1" y="537"/>
                    <a:pt x="158" y="694"/>
                    <a:pt x="379" y="694"/>
                  </a:cubicBezTo>
                  <a:cubicBezTo>
                    <a:pt x="568" y="694"/>
                    <a:pt x="725" y="537"/>
                    <a:pt x="725" y="348"/>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77"/>
            <p:cNvSpPr/>
            <p:nvPr/>
          </p:nvSpPr>
          <p:spPr>
            <a:xfrm>
              <a:off x="2349725" y="2751550"/>
              <a:ext cx="18150" cy="52800"/>
            </a:xfrm>
            <a:custGeom>
              <a:avLst/>
              <a:gdLst/>
              <a:ahLst/>
              <a:cxnLst/>
              <a:rect l="l" t="t" r="r" b="b"/>
              <a:pathLst>
                <a:path w="726" h="2112" extrusionOk="0">
                  <a:moveTo>
                    <a:pt x="379" y="1"/>
                  </a:moveTo>
                  <a:cubicBezTo>
                    <a:pt x="158" y="1"/>
                    <a:pt x="1" y="158"/>
                    <a:pt x="1" y="379"/>
                  </a:cubicBezTo>
                  <a:lnTo>
                    <a:pt x="1" y="1733"/>
                  </a:lnTo>
                  <a:cubicBezTo>
                    <a:pt x="1" y="1954"/>
                    <a:pt x="158" y="2111"/>
                    <a:pt x="379" y="2111"/>
                  </a:cubicBezTo>
                  <a:cubicBezTo>
                    <a:pt x="568" y="2111"/>
                    <a:pt x="725" y="1954"/>
                    <a:pt x="725" y="1733"/>
                  </a:cubicBezTo>
                  <a:lnTo>
                    <a:pt x="725" y="379"/>
                  </a:ln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77"/>
          <p:cNvGrpSpPr/>
          <p:nvPr/>
        </p:nvGrpSpPr>
        <p:grpSpPr>
          <a:xfrm>
            <a:off x="5301219" y="2939791"/>
            <a:ext cx="350401" cy="264888"/>
            <a:chOff x="3962775" y="1990700"/>
            <a:chExt cx="296975" cy="224500"/>
          </a:xfrm>
        </p:grpSpPr>
        <p:sp>
          <p:nvSpPr>
            <p:cNvPr id="9840" name="Google Shape;9840;p77"/>
            <p:cNvSpPr/>
            <p:nvPr/>
          </p:nvSpPr>
          <p:spPr>
            <a:xfrm>
              <a:off x="4216400" y="2093100"/>
              <a:ext cx="43350" cy="18150"/>
            </a:xfrm>
            <a:custGeom>
              <a:avLst/>
              <a:gdLst/>
              <a:ahLst/>
              <a:cxnLst/>
              <a:rect l="l" t="t" r="r" b="b"/>
              <a:pathLst>
                <a:path w="1734" h="726" extrusionOk="0">
                  <a:moveTo>
                    <a:pt x="379" y="1"/>
                  </a:moveTo>
                  <a:cubicBezTo>
                    <a:pt x="158" y="1"/>
                    <a:pt x="1" y="158"/>
                    <a:pt x="1" y="347"/>
                  </a:cubicBezTo>
                  <a:cubicBezTo>
                    <a:pt x="1" y="568"/>
                    <a:pt x="158" y="725"/>
                    <a:pt x="379" y="725"/>
                  </a:cubicBezTo>
                  <a:lnTo>
                    <a:pt x="1387" y="725"/>
                  </a:lnTo>
                  <a:cubicBezTo>
                    <a:pt x="1576" y="725"/>
                    <a:pt x="1733" y="568"/>
                    <a:pt x="1733" y="347"/>
                  </a:cubicBezTo>
                  <a:cubicBezTo>
                    <a:pt x="1702" y="158"/>
                    <a:pt x="1544"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77"/>
            <p:cNvSpPr/>
            <p:nvPr/>
          </p:nvSpPr>
          <p:spPr>
            <a:xfrm>
              <a:off x="4206950" y="2129325"/>
              <a:ext cx="35475" cy="33900"/>
            </a:xfrm>
            <a:custGeom>
              <a:avLst/>
              <a:gdLst/>
              <a:ahLst/>
              <a:cxnLst/>
              <a:rect l="l" t="t" r="r" b="b"/>
              <a:pathLst>
                <a:path w="1419" h="1356" extrusionOk="0">
                  <a:moveTo>
                    <a:pt x="351" y="1"/>
                  </a:moveTo>
                  <a:cubicBezTo>
                    <a:pt x="260" y="1"/>
                    <a:pt x="174" y="32"/>
                    <a:pt x="127" y="95"/>
                  </a:cubicBezTo>
                  <a:cubicBezTo>
                    <a:pt x="1" y="221"/>
                    <a:pt x="1" y="410"/>
                    <a:pt x="127" y="568"/>
                  </a:cubicBezTo>
                  <a:lnTo>
                    <a:pt x="820" y="1261"/>
                  </a:lnTo>
                  <a:cubicBezTo>
                    <a:pt x="883" y="1324"/>
                    <a:pt x="969" y="1356"/>
                    <a:pt x="1056" y="1356"/>
                  </a:cubicBezTo>
                  <a:cubicBezTo>
                    <a:pt x="1143" y="1356"/>
                    <a:pt x="1229" y="1324"/>
                    <a:pt x="1292" y="1261"/>
                  </a:cubicBezTo>
                  <a:cubicBezTo>
                    <a:pt x="1418" y="1166"/>
                    <a:pt x="1418" y="914"/>
                    <a:pt x="1292" y="788"/>
                  </a:cubicBezTo>
                  <a:lnTo>
                    <a:pt x="599" y="95"/>
                  </a:lnTo>
                  <a:cubicBezTo>
                    <a:pt x="536" y="32"/>
                    <a:pt x="442" y="1"/>
                    <a:pt x="3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77"/>
            <p:cNvSpPr/>
            <p:nvPr/>
          </p:nvSpPr>
          <p:spPr>
            <a:xfrm>
              <a:off x="4207750" y="2041900"/>
              <a:ext cx="35450" cy="34500"/>
            </a:xfrm>
            <a:custGeom>
              <a:avLst/>
              <a:gdLst/>
              <a:ahLst/>
              <a:cxnLst/>
              <a:rect l="l" t="t" r="r" b="b"/>
              <a:pathLst>
                <a:path w="1418" h="1380" extrusionOk="0">
                  <a:moveTo>
                    <a:pt x="1067" y="1"/>
                  </a:moveTo>
                  <a:cubicBezTo>
                    <a:pt x="977" y="1"/>
                    <a:pt x="882" y="32"/>
                    <a:pt x="819" y="95"/>
                  </a:cubicBezTo>
                  <a:lnTo>
                    <a:pt x="126" y="788"/>
                  </a:lnTo>
                  <a:cubicBezTo>
                    <a:pt x="0" y="914"/>
                    <a:pt x="0" y="1135"/>
                    <a:pt x="126" y="1261"/>
                  </a:cubicBezTo>
                  <a:cubicBezTo>
                    <a:pt x="189" y="1340"/>
                    <a:pt x="268" y="1379"/>
                    <a:pt x="351" y="1379"/>
                  </a:cubicBezTo>
                  <a:cubicBezTo>
                    <a:pt x="433" y="1379"/>
                    <a:pt x="520" y="1340"/>
                    <a:pt x="599" y="1261"/>
                  </a:cubicBezTo>
                  <a:lnTo>
                    <a:pt x="1292" y="568"/>
                  </a:lnTo>
                  <a:cubicBezTo>
                    <a:pt x="1418" y="442"/>
                    <a:pt x="1418" y="190"/>
                    <a:pt x="1292" y="95"/>
                  </a:cubicBezTo>
                  <a:cubicBezTo>
                    <a:pt x="1244" y="32"/>
                    <a:pt x="1158" y="1"/>
                    <a:pt x="10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77"/>
            <p:cNvSpPr/>
            <p:nvPr/>
          </p:nvSpPr>
          <p:spPr>
            <a:xfrm>
              <a:off x="3962775" y="1990700"/>
              <a:ext cx="226075" cy="224500"/>
            </a:xfrm>
            <a:custGeom>
              <a:avLst/>
              <a:gdLst/>
              <a:ahLst/>
              <a:cxnLst/>
              <a:rect l="l" t="t" r="r" b="b"/>
              <a:pathLst>
                <a:path w="9043" h="8980" extrusionOk="0">
                  <a:moveTo>
                    <a:pt x="1419" y="3403"/>
                  </a:moveTo>
                  <a:lnTo>
                    <a:pt x="1419" y="4790"/>
                  </a:lnTo>
                  <a:cubicBezTo>
                    <a:pt x="1009" y="4790"/>
                    <a:pt x="694" y="4506"/>
                    <a:pt x="694" y="4097"/>
                  </a:cubicBezTo>
                  <a:cubicBezTo>
                    <a:pt x="694" y="3719"/>
                    <a:pt x="1009" y="3403"/>
                    <a:pt x="1419" y="3403"/>
                  </a:cubicBezTo>
                  <a:close/>
                  <a:moveTo>
                    <a:pt x="4191" y="2710"/>
                  </a:moveTo>
                  <a:lnTo>
                    <a:pt x="4191" y="5483"/>
                  </a:lnTo>
                  <a:lnTo>
                    <a:pt x="2490" y="5483"/>
                  </a:lnTo>
                  <a:cubicBezTo>
                    <a:pt x="2269" y="5483"/>
                    <a:pt x="2112" y="5325"/>
                    <a:pt x="2112" y="5105"/>
                  </a:cubicBezTo>
                  <a:lnTo>
                    <a:pt x="2112" y="3088"/>
                  </a:lnTo>
                  <a:cubicBezTo>
                    <a:pt x="2112" y="2868"/>
                    <a:pt x="2269" y="2710"/>
                    <a:pt x="2490" y="2710"/>
                  </a:cubicBezTo>
                  <a:close/>
                  <a:moveTo>
                    <a:pt x="6995" y="1828"/>
                  </a:moveTo>
                  <a:lnTo>
                    <a:pt x="6995" y="6428"/>
                  </a:lnTo>
                  <a:cubicBezTo>
                    <a:pt x="6428" y="5924"/>
                    <a:pt x="5672" y="5609"/>
                    <a:pt x="4884" y="5514"/>
                  </a:cubicBezTo>
                  <a:lnTo>
                    <a:pt x="4884" y="2710"/>
                  </a:lnTo>
                  <a:cubicBezTo>
                    <a:pt x="5672" y="2647"/>
                    <a:pt x="6428" y="2332"/>
                    <a:pt x="6995" y="1828"/>
                  </a:cubicBezTo>
                  <a:close/>
                  <a:moveTo>
                    <a:pt x="8066" y="631"/>
                  </a:moveTo>
                  <a:cubicBezTo>
                    <a:pt x="8255" y="631"/>
                    <a:pt x="8413" y="789"/>
                    <a:pt x="8413" y="978"/>
                  </a:cubicBezTo>
                  <a:lnTo>
                    <a:pt x="8413" y="7216"/>
                  </a:lnTo>
                  <a:cubicBezTo>
                    <a:pt x="8413" y="7405"/>
                    <a:pt x="8255" y="7562"/>
                    <a:pt x="8066" y="7562"/>
                  </a:cubicBezTo>
                  <a:cubicBezTo>
                    <a:pt x="7877" y="7562"/>
                    <a:pt x="7720" y="7405"/>
                    <a:pt x="7720" y="7216"/>
                  </a:cubicBezTo>
                  <a:lnTo>
                    <a:pt x="7720" y="978"/>
                  </a:lnTo>
                  <a:cubicBezTo>
                    <a:pt x="7720" y="789"/>
                    <a:pt x="7877" y="631"/>
                    <a:pt x="8066" y="631"/>
                  </a:cubicBezTo>
                  <a:close/>
                  <a:moveTo>
                    <a:pt x="3498" y="6176"/>
                  </a:moveTo>
                  <a:lnTo>
                    <a:pt x="3498" y="7909"/>
                  </a:lnTo>
                  <a:cubicBezTo>
                    <a:pt x="3498" y="8129"/>
                    <a:pt x="3340" y="8287"/>
                    <a:pt x="3151" y="8287"/>
                  </a:cubicBezTo>
                  <a:cubicBezTo>
                    <a:pt x="2962" y="8287"/>
                    <a:pt x="2805" y="8129"/>
                    <a:pt x="2805" y="7909"/>
                  </a:cubicBezTo>
                  <a:lnTo>
                    <a:pt x="2805" y="6176"/>
                  </a:lnTo>
                  <a:close/>
                  <a:moveTo>
                    <a:pt x="8035" y="1"/>
                  </a:moveTo>
                  <a:cubicBezTo>
                    <a:pt x="7531" y="1"/>
                    <a:pt x="7090" y="411"/>
                    <a:pt x="6995" y="883"/>
                  </a:cubicBezTo>
                  <a:lnTo>
                    <a:pt x="6680" y="1198"/>
                  </a:lnTo>
                  <a:cubicBezTo>
                    <a:pt x="6144" y="1734"/>
                    <a:pt x="5325" y="2049"/>
                    <a:pt x="4538" y="2049"/>
                  </a:cubicBezTo>
                  <a:lnTo>
                    <a:pt x="2427" y="2049"/>
                  </a:lnTo>
                  <a:cubicBezTo>
                    <a:pt x="2017" y="2049"/>
                    <a:pt x="1608" y="2332"/>
                    <a:pt x="1450" y="2773"/>
                  </a:cubicBezTo>
                  <a:lnTo>
                    <a:pt x="1387" y="2773"/>
                  </a:lnTo>
                  <a:cubicBezTo>
                    <a:pt x="631" y="2773"/>
                    <a:pt x="1" y="3403"/>
                    <a:pt x="1" y="4128"/>
                  </a:cubicBezTo>
                  <a:cubicBezTo>
                    <a:pt x="1" y="4884"/>
                    <a:pt x="631" y="5514"/>
                    <a:pt x="1387" y="5514"/>
                  </a:cubicBezTo>
                  <a:lnTo>
                    <a:pt x="1450" y="5514"/>
                  </a:lnTo>
                  <a:cubicBezTo>
                    <a:pt x="1576" y="5798"/>
                    <a:pt x="1797" y="6018"/>
                    <a:pt x="2080" y="6144"/>
                  </a:cubicBezTo>
                  <a:lnTo>
                    <a:pt x="2080" y="7940"/>
                  </a:lnTo>
                  <a:cubicBezTo>
                    <a:pt x="2112" y="8507"/>
                    <a:pt x="2584" y="8980"/>
                    <a:pt x="3151" y="8980"/>
                  </a:cubicBezTo>
                  <a:cubicBezTo>
                    <a:pt x="3750" y="8980"/>
                    <a:pt x="4160" y="8507"/>
                    <a:pt x="4160" y="7972"/>
                  </a:cubicBezTo>
                  <a:lnTo>
                    <a:pt x="4160" y="6239"/>
                  </a:lnTo>
                  <a:lnTo>
                    <a:pt x="4538" y="6239"/>
                  </a:lnTo>
                  <a:cubicBezTo>
                    <a:pt x="5325" y="6239"/>
                    <a:pt x="6144" y="6554"/>
                    <a:pt x="6680" y="7090"/>
                  </a:cubicBezTo>
                  <a:lnTo>
                    <a:pt x="6995" y="7405"/>
                  </a:lnTo>
                  <a:cubicBezTo>
                    <a:pt x="7090" y="7909"/>
                    <a:pt x="7531" y="8287"/>
                    <a:pt x="8035" y="8287"/>
                  </a:cubicBezTo>
                  <a:cubicBezTo>
                    <a:pt x="8633" y="8287"/>
                    <a:pt x="9043" y="7814"/>
                    <a:pt x="9043" y="7247"/>
                  </a:cubicBezTo>
                  <a:lnTo>
                    <a:pt x="9043" y="1041"/>
                  </a:lnTo>
                  <a:cubicBezTo>
                    <a:pt x="9043" y="442"/>
                    <a:pt x="8570" y="1"/>
                    <a:pt x="8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44" name="Google Shape;9844;p77"/>
          <p:cNvGrpSpPr/>
          <p:nvPr/>
        </p:nvGrpSpPr>
        <p:grpSpPr>
          <a:xfrm>
            <a:off x="5301691" y="3386497"/>
            <a:ext cx="349457" cy="349457"/>
            <a:chOff x="3963575" y="2317575"/>
            <a:chExt cx="296175" cy="296175"/>
          </a:xfrm>
        </p:grpSpPr>
        <p:sp>
          <p:nvSpPr>
            <p:cNvPr id="9845" name="Google Shape;9845;p77"/>
            <p:cNvSpPr/>
            <p:nvPr/>
          </p:nvSpPr>
          <p:spPr>
            <a:xfrm>
              <a:off x="3963575" y="2317575"/>
              <a:ext cx="296175" cy="296175"/>
            </a:xfrm>
            <a:custGeom>
              <a:avLst/>
              <a:gdLst/>
              <a:ahLst/>
              <a:cxnLst/>
              <a:rect l="l" t="t" r="r" b="b"/>
              <a:pathLst>
                <a:path w="11847" h="11847" extrusionOk="0">
                  <a:moveTo>
                    <a:pt x="9483" y="1418"/>
                  </a:moveTo>
                  <a:cubicBezTo>
                    <a:pt x="9672" y="1418"/>
                    <a:pt x="9830" y="1576"/>
                    <a:pt x="9830" y="1765"/>
                  </a:cubicBezTo>
                  <a:lnTo>
                    <a:pt x="9830" y="2836"/>
                  </a:lnTo>
                  <a:lnTo>
                    <a:pt x="788" y="2836"/>
                  </a:lnTo>
                  <a:lnTo>
                    <a:pt x="788" y="1765"/>
                  </a:lnTo>
                  <a:lnTo>
                    <a:pt x="725" y="1765"/>
                  </a:lnTo>
                  <a:cubicBezTo>
                    <a:pt x="725" y="1576"/>
                    <a:pt x="883" y="1418"/>
                    <a:pt x="1072" y="1418"/>
                  </a:cubicBezTo>
                  <a:lnTo>
                    <a:pt x="1418" y="1418"/>
                  </a:lnTo>
                  <a:lnTo>
                    <a:pt x="1418" y="1765"/>
                  </a:lnTo>
                  <a:cubicBezTo>
                    <a:pt x="1418" y="1954"/>
                    <a:pt x="1576" y="2143"/>
                    <a:pt x="1765" y="2143"/>
                  </a:cubicBezTo>
                  <a:cubicBezTo>
                    <a:pt x="1954" y="2143"/>
                    <a:pt x="2111" y="1954"/>
                    <a:pt x="2111" y="1765"/>
                  </a:cubicBezTo>
                  <a:lnTo>
                    <a:pt x="2111" y="1418"/>
                  </a:lnTo>
                  <a:lnTo>
                    <a:pt x="3498" y="1418"/>
                  </a:lnTo>
                  <a:lnTo>
                    <a:pt x="3498" y="1765"/>
                  </a:lnTo>
                  <a:cubicBezTo>
                    <a:pt x="3498" y="1954"/>
                    <a:pt x="3655" y="2143"/>
                    <a:pt x="3844" y="2143"/>
                  </a:cubicBezTo>
                  <a:cubicBezTo>
                    <a:pt x="4065" y="2143"/>
                    <a:pt x="4222" y="1954"/>
                    <a:pt x="4222" y="1765"/>
                  </a:cubicBezTo>
                  <a:lnTo>
                    <a:pt x="4222" y="1418"/>
                  </a:lnTo>
                  <a:lnTo>
                    <a:pt x="6333" y="1418"/>
                  </a:lnTo>
                  <a:lnTo>
                    <a:pt x="6333" y="1765"/>
                  </a:lnTo>
                  <a:cubicBezTo>
                    <a:pt x="6333" y="1954"/>
                    <a:pt x="6490" y="2143"/>
                    <a:pt x="6680" y="2143"/>
                  </a:cubicBezTo>
                  <a:cubicBezTo>
                    <a:pt x="6900" y="2143"/>
                    <a:pt x="7058" y="1954"/>
                    <a:pt x="7058" y="1765"/>
                  </a:cubicBezTo>
                  <a:lnTo>
                    <a:pt x="7058" y="1418"/>
                  </a:lnTo>
                  <a:lnTo>
                    <a:pt x="8412" y="1418"/>
                  </a:lnTo>
                  <a:lnTo>
                    <a:pt x="8412" y="1765"/>
                  </a:lnTo>
                  <a:cubicBezTo>
                    <a:pt x="8412" y="1954"/>
                    <a:pt x="8570" y="2143"/>
                    <a:pt x="8790" y="2143"/>
                  </a:cubicBezTo>
                  <a:cubicBezTo>
                    <a:pt x="8979" y="2143"/>
                    <a:pt x="9137" y="1954"/>
                    <a:pt x="9137" y="1765"/>
                  </a:cubicBezTo>
                  <a:lnTo>
                    <a:pt x="9137" y="1418"/>
                  </a:lnTo>
                  <a:close/>
                  <a:moveTo>
                    <a:pt x="9767" y="3497"/>
                  </a:moveTo>
                  <a:lnTo>
                    <a:pt x="9767" y="7026"/>
                  </a:lnTo>
                  <a:cubicBezTo>
                    <a:pt x="9641" y="7026"/>
                    <a:pt x="9546" y="6963"/>
                    <a:pt x="9420" y="6963"/>
                  </a:cubicBezTo>
                  <a:cubicBezTo>
                    <a:pt x="8066" y="6963"/>
                    <a:pt x="6963" y="8066"/>
                    <a:pt x="6963" y="9420"/>
                  </a:cubicBezTo>
                  <a:cubicBezTo>
                    <a:pt x="6963" y="9546"/>
                    <a:pt x="6963" y="9641"/>
                    <a:pt x="7026" y="9767"/>
                  </a:cubicBezTo>
                  <a:lnTo>
                    <a:pt x="1040" y="9767"/>
                  </a:lnTo>
                  <a:cubicBezTo>
                    <a:pt x="820" y="9767"/>
                    <a:pt x="662" y="9609"/>
                    <a:pt x="662" y="9420"/>
                  </a:cubicBezTo>
                  <a:lnTo>
                    <a:pt x="662" y="3497"/>
                  </a:lnTo>
                  <a:close/>
                  <a:moveTo>
                    <a:pt x="9420" y="7688"/>
                  </a:moveTo>
                  <a:cubicBezTo>
                    <a:pt x="10366" y="7688"/>
                    <a:pt x="11153" y="8475"/>
                    <a:pt x="11153" y="9420"/>
                  </a:cubicBezTo>
                  <a:cubicBezTo>
                    <a:pt x="11153" y="10397"/>
                    <a:pt x="10366" y="11185"/>
                    <a:pt x="9420" y="11185"/>
                  </a:cubicBezTo>
                  <a:cubicBezTo>
                    <a:pt x="8475" y="11185"/>
                    <a:pt x="7688" y="10397"/>
                    <a:pt x="7688" y="9420"/>
                  </a:cubicBezTo>
                  <a:cubicBezTo>
                    <a:pt x="7688" y="8475"/>
                    <a:pt x="8475" y="7688"/>
                    <a:pt x="9420" y="7688"/>
                  </a:cubicBezTo>
                  <a:close/>
                  <a:moveTo>
                    <a:pt x="1733" y="0"/>
                  </a:moveTo>
                  <a:cubicBezTo>
                    <a:pt x="1544" y="0"/>
                    <a:pt x="1387" y="158"/>
                    <a:pt x="1387" y="347"/>
                  </a:cubicBezTo>
                  <a:lnTo>
                    <a:pt x="1387" y="725"/>
                  </a:lnTo>
                  <a:lnTo>
                    <a:pt x="1040" y="725"/>
                  </a:lnTo>
                  <a:cubicBezTo>
                    <a:pt x="442" y="725"/>
                    <a:pt x="0" y="1166"/>
                    <a:pt x="0" y="1733"/>
                  </a:cubicBezTo>
                  <a:lnTo>
                    <a:pt x="0" y="9389"/>
                  </a:lnTo>
                  <a:cubicBezTo>
                    <a:pt x="0" y="9956"/>
                    <a:pt x="473" y="10429"/>
                    <a:pt x="1040" y="10429"/>
                  </a:cubicBezTo>
                  <a:lnTo>
                    <a:pt x="7215" y="10429"/>
                  </a:lnTo>
                  <a:cubicBezTo>
                    <a:pt x="7593" y="11279"/>
                    <a:pt x="8444" y="11846"/>
                    <a:pt x="9420" y="11846"/>
                  </a:cubicBezTo>
                  <a:cubicBezTo>
                    <a:pt x="10744" y="11846"/>
                    <a:pt x="11846" y="10744"/>
                    <a:pt x="11846" y="9420"/>
                  </a:cubicBezTo>
                  <a:cubicBezTo>
                    <a:pt x="11846" y="8444"/>
                    <a:pt x="11311" y="7593"/>
                    <a:pt x="10492" y="7215"/>
                  </a:cubicBezTo>
                  <a:lnTo>
                    <a:pt x="10492" y="1733"/>
                  </a:lnTo>
                  <a:cubicBezTo>
                    <a:pt x="10492" y="1135"/>
                    <a:pt x="10019" y="725"/>
                    <a:pt x="9452" y="725"/>
                  </a:cubicBezTo>
                  <a:lnTo>
                    <a:pt x="9105" y="725"/>
                  </a:lnTo>
                  <a:lnTo>
                    <a:pt x="9105" y="347"/>
                  </a:lnTo>
                  <a:cubicBezTo>
                    <a:pt x="9105" y="158"/>
                    <a:pt x="8948" y="0"/>
                    <a:pt x="8759" y="0"/>
                  </a:cubicBezTo>
                  <a:cubicBezTo>
                    <a:pt x="8538" y="0"/>
                    <a:pt x="8381" y="158"/>
                    <a:pt x="8381" y="347"/>
                  </a:cubicBezTo>
                  <a:lnTo>
                    <a:pt x="8381" y="725"/>
                  </a:lnTo>
                  <a:lnTo>
                    <a:pt x="7026" y="725"/>
                  </a:lnTo>
                  <a:lnTo>
                    <a:pt x="7026" y="347"/>
                  </a:lnTo>
                  <a:cubicBezTo>
                    <a:pt x="7026" y="158"/>
                    <a:pt x="6869" y="0"/>
                    <a:pt x="6648" y="0"/>
                  </a:cubicBezTo>
                  <a:cubicBezTo>
                    <a:pt x="6459" y="0"/>
                    <a:pt x="6301" y="158"/>
                    <a:pt x="6301" y="347"/>
                  </a:cubicBezTo>
                  <a:lnTo>
                    <a:pt x="6301" y="725"/>
                  </a:lnTo>
                  <a:lnTo>
                    <a:pt x="4191" y="725"/>
                  </a:lnTo>
                  <a:lnTo>
                    <a:pt x="4191" y="347"/>
                  </a:lnTo>
                  <a:cubicBezTo>
                    <a:pt x="4191" y="158"/>
                    <a:pt x="4033" y="0"/>
                    <a:pt x="3813" y="0"/>
                  </a:cubicBezTo>
                  <a:cubicBezTo>
                    <a:pt x="3624" y="0"/>
                    <a:pt x="3466" y="158"/>
                    <a:pt x="3466" y="347"/>
                  </a:cubicBezTo>
                  <a:lnTo>
                    <a:pt x="3466" y="725"/>
                  </a:lnTo>
                  <a:lnTo>
                    <a:pt x="2080" y="725"/>
                  </a:lnTo>
                  <a:lnTo>
                    <a:pt x="2080" y="347"/>
                  </a:lnTo>
                  <a:cubicBezTo>
                    <a:pt x="2080" y="158"/>
                    <a:pt x="1922"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6" name="Google Shape;9846;p77"/>
            <p:cNvSpPr/>
            <p:nvPr/>
          </p:nvSpPr>
          <p:spPr>
            <a:xfrm>
              <a:off x="4190400" y="2526300"/>
              <a:ext cx="34700" cy="35450"/>
            </a:xfrm>
            <a:custGeom>
              <a:avLst/>
              <a:gdLst/>
              <a:ahLst/>
              <a:cxnLst/>
              <a:rect l="l" t="t" r="r" b="b"/>
              <a:pathLst>
                <a:path w="1388" h="1418" extrusionOk="0">
                  <a:moveTo>
                    <a:pt x="347" y="0"/>
                  </a:moveTo>
                  <a:cubicBezTo>
                    <a:pt x="158" y="0"/>
                    <a:pt x="1" y="158"/>
                    <a:pt x="1" y="347"/>
                  </a:cubicBezTo>
                  <a:lnTo>
                    <a:pt x="1" y="1071"/>
                  </a:lnTo>
                  <a:cubicBezTo>
                    <a:pt x="1" y="1260"/>
                    <a:pt x="127" y="1418"/>
                    <a:pt x="347" y="1418"/>
                  </a:cubicBezTo>
                  <a:lnTo>
                    <a:pt x="1041" y="1418"/>
                  </a:lnTo>
                  <a:cubicBezTo>
                    <a:pt x="1261" y="1418"/>
                    <a:pt x="1387" y="1260"/>
                    <a:pt x="1387" y="1071"/>
                  </a:cubicBezTo>
                  <a:cubicBezTo>
                    <a:pt x="1387" y="882"/>
                    <a:pt x="1261" y="725"/>
                    <a:pt x="1041" y="725"/>
                  </a:cubicBezTo>
                  <a:lnTo>
                    <a:pt x="694" y="725"/>
                  </a:ln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7" name="Google Shape;9847;p77"/>
            <p:cNvSpPr/>
            <p:nvPr/>
          </p:nvSpPr>
          <p:spPr>
            <a:xfrm>
              <a:off x="39982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77"/>
            <p:cNvSpPr/>
            <p:nvPr/>
          </p:nvSpPr>
          <p:spPr>
            <a:xfrm>
              <a:off x="4050225" y="24215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77"/>
            <p:cNvSpPr/>
            <p:nvPr/>
          </p:nvSpPr>
          <p:spPr>
            <a:xfrm>
              <a:off x="4102200" y="24215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0" name="Google Shape;9850;p77"/>
            <p:cNvSpPr/>
            <p:nvPr/>
          </p:nvSpPr>
          <p:spPr>
            <a:xfrm>
              <a:off x="4155750"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1" name="Google Shape;9851;p77"/>
            <p:cNvSpPr/>
            <p:nvPr/>
          </p:nvSpPr>
          <p:spPr>
            <a:xfrm>
              <a:off x="3998225"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2" name="Google Shape;9852;p77"/>
            <p:cNvSpPr/>
            <p:nvPr/>
          </p:nvSpPr>
          <p:spPr>
            <a:xfrm>
              <a:off x="4050225" y="2456975"/>
              <a:ext cx="35450" cy="18150"/>
            </a:xfrm>
            <a:custGeom>
              <a:avLst/>
              <a:gdLst/>
              <a:ahLst/>
              <a:cxnLst/>
              <a:rect l="l" t="t" r="r" b="b"/>
              <a:pathLst>
                <a:path w="1418" h="726" extrusionOk="0">
                  <a:moveTo>
                    <a:pt x="347" y="1"/>
                  </a:moveTo>
                  <a:cubicBezTo>
                    <a:pt x="158" y="1"/>
                    <a:pt x="0" y="158"/>
                    <a:pt x="0" y="379"/>
                  </a:cubicBezTo>
                  <a:cubicBezTo>
                    <a:pt x="0" y="568"/>
                    <a:pt x="158" y="725"/>
                    <a:pt x="347" y="725"/>
                  </a:cubicBezTo>
                  <a:lnTo>
                    <a:pt x="1071" y="725"/>
                  </a:lnTo>
                  <a:cubicBezTo>
                    <a:pt x="1260" y="725"/>
                    <a:pt x="1418" y="568"/>
                    <a:pt x="1418" y="379"/>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77"/>
            <p:cNvSpPr/>
            <p:nvPr/>
          </p:nvSpPr>
          <p:spPr>
            <a:xfrm>
              <a:off x="4102200" y="2456975"/>
              <a:ext cx="35475" cy="18150"/>
            </a:xfrm>
            <a:custGeom>
              <a:avLst/>
              <a:gdLst/>
              <a:ahLst/>
              <a:cxnLst/>
              <a:rect l="l" t="t" r="r" b="b"/>
              <a:pathLst>
                <a:path w="1419" h="726" extrusionOk="0">
                  <a:moveTo>
                    <a:pt x="378" y="1"/>
                  </a:moveTo>
                  <a:cubicBezTo>
                    <a:pt x="158" y="1"/>
                    <a:pt x="0" y="158"/>
                    <a:pt x="0" y="379"/>
                  </a:cubicBezTo>
                  <a:cubicBezTo>
                    <a:pt x="0" y="568"/>
                    <a:pt x="158" y="725"/>
                    <a:pt x="378"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77"/>
            <p:cNvSpPr/>
            <p:nvPr/>
          </p:nvSpPr>
          <p:spPr>
            <a:xfrm>
              <a:off x="4155750"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77"/>
            <p:cNvSpPr/>
            <p:nvPr/>
          </p:nvSpPr>
          <p:spPr>
            <a:xfrm>
              <a:off x="3998225" y="24916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6" name="Google Shape;9856;p77"/>
            <p:cNvSpPr/>
            <p:nvPr/>
          </p:nvSpPr>
          <p:spPr>
            <a:xfrm>
              <a:off x="4050225" y="24916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7" name="Google Shape;9857;p77"/>
            <p:cNvSpPr/>
            <p:nvPr/>
          </p:nvSpPr>
          <p:spPr>
            <a:xfrm>
              <a:off x="4102200" y="24916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77"/>
            <p:cNvSpPr/>
            <p:nvPr/>
          </p:nvSpPr>
          <p:spPr>
            <a:xfrm>
              <a:off x="3998225" y="2526300"/>
              <a:ext cx="35475" cy="18125"/>
            </a:xfrm>
            <a:custGeom>
              <a:avLst/>
              <a:gdLst/>
              <a:ahLst/>
              <a:cxnLst/>
              <a:rect l="l" t="t" r="r" b="b"/>
              <a:pathLst>
                <a:path w="1419" h="725" extrusionOk="0">
                  <a:moveTo>
                    <a:pt x="347" y="0"/>
                  </a:moveTo>
                  <a:cubicBezTo>
                    <a:pt x="158" y="0"/>
                    <a:pt x="1" y="158"/>
                    <a:pt x="1" y="347"/>
                  </a:cubicBezTo>
                  <a:cubicBezTo>
                    <a:pt x="1"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9" name="Google Shape;9859;p77"/>
            <p:cNvSpPr/>
            <p:nvPr/>
          </p:nvSpPr>
          <p:spPr>
            <a:xfrm>
              <a:off x="4050225" y="2526300"/>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0" name="Google Shape;9860;p77"/>
            <p:cNvSpPr/>
            <p:nvPr/>
          </p:nvSpPr>
          <p:spPr>
            <a:xfrm>
              <a:off x="4102200" y="2526300"/>
              <a:ext cx="35475" cy="18125"/>
            </a:xfrm>
            <a:custGeom>
              <a:avLst/>
              <a:gdLst/>
              <a:ahLst/>
              <a:cxnLst/>
              <a:rect l="l" t="t" r="r" b="b"/>
              <a:pathLst>
                <a:path w="1419" h="725" extrusionOk="0">
                  <a:moveTo>
                    <a:pt x="378" y="0"/>
                  </a:moveTo>
                  <a:cubicBezTo>
                    <a:pt x="158" y="0"/>
                    <a:pt x="0" y="158"/>
                    <a:pt x="0" y="347"/>
                  </a:cubicBezTo>
                  <a:cubicBezTo>
                    <a:pt x="0" y="567"/>
                    <a:pt x="158" y="725"/>
                    <a:pt x="378"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1" name="Google Shape;9861;p77"/>
          <p:cNvGrpSpPr/>
          <p:nvPr/>
        </p:nvGrpSpPr>
        <p:grpSpPr>
          <a:xfrm>
            <a:off x="5301691" y="3836276"/>
            <a:ext cx="349457" cy="348513"/>
            <a:chOff x="3962775" y="2683025"/>
            <a:chExt cx="296175" cy="295375"/>
          </a:xfrm>
        </p:grpSpPr>
        <p:sp>
          <p:nvSpPr>
            <p:cNvPr id="9862" name="Google Shape;9862;p77"/>
            <p:cNvSpPr/>
            <p:nvPr/>
          </p:nvSpPr>
          <p:spPr>
            <a:xfrm>
              <a:off x="3962775" y="2838200"/>
              <a:ext cx="296175" cy="140200"/>
            </a:xfrm>
            <a:custGeom>
              <a:avLst/>
              <a:gdLst/>
              <a:ahLst/>
              <a:cxnLst/>
              <a:rect l="l" t="t" r="r" b="b"/>
              <a:pathLst>
                <a:path w="11847" h="5608" extrusionOk="0">
                  <a:moveTo>
                    <a:pt x="3530" y="3466"/>
                  </a:moveTo>
                  <a:lnTo>
                    <a:pt x="3530" y="4883"/>
                  </a:lnTo>
                  <a:lnTo>
                    <a:pt x="757" y="4883"/>
                  </a:lnTo>
                  <a:lnTo>
                    <a:pt x="757" y="3466"/>
                  </a:lnTo>
                  <a:close/>
                  <a:moveTo>
                    <a:pt x="7688" y="725"/>
                  </a:moveTo>
                  <a:lnTo>
                    <a:pt x="7688" y="4883"/>
                  </a:lnTo>
                  <a:lnTo>
                    <a:pt x="4223" y="4883"/>
                  </a:lnTo>
                  <a:lnTo>
                    <a:pt x="4223" y="725"/>
                  </a:lnTo>
                  <a:close/>
                  <a:moveTo>
                    <a:pt x="11185" y="2111"/>
                  </a:moveTo>
                  <a:lnTo>
                    <a:pt x="11185" y="4883"/>
                  </a:lnTo>
                  <a:lnTo>
                    <a:pt x="8381" y="4883"/>
                  </a:lnTo>
                  <a:lnTo>
                    <a:pt x="8381" y="2111"/>
                  </a:lnTo>
                  <a:close/>
                  <a:moveTo>
                    <a:pt x="3845" y="0"/>
                  </a:moveTo>
                  <a:cubicBezTo>
                    <a:pt x="3656" y="0"/>
                    <a:pt x="3498" y="158"/>
                    <a:pt x="3498" y="378"/>
                  </a:cubicBezTo>
                  <a:lnTo>
                    <a:pt x="3498" y="2804"/>
                  </a:lnTo>
                  <a:lnTo>
                    <a:pt x="348" y="2804"/>
                  </a:lnTo>
                  <a:cubicBezTo>
                    <a:pt x="158" y="2804"/>
                    <a:pt x="1" y="2962"/>
                    <a:pt x="1" y="3151"/>
                  </a:cubicBezTo>
                  <a:lnTo>
                    <a:pt x="1" y="5261"/>
                  </a:lnTo>
                  <a:cubicBezTo>
                    <a:pt x="1" y="5450"/>
                    <a:pt x="158" y="5608"/>
                    <a:pt x="348" y="5608"/>
                  </a:cubicBezTo>
                  <a:lnTo>
                    <a:pt x="11500" y="5608"/>
                  </a:lnTo>
                  <a:cubicBezTo>
                    <a:pt x="11689" y="5608"/>
                    <a:pt x="11847" y="5450"/>
                    <a:pt x="11847" y="5261"/>
                  </a:cubicBezTo>
                  <a:lnTo>
                    <a:pt x="11847" y="1733"/>
                  </a:lnTo>
                  <a:cubicBezTo>
                    <a:pt x="11847" y="1544"/>
                    <a:pt x="11689" y="1386"/>
                    <a:pt x="11532" y="1386"/>
                  </a:cubicBezTo>
                  <a:lnTo>
                    <a:pt x="8381" y="1386"/>
                  </a:lnTo>
                  <a:lnTo>
                    <a:pt x="8381" y="378"/>
                  </a:lnTo>
                  <a:cubicBezTo>
                    <a:pt x="8381" y="158"/>
                    <a:pt x="8224"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3" name="Google Shape;9863;p77"/>
            <p:cNvSpPr/>
            <p:nvPr/>
          </p:nvSpPr>
          <p:spPr>
            <a:xfrm>
              <a:off x="4051000" y="2683025"/>
              <a:ext cx="122100" cy="138650"/>
            </a:xfrm>
            <a:custGeom>
              <a:avLst/>
              <a:gdLst/>
              <a:ahLst/>
              <a:cxnLst/>
              <a:rect l="l" t="t" r="r" b="b"/>
              <a:pathLst>
                <a:path w="4884" h="5546" extrusionOk="0">
                  <a:moveTo>
                    <a:pt x="2426" y="662"/>
                  </a:moveTo>
                  <a:cubicBezTo>
                    <a:pt x="2804" y="662"/>
                    <a:pt x="3120" y="977"/>
                    <a:pt x="3120" y="1387"/>
                  </a:cubicBezTo>
                  <a:cubicBezTo>
                    <a:pt x="3120" y="1765"/>
                    <a:pt x="2804" y="2080"/>
                    <a:pt x="2426" y="2080"/>
                  </a:cubicBezTo>
                  <a:cubicBezTo>
                    <a:pt x="2017" y="2080"/>
                    <a:pt x="1702" y="1765"/>
                    <a:pt x="1702" y="1387"/>
                  </a:cubicBezTo>
                  <a:cubicBezTo>
                    <a:pt x="1702" y="977"/>
                    <a:pt x="2017" y="662"/>
                    <a:pt x="2426" y="662"/>
                  </a:cubicBezTo>
                  <a:close/>
                  <a:moveTo>
                    <a:pt x="2426" y="2742"/>
                  </a:moveTo>
                  <a:cubicBezTo>
                    <a:pt x="3340" y="2742"/>
                    <a:pt x="4128" y="3529"/>
                    <a:pt x="4128" y="4474"/>
                  </a:cubicBezTo>
                  <a:lnTo>
                    <a:pt x="4128" y="4852"/>
                  </a:lnTo>
                  <a:lnTo>
                    <a:pt x="694" y="4852"/>
                  </a:lnTo>
                  <a:lnTo>
                    <a:pt x="694" y="4474"/>
                  </a:lnTo>
                  <a:cubicBezTo>
                    <a:pt x="694" y="3498"/>
                    <a:pt x="1481" y="2742"/>
                    <a:pt x="2426" y="2742"/>
                  </a:cubicBezTo>
                  <a:close/>
                  <a:moveTo>
                    <a:pt x="2489" y="1"/>
                  </a:moveTo>
                  <a:cubicBezTo>
                    <a:pt x="1733" y="1"/>
                    <a:pt x="1103" y="631"/>
                    <a:pt x="1103" y="1387"/>
                  </a:cubicBezTo>
                  <a:cubicBezTo>
                    <a:pt x="1103" y="1733"/>
                    <a:pt x="1229" y="2049"/>
                    <a:pt x="1450" y="2269"/>
                  </a:cubicBezTo>
                  <a:cubicBezTo>
                    <a:pt x="568" y="2679"/>
                    <a:pt x="1" y="3498"/>
                    <a:pt x="1" y="4474"/>
                  </a:cubicBezTo>
                  <a:lnTo>
                    <a:pt x="1" y="5199"/>
                  </a:lnTo>
                  <a:cubicBezTo>
                    <a:pt x="1" y="5388"/>
                    <a:pt x="158" y="5546"/>
                    <a:pt x="379" y="5546"/>
                  </a:cubicBezTo>
                  <a:lnTo>
                    <a:pt x="4537" y="5546"/>
                  </a:lnTo>
                  <a:cubicBezTo>
                    <a:pt x="4726" y="5546"/>
                    <a:pt x="4884" y="5388"/>
                    <a:pt x="4884" y="5199"/>
                  </a:cubicBezTo>
                  <a:lnTo>
                    <a:pt x="4884" y="4474"/>
                  </a:lnTo>
                  <a:cubicBezTo>
                    <a:pt x="4884" y="3498"/>
                    <a:pt x="4348" y="2679"/>
                    <a:pt x="3529" y="2269"/>
                  </a:cubicBezTo>
                  <a:cubicBezTo>
                    <a:pt x="3750" y="2049"/>
                    <a:pt x="3876" y="1733"/>
                    <a:pt x="3876" y="1387"/>
                  </a:cubicBezTo>
                  <a:cubicBezTo>
                    <a:pt x="3876" y="631"/>
                    <a:pt x="324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77"/>
            <p:cNvSpPr/>
            <p:nvPr/>
          </p:nvSpPr>
          <p:spPr>
            <a:xfrm>
              <a:off x="4084875" y="2873200"/>
              <a:ext cx="52800" cy="69775"/>
            </a:xfrm>
            <a:custGeom>
              <a:avLst/>
              <a:gdLst/>
              <a:ahLst/>
              <a:cxnLst/>
              <a:rect l="l" t="t" r="r" b="b"/>
              <a:pathLst>
                <a:path w="2112" h="2791" extrusionOk="0">
                  <a:moveTo>
                    <a:pt x="1095" y="0"/>
                  </a:moveTo>
                  <a:cubicBezTo>
                    <a:pt x="1001" y="0"/>
                    <a:pt x="903" y="28"/>
                    <a:pt x="819" y="112"/>
                  </a:cubicBezTo>
                  <a:lnTo>
                    <a:pt x="126" y="805"/>
                  </a:lnTo>
                  <a:cubicBezTo>
                    <a:pt x="0" y="931"/>
                    <a:pt x="0" y="1184"/>
                    <a:pt x="126" y="1278"/>
                  </a:cubicBezTo>
                  <a:cubicBezTo>
                    <a:pt x="205" y="1341"/>
                    <a:pt x="292" y="1373"/>
                    <a:pt x="378" y="1373"/>
                  </a:cubicBezTo>
                  <a:cubicBezTo>
                    <a:pt x="465" y="1373"/>
                    <a:pt x="552" y="1341"/>
                    <a:pt x="630" y="1278"/>
                  </a:cubicBezTo>
                  <a:lnTo>
                    <a:pt x="756" y="1184"/>
                  </a:lnTo>
                  <a:lnTo>
                    <a:pt x="756" y="2066"/>
                  </a:lnTo>
                  <a:lnTo>
                    <a:pt x="378" y="2066"/>
                  </a:lnTo>
                  <a:cubicBezTo>
                    <a:pt x="189" y="2066"/>
                    <a:pt x="32" y="2223"/>
                    <a:pt x="32" y="2444"/>
                  </a:cubicBezTo>
                  <a:cubicBezTo>
                    <a:pt x="32" y="2633"/>
                    <a:pt x="189" y="2790"/>
                    <a:pt x="378" y="2790"/>
                  </a:cubicBezTo>
                  <a:lnTo>
                    <a:pt x="1765" y="2790"/>
                  </a:lnTo>
                  <a:cubicBezTo>
                    <a:pt x="1954" y="2790"/>
                    <a:pt x="2111" y="2633"/>
                    <a:pt x="2111" y="2444"/>
                  </a:cubicBezTo>
                  <a:cubicBezTo>
                    <a:pt x="2111" y="2223"/>
                    <a:pt x="1954" y="2066"/>
                    <a:pt x="1765" y="2066"/>
                  </a:cubicBezTo>
                  <a:lnTo>
                    <a:pt x="1418" y="2066"/>
                  </a:lnTo>
                  <a:lnTo>
                    <a:pt x="1418" y="333"/>
                  </a:lnTo>
                  <a:cubicBezTo>
                    <a:pt x="1418" y="175"/>
                    <a:pt x="1323" y="81"/>
                    <a:pt x="1229" y="18"/>
                  </a:cubicBezTo>
                  <a:cubicBezTo>
                    <a:pt x="1187" y="7"/>
                    <a:pt x="1141" y="0"/>
                    <a:pt x="1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65" name="Google Shape;9865;p77"/>
          <p:cNvSpPr/>
          <p:nvPr/>
        </p:nvSpPr>
        <p:spPr>
          <a:xfrm>
            <a:off x="7513275" y="2897941"/>
            <a:ext cx="354117" cy="348513"/>
          </a:xfrm>
          <a:custGeom>
            <a:avLst/>
            <a:gdLst/>
            <a:ahLst/>
            <a:cxnLst/>
            <a:rect l="l" t="t" r="r" b="b"/>
            <a:pathLst>
              <a:path w="12005" h="11815" extrusionOk="0">
                <a:moveTo>
                  <a:pt x="6003" y="693"/>
                </a:moveTo>
                <a:cubicBezTo>
                  <a:pt x="6089" y="693"/>
                  <a:pt x="6176" y="725"/>
                  <a:pt x="6239" y="788"/>
                </a:cubicBezTo>
                <a:lnTo>
                  <a:pt x="8444" y="2993"/>
                </a:lnTo>
                <a:lnTo>
                  <a:pt x="7972" y="3466"/>
                </a:lnTo>
                <a:lnTo>
                  <a:pt x="7751" y="3214"/>
                </a:lnTo>
                <a:cubicBezTo>
                  <a:pt x="7562" y="3025"/>
                  <a:pt x="7279" y="2899"/>
                  <a:pt x="6995" y="2899"/>
                </a:cubicBezTo>
                <a:cubicBezTo>
                  <a:pt x="6711" y="2899"/>
                  <a:pt x="6459" y="3025"/>
                  <a:pt x="6239" y="3214"/>
                </a:cubicBezTo>
                <a:cubicBezTo>
                  <a:pt x="5861" y="3623"/>
                  <a:pt x="5861" y="4285"/>
                  <a:pt x="6239" y="4663"/>
                </a:cubicBezTo>
                <a:lnTo>
                  <a:pt x="6491" y="4915"/>
                </a:lnTo>
                <a:lnTo>
                  <a:pt x="6018" y="5388"/>
                </a:lnTo>
                <a:lnTo>
                  <a:pt x="5262" y="4631"/>
                </a:lnTo>
                <a:cubicBezTo>
                  <a:pt x="5199" y="4568"/>
                  <a:pt x="5113" y="4537"/>
                  <a:pt x="5026" y="4537"/>
                </a:cubicBezTo>
                <a:cubicBezTo>
                  <a:pt x="4939" y="4537"/>
                  <a:pt x="4853" y="4568"/>
                  <a:pt x="4790" y="4631"/>
                </a:cubicBezTo>
                <a:lnTo>
                  <a:pt x="4317" y="5104"/>
                </a:lnTo>
                <a:cubicBezTo>
                  <a:pt x="4254" y="5167"/>
                  <a:pt x="4167" y="5198"/>
                  <a:pt x="4081" y="5198"/>
                </a:cubicBezTo>
                <a:cubicBezTo>
                  <a:pt x="3994" y="5198"/>
                  <a:pt x="3907" y="5167"/>
                  <a:pt x="3844" y="5104"/>
                </a:cubicBezTo>
                <a:cubicBezTo>
                  <a:pt x="3718" y="4978"/>
                  <a:pt x="3718" y="4757"/>
                  <a:pt x="3844" y="4631"/>
                </a:cubicBezTo>
                <a:lnTo>
                  <a:pt x="4317" y="4159"/>
                </a:lnTo>
                <a:cubicBezTo>
                  <a:pt x="4443" y="4033"/>
                  <a:pt x="4443" y="3812"/>
                  <a:pt x="4317" y="3686"/>
                </a:cubicBezTo>
                <a:lnTo>
                  <a:pt x="3624" y="2993"/>
                </a:lnTo>
                <a:lnTo>
                  <a:pt x="5766" y="788"/>
                </a:lnTo>
                <a:cubicBezTo>
                  <a:pt x="5829" y="725"/>
                  <a:pt x="5916" y="693"/>
                  <a:pt x="6003" y="693"/>
                </a:cubicBezTo>
                <a:close/>
                <a:moveTo>
                  <a:pt x="3088" y="3466"/>
                </a:moveTo>
                <a:lnTo>
                  <a:pt x="3561" y="3938"/>
                </a:lnTo>
                <a:lnTo>
                  <a:pt x="3340" y="4159"/>
                </a:lnTo>
                <a:cubicBezTo>
                  <a:pt x="2931" y="4568"/>
                  <a:pt x="2931" y="5230"/>
                  <a:pt x="3340" y="5608"/>
                </a:cubicBezTo>
                <a:cubicBezTo>
                  <a:pt x="3529" y="5813"/>
                  <a:pt x="3797" y="5915"/>
                  <a:pt x="4065" y="5915"/>
                </a:cubicBezTo>
                <a:cubicBezTo>
                  <a:pt x="4333" y="5915"/>
                  <a:pt x="4601" y="5813"/>
                  <a:pt x="4790" y="5608"/>
                </a:cubicBezTo>
                <a:lnTo>
                  <a:pt x="5042" y="5388"/>
                </a:lnTo>
                <a:lnTo>
                  <a:pt x="5514" y="5860"/>
                </a:lnTo>
                <a:lnTo>
                  <a:pt x="4758" y="6616"/>
                </a:lnTo>
                <a:cubicBezTo>
                  <a:pt x="4632" y="6711"/>
                  <a:pt x="4632" y="6963"/>
                  <a:pt x="4758" y="7089"/>
                </a:cubicBezTo>
                <a:lnTo>
                  <a:pt x="5231" y="7561"/>
                </a:lnTo>
                <a:cubicBezTo>
                  <a:pt x="5357" y="7656"/>
                  <a:pt x="5357" y="7908"/>
                  <a:pt x="5231" y="8002"/>
                </a:cubicBezTo>
                <a:cubicBezTo>
                  <a:pt x="5168" y="8065"/>
                  <a:pt x="5081" y="8097"/>
                  <a:pt x="4994" y="8097"/>
                </a:cubicBezTo>
                <a:cubicBezTo>
                  <a:pt x="4908" y="8097"/>
                  <a:pt x="4821" y="8065"/>
                  <a:pt x="4758" y="8002"/>
                </a:cubicBezTo>
                <a:lnTo>
                  <a:pt x="4286" y="7561"/>
                </a:lnTo>
                <a:cubicBezTo>
                  <a:pt x="4223" y="7498"/>
                  <a:pt x="4136" y="7467"/>
                  <a:pt x="4049" y="7467"/>
                </a:cubicBezTo>
                <a:cubicBezTo>
                  <a:pt x="3963" y="7467"/>
                  <a:pt x="3876" y="7498"/>
                  <a:pt x="3813" y="7561"/>
                </a:cubicBezTo>
                <a:lnTo>
                  <a:pt x="3088" y="8254"/>
                </a:lnTo>
                <a:lnTo>
                  <a:pt x="883" y="6049"/>
                </a:lnTo>
                <a:cubicBezTo>
                  <a:pt x="789" y="6018"/>
                  <a:pt x="789" y="5829"/>
                  <a:pt x="883" y="5671"/>
                </a:cubicBezTo>
                <a:lnTo>
                  <a:pt x="3088" y="3466"/>
                </a:lnTo>
                <a:close/>
                <a:moveTo>
                  <a:pt x="8917" y="3529"/>
                </a:moveTo>
                <a:lnTo>
                  <a:pt x="11122" y="5671"/>
                </a:lnTo>
                <a:cubicBezTo>
                  <a:pt x="11248" y="5766"/>
                  <a:pt x="11248" y="6018"/>
                  <a:pt x="11122" y="6144"/>
                </a:cubicBezTo>
                <a:lnTo>
                  <a:pt x="8917" y="8349"/>
                </a:lnTo>
                <a:lnTo>
                  <a:pt x="8444" y="7876"/>
                </a:lnTo>
                <a:lnTo>
                  <a:pt x="8696" y="7624"/>
                </a:lnTo>
                <a:cubicBezTo>
                  <a:pt x="9074" y="7246"/>
                  <a:pt x="9074" y="6553"/>
                  <a:pt x="8696" y="6175"/>
                </a:cubicBezTo>
                <a:cubicBezTo>
                  <a:pt x="8491" y="5970"/>
                  <a:pt x="8224" y="5868"/>
                  <a:pt x="7956" y="5868"/>
                </a:cubicBezTo>
                <a:cubicBezTo>
                  <a:pt x="7688" y="5868"/>
                  <a:pt x="7420" y="5970"/>
                  <a:pt x="7216" y="6175"/>
                </a:cubicBezTo>
                <a:lnTo>
                  <a:pt x="6995" y="6396"/>
                </a:lnTo>
                <a:lnTo>
                  <a:pt x="6522" y="5923"/>
                </a:lnTo>
                <a:lnTo>
                  <a:pt x="7279" y="5198"/>
                </a:lnTo>
                <a:cubicBezTo>
                  <a:pt x="7373" y="5072"/>
                  <a:pt x="7373" y="4820"/>
                  <a:pt x="7279" y="4726"/>
                </a:cubicBezTo>
                <a:lnTo>
                  <a:pt x="6806" y="4222"/>
                </a:lnTo>
                <a:cubicBezTo>
                  <a:pt x="6680" y="4127"/>
                  <a:pt x="6680" y="3875"/>
                  <a:pt x="6806" y="3749"/>
                </a:cubicBezTo>
                <a:cubicBezTo>
                  <a:pt x="6869" y="3686"/>
                  <a:pt x="6963" y="3655"/>
                  <a:pt x="7026" y="3655"/>
                </a:cubicBezTo>
                <a:cubicBezTo>
                  <a:pt x="7121" y="3655"/>
                  <a:pt x="7216" y="3686"/>
                  <a:pt x="7279" y="3749"/>
                </a:cubicBezTo>
                <a:lnTo>
                  <a:pt x="7751" y="4222"/>
                </a:lnTo>
                <a:cubicBezTo>
                  <a:pt x="7798" y="4285"/>
                  <a:pt x="7885" y="4316"/>
                  <a:pt x="7976" y="4316"/>
                </a:cubicBezTo>
                <a:cubicBezTo>
                  <a:pt x="8066" y="4316"/>
                  <a:pt x="8161" y="4285"/>
                  <a:pt x="8224" y="4222"/>
                </a:cubicBezTo>
                <a:lnTo>
                  <a:pt x="8917" y="3529"/>
                </a:lnTo>
                <a:close/>
                <a:moveTo>
                  <a:pt x="5987" y="6396"/>
                </a:moveTo>
                <a:lnTo>
                  <a:pt x="6711" y="7152"/>
                </a:lnTo>
                <a:cubicBezTo>
                  <a:pt x="6774" y="7215"/>
                  <a:pt x="6869" y="7246"/>
                  <a:pt x="6960" y="7246"/>
                </a:cubicBezTo>
                <a:cubicBezTo>
                  <a:pt x="7050" y="7246"/>
                  <a:pt x="7137" y="7215"/>
                  <a:pt x="7184" y="7152"/>
                </a:cubicBezTo>
                <a:lnTo>
                  <a:pt x="7657" y="6679"/>
                </a:lnTo>
                <a:cubicBezTo>
                  <a:pt x="7720" y="6616"/>
                  <a:pt x="7814" y="6585"/>
                  <a:pt x="7905" y="6585"/>
                </a:cubicBezTo>
                <a:cubicBezTo>
                  <a:pt x="7995" y="6585"/>
                  <a:pt x="8082" y="6616"/>
                  <a:pt x="8129" y="6679"/>
                </a:cubicBezTo>
                <a:cubicBezTo>
                  <a:pt x="8255" y="6805"/>
                  <a:pt x="8255" y="7026"/>
                  <a:pt x="8129" y="7152"/>
                </a:cubicBezTo>
                <a:lnTo>
                  <a:pt x="7657" y="7624"/>
                </a:lnTo>
                <a:cubicBezTo>
                  <a:pt x="7562" y="7750"/>
                  <a:pt x="7562" y="7971"/>
                  <a:pt x="7657" y="8097"/>
                </a:cubicBezTo>
                <a:lnTo>
                  <a:pt x="8381" y="8822"/>
                </a:lnTo>
                <a:lnTo>
                  <a:pt x="6239" y="11027"/>
                </a:lnTo>
                <a:cubicBezTo>
                  <a:pt x="6192" y="11074"/>
                  <a:pt x="6105" y="11098"/>
                  <a:pt x="6014" y="11098"/>
                </a:cubicBezTo>
                <a:cubicBezTo>
                  <a:pt x="5924" y="11098"/>
                  <a:pt x="5829" y="11074"/>
                  <a:pt x="5766" y="11027"/>
                </a:cubicBezTo>
                <a:lnTo>
                  <a:pt x="3561" y="8822"/>
                </a:lnTo>
                <a:lnTo>
                  <a:pt x="4034" y="8349"/>
                </a:lnTo>
                <a:lnTo>
                  <a:pt x="4286" y="8570"/>
                </a:lnTo>
                <a:cubicBezTo>
                  <a:pt x="4475" y="8774"/>
                  <a:pt x="4742" y="8877"/>
                  <a:pt x="5010" y="8877"/>
                </a:cubicBezTo>
                <a:cubicBezTo>
                  <a:pt x="5278" y="8877"/>
                  <a:pt x="5546" y="8774"/>
                  <a:pt x="5735" y="8570"/>
                </a:cubicBezTo>
                <a:cubicBezTo>
                  <a:pt x="6144" y="8191"/>
                  <a:pt x="6144" y="7498"/>
                  <a:pt x="5735" y="7120"/>
                </a:cubicBezTo>
                <a:lnTo>
                  <a:pt x="5514" y="6868"/>
                </a:lnTo>
                <a:lnTo>
                  <a:pt x="5987" y="6396"/>
                </a:lnTo>
                <a:close/>
                <a:moveTo>
                  <a:pt x="5999" y="0"/>
                </a:moveTo>
                <a:cubicBezTo>
                  <a:pt x="5735" y="0"/>
                  <a:pt x="5467" y="95"/>
                  <a:pt x="5262" y="284"/>
                </a:cubicBezTo>
                <a:lnTo>
                  <a:pt x="379" y="5167"/>
                </a:lnTo>
                <a:cubicBezTo>
                  <a:pt x="1" y="5577"/>
                  <a:pt x="1" y="6238"/>
                  <a:pt x="379" y="6648"/>
                </a:cubicBezTo>
                <a:lnTo>
                  <a:pt x="5262" y="11531"/>
                </a:lnTo>
                <a:cubicBezTo>
                  <a:pt x="5467" y="11720"/>
                  <a:pt x="5735" y="11814"/>
                  <a:pt x="5999" y="11814"/>
                </a:cubicBezTo>
                <a:cubicBezTo>
                  <a:pt x="6262" y="11814"/>
                  <a:pt x="6522" y="11720"/>
                  <a:pt x="6711" y="11531"/>
                </a:cubicBezTo>
                <a:lnTo>
                  <a:pt x="11595" y="6648"/>
                </a:lnTo>
                <a:cubicBezTo>
                  <a:pt x="12004" y="6238"/>
                  <a:pt x="12004" y="5577"/>
                  <a:pt x="11595" y="5167"/>
                </a:cubicBezTo>
                <a:lnTo>
                  <a:pt x="6711" y="284"/>
                </a:lnTo>
                <a:cubicBezTo>
                  <a:pt x="6522" y="95"/>
                  <a:pt x="6262" y="0"/>
                  <a:pt x="5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66" name="Google Shape;9866;p77"/>
          <p:cNvGrpSpPr/>
          <p:nvPr/>
        </p:nvGrpSpPr>
        <p:grpSpPr>
          <a:xfrm>
            <a:off x="7516228" y="3386968"/>
            <a:ext cx="348513" cy="348513"/>
            <a:chOff x="5775900" y="2308125"/>
            <a:chExt cx="295375" cy="295375"/>
          </a:xfrm>
        </p:grpSpPr>
        <p:sp>
          <p:nvSpPr>
            <p:cNvPr id="9867" name="Google Shape;9867;p77"/>
            <p:cNvSpPr/>
            <p:nvPr/>
          </p:nvSpPr>
          <p:spPr>
            <a:xfrm>
              <a:off x="5984625" y="2482975"/>
              <a:ext cx="18125" cy="18150"/>
            </a:xfrm>
            <a:custGeom>
              <a:avLst/>
              <a:gdLst/>
              <a:ahLst/>
              <a:cxnLst/>
              <a:rect l="l" t="t" r="r" b="b"/>
              <a:pathLst>
                <a:path w="725" h="726" extrusionOk="0">
                  <a:moveTo>
                    <a:pt x="378" y="0"/>
                  </a:moveTo>
                  <a:cubicBezTo>
                    <a:pt x="158" y="0"/>
                    <a:pt x="0" y="158"/>
                    <a:pt x="0" y="347"/>
                  </a:cubicBezTo>
                  <a:cubicBezTo>
                    <a:pt x="0" y="568"/>
                    <a:pt x="158" y="725"/>
                    <a:pt x="378" y="725"/>
                  </a:cubicBezTo>
                  <a:cubicBezTo>
                    <a:pt x="567" y="725"/>
                    <a:pt x="725" y="568"/>
                    <a:pt x="725" y="347"/>
                  </a:cubicBezTo>
                  <a:cubicBezTo>
                    <a:pt x="725"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77"/>
            <p:cNvSpPr/>
            <p:nvPr/>
          </p:nvSpPr>
          <p:spPr>
            <a:xfrm>
              <a:off x="5775900" y="2308125"/>
              <a:ext cx="295375" cy="295375"/>
            </a:xfrm>
            <a:custGeom>
              <a:avLst/>
              <a:gdLst/>
              <a:ahLst/>
              <a:cxnLst/>
              <a:rect l="l" t="t" r="r" b="b"/>
              <a:pathLst>
                <a:path w="11815" h="11815" extrusionOk="0">
                  <a:moveTo>
                    <a:pt x="7845" y="725"/>
                  </a:moveTo>
                  <a:cubicBezTo>
                    <a:pt x="7719" y="914"/>
                    <a:pt x="7656" y="1166"/>
                    <a:pt x="7656" y="1450"/>
                  </a:cubicBezTo>
                  <a:cubicBezTo>
                    <a:pt x="7656" y="1670"/>
                    <a:pt x="7719" y="1922"/>
                    <a:pt x="7845" y="2143"/>
                  </a:cubicBezTo>
                  <a:lnTo>
                    <a:pt x="1387" y="2143"/>
                  </a:lnTo>
                  <a:cubicBezTo>
                    <a:pt x="1009" y="2143"/>
                    <a:pt x="694" y="1828"/>
                    <a:pt x="694" y="1450"/>
                  </a:cubicBezTo>
                  <a:cubicBezTo>
                    <a:pt x="694" y="1040"/>
                    <a:pt x="1009" y="725"/>
                    <a:pt x="1387" y="725"/>
                  </a:cubicBezTo>
                  <a:close/>
                  <a:moveTo>
                    <a:pt x="6112" y="6994"/>
                  </a:moveTo>
                  <a:cubicBezTo>
                    <a:pt x="5955" y="7183"/>
                    <a:pt x="5829" y="7436"/>
                    <a:pt x="5766" y="7719"/>
                  </a:cubicBezTo>
                  <a:lnTo>
                    <a:pt x="3466" y="7719"/>
                  </a:lnTo>
                  <a:lnTo>
                    <a:pt x="3466" y="6994"/>
                  </a:lnTo>
                  <a:close/>
                  <a:moveTo>
                    <a:pt x="694" y="2678"/>
                  </a:moveTo>
                  <a:cubicBezTo>
                    <a:pt x="883" y="2773"/>
                    <a:pt x="1103" y="2867"/>
                    <a:pt x="1387" y="2867"/>
                  </a:cubicBezTo>
                  <a:lnTo>
                    <a:pt x="1387" y="10460"/>
                  </a:lnTo>
                  <a:cubicBezTo>
                    <a:pt x="1009" y="10460"/>
                    <a:pt x="694" y="10145"/>
                    <a:pt x="694" y="9767"/>
                  </a:cubicBezTo>
                  <a:lnTo>
                    <a:pt x="694" y="2678"/>
                  </a:lnTo>
                  <a:close/>
                  <a:moveTo>
                    <a:pt x="8381" y="2836"/>
                  </a:moveTo>
                  <a:lnTo>
                    <a:pt x="8381" y="5608"/>
                  </a:lnTo>
                  <a:cubicBezTo>
                    <a:pt x="7814" y="5703"/>
                    <a:pt x="7247" y="5923"/>
                    <a:pt x="6774" y="6301"/>
                  </a:cubicBezTo>
                  <a:lnTo>
                    <a:pt x="3151" y="6301"/>
                  </a:lnTo>
                  <a:cubicBezTo>
                    <a:pt x="2962" y="6301"/>
                    <a:pt x="2804" y="6459"/>
                    <a:pt x="2804" y="6648"/>
                  </a:cubicBezTo>
                  <a:lnTo>
                    <a:pt x="2804" y="8034"/>
                  </a:lnTo>
                  <a:cubicBezTo>
                    <a:pt x="2804" y="8223"/>
                    <a:pt x="2962" y="8381"/>
                    <a:pt x="3151" y="8381"/>
                  </a:cubicBezTo>
                  <a:lnTo>
                    <a:pt x="5640" y="8381"/>
                  </a:lnTo>
                  <a:lnTo>
                    <a:pt x="5640" y="8727"/>
                  </a:lnTo>
                  <a:cubicBezTo>
                    <a:pt x="5640" y="9357"/>
                    <a:pt x="5829" y="9956"/>
                    <a:pt x="6144" y="10492"/>
                  </a:cubicBezTo>
                  <a:lnTo>
                    <a:pt x="2080" y="10492"/>
                  </a:lnTo>
                  <a:lnTo>
                    <a:pt x="2080" y="10460"/>
                  </a:lnTo>
                  <a:lnTo>
                    <a:pt x="2080" y="2836"/>
                  </a:lnTo>
                  <a:close/>
                  <a:moveTo>
                    <a:pt x="8727" y="6301"/>
                  </a:moveTo>
                  <a:cubicBezTo>
                    <a:pt x="10050" y="6301"/>
                    <a:pt x="11153" y="7404"/>
                    <a:pt x="11153" y="8727"/>
                  </a:cubicBezTo>
                  <a:cubicBezTo>
                    <a:pt x="11153" y="10082"/>
                    <a:pt x="10050" y="11216"/>
                    <a:pt x="8727" y="11216"/>
                  </a:cubicBezTo>
                  <a:cubicBezTo>
                    <a:pt x="7373" y="11216"/>
                    <a:pt x="6270" y="10113"/>
                    <a:pt x="6270" y="8727"/>
                  </a:cubicBezTo>
                  <a:cubicBezTo>
                    <a:pt x="6270" y="7373"/>
                    <a:pt x="7373" y="6301"/>
                    <a:pt x="8727" y="6301"/>
                  </a:cubicBezTo>
                  <a:close/>
                  <a:moveTo>
                    <a:pt x="1387" y="0"/>
                  </a:moveTo>
                  <a:cubicBezTo>
                    <a:pt x="630" y="0"/>
                    <a:pt x="0" y="630"/>
                    <a:pt x="0" y="1355"/>
                  </a:cubicBezTo>
                  <a:lnTo>
                    <a:pt x="0" y="9704"/>
                  </a:lnTo>
                  <a:cubicBezTo>
                    <a:pt x="0" y="10460"/>
                    <a:pt x="630" y="11090"/>
                    <a:pt x="1387" y="11090"/>
                  </a:cubicBezTo>
                  <a:lnTo>
                    <a:pt x="6742" y="11090"/>
                  </a:lnTo>
                  <a:cubicBezTo>
                    <a:pt x="7310" y="11563"/>
                    <a:pt x="8003" y="11815"/>
                    <a:pt x="8727" y="11815"/>
                  </a:cubicBezTo>
                  <a:cubicBezTo>
                    <a:pt x="10460" y="11815"/>
                    <a:pt x="11815" y="10334"/>
                    <a:pt x="11815" y="8664"/>
                  </a:cubicBezTo>
                  <a:cubicBezTo>
                    <a:pt x="11815" y="7120"/>
                    <a:pt x="10618" y="5829"/>
                    <a:pt x="9074" y="5608"/>
                  </a:cubicBezTo>
                  <a:lnTo>
                    <a:pt x="9074" y="2458"/>
                  </a:lnTo>
                  <a:cubicBezTo>
                    <a:pt x="9074" y="2269"/>
                    <a:pt x="9042" y="2143"/>
                    <a:pt x="8822" y="2080"/>
                  </a:cubicBezTo>
                  <a:cubicBezTo>
                    <a:pt x="8538" y="1985"/>
                    <a:pt x="8349" y="1733"/>
                    <a:pt x="8349" y="1418"/>
                  </a:cubicBezTo>
                  <a:cubicBezTo>
                    <a:pt x="8349" y="1135"/>
                    <a:pt x="8538" y="851"/>
                    <a:pt x="8822" y="725"/>
                  </a:cubicBezTo>
                  <a:cubicBezTo>
                    <a:pt x="8979" y="694"/>
                    <a:pt x="9074" y="536"/>
                    <a:pt x="9074" y="410"/>
                  </a:cubicBezTo>
                  <a:lnTo>
                    <a:pt x="9074" y="347"/>
                  </a:lnTo>
                  <a:cubicBezTo>
                    <a:pt x="9074" y="158"/>
                    <a:pt x="8916"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9" name="Google Shape;9869;p77"/>
            <p:cNvSpPr/>
            <p:nvPr/>
          </p:nvSpPr>
          <p:spPr>
            <a:xfrm>
              <a:off x="5984625" y="2508975"/>
              <a:ext cx="18125" cy="61450"/>
            </a:xfrm>
            <a:custGeom>
              <a:avLst/>
              <a:gdLst/>
              <a:ahLst/>
              <a:cxnLst/>
              <a:rect l="l" t="t" r="r" b="b"/>
              <a:pathLst>
                <a:path w="725" h="2458" extrusionOk="0">
                  <a:moveTo>
                    <a:pt x="378" y="0"/>
                  </a:moveTo>
                  <a:cubicBezTo>
                    <a:pt x="158" y="0"/>
                    <a:pt x="0" y="158"/>
                    <a:pt x="0" y="347"/>
                  </a:cubicBezTo>
                  <a:lnTo>
                    <a:pt x="0" y="2111"/>
                  </a:lnTo>
                  <a:cubicBezTo>
                    <a:pt x="0" y="2300"/>
                    <a:pt x="158" y="2458"/>
                    <a:pt x="378" y="2458"/>
                  </a:cubicBezTo>
                  <a:cubicBezTo>
                    <a:pt x="567" y="2458"/>
                    <a:pt x="725" y="2300"/>
                    <a:pt x="725" y="2111"/>
                  </a:cubicBezTo>
                  <a:lnTo>
                    <a:pt x="725" y="347"/>
                  </a:lnTo>
                  <a:cubicBezTo>
                    <a:pt x="725"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0" name="Google Shape;9870;p77"/>
            <p:cNvSpPr/>
            <p:nvPr/>
          </p:nvSpPr>
          <p:spPr>
            <a:xfrm>
              <a:off x="5845200" y="2395550"/>
              <a:ext cx="122900" cy="17350"/>
            </a:xfrm>
            <a:custGeom>
              <a:avLst/>
              <a:gdLst/>
              <a:ahLst/>
              <a:cxnLst/>
              <a:rect l="l" t="t" r="r" b="b"/>
              <a:pathLst>
                <a:path w="4916" h="694" extrusionOk="0">
                  <a:moveTo>
                    <a:pt x="347" y="0"/>
                  </a:moveTo>
                  <a:cubicBezTo>
                    <a:pt x="158" y="0"/>
                    <a:pt x="1" y="158"/>
                    <a:pt x="1" y="347"/>
                  </a:cubicBezTo>
                  <a:cubicBezTo>
                    <a:pt x="1" y="599"/>
                    <a:pt x="158" y="694"/>
                    <a:pt x="347" y="694"/>
                  </a:cubicBezTo>
                  <a:lnTo>
                    <a:pt x="4569" y="694"/>
                  </a:lnTo>
                  <a:cubicBezTo>
                    <a:pt x="4758" y="694"/>
                    <a:pt x="4916" y="536"/>
                    <a:pt x="4916" y="347"/>
                  </a:cubicBezTo>
                  <a:cubicBezTo>
                    <a:pt x="4916" y="158"/>
                    <a:pt x="4758"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77"/>
            <p:cNvSpPr/>
            <p:nvPr/>
          </p:nvSpPr>
          <p:spPr>
            <a:xfrm>
              <a:off x="5845200" y="2431000"/>
              <a:ext cx="122900" cy="17350"/>
            </a:xfrm>
            <a:custGeom>
              <a:avLst/>
              <a:gdLst/>
              <a:ahLst/>
              <a:cxnLst/>
              <a:rect l="l" t="t" r="r" b="b"/>
              <a:pathLst>
                <a:path w="4916" h="694" extrusionOk="0">
                  <a:moveTo>
                    <a:pt x="347" y="0"/>
                  </a:moveTo>
                  <a:cubicBezTo>
                    <a:pt x="158" y="0"/>
                    <a:pt x="1" y="158"/>
                    <a:pt x="1" y="347"/>
                  </a:cubicBezTo>
                  <a:cubicBezTo>
                    <a:pt x="1" y="536"/>
                    <a:pt x="158" y="693"/>
                    <a:pt x="347" y="693"/>
                  </a:cubicBezTo>
                  <a:lnTo>
                    <a:pt x="4569" y="693"/>
                  </a:lnTo>
                  <a:cubicBezTo>
                    <a:pt x="4758" y="693"/>
                    <a:pt x="4916" y="536"/>
                    <a:pt x="4916" y="347"/>
                  </a:cubicBezTo>
                  <a:cubicBezTo>
                    <a:pt x="4916" y="158"/>
                    <a:pt x="4758"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72" name="Google Shape;9872;p77"/>
          <p:cNvGrpSpPr/>
          <p:nvPr/>
        </p:nvGrpSpPr>
        <p:grpSpPr>
          <a:xfrm>
            <a:off x="7537142" y="3835804"/>
            <a:ext cx="306686" cy="349457"/>
            <a:chOff x="5794025" y="2673575"/>
            <a:chExt cx="259925" cy="296175"/>
          </a:xfrm>
        </p:grpSpPr>
        <p:sp>
          <p:nvSpPr>
            <p:cNvPr id="9873" name="Google Shape;9873;p77"/>
            <p:cNvSpPr/>
            <p:nvPr/>
          </p:nvSpPr>
          <p:spPr>
            <a:xfrm>
              <a:off x="5794025" y="2673575"/>
              <a:ext cx="259925" cy="296175"/>
            </a:xfrm>
            <a:custGeom>
              <a:avLst/>
              <a:gdLst/>
              <a:ahLst/>
              <a:cxnLst/>
              <a:rect l="l" t="t" r="r" b="b"/>
              <a:pathLst>
                <a:path w="10397" h="11847" extrusionOk="0">
                  <a:moveTo>
                    <a:pt x="5860" y="694"/>
                  </a:moveTo>
                  <a:cubicBezTo>
                    <a:pt x="7089" y="694"/>
                    <a:pt x="8097" y="1639"/>
                    <a:pt x="8254" y="2805"/>
                  </a:cubicBezTo>
                  <a:cubicBezTo>
                    <a:pt x="8160" y="2773"/>
                    <a:pt x="8065" y="2773"/>
                    <a:pt x="7939" y="2773"/>
                  </a:cubicBezTo>
                  <a:lnTo>
                    <a:pt x="7561" y="2773"/>
                  </a:lnTo>
                  <a:cubicBezTo>
                    <a:pt x="7404" y="1985"/>
                    <a:pt x="6679" y="1387"/>
                    <a:pt x="5860" y="1387"/>
                  </a:cubicBezTo>
                  <a:lnTo>
                    <a:pt x="4474" y="1387"/>
                  </a:lnTo>
                  <a:cubicBezTo>
                    <a:pt x="3655" y="1387"/>
                    <a:pt x="2930" y="1985"/>
                    <a:pt x="2804" y="2773"/>
                  </a:cubicBezTo>
                  <a:lnTo>
                    <a:pt x="2394" y="2773"/>
                  </a:lnTo>
                  <a:cubicBezTo>
                    <a:pt x="2268" y="2773"/>
                    <a:pt x="2142" y="2773"/>
                    <a:pt x="2079" y="2805"/>
                  </a:cubicBezTo>
                  <a:cubicBezTo>
                    <a:pt x="2237" y="1639"/>
                    <a:pt x="3277" y="694"/>
                    <a:pt x="4474" y="694"/>
                  </a:cubicBezTo>
                  <a:close/>
                  <a:moveTo>
                    <a:pt x="6206" y="2143"/>
                  </a:moveTo>
                  <a:cubicBezTo>
                    <a:pt x="6616" y="2300"/>
                    <a:pt x="6931" y="2647"/>
                    <a:pt x="6931" y="3120"/>
                  </a:cubicBezTo>
                  <a:lnTo>
                    <a:pt x="6931" y="3403"/>
                  </a:lnTo>
                  <a:cubicBezTo>
                    <a:pt x="6522" y="3246"/>
                    <a:pt x="6206" y="2899"/>
                    <a:pt x="6206" y="2427"/>
                  </a:cubicBezTo>
                  <a:lnTo>
                    <a:pt x="6206" y="2143"/>
                  </a:lnTo>
                  <a:close/>
                  <a:moveTo>
                    <a:pt x="5513" y="2080"/>
                  </a:moveTo>
                  <a:lnTo>
                    <a:pt x="5513" y="2427"/>
                  </a:lnTo>
                  <a:cubicBezTo>
                    <a:pt x="5513" y="3025"/>
                    <a:pt x="5041" y="3435"/>
                    <a:pt x="4474" y="3435"/>
                  </a:cubicBezTo>
                  <a:lnTo>
                    <a:pt x="3466" y="3435"/>
                  </a:lnTo>
                  <a:lnTo>
                    <a:pt x="3466" y="3088"/>
                  </a:lnTo>
                  <a:cubicBezTo>
                    <a:pt x="3466" y="2490"/>
                    <a:pt x="3938" y="2080"/>
                    <a:pt x="4474" y="2080"/>
                  </a:cubicBezTo>
                  <a:close/>
                  <a:moveTo>
                    <a:pt x="2741" y="3435"/>
                  </a:moveTo>
                  <a:lnTo>
                    <a:pt x="2741" y="5451"/>
                  </a:lnTo>
                  <a:cubicBezTo>
                    <a:pt x="2363" y="5293"/>
                    <a:pt x="2048" y="4947"/>
                    <a:pt x="2048" y="4474"/>
                  </a:cubicBezTo>
                  <a:lnTo>
                    <a:pt x="2048" y="3813"/>
                  </a:lnTo>
                  <a:cubicBezTo>
                    <a:pt x="2048" y="3592"/>
                    <a:pt x="2205" y="3435"/>
                    <a:pt x="2394" y="3435"/>
                  </a:cubicBezTo>
                  <a:close/>
                  <a:moveTo>
                    <a:pt x="7939" y="3498"/>
                  </a:moveTo>
                  <a:cubicBezTo>
                    <a:pt x="8160" y="3498"/>
                    <a:pt x="8317" y="3655"/>
                    <a:pt x="8317" y="3844"/>
                  </a:cubicBezTo>
                  <a:lnTo>
                    <a:pt x="8317" y="4506"/>
                  </a:lnTo>
                  <a:cubicBezTo>
                    <a:pt x="8317" y="4947"/>
                    <a:pt x="8034" y="5325"/>
                    <a:pt x="7593" y="5482"/>
                  </a:cubicBezTo>
                  <a:lnTo>
                    <a:pt x="7593" y="3498"/>
                  </a:lnTo>
                  <a:close/>
                  <a:moveTo>
                    <a:pt x="5891" y="3435"/>
                  </a:moveTo>
                  <a:cubicBezTo>
                    <a:pt x="6143" y="3750"/>
                    <a:pt x="6522" y="4033"/>
                    <a:pt x="6931" y="4128"/>
                  </a:cubicBezTo>
                  <a:lnTo>
                    <a:pt x="6931" y="5892"/>
                  </a:lnTo>
                  <a:cubicBezTo>
                    <a:pt x="6931" y="6491"/>
                    <a:pt x="6459" y="6900"/>
                    <a:pt x="5891" y="6900"/>
                  </a:cubicBezTo>
                  <a:lnTo>
                    <a:pt x="4505" y="6900"/>
                  </a:lnTo>
                  <a:cubicBezTo>
                    <a:pt x="3938" y="6900"/>
                    <a:pt x="3497" y="6428"/>
                    <a:pt x="3497" y="5892"/>
                  </a:cubicBezTo>
                  <a:lnTo>
                    <a:pt x="3497" y="4159"/>
                  </a:lnTo>
                  <a:lnTo>
                    <a:pt x="4505" y="4159"/>
                  </a:lnTo>
                  <a:cubicBezTo>
                    <a:pt x="5072" y="4159"/>
                    <a:pt x="5576" y="3876"/>
                    <a:pt x="5891" y="3435"/>
                  </a:cubicBezTo>
                  <a:close/>
                  <a:moveTo>
                    <a:pt x="6238" y="7593"/>
                  </a:moveTo>
                  <a:cubicBezTo>
                    <a:pt x="6333" y="7782"/>
                    <a:pt x="6459" y="7971"/>
                    <a:pt x="6616" y="8097"/>
                  </a:cubicBezTo>
                  <a:lnTo>
                    <a:pt x="5198" y="9547"/>
                  </a:lnTo>
                  <a:lnTo>
                    <a:pt x="3718" y="8097"/>
                  </a:lnTo>
                  <a:cubicBezTo>
                    <a:pt x="3875" y="7971"/>
                    <a:pt x="4033" y="7782"/>
                    <a:pt x="4096" y="7593"/>
                  </a:cubicBezTo>
                  <a:cubicBezTo>
                    <a:pt x="4190" y="7625"/>
                    <a:pt x="4379" y="7625"/>
                    <a:pt x="4474" y="7625"/>
                  </a:cubicBezTo>
                  <a:lnTo>
                    <a:pt x="5860" y="7625"/>
                  </a:lnTo>
                  <a:cubicBezTo>
                    <a:pt x="5986" y="7625"/>
                    <a:pt x="6143" y="7625"/>
                    <a:pt x="6238" y="7593"/>
                  </a:cubicBezTo>
                  <a:close/>
                  <a:moveTo>
                    <a:pt x="2961" y="8318"/>
                  </a:moveTo>
                  <a:lnTo>
                    <a:pt x="4852" y="10177"/>
                  </a:lnTo>
                  <a:lnTo>
                    <a:pt x="4852" y="11122"/>
                  </a:lnTo>
                  <a:lnTo>
                    <a:pt x="662" y="11122"/>
                  </a:lnTo>
                  <a:lnTo>
                    <a:pt x="662" y="9358"/>
                  </a:lnTo>
                  <a:cubicBezTo>
                    <a:pt x="662" y="8759"/>
                    <a:pt x="1134" y="8318"/>
                    <a:pt x="1701" y="8318"/>
                  </a:cubicBezTo>
                  <a:close/>
                  <a:moveTo>
                    <a:pt x="8664" y="8318"/>
                  </a:moveTo>
                  <a:cubicBezTo>
                    <a:pt x="9262" y="8318"/>
                    <a:pt x="9672" y="8790"/>
                    <a:pt x="9672" y="9358"/>
                  </a:cubicBezTo>
                  <a:lnTo>
                    <a:pt x="9672" y="11122"/>
                  </a:lnTo>
                  <a:lnTo>
                    <a:pt x="5513" y="11122"/>
                  </a:lnTo>
                  <a:lnTo>
                    <a:pt x="5513" y="10177"/>
                  </a:lnTo>
                  <a:lnTo>
                    <a:pt x="7404" y="8318"/>
                  </a:lnTo>
                  <a:close/>
                  <a:moveTo>
                    <a:pt x="4537" y="1"/>
                  </a:moveTo>
                  <a:cubicBezTo>
                    <a:pt x="2804" y="1"/>
                    <a:pt x="1418" y="1418"/>
                    <a:pt x="1418" y="3120"/>
                  </a:cubicBezTo>
                  <a:lnTo>
                    <a:pt x="1418" y="4506"/>
                  </a:lnTo>
                  <a:cubicBezTo>
                    <a:pt x="1418" y="5356"/>
                    <a:pt x="2048" y="6050"/>
                    <a:pt x="2835" y="6207"/>
                  </a:cubicBezTo>
                  <a:cubicBezTo>
                    <a:pt x="2898" y="6648"/>
                    <a:pt x="3151" y="7026"/>
                    <a:pt x="3497" y="7278"/>
                  </a:cubicBezTo>
                  <a:cubicBezTo>
                    <a:pt x="3466" y="7467"/>
                    <a:pt x="3308" y="7625"/>
                    <a:pt x="3119" y="7625"/>
                  </a:cubicBezTo>
                  <a:lnTo>
                    <a:pt x="1733" y="7625"/>
                  </a:lnTo>
                  <a:cubicBezTo>
                    <a:pt x="788" y="7625"/>
                    <a:pt x="0" y="8412"/>
                    <a:pt x="0" y="9358"/>
                  </a:cubicBezTo>
                  <a:lnTo>
                    <a:pt x="0" y="11468"/>
                  </a:lnTo>
                  <a:cubicBezTo>
                    <a:pt x="0" y="11689"/>
                    <a:pt x="158" y="11846"/>
                    <a:pt x="347" y="11846"/>
                  </a:cubicBezTo>
                  <a:lnTo>
                    <a:pt x="10050" y="11846"/>
                  </a:lnTo>
                  <a:cubicBezTo>
                    <a:pt x="10239" y="11846"/>
                    <a:pt x="10397" y="11689"/>
                    <a:pt x="10397" y="11468"/>
                  </a:cubicBezTo>
                  <a:lnTo>
                    <a:pt x="10397" y="9358"/>
                  </a:lnTo>
                  <a:cubicBezTo>
                    <a:pt x="10397" y="8412"/>
                    <a:pt x="9609" y="7625"/>
                    <a:pt x="8664" y="7625"/>
                  </a:cubicBezTo>
                  <a:lnTo>
                    <a:pt x="7278" y="7625"/>
                  </a:lnTo>
                  <a:cubicBezTo>
                    <a:pt x="7089" y="7625"/>
                    <a:pt x="6931" y="7467"/>
                    <a:pt x="6931" y="7278"/>
                  </a:cubicBezTo>
                  <a:cubicBezTo>
                    <a:pt x="7278" y="7026"/>
                    <a:pt x="7530" y="6648"/>
                    <a:pt x="7593" y="6207"/>
                  </a:cubicBezTo>
                  <a:cubicBezTo>
                    <a:pt x="8380" y="6050"/>
                    <a:pt x="9010" y="5325"/>
                    <a:pt x="9010" y="4506"/>
                  </a:cubicBezTo>
                  <a:lnTo>
                    <a:pt x="9010" y="3120"/>
                  </a:lnTo>
                  <a:cubicBezTo>
                    <a:pt x="9010" y="1387"/>
                    <a:pt x="7593" y="1"/>
                    <a:pt x="5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77"/>
            <p:cNvSpPr/>
            <p:nvPr/>
          </p:nvSpPr>
          <p:spPr>
            <a:xfrm>
              <a:off x="5967300" y="29153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40" y="694"/>
                  </a:lnTo>
                  <a:cubicBezTo>
                    <a:pt x="1260" y="694"/>
                    <a:pt x="1418" y="536"/>
                    <a:pt x="1418" y="347"/>
                  </a:cubicBezTo>
                  <a:cubicBezTo>
                    <a:pt x="1418" y="158"/>
                    <a:pt x="1260"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75" name="Google Shape;9875;p77"/>
          <p:cNvSpPr/>
          <p:nvPr/>
        </p:nvSpPr>
        <p:spPr>
          <a:xfrm>
            <a:off x="6637977" y="4306818"/>
            <a:ext cx="349457" cy="348513"/>
          </a:xfrm>
          <a:custGeom>
            <a:avLst/>
            <a:gdLst/>
            <a:ahLst/>
            <a:cxnLst/>
            <a:rect l="l" t="t" r="r" b="b"/>
            <a:pathLst>
              <a:path w="11847" h="11815" extrusionOk="0">
                <a:moveTo>
                  <a:pt x="5892" y="693"/>
                </a:moveTo>
                <a:cubicBezTo>
                  <a:pt x="6491" y="693"/>
                  <a:pt x="6932" y="1134"/>
                  <a:pt x="6932" y="1701"/>
                </a:cubicBezTo>
                <a:cubicBezTo>
                  <a:pt x="6932" y="2269"/>
                  <a:pt x="6459" y="2710"/>
                  <a:pt x="5892" y="2710"/>
                </a:cubicBezTo>
                <a:cubicBezTo>
                  <a:pt x="5325" y="2710"/>
                  <a:pt x="4884" y="2269"/>
                  <a:pt x="4884" y="1701"/>
                </a:cubicBezTo>
                <a:cubicBezTo>
                  <a:pt x="4884" y="1134"/>
                  <a:pt x="5325" y="693"/>
                  <a:pt x="5892" y="693"/>
                </a:cubicBezTo>
                <a:close/>
                <a:moveTo>
                  <a:pt x="5892" y="3466"/>
                </a:moveTo>
                <a:cubicBezTo>
                  <a:pt x="6176" y="3466"/>
                  <a:pt x="6428" y="3497"/>
                  <a:pt x="6680" y="3592"/>
                </a:cubicBezTo>
                <a:lnTo>
                  <a:pt x="5892" y="4631"/>
                </a:lnTo>
                <a:lnTo>
                  <a:pt x="5104" y="3592"/>
                </a:lnTo>
                <a:cubicBezTo>
                  <a:pt x="5357" y="3529"/>
                  <a:pt x="5609" y="3466"/>
                  <a:pt x="5892" y="3466"/>
                </a:cubicBezTo>
                <a:close/>
                <a:moveTo>
                  <a:pt x="4222" y="2048"/>
                </a:moveTo>
                <a:cubicBezTo>
                  <a:pt x="4285" y="2426"/>
                  <a:pt x="4474" y="2710"/>
                  <a:pt x="4726" y="2962"/>
                </a:cubicBezTo>
                <a:cubicBezTo>
                  <a:pt x="4632" y="2993"/>
                  <a:pt x="4537" y="3056"/>
                  <a:pt x="4443" y="3088"/>
                </a:cubicBezTo>
                <a:cubicBezTo>
                  <a:pt x="4443" y="3088"/>
                  <a:pt x="4411" y="3088"/>
                  <a:pt x="4411" y="3119"/>
                </a:cubicBezTo>
                <a:cubicBezTo>
                  <a:pt x="3403" y="3623"/>
                  <a:pt x="2773" y="4694"/>
                  <a:pt x="2773" y="5829"/>
                </a:cubicBezTo>
                <a:lnTo>
                  <a:pt x="2773" y="6207"/>
                </a:lnTo>
                <a:lnTo>
                  <a:pt x="2143" y="6207"/>
                </a:lnTo>
                <a:lnTo>
                  <a:pt x="2647" y="2300"/>
                </a:lnTo>
                <a:cubicBezTo>
                  <a:pt x="2679" y="2174"/>
                  <a:pt x="2836" y="2048"/>
                  <a:pt x="2962" y="2048"/>
                </a:cubicBezTo>
                <a:close/>
                <a:moveTo>
                  <a:pt x="4474" y="3907"/>
                </a:moveTo>
                <a:lnTo>
                  <a:pt x="5546" y="5325"/>
                </a:lnTo>
                <a:lnTo>
                  <a:pt x="5546" y="6238"/>
                </a:lnTo>
                <a:lnTo>
                  <a:pt x="3466" y="6238"/>
                </a:lnTo>
                <a:lnTo>
                  <a:pt x="3466" y="5892"/>
                </a:lnTo>
                <a:cubicBezTo>
                  <a:pt x="3466" y="5041"/>
                  <a:pt x="3844" y="4348"/>
                  <a:pt x="4474" y="3907"/>
                </a:cubicBezTo>
                <a:close/>
                <a:moveTo>
                  <a:pt x="7278" y="3907"/>
                </a:moveTo>
                <a:cubicBezTo>
                  <a:pt x="7908" y="4348"/>
                  <a:pt x="8318" y="5104"/>
                  <a:pt x="8318" y="5892"/>
                </a:cubicBezTo>
                <a:lnTo>
                  <a:pt x="8318" y="6238"/>
                </a:lnTo>
                <a:lnTo>
                  <a:pt x="6207" y="6238"/>
                </a:lnTo>
                <a:lnTo>
                  <a:pt x="6207" y="5325"/>
                </a:lnTo>
                <a:lnTo>
                  <a:pt x="7278" y="3907"/>
                </a:lnTo>
                <a:close/>
                <a:moveTo>
                  <a:pt x="8854" y="2048"/>
                </a:moveTo>
                <a:cubicBezTo>
                  <a:pt x="9011" y="2048"/>
                  <a:pt x="9137" y="2143"/>
                  <a:pt x="9169" y="2300"/>
                </a:cubicBezTo>
                <a:lnTo>
                  <a:pt x="9673" y="6238"/>
                </a:lnTo>
                <a:lnTo>
                  <a:pt x="9043" y="6238"/>
                </a:lnTo>
                <a:lnTo>
                  <a:pt x="9043" y="5860"/>
                </a:lnTo>
                <a:cubicBezTo>
                  <a:pt x="9043" y="4694"/>
                  <a:pt x="8381" y="3655"/>
                  <a:pt x="7436" y="3151"/>
                </a:cubicBezTo>
                <a:cubicBezTo>
                  <a:pt x="7436" y="3151"/>
                  <a:pt x="7404" y="3151"/>
                  <a:pt x="7404" y="3119"/>
                </a:cubicBezTo>
                <a:cubicBezTo>
                  <a:pt x="7310" y="3088"/>
                  <a:pt x="7184" y="3056"/>
                  <a:pt x="7121" y="2993"/>
                </a:cubicBezTo>
                <a:cubicBezTo>
                  <a:pt x="7310" y="2773"/>
                  <a:pt x="7530" y="2458"/>
                  <a:pt x="7593" y="2048"/>
                </a:cubicBezTo>
                <a:close/>
                <a:moveTo>
                  <a:pt x="10744" y="6900"/>
                </a:moveTo>
                <a:cubicBezTo>
                  <a:pt x="10933" y="6900"/>
                  <a:pt x="11090" y="7057"/>
                  <a:pt x="11090" y="7246"/>
                </a:cubicBezTo>
                <a:cubicBezTo>
                  <a:pt x="11090" y="7435"/>
                  <a:pt x="10933" y="7624"/>
                  <a:pt x="10744" y="7624"/>
                </a:cubicBezTo>
                <a:lnTo>
                  <a:pt x="1009" y="7624"/>
                </a:lnTo>
                <a:cubicBezTo>
                  <a:pt x="820" y="7624"/>
                  <a:pt x="662" y="7435"/>
                  <a:pt x="662" y="7246"/>
                </a:cubicBezTo>
                <a:cubicBezTo>
                  <a:pt x="662" y="7057"/>
                  <a:pt x="820" y="6900"/>
                  <a:pt x="1009" y="6900"/>
                </a:cubicBezTo>
                <a:close/>
                <a:moveTo>
                  <a:pt x="10397" y="8317"/>
                </a:moveTo>
                <a:lnTo>
                  <a:pt x="10397" y="11121"/>
                </a:lnTo>
                <a:lnTo>
                  <a:pt x="1387" y="11121"/>
                </a:lnTo>
                <a:lnTo>
                  <a:pt x="1387" y="8317"/>
                </a:lnTo>
                <a:close/>
                <a:moveTo>
                  <a:pt x="5892" y="0"/>
                </a:moveTo>
                <a:cubicBezTo>
                  <a:pt x="5073" y="0"/>
                  <a:pt x="4380" y="599"/>
                  <a:pt x="4222" y="1386"/>
                </a:cubicBezTo>
                <a:lnTo>
                  <a:pt x="2962" y="1386"/>
                </a:lnTo>
                <a:cubicBezTo>
                  <a:pt x="2458" y="1386"/>
                  <a:pt x="2080" y="1701"/>
                  <a:pt x="1954" y="2143"/>
                </a:cubicBezTo>
                <a:lnTo>
                  <a:pt x="1954" y="2174"/>
                </a:lnTo>
                <a:lnTo>
                  <a:pt x="1450" y="6238"/>
                </a:lnTo>
                <a:lnTo>
                  <a:pt x="1072" y="6238"/>
                </a:lnTo>
                <a:cubicBezTo>
                  <a:pt x="473" y="6238"/>
                  <a:pt x="1" y="6711"/>
                  <a:pt x="1" y="7246"/>
                </a:cubicBezTo>
                <a:cubicBezTo>
                  <a:pt x="1" y="7719"/>
                  <a:pt x="316" y="8065"/>
                  <a:pt x="694" y="8254"/>
                </a:cubicBezTo>
                <a:lnTo>
                  <a:pt x="694" y="11468"/>
                </a:lnTo>
                <a:cubicBezTo>
                  <a:pt x="694" y="11657"/>
                  <a:pt x="851" y="11815"/>
                  <a:pt x="1040" y="11815"/>
                </a:cubicBezTo>
                <a:lnTo>
                  <a:pt x="10775" y="11815"/>
                </a:lnTo>
                <a:cubicBezTo>
                  <a:pt x="10996" y="11815"/>
                  <a:pt x="11153" y="11657"/>
                  <a:pt x="11153" y="11468"/>
                </a:cubicBezTo>
                <a:lnTo>
                  <a:pt x="11153" y="8254"/>
                </a:lnTo>
                <a:cubicBezTo>
                  <a:pt x="11531" y="8065"/>
                  <a:pt x="11847" y="7719"/>
                  <a:pt x="11847" y="7246"/>
                </a:cubicBezTo>
                <a:cubicBezTo>
                  <a:pt x="11815" y="6711"/>
                  <a:pt x="11342" y="6238"/>
                  <a:pt x="10744" y="6238"/>
                </a:cubicBezTo>
                <a:lnTo>
                  <a:pt x="10366" y="6238"/>
                </a:lnTo>
                <a:lnTo>
                  <a:pt x="9830" y="2174"/>
                </a:lnTo>
                <a:lnTo>
                  <a:pt x="9830" y="2143"/>
                </a:lnTo>
                <a:cubicBezTo>
                  <a:pt x="9736" y="1701"/>
                  <a:pt x="9295" y="1386"/>
                  <a:pt x="8854" y="1386"/>
                </a:cubicBezTo>
                <a:lnTo>
                  <a:pt x="7593" y="1386"/>
                </a:lnTo>
                <a:cubicBezTo>
                  <a:pt x="7436" y="599"/>
                  <a:pt x="6711"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9C4AB-037E-912D-FF3D-1EC2CDEB1156}"/>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E793A395-E9A9-5D16-D3D9-D9D75E29D8AD}"/>
              </a:ext>
            </a:extLst>
          </p:cNvPr>
          <p:cNvPicPr>
            <a:picLocks noChangeAspect="1"/>
          </p:cNvPicPr>
          <p:nvPr/>
        </p:nvPicPr>
        <p:blipFill>
          <a:blip r:embed="rId3"/>
          <a:srcRect/>
          <a:stretch/>
        </p:blipFill>
        <p:spPr>
          <a:xfrm>
            <a:off x="1574612" y="143142"/>
            <a:ext cx="5455171" cy="4044810"/>
          </a:xfrm>
          <a:prstGeom prst="rect">
            <a:avLst/>
          </a:prstGeom>
        </p:spPr>
      </p:pic>
      <p:sp>
        <p:nvSpPr>
          <p:cNvPr id="4" name="Google Shape;632;p61">
            <a:extLst>
              <a:ext uri="{FF2B5EF4-FFF2-40B4-BE49-F238E27FC236}">
                <a16:creationId xmlns:a16="http://schemas.microsoft.com/office/drawing/2014/main" id="{FAEE67BC-12A8-08F5-BAA0-EA861970A9DA}"/>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Tree>
    <p:extLst>
      <p:ext uri="{BB962C8B-B14F-4D97-AF65-F5344CB8AC3E}">
        <p14:creationId xmlns:p14="http://schemas.microsoft.com/office/powerpoint/2010/main" val="34506510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879"/>
        <p:cNvGrpSpPr/>
        <p:nvPr/>
      </p:nvGrpSpPr>
      <p:grpSpPr>
        <a:xfrm>
          <a:off x="0" y="0"/>
          <a:ext cx="0" cy="0"/>
          <a:chOff x="0" y="0"/>
          <a:chExt cx="0" cy="0"/>
        </a:xfrm>
      </p:grpSpPr>
      <p:sp>
        <p:nvSpPr>
          <p:cNvPr id="9880" name="Google Shape;9880;p78"/>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9881" name="Google Shape;9881;p78"/>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9882" name="Google Shape;9882;p78"/>
          <p:cNvGrpSpPr/>
          <p:nvPr/>
        </p:nvGrpSpPr>
        <p:grpSpPr>
          <a:xfrm>
            <a:off x="882957" y="1534450"/>
            <a:ext cx="292442" cy="355741"/>
            <a:chOff x="-35830350" y="1912725"/>
            <a:chExt cx="241050" cy="293225"/>
          </a:xfrm>
        </p:grpSpPr>
        <p:sp>
          <p:nvSpPr>
            <p:cNvPr id="9883" name="Google Shape;9883;p78"/>
            <p:cNvSpPr/>
            <p:nvPr/>
          </p:nvSpPr>
          <p:spPr>
            <a:xfrm>
              <a:off x="-35830350" y="1912725"/>
              <a:ext cx="241050" cy="293225"/>
            </a:xfrm>
            <a:custGeom>
              <a:avLst/>
              <a:gdLst/>
              <a:ahLst/>
              <a:cxnLst/>
              <a:rect l="l" t="t" r="r" b="b"/>
              <a:pathLst>
                <a:path w="9642" h="11729" extrusionOk="0">
                  <a:moveTo>
                    <a:pt x="8665" y="694"/>
                  </a:moveTo>
                  <a:cubicBezTo>
                    <a:pt x="8822" y="726"/>
                    <a:pt x="8980" y="883"/>
                    <a:pt x="8980" y="1041"/>
                  </a:cubicBezTo>
                  <a:lnTo>
                    <a:pt x="8980" y="7562"/>
                  </a:lnTo>
                  <a:lnTo>
                    <a:pt x="2836" y="7562"/>
                  </a:lnTo>
                  <a:lnTo>
                    <a:pt x="2836" y="694"/>
                  </a:lnTo>
                  <a:close/>
                  <a:moveTo>
                    <a:pt x="2175" y="726"/>
                  </a:moveTo>
                  <a:lnTo>
                    <a:pt x="2175" y="7625"/>
                  </a:lnTo>
                  <a:lnTo>
                    <a:pt x="1828" y="7625"/>
                  </a:lnTo>
                  <a:cubicBezTo>
                    <a:pt x="1450" y="7625"/>
                    <a:pt x="1072" y="7720"/>
                    <a:pt x="788" y="7972"/>
                  </a:cubicBezTo>
                  <a:lnTo>
                    <a:pt x="788" y="1797"/>
                  </a:lnTo>
                  <a:cubicBezTo>
                    <a:pt x="788" y="1198"/>
                    <a:pt x="1261" y="726"/>
                    <a:pt x="1828" y="726"/>
                  </a:cubicBezTo>
                  <a:close/>
                  <a:moveTo>
                    <a:pt x="8791" y="8287"/>
                  </a:moveTo>
                  <a:cubicBezTo>
                    <a:pt x="8696" y="8507"/>
                    <a:pt x="8665" y="8759"/>
                    <a:pt x="8633" y="8948"/>
                  </a:cubicBezTo>
                  <a:lnTo>
                    <a:pt x="1734" y="8948"/>
                  </a:lnTo>
                  <a:cubicBezTo>
                    <a:pt x="1545" y="8948"/>
                    <a:pt x="1387" y="9106"/>
                    <a:pt x="1387" y="9295"/>
                  </a:cubicBezTo>
                  <a:cubicBezTo>
                    <a:pt x="1387" y="9515"/>
                    <a:pt x="1545" y="9673"/>
                    <a:pt x="1734" y="9673"/>
                  </a:cubicBezTo>
                  <a:lnTo>
                    <a:pt x="4821" y="9673"/>
                  </a:lnTo>
                  <a:lnTo>
                    <a:pt x="4821" y="10335"/>
                  </a:lnTo>
                  <a:lnTo>
                    <a:pt x="1860" y="10335"/>
                  </a:lnTo>
                  <a:cubicBezTo>
                    <a:pt x="1293" y="10335"/>
                    <a:pt x="757" y="9925"/>
                    <a:pt x="757" y="9295"/>
                  </a:cubicBezTo>
                  <a:cubicBezTo>
                    <a:pt x="757" y="8728"/>
                    <a:pt x="1230" y="8287"/>
                    <a:pt x="1765" y="8287"/>
                  </a:cubicBezTo>
                  <a:close/>
                  <a:moveTo>
                    <a:pt x="8665" y="9673"/>
                  </a:moveTo>
                  <a:cubicBezTo>
                    <a:pt x="8696" y="9894"/>
                    <a:pt x="8759" y="10146"/>
                    <a:pt x="8822" y="10335"/>
                  </a:cubicBezTo>
                  <a:lnTo>
                    <a:pt x="7594" y="10335"/>
                  </a:lnTo>
                  <a:lnTo>
                    <a:pt x="7594" y="9673"/>
                  </a:lnTo>
                  <a:close/>
                  <a:moveTo>
                    <a:pt x="6900" y="9673"/>
                  </a:moveTo>
                  <a:lnTo>
                    <a:pt x="6900" y="10693"/>
                  </a:lnTo>
                  <a:lnTo>
                    <a:pt x="6428" y="10398"/>
                  </a:lnTo>
                  <a:cubicBezTo>
                    <a:pt x="6396" y="10366"/>
                    <a:pt x="6302" y="10366"/>
                    <a:pt x="6239" y="10366"/>
                  </a:cubicBezTo>
                  <a:cubicBezTo>
                    <a:pt x="6144" y="10366"/>
                    <a:pt x="6113" y="10366"/>
                    <a:pt x="6018" y="10398"/>
                  </a:cubicBezTo>
                  <a:lnTo>
                    <a:pt x="5514" y="10713"/>
                  </a:lnTo>
                  <a:lnTo>
                    <a:pt x="5514" y="9673"/>
                  </a:lnTo>
                  <a:close/>
                  <a:moveTo>
                    <a:pt x="1734" y="1"/>
                  </a:moveTo>
                  <a:cubicBezTo>
                    <a:pt x="1261" y="1"/>
                    <a:pt x="820" y="222"/>
                    <a:pt x="505" y="537"/>
                  </a:cubicBezTo>
                  <a:cubicBezTo>
                    <a:pt x="190" y="820"/>
                    <a:pt x="1" y="1261"/>
                    <a:pt x="1" y="1734"/>
                  </a:cubicBezTo>
                  <a:lnTo>
                    <a:pt x="1" y="9295"/>
                  </a:lnTo>
                  <a:cubicBezTo>
                    <a:pt x="95" y="10272"/>
                    <a:pt x="946" y="10996"/>
                    <a:pt x="1860" y="10996"/>
                  </a:cubicBezTo>
                  <a:lnTo>
                    <a:pt x="4853" y="10996"/>
                  </a:lnTo>
                  <a:lnTo>
                    <a:pt x="4853" y="11343"/>
                  </a:lnTo>
                  <a:cubicBezTo>
                    <a:pt x="4853" y="11469"/>
                    <a:pt x="4916" y="11595"/>
                    <a:pt x="5042" y="11658"/>
                  </a:cubicBezTo>
                  <a:cubicBezTo>
                    <a:pt x="5099" y="11700"/>
                    <a:pt x="5155" y="11717"/>
                    <a:pt x="5209" y="11717"/>
                  </a:cubicBezTo>
                  <a:cubicBezTo>
                    <a:pt x="5275" y="11717"/>
                    <a:pt x="5336" y="11692"/>
                    <a:pt x="5388" y="11658"/>
                  </a:cubicBezTo>
                  <a:lnTo>
                    <a:pt x="6239" y="11122"/>
                  </a:lnTo>
                  <a:lnTo>
                    <a:pt x="7058" y="11658"/>
                  </a:lnTo>
                  <a:cubicBezTo>
                    <a:pt x="7121" y="11705"/>
                    <a:pt x="7176" y="11729"/>
                    <a:pt x="7231" y="11729"/>
                  </a:cubicBezTo>
                  <a:cubicBezTo>
                    <a:pt x="7286" y="11729"/>
                    <a:pt x="7342" y="11705"/>
                    <a:pt x="7405" y="11658"/>
                  </a:cubicBezTo>
                  <a:cubicBezTo>
                    <a:pt x="7531" y="11595"/>
                    <a:pt x="7594" y="11500"/>
                    <a:pt x="7594" y="11343"/>
                  </a:cubicBezTo>
                  <a:lnTo>
                    <a:pt x="7594" y="10996"/>
                  </a:lnTo>
                  <a:lnTo>
                    <a:pt x="9295" y="10996"/>
                  </a:lnTo>
                  <a:cubicBezTo>
                    <a:pt x="9421" y="10996"/>
                    <a:pt x="9547" y="10933"/>
                    <a:pt x="9578" y="10839"/>
                  </a:cubicBezTo>
                  <a:cubicBezTo>
                    <a:pt x="9641" y="10713"/>
                    <a:pt x="9641" y="10618"/>
                    <a:pt x="9578" y="10524"/>
                  </a:cubicBezTo>
                  <a:cubicBezTo>
                    <a:pt x="9169" y="9767"/>
                    <a:pt x="9169" y="8885"/>
                    <a:pt x="9578" y="8098"/>
                  </a:cubicBezTo>
                  <a:cubicBezTo>
                    <a:pt x="9610" y="8035"/>
                    <a:pt x="9610" y="8003"/>
                    <a:pt x="9610" y="7909"/>
                  </a:cubicBezTo>
                  <a:lnTo>
                    <a:pt x="9610" y="1041"/>
                  </a:lnTo>
                  <a:cubicBezTo>
                    <a:pt x="9610" y="474"/>
                    <a:pt x="9137" y="1"/>
                    <a:pt x="86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78"/>
            <p:cNvSpPr/>
            <p:nvPr/>
          </p:nvSpPr>
          <p:spPr>
            <a:xfrm>
              <a:off x="-35742925" y="1965500"/>
              <a:ext cx="120550" cy="119750"/>
            </a:xfrm>
            <a:custGeom>
              <a:avLst/>
              <a:gdLst/>
              <a:ahLst/>
              <a:cxnLst/>
              <a:rect l="l" t="t" r="r" b="b"/>
              <a:pathLst>
                <a:path w="4822" h="4790" extrusionOk="0">
                  <a:moveTo>
                    <a:pt x="2364" y="694"/>
                  </a:moveTo>
                  <a:cubicBezTo>
                    <a:pt x="2773" y="694"/>
                    <a:pt x="3057" y="1009"/>
                    <a:pt x="3057" y="1356"/>
                  </a:cubicBezTo>
                  <a:cubicBezTo>
                    <a:pt x="3057" y="1765"/>
                    <a:pt x="2742" y="2049"/>
                    <a:pt x="2364" y="2049"/>
                  </a:cubicBezTo>
                  <a:cubicBezTo>
                    <a:pt x="2348" y="2050"/>
                    <a:pt x="2332" y="2051"/>
                    <a:pt x="2316" y="2051"/>
                  </a:cubicBezTo>
                  <a:cubicBezTo>
                    <a:pt x="1989" y="2051"/>
                    <a:pt x="1702" y="1746"/>
                    <a:pt x="1702" y="1356"/>
                  </a:cubicBezTo>
                  <a:cubicBezTo>
                    <a:pt x="1702" y="977"/>
                    <a:pt x="2017" y="694"/>
                    <a:pt x="2364" y="694"/>
                  </a:cubicBezTo>
                  <a:close/>
                  <a:moveTo>
                    <a:pt x="2427" y="2742"/>
                  </a:moveTo>
                  <a:cubicBezTo>
                    <a:pt x="3246" y="2742"/>
                    <a:pt x="3939" y="3340"/>
                    <a:pt x="4097" y="4128"/>
                  </a:cubicBezTo>
                  <a:lnTo>
                    <a:pt x="757" y="4128"/>
                  </a:lnTo>
                  <a:cubicBezTo>
                    <a:pt x="883" y="3340"/>
                    <a:pt x="1576" y="2742"/>
                    <a:pt x="2427" y="2742"/>
                  </a:cubicBezTo>
                  <a:close/>
                  <a:moveTo>
                    <a:pt x="2427" y="1"/>
                  </a:moveTo>
                  <a:cubicBezTo>
                    <a:pt x="1671" y="1"/>
                    <a:pt x="1041" y="599"/>
                    <a:pt x="1041" y="1356"/>
                  </a:cubicBezTo>
                  <a:cubicBezTo>
                    <a:pt x="1041" y="1734"/>
                    <a:pt x="1167" y="2049"/>
                    <a:pt x="1387" y="2269"/>
                  </a:cubicBezTo>
                  <a:cubicBezTo>
                    <a:pt x="568" y="2647"/>
                    <a:pt x="32" y="3498"/>
                    <a:pt x="32" y="4443"/>
                  </a:cubicBezTo>
                  <a:cubicBezTo>
                    <a:pt x="1" y="4632"/>
                    <a:pt x="158" y="4790"/>
                    <a:pt x="379" y="4790"/>
                  </a:cubicBezTo>
                  <a:lnTo>
                    <a:pt x="4475" y="4790"/>
                  </a:lnTo>
                  <a:cubicBezTo>
                    <a:pt x="4664" y="4790"/>
                    <a:pt x="4821" y="4632"/>
                    <a:pt x="4821" y="4443"/>
                  </a:cubicBezTo>
                  <a:cubicBezTo>
                    <a:pt x="4821" y="3498"/>
                    <a:pt x="4254" y="2647"/>
                    <a:pt x="3435" y="2269"/>
                  </a:cubicBezTo>
                  <a:cubicBezTo>
                    <a:pt x="3687" y="2049"/>
                    <a:pt x="3813" y="1702"/>
                    <a:pt x="3813" y="1356"/>
                  </a:cubicBezTo>
                  <a:cubicBezTo>
                    <a:pt x="3813" y="599"/>
                    <a:pt x="3183"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5" name="Google Shape;9885;p78"/>
          <p:cNvGrpSpPr/>
          <p:nvPr/>
        </p:nvGrpSpPr>
        <p:grpSpPr>
          <a:xfrm>
            <a:off x="851444" y="1994048"/>
            <a:ext cx="355468" cy="353587"/>
            <a:chOff x="-35854750" y="2272675"/>
            <a:chExt cx="293000" cy="291450"/>
          </a:xfrm>
        </p:grpSpPr>
        <p:sp>
          <p:nvSpPr>
            <p:cNvPr id="9886" name="Google Shape;9886;p78"/>
            <p:cNvSpPr/>
            <p:nvPr/>
          </p:nvSpPr>
          <p:spPr>
            <a:xfrm>
              <a:off x="-35854750" y="2272675"/>
              <a:ext cx="293000" cy="291450"/>
            </a:xfrm>
            <a:custGeom>
              <a:avLst/>
              <a:gdLst/>
              <a:ahLst/>
              <a:cxnLst/>
              <a:rect l="l" t="t" r="r" b="b"/>
              <a:pathLst>
                <a:path w="11720" h="11658" extrusionOk="0">
                  <a:moveTo>
                    <a:pt x="5844" y="654"/>
                  </a:moveTo>
                  <a:cubicBezTo>
                    <a:pt x="6144" y="654"/>
                    <a:pt x="6443" y="773"/>
                    <a:pt x="6679" y="1009"/>
                  </a:cubicBezTo>
                  <a:lnTo>
                    <a:pt x="7057" y="1355"/>
                  </a:lnTo>
                  <a:lnTo>
                    <a:pt x="4600" y="1355"/>
                  </a:lnTo>
                  <a:lnTo>
                    <a:pt x="5009" y="1009"/>
                  </a:lnTo>
                  <a:cubicBezTo>
                    <a:pt x="5246" y="773"/>
                    <a:pt x="5545" y="654"/>
                    <a:pt x="5844" y="654"/>
                  </a:cubicBezTo>
                  <a:close/>
                  <a:moveTo>
                    <a:pt x="2080" y="3939"/>
                  </a:moveTo>
                  <a:lnTo>
                    <a:pt x="2080" y="6365"/>
                  </a:lnTo>
                  <a:lnTo>
                    <a:pt x="819" y="5136"/>
                  </a:lnTo>
                  <a:lnTo>
                    <a:pt x="2080" y="3939"/>
                  </a:lnTo>
                  <a:close/>
                  <a:moveTo>
                    <a:pt x="9609" y="3876"/>
                  </a:moveTo>
                  <a:lnTo>
                    <a:pt x="10869" y="5136"/>
                  </a:lnTo>
                  <a:lnTo>
                    <a:pt x="9609" y="6365"/>
                  </a:lnTo>
                  <a:lnTo>
                    <a:pt x="9609" y="3876"/>
                  </a:lnTo>
                  <a:close/>
                  <a:moveTo>
                    <a:pt x="8570" y="2080"/>
                  </a:moveTo>
                  <a:cubicBezTo>
                    <a:pt x="8790" y="2080"/>
                    <a:pt x="8948" y="2238"/>
                    <a:pt x="8948" y="2427"/>
                  </a:cubicBezTo>
                  <a:lnTo>
                    <a:pt x="8948" y="7089"/>
                  </a:lnTo>
                  <a:lnTo>
                    <a:pt x="8286" y="7751"/>
                  </a:lnTo>
                  <a:cubicBezTo>
                    <a:pt x="7593" y="7152"/>
                    <a:pt x="6774" y="6837"/>
                    <a:pt x="5860" y="6837"/>
                  </a:cubicBezTo>
                  <a:cubicBezTo>
                    <a:pt x="4978" y="6837"/>
                    <a:pt x="4127" y="7152"/>
                    <a:pt x="3466" y="7751"/>
                  </a:cubicBezTo>
                  <a:lnTo>
                    <a:pt x="2804" y="7089"/>
                  </a:lnTo>
                  <a:lnTo>
                    <a:pt x="2804" y="2427"/>
                  </a:lnTo>
                  <a:cubicBezTo>
                    <a:pt x="2804" y="2238"/>
                    <a:pt x="2962" y="2080"/>
                    <a:pt x="3119" y="2080"/>
                  </a:cubicBezTo>
                  <a:close/>
                  <a:moveTo>
                    <a:pt x="693" y="5987"/>
                  </a:moveTo>
                  <a:lnTo>
                    <a:pt x="2993" y="8223"/>
                  </a:lnTo>
                  <a:lnTo>
                    <a:pt x="693" y="10492"/>
                  </a:lnTo>
                  <a:lnTo>
                    <a:pt x="693" y="5987"/>
                  </a:lnTo>
                  <a:close/>
                  <a:moveTo>
                    <a:pt x="11027" y="5987"/>
                  </a:moveTo>
                  <a:lnTo>
                    <a:pt x="11027" y="10492"/>
                  </a:lnTo>
                  <a:lnTo>
                    <a:pt x="8727" y="8223"/>
                  </a:lnTo>
                  <a:lnTo>
                    <a:pt x="11027" y="5987"/>
                  </a:lnTo>
                  <a:close/>
                  <a:moveTo>
                    <a:pt x="5829" y="7499"/>
                  </a:moveTo>
                  <a:cubicBezTo>
                    <a:pt x="6616" y="7499"/>
                    <a:pt x="7309" y="7814"/>
                    <a:pt x="7876" y="8381"/>
                  </a:cubicBezTo>
                  <a:lnTo>
                    <a:pt x="10523" y="10964"/>
                  </a:lnTo>
                  <a:lnTo>
                    <a:pt x="1166" y="10964"/>
                  </a:lnTo>
                  <a:lnTo>
                    <a:pt x="3781" y="8381"/>
                  </a:lnTo>
                  <a:cubicBezTo>
                    <a:pt x="4316" y="7814"/>
                    <a:pt x="5041" y="7499"/>
                    <a:pt x="5829" y="7499"/>
                  </a:cubicBezTo>
                  <a:close/>
                  <a:moveTo>
                    <a:pt x="5864" y="1"/>
                  </a:moveTo>
                  <a:cubicBezTo>
                    <a:pt x="5380" y="1"/>
                    <a:pt x="4899" y="190"/>
                    <a:pt x="4537" y="568"/>
                  </a:cubicBezTo>
                  <a:lnTo>
                    <a:pt x="3655" y="1387"/>
                  </a:lnTo>
                  <a:lnTo>
                    <a:pt x="3119" y="1387"/>
                  </a:lnTo>
                  <a:cubicBezTo>
                    <a:pt x="2552" y="1387"/>
                    <a:pt x="2080" y="1859"/>
                    <a:pt x="2080" y="2427"/>
                  </a:cubicBezTo>
                  <a:lnTo>
                    <a:pt x="2080" y="2962"/>
                  </a:lnTo>
                  <a:lnTo>
                    <a:pt x="315" y="4726"/>
                  </a:lnTo>
                  <a:cubicBezTo>
                    <a:pt x="126" y="4915"/>
                    <a:pt x="0" y="5136"/>
                    <a:pt x="0" y="5420"/>
                  </a:cubicBezTo>
                  <a:lnTo>
                    <a:pt x="0" y="10618"/>
                  </a:lnTo>
                  <a:cubicBezTo>
                    <a:pt x="32" y="11216"/>
                    <a:pt x="473" y="11657"/>
                    <a:pt x="1071" y="11657"/>
                  </a:cubicBezTo>
                  <a:lnTo>
                    <a:pt x="10680" y="11657"/>
                  </a:lnTo>
                  <a:cubicBezTo>
                    <a:pt x="11216" y="11657"/>
                    <a:pt x="11720" y="11185"/>
                    <a:pt x="11720" y="10618"/>
                  </a:cubicBezTo>
                  <a:lnTo>
                    <a:pt x="11720" y="5420"/>
                  </a:lnTo>
                  <a:cubicBezTo>
                    <a:pt x="11720" y="5136"/>
                    <a:pt x="11626" y="4915"/>
                    <a:pt x="11405" y="4726"/>
                  </a:cubicBezTo>
                  <a:lnTo>
                    <a:pt x="9641" y="2962"/>
                  </a:lnTo>
                  <a:lnTo>
                    <a:pt x="9641" y="2427"/>
                  </a:lnTo>
                  <a:cubicBezTo>
                    <a:pt x="9641" y="1859"/>
                    <a:pt x="9168" y="1387"/>
                    <a:pt x="8633" y="1387"/>
                  </a:cubicBezTo>
                  <a:lnTo>
                    <a:pt x="8065" y="1387"/>
                  </a:lnTo>
                  <a:lnTo>
                    <a:pt x="7215" y="568"/>
                  </a:lnTo>
                  <a:cubicBezTo>
                    <a:pt x="6837" y="190"/>
                    <a:pt x="6348" y="1"/>
                    <a:pt x="58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7" name="Google Shape;9887;p78"/>
            <p:cNvSpPr/>
            <p:nvPr/>
          </p:nvSpPr>
          <p:spPr>
            <a:xfrm>
              <a:off x="-35733475" y="2340425"/>
              <a:ext cx="51225" cy="68550"/>
            </a:xfrm>
            <a:custGeom>
              <a:avLst/>
              <a:gdLst/>
              <a:ahLst/>
              <a:cxnLst/>
              <a:rect l="l" t="t" r="r" b="b"/>
              <a:pathLst>
                <a:path w="2049" h="2742" extrusionOk="0">
                  <a:moveTo>
                    <a:pt x="1009" y="0"/>
                  </a:moveTo>
                  <a:cubicBezTo>
                    <a:pt x="474" y="0"/>
                    <a:pt x="1" y="473"/>
                    <a:pt x="1" y="1008"/>
                  </a:cubicBezTo>
                  <a:cubicBezTo>
                    <a:pt x="1" y="1260"/>
                    <a:pt x="158" y="1418"/>
                    <a:pt x="316" y="1418"/>
                  </a:cubicBezTo>
                  <a:cubicBezTo>
                    <a:pt x="505" y="1418"/>
                    <a:pt x="663" y="1260"/>
                    <a:pt x="663" y="1040"/>
                  </a:cubicBezTo>
                  <a:cubicBezTo>
                    <a:pt x="663" y="851"/>
                    <a:pt x="820" y="693"/>
                    <a:pt x="1009" y="693"/>
                  </a:cubicBezTo>
                  <a:cubicBezTo>
                    <a:pt x="1198" y="693"/>
                    <a:pt x="1356" y="851"/>
                    <a:pt x="1356" y="1040"/>
                  </a:cubicBezTo>
                  <a:cubicBezTo>
                    <a:pt x="1356" y="1229"/>
                    <a:pt x="1293" y="1323"/>
                    <a:pt x="1135" y="1386"/>
                  </a:cubicBezTo>
                  <a:cubicBezTo>
                    <a:pt x="852" y="1449"/>
                    <a:pt x="663" y="1733"/>
                    <a:pt x="663" y="2016"/>
                  </a:cubicBezTo>
                  <a:lnTo>
                    <a:pt x="663" y="2394"/>
                  </a:lnTo>
                  <a:cubicBezTo>
                    <a:pt x="663" y="2583"/>
                    <a:pt x="820" y="2741"/>
                    <a:pt x="1009" y="2741"/>
                  </a:cubicBezTo>
                  <a:cubicBezTo>
                    <a:pt x="1230" y="2741"/>
                    <a:pt x="1387" y="2583"/>
                    <a:pt x="1387" y="2394"/>
                  </a:cubicBezTo>
                  <a:lnTo>
                    <a:pt x="1387" y="2016"/>
                  </a:lnTo>
                  <a:cubicBezTo>
                    <a:pt x="1765" y="1827"/>
                    <a:pt x="2049" y="1449"/>
                    <a:pt x="2049" y="1008"/>
                  </a:cubicBezTo>
                  <a:cubicBezTo>
                    <a:pt x="2049"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8" name="Google Shape;9888;p78"/>
            <p:cNvSpPr/>
            <p:nvPr/>
          </p:nvSpPr>
          <p:spPr>
            <a:xfrm>
              <a:off x="-35716925" y="24184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62"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9" name="Google Shape;9889;p78"/>
          <p:cNvGrpSpPr/>
          <p:nvPr/>
        </p:nvGrpSpPr>
        <p:grpSpPr>
          <a:xfrm>
            <a:off x="850958" y="2448634"/>
            <a:ext cx="356438" cy="354558"/>
            <a:chOff x="-35853975" y="2631825"/>
            <a:chExt cx="293800" cy="292250"/>
          </a:xfrm>
        </p:grpSpPr>
        <p:sp>
          <p:nvSpPr>
            <p:cNvPr id="9890" name="Google Shape;9890;p78"/>
            <p:cNvSpPr/>
            <p:nvPr/>
          </p:nvSpPr>
          <p:spPr>
            <a:xfrm>
              <a:off x="-35813025" y="2701825"/>
              <a:ext cx="201675" cy="171925"/>
            </a:xfrm>
            <a:custGeom>
              <a:avLst/>
              <a:gdLst/>
              <a:ahLst/>
              <a:cxnLst/>
              <a:rect l="l" t="t" r="r" b="b"/>
              <a:pathLst>
                <a:path w="8067" h="6877" extrusionOk="0">
                  <a:moveTo>
                    <a:pt x="1765" y="824"/>
                  </a:moveTo>
                  <a:lnTo>
                    <a:pt x="2868" y="1643"/>
                  </a:lnTo>
                  <a:lnTo>
                    <a:pt x="2238" y="2462"/>
                  </a:lnTo>
                  <a:cubicBezTo>
                    <a:pt x="2112" y="2620"/>
                    <a:pt x="2143" y="2840"/>
                    <a:pt x="2301" y="2935"/>
                  </a:cubicBezTo>
                  <a:lnTo>
                    <a:pt x="5042" y="4983"/>
                  </a:lnTo>
                  <a:cubicBezTo>
                    <a:pt x="5108" y="5035"/>
                    <a:pt x="5179" y="5060"/>
                    <a:pt x="5246" y="5060"/>
                  </a:cubicBezTo>
                  <a:cubicBezTo>
                    <a:pt x="5341" y="5060"/>
                    <a:pt x="5428" y="5011"/>
                    <a:pt x="5483" y="4920"/>
                  </a:cubicBezTo>
                  <a:lnTo>
                    <a:pt x="6113" y="4100"/>
                  </a:lnTo>
                  <a:lnTo>
                    <a:pt x="7247" y="4920"/>
                  </a:lnTo>
                  <a:lnTo>
                    <a:pt x="6554" y="5739"/>
                  </a:lnTo>
                  <a:cubicBezTo>
                    <a:pt x="6348" y="6001"/>
                    <a:pt x="6042" y="6152"/>
                    <a:pt x="5735" y="6152"/>
                  </a:cubicBezTo>
                  <a:cubicBezTo>
                    <a:pt x="5525" y="6152"/>
                    <a:pt x="5315" y="6081"/>
                    <a:pt x="5136" y="5928"/>
                  </a:cubicBezTo>
                  <a:lnTo>
                    <a:pt x="1324" y="3061"/>
                  </a:lnTo>
                  <a:cubicBezTo>
                    <a:pt x="883" y="2714"/>
                    <a:pt x="757" y="2084"/>
                    <a:pt x="1135" y="1643"/>
                  </a:cubicBezTo>
                  <a:lnTo>
                    <a:pt x="1765" y="824"/>
                  </a:lnTo>
                  <a:close/>
                  <a:moveTo>
                    <a:pt x="1647" y="1"/>
                  </a:moveTo>
                  <a:cubicBezTo>
                    <a:pt x="1540" y="1"/>
                    <a:pt x="1435" y="63"/>
                    <a:pt x="1356" y="162"/>
                  </a:cubicBezTo>
                  <a:lnTo>
                    <a:pt x="537" y="1265"/>
                  </a:lnTo>
                  <a:cubicBezTo>
                    <a:pt x="1" y="1990"/>
                    <a:pt x="95" y="3061"/>
                    <a:pt x="883" y="3659"/>
                  </a:cubicBezTo>
                  <a:lnTo>
                    <a:pt x="4727" y="6526"/>
                  </a:lnTo>
                  <a:cubicBezTo>
                    <a:pt x="5026" y="6760"/>
                    <a:pt x="5384" y="6876"/>
                    <a:pt x="5744" y="6876"/>
                  </a:cubicBezTo>
                  <a:cubicBezTo>
                    <a:pt x="6255" y="6876"/>
                    <a:pt x="6770" y="6642"/>
                    <a:pt x="7121" y="6180"/>
                  </a:cubicBezTo>
                  <a:lnTo>
                    <a:pt x="7940" y="5077"/>
                  </a:lnTo>
                  <a:cubicBezTo>
                    <a:pt x="8066" y="4888"/>
                    <a:pt x="8003" y="4668"/>
                    <a:pt x="7846" y="4573"/>
                  </a:cubicBezTo>
                  <a:lnTo>
                    <a:pt x="6207" y="3344"/>
                  </a:lnTo>
                  <a:cubicBezTo>
                    <a:pt x="6142" y="3292"/>
                    <a:pt x="6070" y="3267"/>
                    <a:pt x="6001" y="3267"/>
                  </a:cubicBezTo>
                  <a:cubicBezTo>
                    <a:pt x="5903" y="3267"/>
                    <a:pt x="5808" y="3316"/>
                    <a:pt x="5735" y="3407"/>
                  </a:cubicBezTo>
                  <a:lnTo>
                    <a:pt x="5105" y="4258"/>
                  </a:lnTo>
                  <a:lnTo>
                    <a:pt x="2931" y="2588"/>
                  </a:lnTo>
                  <a:lnTo>
                    <a:pt x="3561" y="1769"/>
                  </a:lnTo>
                  <a:cubicBezTo>
                    <a:pt x="3687" y="1612"/>
                    <a:pt x="3656" y="1423"/>
                    <a:pt x="3498" y="1297"/>
                  </a:cubicBezTo>
                  <a:lnTo>
                    <a:pt x="1828" y="68"/>
                  </a:lnTo>
                  <a:cubicBezTo>
                    <a:pt x="1770" y="22"/>
                    <a:pt x="1708" y="1"/>
                    <a:pt x="1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78"/>
            <p:cNvSpPr/>
            <p:nvPr/>
          </p:nvSpPr>
          <p:spPr>
            <a:xfrm>
              <a:off x="-35853975" y="2631825"/>
              <a:ext cx="293800" cy="292250"/>
            </a:xfrm>
            <a:custGeom>
              <a:avLst/>
              <a:gdLst/>
              <a:ahLst/>
              <a:cxnLst/>
              <a:rect l="l" t="t" r="r" b="b"/>
              <a:pathLst>
                <a:path w="11752" h="11690" extrusionOk="0">
                  <a:moveTo>
                    <a:pt x="5861" y="662"/>
                  </a:moveTo>
                  <a:cubicBezTo>
                    <a:pt x="8696" y="662"/>
                    <a:pt x="11027" y="2994"/>
                    <a:pt x="11027" y="5829"/>
                  </a:cubicBezTo>
                  <a:cubicBezTo>
                    <a:pt x="11027" y="6806"/>
                    <a:pt x="10744" y="7751"/>
                    <a:pt x="10240" y="8539"/>
                  </a:cubicBezTo>
                  <a:cubicBezTo>
                    <a:pt x="10177" y="8665"/>
                    <a:pt x="10114" y="8791"/>
                    <a:pt x="10177" y="8854"/>
                  </a:cubicBezTo>
                  <a:lnTo>
                    <a:pt x="10807" y="10776"/>
                  </a:lnTo>
                  <a:lnTo>
                    <a:pt x="8854" y="10145"/>
                  </a:lnTo>
                  <a:cubicBezTo>
                    <a:pt x="8837" y="10137"/>
                    <a:pt x="8815" y="10133"/>
                    <a:pt x="8792" y="10133"/>
                  </a:cubicBezTo>
                  <a:cubicBezTo>
                    <a:pt x="8728" y="10133"/>
                    <a:pt x="8648" y="10162"/>
                    <a:pt x="8602" y="10208"/>
                  </a:cubicBezTo>
                  <a:cubicBezTo>
                    <a:pt x="7751" y="10713"/>
                    <a:pt x="6806" y="10996"/>
                    <a:pt x="5861" y="10996"/>
                  </a:cubicBezTo>
                  <a:cubicBezTo>
                    <a:pt x="3025" y="10996"/>
                    <a:pt x="725" y="8665"/>
                    <a:pt x="725" y="5829"/>
                  </a:cubicBezTo>
                  <a:cubicBezTo>
                    <a:pt x="725" y="2994"/>
                    <a:pt x="3025" y="662"/>
                    <a:pt x="5861" y="662"/>
                  </a:cubicBezTo>
                  <a:close/>
                  <a:moveTo>
                    <a:pt x="5829" y="1"/>
                  </a:moveTo>
                  <a:cubicBezTo>
                    <a:pt x="2616" y="1"/>
                    <a:pt x="1" y="2647"/>
                    <a:pt x="1" y="5829"/>
                  </a:cubicBezTo>
                  <a:cubicBezTo>
                    <a:pt x="1" y="7373"/>
                    <a:pt x="599" y="8854"/>
                    <a:pt x="1733" y="9956"/>
                  </a:cubicBezTo>
                  <a:cubicBezTo>
                    <a:pt x="2836" y="11059"/>
                    <a:pt x="4285" y="11689"/>
                    <a:pt x="5861" y="11689"/>
                  </a:cubicBezTo>
                  <a:cubicBezTo>
                    <a:pt x="6900" y="11689"/>
                    <a:pt x="7908" y="11406"/>
                    <a:pt x="8822" y="10870"/>
                  </a:cubicBezTo>
                  <a:lnTo>
                    <a:pt x="11279" y="11658"/>
                  </a:lnTo>
                  <a:cubicBezTo>
                    <a:pt x="11303" y="11666"/>
                    <a:pt x="11331" y="11669"/>
                    <a:pt x="11360" y="11669"/>
                  </a:cubicBezTo>
                  <a:cubicBezTo>
                    <a:pt x="11449" y="11669"/>
                    <a:pt x="11555" y="11634"/>
                    <a:pt x="11626" y="11563"/>
                  </a:cubicBezTo>
                  <a:cubicBezTo>
                    <a:pt x="11689" y="11500"/>
                    <a:pt x="11752" y="11343"/>
                    <a:pt x="11689" y="11217"/>
                  </a:cubicBezTo>
                  <a:lnTo>
                    <a:pt x="10901" y="8791"/>
                  </a:lnTo>
                  <a:cubicBezTo>
                    <a:pt x="11469" y="7877"/>
                    <a:pt x="11752" y="6837"/>
                    <a:pt x="11752" y="5829"/>
                  </a:cubicBezTo>
                  <a:cubicBezTo>
                    <a:pt x="11689" y="2647"/>
                    <a:pt x="907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78"/>
            <p:cNvSpPr/>
            <p:nvPr/>
          </p:nvSpPr>
          <p:spPr>
            <a:xfrm>
              <a:off x="-35715350" y="2735025"/>
              <a:ext cx="49650" cy="40675"/>
            </a:xfrm>
            <a:custGeom>
              <a:avLst/>
              <a:gdLst/>
              <a:ahLst/>
              <a:cxnLst/>
              <a:rect l="l" t="t" r="r" b="b"/>
              <a:pathLst>
                <a:path w="1986" h="1627" extrusionOk="0">
                  <a:moveTo>
                    <a:pt x="410" y="0"/>
                  </a:moveTo>
                  <a:cubicBezTo>
                    <a:pt x="221" y="0"/>
                    <a:pt x="64" y="126"/>
                    <a:pt x="64" y="315"/>
                  </a:cubicBezTo>
                  <a:cubicBezTo>
                    <a:pt x="1" y="504"/>
                    <a:pt x="158" y="662"/>
                    <a:pt x="379" y="662"/>
                  </a:cubicBezTo>
                  <a:cubicBezTo>
                    <a:pt x="788" y="725"/>
                    <a:pt x="1166" y="977"/>
                    <a:pt x="1261" y="1386"/>
                  </a:cubicBezTo>
                  <a:cubicBezTo>
                    <a:pt x="1311" y="1536"/>
                    <a:pt x="1439" y="1626"/>
                    <a:pt x="1585" y="1626"/>
                  </a:cubicBezTo>
                  <a:cubicBezTo>
                    <a:pt x="1623" y="1626"/>
                    <a:pt x="1662" y="1620"/>
                    <a:pt x="1702" y="1607"/>
                  </a:cubicBezTo>
                  <a:cubicBezTo>
                    <a:pt x="1891" y="1575"/>
                    <a:pt x="1985" y="1386"/>
                    <a:pt x="1954" y="1197"/>
                  </a:cubicBezTo>
                  <a:cubicBezTo>
                    <a:pt x="1733" y="504"/>
                    <a:pt x="1103" y="32"/>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78"/>
            <p:cNvSpPr/>
            <p:nvPr/>
          </p:nvSpPr>
          <p:spPr>
            <a:xfrm>
              <a:off x="-35705900" y="2667275"/>
              <a:ext cx="107925" cy="101750"/>
            </a:xfrm>
            <a:custGeom>
              <a:avLst/>
              <a:gdLst/>
              <a:ahLst/>
              <a:cxnLst/>
              <a:rect l="l" t="t" r="r" b="b"/>
              <a:pathLst>
                <a:path w="4317" h="4070" extrusionOk="0">
                  <a:moveTo>
                    <a:pt x="347" y="1"/>
                  </a:moveTo>
                  <a:cubicBezTo>
                    <a:pt x="158" y="1"/>
                    <a:pt x="1" y="127"/>
                    <a:pt x="1" y="316"/>
                  </a:cubicBezTo>
                  <a:cubicBezTo>
                    <a:pt x="1" y="505"/>
                    <a:pt x="95" y="662"/>
                    <a:pt x="316" y="662"/>
                  </a:cubicBezTo>
                  <a:cubicBezTo>
                    <a:pt x="2048" y="820"/>
                    <a:pt x="3372" y="2111"/>
                    <a:pt x="3655" y="3781"/>
                  </a:cubicBezTo>
                  <a:cubicBezTo>
                    <a:pt x="3683" y="3951"/>
                    <a:pt x="3813" y="4070"/>
                    <a:pt x="3976" y="4070"/>
                  </a:cubicBezTo>
                  <a:cubicBezTo>
                    <a:pt x="3995" y="4070"/>
                    <a:pt x="4014" y="4068"/>
                    <a:pt x="4033" y="4065"/>
                  </a:cubicBezTo>
                  <a:cubicBezTo>
                    <a:pt x="4191" y="4065"/>
                    <a:pt x="4317" y="3844"/>
                    <a:pt x="4317" y="3687"/>
                  </a:cubicBezTo>
                  <a:cubicBezTo>
                    <a:pt x="4002" y="1733"/>
                    <a:pt x="2364" y="190"/>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4" name="Google Shape;9894;p78"/>
            <p:cNvSpPr/>
            <p:nvPr/>
          </p:nvSpPr>
          <p:spPr>
            <a:xfrm>
              <a:off x="-35709825" y="2700350"/>
              <a:ext cx="77200" cy="68700"/>
            </a:xfrm>
            <a:custGeom>
              <a:avLst/>
              <a:gdLst/>
              <a:ahLst/>
              <a:cxnLst/>
              <a:rect l="l" t="t" r="r" b="b"/>
              <a:pathLst>
                <a:path w="3088" h="2748" extrusionOk="0">
                  <a:moveTo>
                    <a:pt x="347" y="1"/>
                  </a:moveTo>
                  <a:cubicBezTo>
                    <a:pt x="158" y="1"/>
                    <a:pt x="0" y="127"/>
                    <a:pt x="0" y="316"/>
                  </a:cubicBezTo>
                  <a:cubicBezTo>
                    <a:pt x="0" y="536"/>
                    <a:pt x="95" y="694"/>
                    <a:pt x="315" y="725"/>
                  </a:cubicBezTo>
                  <a:cubicBezTo>
                    <a:pt x="1323" y="788"/>
                    <a:pt x="2142" y="1545"/>
                    <a:pt x="2394" y="2490"/>
                  </a:cubicBezTo>
                  <a:cubicBezTo>
                    <a:pt x="2422" y="2655"/>
                    <a:pt x="2570" y="2748"/>
                    <a:pt x="2753" y="2748"/>
                  </a:cubicBezTo>
                  <a:cubicBezTo>
                    <a:pt x="2780" y="2748"/>
                    <a:pt x="2808" y="2746"/>
                    <a:pt x="2836" y="2742"/>
                  </a:cubicBezTo>
                  <a:cubicBezTo>
                    <a:pt x="3025" y="2679"/>
                    <a:pt x="3088" y="2490"/>
                    <a:pt x="3056" y="2301"/>
                  </a:cubicBezTo>
                  <a:cubicBezTo>
                    <a:pt x="2741" y="1072"/>
                    <a:pt x="1670" y="127"/>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5" name="Google Shape;9895;p78"/>
          <p:cNvGrpSpPr/>
          <p:nvPr/>
        </p:nvGrpSpPr>
        <p:grpSpPr>
          <a:xfrm>
            <a:off x="3089562" y="1535527"/>
            <a:ext cx="353587" cy="353587"/>
            <a:chOff x="-34032200" y="1916675"/>
            <a:chExt cx="291450" cy="291450"/>
          </a:xfrm>
        </p:grpSpPr>
        <p:sp>
          <p:nvSpPr>
            <p:cNvPr id="9896" name="Google Shape;9896;p78"/>
            <p:cNvSpPr/>
            <p:nvPr/>
          </p:nvSpPr>
          <p:spPr>
            <a:xfrm>
              <a:off x="-34032200" y="1916675"/>
              <a:ext cx="291450" cy="291450"/>
            </a:xfrm>
            <a:custGeom>
              <a:avLst/>
              <a:gdLst/>
              <a:ahLst/>
              <a:cxnLst/>
              <a:rect l="l" t="t" r="r" b="b"/>
              <a:pathLst>
                <a:path w="11658" h="11658" extrusionOk="0">
                  <a:moveTo>
                    <a:pt x="6459" y="694"/>
                  </a:moveTo>
                  <a:cubicBezTo>
                    <a:pt x="6648" y="694"/>
                    <a:pt x="6806" y="851"/>
                    <a:pt x="6806" y="1040"/>
                  </a:cubicBezTo>
                  <a:lnTo>
                    <a:pt x="6806" y="1387"/>
                  </a:lnTo>
                  <a:lnTo>
                    <a:pt x="662" y="1387"/>
                  </a:lnTo>
                  <a:lnTo>
                    <a:pt x="662" y="1040"/>
                  </a:lnTo>
                  <a:cubicBezTo>
                    <a:pt x="662" y="851"/>
                    <a:pt x="820" y="694"/>
                    <a:pt x="977" y="694"/>
                  </a:cubicBezTo>
                  <a:close/>
                  <a:moveTo>
                    <a:pt x="10303" y="4096"/>
                  </a:moveTo>
                  <a:lnTo>
                    <a:pt x="8192" y="5419"/>
                  </a:lnTo>
                  <a:lnTo>
                    <a:pt x="6207" y="4096"/>
                  </a:lnTo>
                  <a:close/>
                  <a:moveTo>
                    <a:pt x="5420" y="4411"/>
                  </a:moveTo>
                  <a:lnTo>
                    <a:pt x="7971" y="6112"/>
                  </a:lnTo>
                  <a:cubicBezTo>
                    <a:pt x="8034" y="6144"/>
                    <a:pt x="8097" y="6144"/>
                    <a:pt x="8192" y="6144"/>
                  </a:cubicBezTo>
                  <a:cubicBezTo>
                    <a:pt x="8255" y="6144"/>
                    <a:pt x="8286" y="6144"/>
                    <a:pt x="8381" y="6112"/>
                  </a:cubicBezTo>
                  <a:lnTo>
                    <a:pt x="10933" y="4537"/>
                  </a:lnTo>
                  <a:lnTo>
                    <a:pt x="10933" y="7184"/>
                  </a:lnTo>
                  <a:cubicBezTo>
                    <a:pt x="10933" y="7373"/>
                    <a:pt x="10775" y="7530"/>
                    <a:pt x="10618" y="7530"/>
                  </a:cubicBezTo>
                  <a:lnTo>
                    <a:pt x="5766" y="7530"/>
                  </a:lnTo>
                  <a:cubicBezTo>
                    <a:pt x="5577" y="7530"/>
                    <a:pt x="5420" y="7373"/>
                    <a:pt x="5420" y="7184"/>
                  </a:cubicBezTo>
                  <a:lnTo>
                    <a:pt x="5420" y="4443"/>
                  </a:lnTo>
                  <a:lnTo>
                    <a:pt x="5420" y="4411"/>
                  </a:lnTo>
                  <a:close/>
                  <a:moveTo>
                    <a:pt x="6806" y="2048"/>
                  </a:moveTo>
                  <a:lnTo>
                    <a:pt x="6806" y="3435"/>
                  </a:lnTo>
                  <a:lnTo>
                    <a:pt x="5766" y="3435"/>
                  </a:lnTo>
                  <a:cubicBezTo>
                    <a:pt x="5231" y="3435"/>
                    <a:pt x="4758" y="3907"/>
                    <a:pt x="4758" y="4443"/>
                  </a:cubicBezTo>
                  <a:lnTo>
                    <a:pt x="4758" y="7184"/>
                  </a:lnTo>
                  <a:cubicBezTo>
                    <a:pt x="4758" y="7719"/>
                    <a:pt x="5231" y="8192"/>
                    <a:pt x="5766" y="8192"/>
                  </a:cubicBezTo>
                  <a:lnTo>
                    <a:pt x="6806" y="8192"/>
                  </a:lnTo>
                  <a:lnTo>
                    <a:pt x="6806" y="8916"/>
                  </a:lnTo>
                  <a:lnTo>
                    <a:pt x="662" y="8916"/>
                  </a:lnTo>
                  <a:lnTo>
                    <a:pt x="662" y="2048"/>
                  </a:lnTo>
                  <a:close/>
                  <a:moveTo>
                    <a:pt x="6774" y="9578"/>
                  </a:moveTo>
                  <a:lnTo>
                    <a:pt x="6774" y="10649"/>
                  </a:lnTo>
                  <a:cubicBezTo>
                    <a:pt x="6806" y="10838"/>
                    <a:pt x="6648" y="10996"/>
                    <a:pt x="6459" y="10996"/>
                  </a:cubicBezTo>
                  <a:lnTo>
                    <a:pt x="977" y="10996"/>
                  </a:lnTo>
                  <a:cubicBezTo>
                    <a:pt x="788" y="10996"/>
                    <a:pt x="631" y="10838"/>
                    <a:pt x="631" y="10649"/>
                  </a:cubicBezTo>
                  <a:lnTo>
                    <a:pt x="631" y="9578"/>
                  </a:lnTo>
                  <a:close/>
                  <a:moveTo>
                    <a:pt x="1009" y="1"/>
                  </a:moveTo>
                  <a:cubicBezTo>
                    <a:pt x="473" y="1"/>
                    <a:pt x="1" y="473"/>
                    <a:pt x="1" y="1040"/>
                  </a:cubicBezTo>
                  <a:lnTo>
                    <a:pt x="1" y="10649"/>
                  </a:lnTo>
                  <a:cubicBezTo>
                    <a:pt x="1" y="11185"/>
                    <a:pt x="473" y="11657"/>
                    <a:pt x="1009" y="11657"/>
                  </a:cubicBezTo>
                  <a:lnTo>
                    <a:pt x="6491" y="11657"/>
                  </a:lnTo>
                  <a:cubicBezTo>
                    <a:pt x="7026" y="11657"/>
                    <a:pt x="7499" y="11185"/>
                    <a:pt x="7499" y="10649"/>
                  </a:cubicBezTo>
                  <a:lnTo>
                    <a:pt x="7499" y="8255"/>
                  </a:lnTo>
                  <a:lnTo>
                    <a:pt x="10618" y="8255"/>
                  </a:lnTo>
                  <a:cubicBezTo>
                    <a:pt x="11185" y="8255"/>
                    <a:pt x="11658" y="7782"/>
                    <a:pt x="11658" y="7215"/>
                  </a:cubicBezTo>
                  <a:lnTo>
                    <a:pt x="11658" y="4506"/>
                  </a:lnTo>
                  <a:cubicBezTo>
                    <a:pt x="11658" y="3907"/>
                    <a:pt x="11185" y="3435"/>
                    <a:pt x="10618" y="3435"/>
                  </a:cubicBezTo>
                  <a:lnTo>
                    <a:pt x="7499" y="3435"/>
                  </a:lnTo>
                  <a:lnTo>
                    <a:pt x="7499" y="1040"/>
                  </a:lnTo>
                  <a:cubicBezTo>
                    <a:pt x="7499" y="473"/>
                    <a:pt x="7026"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78"/>
            <p:cNvSpPr/>
            <p:nvPr/>
          </p:nvSpPr>
          <p:spPr>
            <a:xfrm>
              <a:off x="-33999125" y="20190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616"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78"/>
            <p:cNvSpPr/>
            <p:nvPr/>
          </p:nvSpPr>
          <p:spPr>
            <a:xfrm>
              <a:off x="-33999900" y="2053725"/>
              <a:ext cx="52000" cy="18125"/>
            </a:xfrm>
            <a:custGeom>
              <a:avLst/>
              <a:gdLst/>
              <a:ahLst/>
              <a:cxnLst/>
              <a:rect l="l" t="t" r="r" b="b"/>
              <a:pathLst>
                <a:path w="2080" h="725" extrusionOk="0">
                  <a:moveTo>
                    <a:pt x="347" y="0"/>
                  </a:moveTo>
                  <a:cubicBezTo>
                    <a:pt x="158" y="0"/>
                    <a:pt x="0" y="158"/>
                    <a:pt x="0" y="347"/>
                  </a:cubicBezTo>
                  <a:cubicBezTo>
                    <a:pt x="0" y="567"/>
                    <a:pt x="158" y="725"/>
                    <a:pt x="347" y="725"/>
                  </a:cubicBezTo>
                  <a:lnTo>
                    <a:pt x="1733" y="725"/>
                  </a:lnTo>
                  <a:cubicBezTo>
                    <a:pt x="1922" y="725"/>
                    <a:pt x="2080" y="567"/>
                    <a:pt x="2080" y="347"/>
                  </a:cubicBezTo>
                  <a:cubicBezTo>
                    <a:pt x="2080" y="158"/>
                    <a:pt x="1922"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78"/>
            <p:cNvSpPr/>
            <p:nvPr/>
          </p:nvSpPr>
          <p:spPr>
            <a:xfrm>
              <a:off x="-33999125" y="2088375"/>
              <a:ext cx="34675" cy="17350"/>
            </a:xfrm>
            <a:custGeom>
              <a:avLst/>
              <a:gdLst/>
              <a:ahLst/>
              <a:cxnLst/>
              <a:rect l="l" t="t" r="r" b="b"/>
              <a:pathLst>
                <a:path w="1387" h="694" extrusionOk="0">
                  <a:moveTo>
                    <a:pt x="347" y="1"/>
                  </a:moveTo>
                  <a:cubicBezTo>
                    <a:pt x="158" y="1"/>
                    <a:pt x="1" y="158"/>
                    <a:pt x="1" y="347"/>
                  </a:cubicBezTo>
                  <a:cubicBezTo>
                    <a:pt x="1" y="536"/>
                    <a:pt x="158" y="694"/>
                    <a:pt x="347" y="694"/>
                  </a:cubicBezTo>
                  <a:lnTo>
                    <a:pt x="1041" y="694"/>
                  </a:lnTo>
                  <a:cubicBezTo>
                    <a:pt x="1230" y="694"/>
                    <a:pt x="1387" y="536"/>
                    <a:pt x="1387" y="347"/>
                  </a:cubicBezTo>
                  <a:cubicBezTo>
                    <a:pt x="1387" y="158"/>
                    <a:pt x="1230"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00" name="Google Shape;9900;p78"/>
          <p:cNvSpPr/>
          <p:nvPr/>
        </p:nvSpPr>
        <p:spPr>
          <a:xfrm>
            <a:off x="3086014" y="1992728"/>
            <a:ext cx="354527" cy="356620"/>
          </a:xfrm>
          <a:custGeom>
            <a:avLst/>
            <a:gdLst/>
            <a:ahLst/>
            <a:cxnLst/>
            <a:rect l="l" t="t" r="r" b="b"/>
            <a:pathLst>
              <a:path w="11689" h="11758" extrusionOk="0">
                <a:moveTo>
                  <a:pt x="8538" y="2747"/>
                </a:moveTo>
                <a:cubicBezTo>
                  <a:pt x="8727" y="2747"/>
                  <a:pt x="8853" y="2905"/>
                  <a:pt x="8853" y="3094"/>
                </a:cubicBezTo>
                <a:cubicBezTo>
                  <a:pt x="8885" y="3251"/>
                  <a:pt x="8727" y="3409"/>
                  <a:pt x="8538" y="3409"/>
                </a:cubicBezTo>
                <a:cubicBezTo>
                  <a:pt x="8444" y="3409"/>
                  <a:pt x="8381" y="3377"/>
                  <a:pt x="8286" y="3346"/>
                </a:cubicBezTo>
                <a:lnTo>
                  <a:pt x="8538" y="2747"/>
                </a:lnTo>
                <a:close/>
                <a:moveTo>
                  <a:pt x="3277" y="1581"/>
                </a:moveTo>
                <a:cubicBezTo>
                  <a:pt x="3844" y="1581"/>
                  <a:pt x="4316" y="2023"/>
                  <a:pt x="4316" y="2590"/>
                </a:cubicBezTo>
                <a:cubicBezTo>
                  <a:pt x="4316" y="3157"/>
                  <a:pt x="3844" y="3598"/>
                  <a:pt x="3277" y="3598"/>
                </a:cubicBezTo>
                <a:cubicBezTo>
                  <a:pt x="2741" y="3598"/>
                  <a:pt x="2269" y="3157"/>
                  <a:pt x="2269" y="2590"/>
                </a:cubicBezTo>
                <a:cubicBezTo>
                  <a:pt x="2269" y="1991"/>
                  <a:pt x="2741" y="1581"/>
                  <a:pt x="3277" y="1581"/>
                </a:cubicBezTo>
                <a:close/>
                <a:moveTo>
                  <a:pt x="9231" y="5457"/>
                </a:moveTo>
                <a:cubicBezTo>
                  <a:pt x="9672" y="5457"/>
                  <a:pt x="10050" y="5740"/>
                  <a:pt x="10208" y="6150"/>
                </a:cubicBezTo>
                <a:lnTo>
                  <a:pt x="8286" y="6150"/>
                </a:lnTo>
                <a:cubicBezTo>
                  <a:pt x="8412" y="5772"/>
                  <a:pt x="8759" y="5457"/>
                  <a:pt x="9231" y="5457"/>
                </a:cubicBezTo>
                <a:close/>
                <a:moveTo>
                  <a:pt x="10932" y="6843"/>
                </a:moveTo>
                <a:lnTo>
                  <a:pt x="10932" y="7504"/>
                </a:lnTo>
                <a:lnTo>
                  <a:pt x="5262" y="7504"/>
                </a:lnTo>
                <a:lnTo>
                  <a:pt x="5262" y="6843"/>
                </a:lnTo>
                <a:close/>
                <a:moveTo>
                  <a:pt x="3403" y="4291"/>
                </a:moveTo>
                <a:cubicBezTo>
                  <a:pt x="4064" y="4322"/>
                  <a:pt x="4631" y="4921"/>
                  <a:pt x="4631" y="5583"/>
                </a:cubicBezTo>
                <a:lnTo>
                  <a:pt x="4631" y="7725"/>
                </a:lnTo>
                <a:cubicBezTo>
                  <a:pt x="4348" y="7567"/>
                  <a:pt x="4033" y="7441"/>
                  <a:pt x="3686" y="7441"/>
                </a:cubicBezTo>
                <a:lnTo>
                  <a:pt x="3340" y="7441"/>
                </a:lnTo>
                <a:lnTo>
                  <a:pt x="3340" y="6402"/>
                </a:lnTo>
                <a:cubicBezTo>
                  <a:pt x="3340" y="6213"/>
                  <a:pt x="3182" y="6055"/>
                  <a:pt x="2962" y="6055"/>
                </a:cubicBezTo>
                <a:cubicBezTo>
                  <a:pt x="2773" y="6055"/>
                  <a:pt x="2615" y="6213"/>
                  <a:pt x="2615" y="6402"/>
                </a:cubicBezTo>
                <a:lnTo>
                  <a:pt x="2615" y="7788"/>
                </a:lnTo>
                <a:cubicBezTo>
                  <a:pt x="2615" y="7977"/>
                  <a:pt x="2773" y="8134"/>
                  <a:pt x="2962" y="8134"/>
                </a:cubicBezTo>
                <a:lnTo>
                  <a:pt x="3655" y="8134"/>
                </a:lnTo>
                <a:cubicBezTo>
                  <a:pt x="4064" y="8134"/>
                  <a:pt x="4474" y="8418"/>
                  <a:pt x="4600" y="8828"/>
                </a:cubicBezTo>
                <a:lnTo>
                  <a:pt x="1985" y="8828"/>
                </a:lnTo>
                <a:lnTo>
                  <a:pt x="1985" y="5583"/>
                </a:lnTo>
                <a:lnTo>
                  <a:pt x="2080" y="5583"/>
                </a:lnTo>
                <a:cubicBezTo>
                  <a:pt x="2080" y="5236"/>
                  <a:pt x="2237" y="4858"/>
                  <a:pt x="2458" y="4637"/>
                </a:cubicBezTo>
                <a:cubicBezTo>
                  <a:pt x="2741" y="4385"/>
                  <a:pt x="3056" y="4291"/>
                  <a:pt x="3403" y="4291"/>
                </a:cubicBezTo>
                <a:close/>
                <a:moveTo>
                  <a:pt x="1040" y="4795"/>
                </a:moveTo>
                <a:cubicBezTo>
                  <a:pt x="1229" y="4795"/>
                  <a:pt x="1418" y="4952"/>
                  <a:pt x="1418" y="5141"/>
                </a:cubicBezTo>
                <a:lnTo>
                  <a:pt x="1418" y="9174"/>
                </a:lnTo>
                <a:lnTo>
                  <a:pt x="1418" y="9300"/>
                </a:lnTo>
                <a:cubicBezTo>
                  <a:pt x="1449" y="9458"/>
                  <a:pt x="1575" y="9521"/>
                  <a:pt x="1733" y="9521"/>
                </a:cubicBezTo>
                <a:lnTo>
                  <a:pt x="5860" y="9521"/>
                </a:lnTo>
                <a:cubicBezTo>
                  <a:pt x="6049" y="9521"/>
                  <a:pt x="6175" y="9678"/>
                  <a:pt x="6175" y="9836"/>
                </a:cubicBezTo>
                <a:lnTo>
                  <a:pt x="6175" y="10938"/>
                </a:lnTo>
                <a:lnTo>
                  <a:pt x="693" y="10938"/>
                </a:lnTo>
                <a:lnTo>
                  <a:pt x="693" y="5141"/>
                </a:lnTo>
                <a:cubicBezTo>
                  <a:pt x="693" y="4952"/>
                  <a:pt x="851" y="4795"/>
                  <a:pt x="1040" y="4795"/>
                </a:cubicBezTo>
                <a:close/>
                <a:moveTo>
                  <a:pt x="7656" y="8197"/>
                </a:moveTo>
                <a:cubicBezTo>
                  <a:pt x="7971" y="8260"/>
                  <a:pt x="8254" y="8576"/>
                  <a:pt x="8254" y="8922"/>
                </a:cubicBezTo>
                <a:lnTo>
                  <a:pt x="8254" y="10938"/>
                </a:lnTo>
                <a:lnTo>
                  <a:pt x="6868" y="10938"/>
                </a:lnTo>
                <a:lnTo>
                  <a:pt x="6868" y="9836"/>
                </a:lnTo>
                <a:cubicBezTo>
                  <a:pt x="6868" y="9269"/>
                  <a:pt x="6396" y="8796"/>
                  <a:pt x="5860" y="8796"/>
                </a:cubicBezTo>
                <a:lnTo>
                  <a:pt x="5388" y="8796"/>
                </a:lnTo>
                <a:cubicBezTo>
                  <a:pt x="5356" y="8576"/>
                  <a:pt x="5230" y="8386"/>
                  <a:pt x="5104" y="8197"/>
                </a:cubicBezTo>
                <a:close/>
                <a:moveTo>
                  <a:pt x="9185" y="1"/>
                </a:moveTo>
                <a:cubicBezTo>
                  <a:pt x="9049" y="1"/>
                  <a:pt x="8908" y="88"/>
                  <a:pt x="8885" y="227"/>
                </a:cubicBezTo>
                <a:lnTo>
                  <a:pt x="6837" y="5078"/>
                </a:lnTo>
                <a:cubicBezTo>
                  <a:pt x="6774" y="5236"/>
                  <a:pt x="6837" y="5457"/>
                  <a:pt x="7026" y="5520"/>
                </a:cubicBezTo>
                <a:cubicBezTo>
                  <a:pt x="7089" y="5520"/>
                  <a:pt x="7120" y="5551"/>
                  <a:pt x="7152" y="5551"/>
                </a:cubicBezTo>
                <a:cubicBezTo>
                  <a:pt x="7278" y="5551"/>
                  <a:pt x="7435" y="5457"/>
                  <a:pt x="7467" y="5362"/>
                </a:cubicBezTo>
                <a:lnTo>
                  <a:pt x="8034" y="4039"/>
                </a:lnTo>
                <a:cubicBezTo>
                  <a:pt x="8191" y="4133"/>
                  <a:pt x="8349" y="4165"/>
                  <a:pt x="8538" y="4165"/>
                </a:cubicBezTo>
                <a:cubicBezTo>
                  <a:pt x="8664" y="4165"/>
                  <a:pt x="8759" y="4133"/>
                  <a:pt x="8885" y="4133"/>
                </a:cubicBezTo>
                <a:lnTo>
                  <a:pt x="8885" y="4921"/>
                </a:lnTo>
                <a:cubicBezTo>
                  <a:pt x="8223" y="5047"/>
                  <a:pt x="7719" y="5583"/>
                  <a:pt x="7561" y="6244"/>
                </a:cubicBezTo>
                <a:lnTo>
                  <a:pt x="5293" y="6244"/>
                </a:lnTo>
                <a:lnTo>
                  <a:pt x="5293" y="5709"/>
                </a:lnTo>
                <a:cubicBezTo>
                  <a:pt x="5293" y="4984"/>
                  <a:pt x="4915" y="4354"/>
                  <a:pt x="4348" y="4007"/>
                </a:cubicBezTo>
                <a:cubicBezTo>
                  <a:pt x="4757" y="3692"/>
                  <a:pt x="4978" y="3220"/>
                  <a:pt x="4978" y="2653"/>
                </a:cubicBezTo>
                <a:cubicBezTo>
                  <a:pt x="4978" y="1707"/>
                  <a:pt x="4253" y="983"/>
                  <a:pt x="3308" y="983"/>
                </a:cubicBezTo>
                <a:cubicBezTo>
                  <a:pt x="2363" y="983"/>
                  <a:pt x="1607" y="1707"/>
                  <a:pt x="1607" y="2653"/>
                </a:cubicBezTo>
                <a:cubicBezTo>
                  <a:pt x="1607" y="3220"/>
                  <a:pt x="1890" y="3724"/>
                  <a:pt x="2269" y="4039"/>
                </a:cubicBezTo>
                <a:cubicBezTo>
                  <a:pt x="2143" y="4133"/>
                  <a:pt x="2080" y="4196"/>
                  <a:pt x="1985" y="4291"/>
                </a:cubicBezTo>
                <a:cubicBezTo>
                  <a:pt x="1922" y="4354"/>
                  <a:pt x="1827" y="4448"/>
                  <a:pt x="1764" y="4543"/>
                </a:cubicBezTo>
                <a:cubicBezTo>
                  <a:pt x="1575" y="4354"/>
                  <a:pt x="1323" y="4228"/>
                  <a:pt x="1008" y="4228"/>
                </a:cubicBezTo>
                <a:cubicBezTo>
                  <a:pt x="473" y="4228"/>
                  <a:pt x="0" y="4700"/>
                  <a:pt x="0" y="5268"/>
                </a:cubicBezTo>
                <a:lnTo>
                  <a:pt x="0" y="11411"/>
                </a:lnTo>
                <a:cubicBezTo>
                  <a:pt x="0" y="11600"/>
                  <a:pt x="158" y="11758"/>
                  <a:pt x="347" y="11758"/>
                </a:cubicBezTo>
                <a:lnTo>
                  <a:pt x="8570" y="11758"/>
                </a:lnTo>
                <a:cubicBezTo>
                  <a:pt x="8759" y="11758"/>
                  <a:pt x="8916" y="11600"/>
                  <a:pt x="8916" y="11411"/>
                </a:cubicBezTo>
                <a:lnTo>
                  <a:pt x="8916" y="9048"/>
                </a:lnTo>
                <a:cubicBezTo>
                  <a:pt x="8916" y="8765"/>
                  <a:pt x="8853" y="8544"/>
                  <a:pt x="8727" y="8292"/>
                </a:cubicBezTo>
                <a:lnTo>
                  <a:pt x="11342" y="8292"/>
                </a:lnTo>
                <a:cubicBezTo>
                  <a:pt x="11531" y="8292"/>
                  <a:pt x="11689" y="8134"/>
                  <a:pt x="11689" y="7945"/>
                </a:cubicBezTo>
                <a:lnTo>
                  <a:pt x="11689" y="6559"/>
                </a:lnTo>
                <a:cubicBezTo>
                  <a:pt x="11689" y="6339"/>
                  <a:pt x="11531" y="6181"/>
                  <a:pt x="11310" y="6181"/>
                </a:cubicBezTo>
                <a:lnTo>
                  <a:pt x="10901" y="6181"/>
                </a:lnTo>
                <a:cubicBezTo>
                  <a:pt x="10775" y="5520"/>
                  <a:pt x="10239" y="4984"/>
                  <a:pt x="9546" y="4826"/>
                </a:cubicBezTo>
                <a:lnTo>
                  <a:pt x="9546" y="3094"/>
                </a:lnTo>
                <a:cubicBezTo>
                  <a:pt x="9546" y="2621"/>
                  <a:pt x="9231" y="2243"/>
                  <a:pt x="8790" y="2117"/>
                </a:cubicBezTo>
                <a:lnTo>
                  <a:pt x="9515" y="447"/>
                </a:lnTo>
                <a:cubicBezTo>
                  <a:pt x="9578" y="290"/>
                  <a:pt x="9515" y="69"/>
                  <a:pt x="9326" y="38"/>
                </a:cubicBezTo>
                <a:cubicBezTo>
                  <a:pt x="9283" y="12"/>
                  <a:pt x="9234" y="1"/>
                  <a:pt x="91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01" name="Google Shape;9901;p78"/>
          <p:cNvGrpSpPr/>
          <p:nvPr/>
        </p:nvGrpSpPr>
        <p:grpSpPr>
          <a:xfrm>
            <a:off x="3089092" y="2448634"/>
            <a:ext cx="354527" cy="354558"/>
            <a:chOff x="-34032200" y="2634975"/>
            <a:chExt cx="292225" cy="292250"/>
          </a:xfrm>
        </p:grpSpPr>
        <p:sp>
          <p:nvSpPr>
            <p:cNvPr id="9902" name="Google Shape;9902;p78"/>
            <p:cNvSpPr/>
            <p:nvPr/>
          </p:nvSpPr>
          <p:spPr>
            <a:xfrm>
              <a:off x="-34032200" y="2634975"/>
              <a:ext cx="292225" cy="292250"/>
            </a:xfrm>
            <a:custGeom>
              <a:avLst/>
              <a:gdLst/>
              <a:ahLst/>
              <a:cxnLst/>
              <a:rect l="l" t="t" r="r" b="b"/>
              <a:pathLst>
                <a:path w="11689" h="11690" extrusionOk="0">
                  <a:moveTo>
                    <a:pt x="5766" y="662"/>
                  </a:moveTo>
                  <a:cubicBezTo>
                    <a:pt x="8602" y="662"/>
                    <a:pt x="10933" y="2962"/>
                    <a:pt x="10933" y="5798"/>
                  </a:cubicBezTo>
                  <a:cubicBezTo>
                    <a:pt x="10933" y="6806"/>
                    <a:pt x="10649" y="7783"/>
                    <a:pt x="10114" y="8602"/>
                  </a:cubicBezTo>
                  <a:lnTo>
                    <a:pt x="10145" y="8444"/>
                  </a:lnTo>
                  <a:cubicBezTo>
                    <a:pt x="10177" y="8350"/>
                    <a:pt x="10145" y="8224"/>
                    <a:pt x="10082" y="8129"/>
                  </a:cubicBezTo>
                  <a:cubicBezTo>
                    <a:pt x="9988" y="8066"/>
                    <a:pt x="9862" y="8035"/>
                    <a:pt x="9767" y="8035"/>
                  </a:cubicBezTo>
                  <a:lnTo>
                    <a:pt x="9641" y="8066"/>
                  </a:lnTo>
                  <a:cubicBezTo>
                    <a:pt x="10019" y="7405"/>
                    <a:pt x="10240" y="6617"/>
                    <a:pt x="10240" y="5829"/>
                  </a:cubicBezTo>
                  <a:cubicBezTo>
                    <a:pt x="10240" y="3372"/>
                    <a:pt x="8223" y="1356"/>
                    <a:pt x="5766" y="1356"/>
                  </a:cubicBezTo>
                  <a:cubicBezTo>
                    <a:pt x="5136" y="1356"/>
                    <a:pt x="4506" y="1482"/>
                    <a:pt x="3970" y="1765"/>
                  </a:cubicBezTo>
                  <a:cubicBezTo>
                    <a:pt x="3813" y="1828"/>
                    <a:pt x="3718" y="2017"/>
                    <a:pt x="3813" y="2175"/>
                  </a:cubicBezTo>
                  <a:lnTo>
                    <a:pt x="3970" y="2553"/>
                  </a:lnTo>
                  <a:lnTo>
                    <a:pt x="2710" y="2742"/>
                  </a:lnTo>
                  <a:lnTo>
                    <a:pt x="2301" y="2773"/>
                  </a:lnTo>
                  <a:cubicBezTo>
                    <a:pt x="2364" y="2647"/>
                    <a:pt x="2710" y="1324"/>
                    <a:pt x="2742" y="1198"/>
                  </a:cubicBezTo>
                  <a:lnTo>
                    <a:pt x="2836" y="1293"/>
                  </a:lnTo>
                  <a:cubicBezTo>
                    <a:pt x="2898" y="1354"/>
                    <a:pt x="2986" y="1402"/>
                    <a:pt x="3084" y="1402"/>
                  </a:cubicBezTo>
                  <a:cubicBezTo>
                    <a:pt x="3136" y="1402"/>
                    <a:pt x="3191" y="1389"/>
                    <a:pt x="3246" y="1356"/>
                  </a:cubicBezTo>
                  <a:cubicBezTo>
                    <a:pt x="4033" y="883"/>
                    <a:pt x="4915" y="662"/>
                    <a:pt x="5766" y="662"/>
                  </a:cubicBezTo>
                  <a:close/>
                  <a:moveTo>
                    <a:pt x="6144" y="2080"/>
                  </a:moveTo>
                  <a:cubicBezTo>
                    <a:pt x="7940" y="2238"/>
                    <a:pt x="9358" y="3687"/>
                    <a:pt x="9515" y="5451"/>
                  </a:cubicBezTo>
                  <a:lnTo>
                    <a:pt x="9200" y="5451"/>
                  </a:lnTo>
                  <a:cubicBezTo>
                    <a:pt x="9011" y="5451"/>
                    <a:pt x="8854" y="5609"/>
                    <a:pt x="8854" y="5829"/>
                  </a:cubicBezTo>
                  <a:cubicBezTo>
                    <a:pt x="8854" y="6018"/>
                    <a:pt x="9011" y="6176"/>
                    <a:pt x="9200" y="6176"/>
                  </a:cubicBezTo>
                  <a:lnTo>
                    <a:pt x="9515" y="6176"/>
                  </a:lnTo>
                  <a:cubicBezTo>
                    <a:pt x="9452" y="6932"/>
                    <a:pt x="9169" y="7657"/>
                    <a:pt x="8665" y="8255"/>
                  </a:cubicBezTo>
                  <a:lnTo>
                    <a:pt x="6995" y="8570"/>
                  </a:lnTo>
                  <a:cubicBezTo>
                    <a:pt x="6900" y="8602"/>
                    <a:pt x="6806" y="8665"/>
                    <a:pt x="6774" y="8759"/>
                  </a:cubicBezTo>
                  <a:cubicBezTo>
                    <a:pt x="6743" y="8885"/>
                    <a:pt x="6743" y="9011"/>
                    <a:pt x="6806" y="9074"/>
                  </a:cubicBezTo>
                  <a:lnTo>
                    <a:pt x="6995" y="9389"/>
                  </a:lnTo>
                  <a:cubicBezTo>
                    <a:pt x="6743" y="9484"/>
                    <a:pt x="6459" y="9547"/>
                    <a:pt x="6176" y="9547"/>
                  </a:cubicBezTo>
                  <a:lnTo>
                    <a:pt x="6176" y="9232"/>
                  </a:lnTo>
                  <a:cubicBezTo>
                    <a:pt x="6176" y="9043"/>
                    <a:pt x="6018" y="8885"/>
                    <a:pt x="5829" y="8885"/>
                  </a:cubicBezTo>
                  <a:cubicBezTo>
                    <a:pt x="5640" y="8885"/>
                    <a:pt x="5483" y="9043"/>
                    <a:pt x="5483" y="9232"/>
                  </a:cubicBezTo>
                  <a:lnTo>
                    <a:pt x="5483" y="9547"/>
                  </a:lnTo>
                  <a:cubicBezTo>
                    <a:pt x="3655" y="9389"/>
                    <a:pt x="2238" y="7940"/>
                    <a:pt x="2080" y="6176"/>
                  </a:cubicBezTo>
                  <a:lnTo>
                    <a:pt x="2395" y="6176"/>
                  </a:lnTo>
                  <a:cubicBezTo>
                    <a:pt x="2584" y="6176"/>
                    <a:pt x="2742" y="6018"/>
                    <a:pt x="2742" y="5829"/>
                  </a:cubicBezTo>
                  <a:cubicBezTo>
                    <a:pt x="2742" y="5609"/>
                    <a:pt x="2584" y="5451"/>
                    <a:pt x="2395" y="5451"/>
                  </a:cubicBezTo>
                  <a:lnTo>
                    <a:pt x="2080" y="5451"/>
                  </a:lnTo>
                  <a:cubicBezTo>
                    <a:pt x="2175" y="4727"/>
                    <a:pt x="2427" y="3971"/>
                    <a:pt x="2962" y="3372"/>
                  </a:cubicBezTo>
                  <a:lnTo>
                    <a:pt x="4474" y="3183"/>
                  </a:lnTo>
                  <a:cubicBezTo>
                    <a:pt x="4600" y="3183"/>
                    <a:pt x="4663" y="3088"/>
                    <a:pt x="4726" y="3025"/>
                  </a:cubicBezTo>
                  <a:cubicBezTo>
                    <a:pt x="4758" y="2931"/>
                    <a:pt x="4758" y="2836"/>
                    <a:pt x="4726" y="2710"/>
                  </a:cubicBezTo>
                  <a:lnTo>
                    <a:pt x="4506" y="2269"/>
                  </a:lnTo>
                  <a:cubicBezTo>
                    <a:pt x="4789" y="2143"/>
                    <a:pt x="5104" y="2112"/>
                    <a:pt x="5420" y="2080"/>
                  </a:cubicBezTo>
                  <a:lnTo>
                    <a:pt x="5420" y="2395"/>
                  </a:lnTo>
                  <a:cubicBezTo>
                    <a:pt x="5420" y="2584"/>
                    <a:pt x="5577" y="2742"/>
                    <a:pt x="5766" y="2742"/>
                  </a:cubicBezTo>
                  <a:cubicBezTo>
                    <a:pt x="5987" y="2742"/>
                    <a:pt x="6144" y="2584"/>
                    <a:pt x="6144" y="2395"/>
                  </a:cubicBezTo>
                  <a:lnTo>
                    <a:pt x="6144" y="2080"/>
                  </a:lnTo>
                  <a:close/>
                  <a:moveTo>
                    <a:pt x="1607" y="2899"/>
                  </a:moveTo>
                  <a:lnTo>
                    <a:pt x="1544" y="3151"/>
                  </a:lnTo>
                  <a:cubicBezTo>
                    <a:pt x="1481" y="3246"/>
                    <a:pt x="1544" y="3372"/>
                    <a:pt x="1607" y="3466"/>
                  </a:cubicBezTo>
                  <a:cubicBezTo>
                    <a:pt x="1670" y="3529"/>
                    <a:pt x="1796" y="3561"/>
                    <a:pt x="1922" y="3561"/>
                  </a:cubicBezTo>
                  <a:lnTo>
                    <a:pt x="1985" y="3561"/>
                  </a:lnTo>
                  <a:cubicBezTo>
                    <a:pt x="1607" y="4254"/>
                    <a:pt x="1387" y="5042"/>
                    <a:pt x="1387" y="5861"/>
                  </a:cubicBezTo>
                  <a:cubicBezTo>
                    <a:pt x="1387" y="8287"/>
                    <a:pt x="3372" y="10303"/>
                    <a:pt x="5829" y="10303"/>
                  </a:cubicBezTo>
                  <a:cubicBezTo>
                    <a:pt x="6459" y="10303"/>
                    <a:pt x="7089" y="10177"/>
                    <a:pt x="7688" y="9925"/>
                  </a:cubicBezTo>
                  <a:cubicBezTo>
                    <a:pt x="7751" y="9862"/>
                    <a:pt x="7845" y="9799"/>
                    <a:pt x="7877" y="9704"/>
                  </a:cubicBezTo>
                  <a:cubicBezTo>
                    <a:pt x="7908" y="9641"/>
                    <a:pt x="7877" y="9515"/>
                    <a:pt x="7845" y="9452"/>
                  </a:cubicBezTo>
                  <a:lnTo>
                    <a:pt x="7688" y="9200"/>
                  </a:lnTo>
                  <a:lnTo>
                    <a:pt x="9421" y="8854"/>
                  </a:lnTo>
                  <a:lnTo>
                    <a:pt x="9421" y="8854"/>
                  </a:lnTo>
                  <a:cubicBezTo>
                    <a:pt x="9326" y="9200"/>
                    <a:pt x="9074" y="10177"/>
                    <a:pt x="9011" y="10492"/>
                  </a:cubicBezTo>
                  <a:lnTo>
                    <a:pt x="8759" y="10303"/>
                  </a:lnTo>
                  <a:cubicBezTo>
                    <a:pt x="8708" y="10235"/>
                    <a:pt x="8640" y="10204"/>
                    <a:pt x="8567" y="10204"/>
                  </a:cubicBezTo>
                  <a:cubicBezTo>
                    <a:pt x="8505" y="10204"/>
                    <a:pt x="8439" y="10228"/>
                    <a:pt x="8381" y="10271"/>
                  </a:cubicBezTo>
                  <a:cubicBezTo>
                    <a:pt x="7593" y="10744"/>
                    <a:pt x="6680" y="10965"/>
                    <a:pt x="5829" y="10965"/>
                  </a:cubicBezTo>
                  <a:cubicBezTo>
                    <a:pt x="2994" y="10965"/>
                    <a:pt x="662" y="8665"/>
                    <a:pt x="662" y="5829"/>
                  </a:cubicBezTo>
                  <a:cubicBezTo>
                    <a:pt x="662" y="4758"/>
                    <a:pt x="977" y="3781"/>
                    <a:pt x="1607" y="2899"/>
                  </a:cubicBezTo>
                  <a:close/>
                  <a:moveTo>
                    <a:pt x="5766" y="1"/>
                  </a:moveTo>
                  <a:cubicBezTo>
                    <a:pt x="4884" y="1"/>
                    <a:pt x="3970" y="221"/>
                    <a:pt x="3151" y="662"/>
                  </a:cubicBezTo>
                  <a:lnTo>
                    <a:pt x="2836" y="316"/>
                  </a:lnTo>
                  <a:cubicBezTo>
                    <a:pt x="2765" y="245"/>
                    <a:pt x="2677" y="210"/>
                    <a:pt x="2597" y="210"/>
                  </a:cubicBezTo>
                  <a:cubicBezTo>
                    <a:pt x="2570" y="210"/>
                    <a:pt x="2545" y="214"/>
                    <a:pt x="2521" y="221"/>
                  </a:cubicBezTo>
                  <a:cubicBezTo>
                    <a:pt x="2395" y="253"/>
                    <a:pt x="2301" y="347"/>
                    <a:pt x="2269" y="473"/>
                  </a:cubicBezTo>
                  <a:lnTo>
                    <a:pt x="1985" y="1450"/>
                  </a:lnTo>
                  <a:cubicBezTo>
                    <a:pt x="694" y="2553"/>
                    <a:pt x="1" y="4160"/>
                    <a:pt x="1" y="5829"/>
                  </a:cubicBezTo>
                  <a:cubicBezTo>
                    <a:pt x="1" y="7342"/>
                    <a:pt x="599" y="8854"/>
                    <a:pt x="1733" y="9956"/>
                  </a:cubicBezTo>
                  <a:cubicBezTo>
                    <a:pt x="2836" y="11059"/>
                    <a:pt x="4285" y="11689"/>
                    <a:pt x="5861" y="11689"/>
                  </a:cubicBezTo>
                  <a:cubicBezTo>
                    <a:pt x="6774" y="11689"/>
                    <a:pt x="7719" y="11437"/>
                    <a:pt x="8539" y="11028"/>
                  </a:cubicBezTo>
                  <a:lnTo>
                    <a:pt x="8980" y="11406"/>
                  </a:lnTo>
                  <a:cubicBezTo>
                    <a:pt x="9027" y="11477"/>
                    <a:pt x="9110" y="11512"/>
                    <a:pt x="9201" y="11512"/>
                  </a:cubicBezTo>
                  <a:cubicBezTo>
                    <a:pt x="9232" y="11512"/>
                    <a:pt x="9263" y="11508"/>
                    <a:pt x="9295" y="11500"/>
                  </a:cubicBezTo>
                  <a:cubicBezTo>
                    <a:pt x="9421" y="11437"/>
                    <a:pt x="9484" y="11374"/>
                    <a:pt x="9515" y="11248"/>
                  </a:cubicBezTo>
                  <a:lnTo>
                    <a:pt x="9799" y="10114"/>
                  </a:lnTo>
                  <a:cubicBezTo>
                    <a:pt x="10996" y="9011"/>
                    <a:pt x="11689" y="7468"/>
                    <a:pt x="11689" y="5861"/>
                  </a:cubicBezTo>
                  <a:cubicBezTo>
                    <a:pt x="11658" y="2616"/>
                    <a:pt x="9011" y="1"/>
                    <a:pt x="57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3" name="Google Shape;9903;p78"/>
            <p:cNvSpPr/>
            <p:nvPr/>
          </p:nvSpPr>
          <p:spPr>
            <a:xfrm>
              <a:off x="-33947125" y="2735800"/>
              <a:ext cx="51200" cy="86675"/>
            </a:xfrm>
            <a:custGeom>
              <a:avLst/>
              <a:gdLst/>
              <a:ahLst/>
              <a:cxnLst/>
              <a:rect l="l" t="t" r="r" b="b"/>
              <a:pathLst>
                <a:path w="2048" h="3467" extrusionOk="0">
                  <a:moveTo>
                    <a:pt x="1040" y="1"/>
                  </a:moveTo>
                  <a:cubicBezTo>
                    <a:pt x="473" y="1"/>
                    <a:pt x="0" y="473"/>
                    <a:pt x="0" y="1040"/>
                  </a:cubicBezTo>
                  <a:cubicBezTo>
                    <a:pt x="0" y="1229"/>
                    <a:pt x="158" y="1387"/>
                    <a:pt x="378" y="1387"/>
                  </a:cubicBezTo>
                  <a:cubicBezTo>
                    <a:pt x="567" y="1387"/>
                    <a:pt x="725" y="1229"/>
                    <a:pt x="725" y="1040"/>
                  </a:cubicBezTo>
                  <a:cubicBezTo>
                    <a:pt x="725" y="851"/>
                    <a:pt x="882" y="662"/>
                    <a:pt x="1071" y="662"/>
                  </a:cubicBezTo>
                  <a:cubicBezTo>
                    <a:pt x="1292" y="662"/>
                    <a:pt x="1449" y="851"/>
                    <a:pt x="1449" y="1040"/>
                  </a:cubicBezTo>
                  <a:lnTo>
                    <a:pt x="1449" y="1292"/>
                  </a:lnTo>
                  <a:cubicBezTo>
                    <a:pt x="1449" y="1418"/>
                    <a:pt x="1355" y="1544"/>
                    <a:pt x="1229" y="1639"/>
                  </a:cubicBezTo>
                  <a:lnTo>
                    <a:pt x="599" y="1954"/>
                  </a:lnTo>
                  <a:cubicBezTo>
                    <a:pt x="252" y="2111"/>
                    <a:pt x="63" y="2458"/>
                    <a:pt x="63" y="2836"/>
                  </a:cubicBezTo>
                  <a:lnTo>
                    <a:pt x="63" y="3119"/>
                  </a:lnTo>
                  <a:cubicBezTo>
                    <a:pt x="0" y="3372"/>
                    <a:pt x="158" y="3466"/>
                    <a:pt x="315" y="3466"/>
                  </a:cubicBezTo>
                  <a:lnTo>
                    <a:pt x="1701" y="3466"/>
                  </a:lnTo>
                  <a:cubicBezTo>
                    <a:pt x="1891" y="3466"/>
                    <a:pt x="2048" y="3309"/>
                    <a:pt x="2048" y="3119"/>
                  </a:cubicBezTo>
                  <a:cubicBezTo>
                    <a:pt x="2048" y="2930"/>
                    <a:pt x="1891" y="2773"/>
                    <a:pt x="1701" y="2773"/>
                  </a:cubicBezTo>
                  <a:lnTo>
                    <a:pt x="693" y="2773"/>
                  </a:lnTo>
                  <a:cubicBezTo>
                    <a:pt x="725" y="2678"/>
                    <a:pt x="756" y="2584"/>
                    <a:pt x="882" y="2521"/>
                  </a:cubicBezTo>
                  <a:lnTo>
                    <a:pt x="1512" y="2206"/>
                  </a:lnTo>
                  <a:cubicBezTo>
                    <a:pt x="1859" y="2048"/>
                    <a:pt x="2048" y="1702"/>
                    <a:pt x="2048" y="1292"/>
                  </a:cubicBezTo>
                  <a:lnTo>
                    <a:pt x="2048" y="1040"/>
                  </a:ln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4" name="Google Shape;9904;p78"/>
            <p:cNvSpPr/>
            <p:nvPr/>
          </p:nvSpPr>
          <p:spPr>
            <a:xfrm>
              <a:off x="-33878600" y="2737375"/>
              <a:ext cx="52000" cy="86675"/>
            </a:xfrm>
            <a:custGeom>
              <a:avLst/>
              <a:gdLst/>
              <a:ahLst/>
              <a:cxnLst/>
              <a:rect l="l" t="t" r="r" b="b"/>
              <a:pathLst>
                <a:path w="2080" h="3467" extrusionOk="0">
                  <a:moveTo>
                    <a:pt x="347" y="1"/>
                  </a:moveTo>
                  <a:cubicBezTo>
                    <a:pt x="158" y="1"/>
                    <a:pt x="0" y="158"/>
                    <a:pt x="0" y="347"/>
                  </a:cubicBezTo>
                  <a:lnTo>
                    <a:pt x="0" y="1733"/>
                  </a:lnTo>
                  <a:cubicBezTo>
                    <a:pt x="0" y="1922"/>
                    <a:pt x="158" y="2080"/>
                    <a:pt x="347" y="2080"/>
                  </a:cubicBezTo>
                  <a:lnTo>
                    <a:pt x="1355" y="2080"/>
                  </a:lnTo>
                  <a:lnTo>
                    <a:pt x="1355" y="3088"/>
                  </a:lnTo>
                  <a:cubicBezTo>
                    <a:pt x="1355" y="3309"/>
                    <a:pt x="1512" y="3466"/>
                    <a:pt x="1733" y="3466"/>
                  </a:cubicBezTo>
                  <a:cubicBezTo>
                    <a:pt x="1922" y="3466"/>
                    <a:pt x="2079" y="3309"/>
                    <a:pt x="2079" y="3088"/>
                  </a:cubicBezTo>
                  <a:lnTo>
                    <a:pt x="2079" y="1733"/>
                  </a:lnTo>
                  <a:lnTo>
                    <a:pt x="2079" y="347"/>
                  </a:lnTo>
                  <a:cubicBezTo>
                    <a:pt x="2079" y="158"/>
                    <a:pt x="1922" y="1"/>
                    <a:pt x="1733" y="1"/>
                  </a:cubicBezTo>
                  <a:cubicBezTo>
                    <a:pt x="1512" y="1"/>
                    <a:pt x="1355" y="158"/>
                    <a:pt x="1355" y="347"/>
                  </a:cubicBezTo>
                  <a:lnTo>
                    <a:pt x="1355" y="1355"/>
                  </a:lnTo>
                  <a:lnTo>
                    <a:pt x="693" y="1355"/>
                  </a:ln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5" name="Google Shape;9905;p78"/>
          <p:cNvGrpSpPr/>
          <p:nvPr/>
        </p:nvGrpSpPr>
        <p:grpSpPr>
          <a:xfrm>
            <a:off x="1739487" y="2914882"/>
            <a:ext cx="358379" cy="354527"/>
            <a:chOff x="-32245875" y="1938725"/>
            <a:chExt cx="295400" cy="292225"/>
          </a:xfrm>
        </p:grpSpPr>
        <p:sp>
          <p:nvSpPr>
            <p:cNvPr id="9906" name="Google Shape;9906;p78"/>
            <p:cNvSpPr/>
            <p:nvPr/>
          </p:nvSpPr>
          <p:spPr>
            <a:xfrm>
              <a:off x="-32156075" y="2042700"/>
              <a:ext cx="120525" cy="120525"/>
            </a:xfrm>
            <a:custGeom>
              <a:avLst/>
              <a:gdLst/>
              <a:ahLst/>
              <a:cxnLst/>
              <a:rect l="l" t="t" r="r" b="b"/>
              <a:pathLst>
                <a:path w="4821" h="4821" extrusionOk="0">
                  <a:moveTo>
                    <a:pt x="2395" y="725"/>
                  </a:moveTo>
                  <a:cubicBezTo>
                    <a:pt x="3340" y="725"/>
                    <a:pt x="4096" y="1481"/>
                    <a:pt x="4096" y="2426"/>
                  </a:cubicBezTo>
                  <a:cubicBezTo>
                    <a:pt x="4096" y="3308"/>
                    <a:pt x="3340" y="4096"/>
                    <a:pt x="2395" y="4096"/>
                  </a:cubicBezTo>
                  <a:cubicBezTo>
                    <a:pt x="1450" y="4096"/>
                    <a:pt x="725" y="3340"/>
                    <a:pt x="725" y="2426"/>
                  </a:cubicBezTo>
                  <a:cubicBezTo>
                    <a:pt x="725" y="1450"/>
                    <a:pt x="1450" y="725"/>
                    <a:pt x="2395" y="725"/>
                  </a:cubicBezTo>
                  <a:close/>
                  <a:moveTo>
                    <a:pt x="2395" y="0"/>
                  </a:moveTo>
                  <a:cubicBezTo>
                    <a:pt x="1072" y="0"/>
                    <a:pt x="1" y="1071"/>
                    <a:pt x="1" y="2426"/>
                  </a:cubicBezTo>
                  <a:cubicBezTo>
                    <a:pt x="1" y="3749"/>
                    <a:pt x="1072" y="4821"/>
                    <a:pt x="2395" y="4821"/>
                  </a:cubicBezTo>
                  <a:cubicBezTo>
                    <a:pt x="3750" y="4821"/>
                    <a:pt x="4821" y="3749"/>
                    <a:pt x="4821" y="2426"/>
                  </a:cubicBezTo>
                  <a:cubicBezTo>
                    <a:pt x="4758" y="1071"/>
                    <a:pt x="3718"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7" name="Google Shape;9907;p78"/>
            <p:cNvSpPr/>
            <p:nvPr/>
          </p:nvSpPr>
          <p:spPr>
            <a:xfrm>
              <a:off x="-32105675" y="2076550"/>
              <a:ext cx="35475" cy="33900"/>
            </a:xfrm>
            <a:custGeom>
              <a:avLst/>
              <a:gdLst/>
              <a:ahLst/>
              <a:cxnLst/>
              <a:rect l="l" t="t" r="r" b="b"/>
              <a:pathLst>
                <a:path w="1419" h="1356" extrusionOk="0">
                  <a:moveTo>
                    <a:pt x="347" y="1"/>
                  </a:moveTo>
                  <a:cubicBezTo>
                    <a:pt x="158" y="1"/>
                    <a:pt x="1" y="159"/>
                    <a:pt x="1" y="348"/>
                  </a:cubicBezTo>
                  <a:lnTo>
                    <a:pt x="1" y="1009"/>
                  </a:lnTo>
                  <a:cubicBezTo>
                    <a:pt x="1" y="1230"/>
                    <a:pt x="158" y="1356"/>
                    <a:pt x="347" y="1356"/>
                  </a:cubicBezTo>
                  <a:lnTo>
                    <a:pt x="1009" y="1356"/>
                  </a:lnTo>
                  <a:cubicBezTo>
                    <a:pt x="1230" y="1356"/>
                    <a:pt x="1387" y="1198"/>
                    <a:pt x="1387" y="1009"/>
                  </a:cubicBezTo>
                  <a:cubicBezTo>
                    <a:pt x="1419" y="852"/>
                    <a:pt x="1261" y="694"/>
                    <a:pt x="1072" y="694"/>
                  </a:cubicBezTo>
                  <a:lnTo>
                    <a:pt x="694" y="694"/>
                  </a:lnTo>
                  <a:lnTo>
                    <a:pt x="694" y="348"/>
                  </a:ln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8" name="Google Shape;9908;p78"/>
            <p:cNvSpPr/>
            <p:nvPr/>
          </p:nvSpPr>
          <p:spPr>
            <a:xfrm>
              <a:off x="-32245875" y="1938725"/>
              <a:ext cx="295400" cy="292225"/>
            </a:xfrm>
            <a:custGeom>
              <a:avLst/>
              <a:gdLst/>
              <a:ahLst/>
              <a:cxnLst/>
              <a:rect l="l" t="t" r="r" b="b"/>
              <a:pathLst>
                <a:path w="11816" h="11689" extrusionOk="0">
                  <a:moveTo>
                    <a:pt x="10965" y="1355"/>
                  </a:moveTo>
                  <a:cubicBezTo>
                    <a:pt x="11154" y="1355"/>
                    <a:pt x="11311" y="1544"/>
                    <a:pt x="11311" y="1733"/>
                  </a:cubicBezTo>
                  <a:lnTo>
                    <a:pt x="11311" y="2742"/>
                  </a:lnTo>
                  <a:lnTo>
                    <a:pt x="1009" y="2742"/>
                  </a:lnTo>
                  <a:lnTo>
                    <a:pt x="1009" y="1733"/>
                  </a:lnTo>
                  <a:lnTo>
                    <a:pt x="852" y="1733"/>
                  </a:lnTo>
                  <a:cubicBezTo>
                    <a:pt x="852" y="1544"/>
                    <a:pt x="1009" y="1355"/>
                    <a:pt x="1198" y="1355"/>
                  </a:cubicBezTo>
                  <a:lnTo>
                    <a:pt x="1545" y="1355"/>
                  </a:lnTo>
                  <a:lnTo>
                    <a:pt x="1545" y="1733"/>
                  </a:lnTo>
                  <a:cubicBezTo>
                    <a:pt x="1545" y="1922"/>
                    <a:pt x="1702" y="2080"/>
                    <a:pt x="1891" y="2080"/>
                  </a:cubicBezTo>
                  <a:cubicBezTo>
                    <a:pt x="2112" y="2080"/>
                    <a:pt x="2269" y="1922"/>
                    <a:pt x="2269" y="1733"/>
                  </a:cubicBezTo>
                  <a:lnTo>
                    <a:pt x="2269" y="1355"/>
                  </a:lnTo>
                  <a:lnTo>
                    <a:pt x="3624" y="1355"/>
                  </a:lnTo>
                  <a:lnTo>
                    <a:pt x="3624" y="1733"/>
                  </a:lnTo>
                  <a:cubicBezTo>
                    <a:pt x="3624" y="1922"/>
                    <a:pt x="3782" y="2080"/>
                    <a:pt x="4002" y="2080"/>
                  </a:cubicBezTo>
                  <a:cubicBezTo>
                    <a:pt x="4191" y="2080"/>
                    <a:pt x="4349" y="1922"/>
                    <a:pt x="4349" y="1733"/>
                  </a:cubicBezTo>
                  <a:lnTo>
                    <a:pt x="4349" y="1355"/>
                  </a:lnTo>
                  <a:lnTo>
                    <a:pt x="5735" y="1355"/>
                  </a:lnTo>
                  <a:lnTo>
                    <a:pt x="5735" y="1733"/>
                  </a:lnTo>
                  <a:cubicBezTo>
                    <a:pt x="5735" y="1922"/>
                    <a:pt x="5892" y="2080"/>
                    <a:pt x="6081" y="2080"/>
                  </a:cubicBezTo>
                  <a:cubicBezTo>
                    <a:pt x="6270" y="2080"/>
                    <a:pt x="6428" y="1922"/>
                    <a:pt x="6428" y="1733"/>
                  </a:cubicBezTo>
                  <a:lnTo>
                    <a:pt x="6428" y="1355"/>
                  </a:lnTo>
                  <a:lnTo>
                    <a:pt x="7814" y="1355"/>
                  </a:lnTo>
                  <a:lnTo>
                    <a:pt x="7814" y="1733"/>
                  </a:lnTo>
                  <a:cubicBezTo>
                    <a:pt x="7814" y="1922"/>
                    <a:pt x="7972" y="2080"/>
                    <a:pt x="8161" y="2080"/>
                  </a:cubicBezTo>
                  <a:cubicBezTo>
                    <a:pt x="8381" y="2080"/>
                    <a:pt x="8539" y="1922"/>
                    <a:pt x="8539" y="1733"/>
                  </a:cubicBezTo>
                  <a:lnTo>
                    <a:pt x="8539" y="1355"/>
                  </a:lnTo>
                  <a:lnTo>
                    <a:pt x="9893" y="1355"/>
                  </a:lnTo>
                  <a:lnTo>
                    <a:pt x="9893" y="1733"/>
                  </a:lnTo>
                  <a:cubicBezTo>
                    <a:pt x="9893" y="1922"/>
                    <a:pt x="10051" y="2080"/>
                    <a:pt x="10272" y="2080"/>
                  </a:cubicBezTo>
                  <a:cubicBezTo>
                    <a:pt x="10461" y="2080"/>
                    <a:pt x="10618" y="1922"/>
                    <a:pt x="10618" y="1733"/>
                  </a:cubicBezTo>
                  <a:lnTo>
                    <a:pt x="10618" y="1355"/>
                  </a:lnTo>
                  <a:close/>
                  <a:moveTo>
                    <a:pt x="11154" y="3466"/>
                  </a:moveTo>
                  <a:lnTo>
                    <a:pt x="11154" y="9641"/>
                  </a:lnTo>
                  <a:lnTo>
                    <a:pt x="852" y="9641"/>
                  </a:lnTo>
                  <a:lnTo>
                    <a:pt x="852" y="3466"/>
                  </a:lnTo>
                  <a:close/>
                  <a:moveTo>
                    <a:pt x="11154" y="10366"/>
                  </a:moveTo>
                  <a:lnTo>
                    <a:pt x="11154" y="10712"/>
                  </a:lnTo>
                  <a:cubicBezTo>
                    <a:pt x="11122" y="10870"/>
                    <a:pt x="10965" y="11027"/>
                    <a:pt x="10807" y="11027"/>
                  </a:cubicBezTo>
                  <a:lnTo>
                    <a:pt x="1198" y="11027"/>
                  </a:lnTo>
                  <a:cubicBezTo>
                    <a:pt x="1009" y="11027"/>
                    <a:pt x="852" y="10870"/>
                    <a:pt x="852" y="10649"/>
                  </a:cubicBezTo>
                  <a:lnTo>
                    <a:pt x="852" y="10366"/>
                  </a:lnTo>
                  <a:close/>
                  <a:moveTo>
                    <a:pt x="1734" y="1"/>
                  </a:moveTo>
                  <a:cubicBezTo>
                    <a:pt x="1545" y="1"/>
                    <a:pt x="1387" y="158"/>
                    <a:pt x="1387" y="347"/>
                  </a:cubicBezTo>
                  <a:lnTo>
                    <a:pt x="1387" y="694"/>
                  </a:lnTo>
                  <a:lnTo>
                    <a:pt x="1041" y="694"/>
                  </a:lnTo>
                  <a:cubicBezTo>
                    <a:pt x="474" y="694"/>
                    <a:pt x="1" y="1166"/>
                    <a:pt x="1" y="1733"/>
                  </a:cubicBezTo>
                  <a:lnTo>
                    <a:pt x="1" y="10649"/>
                  </a:lnTo>
                  <a:cubicBezTo>
                    <a:pt x="1" y="11216"/>
                    <a:pt x="474" y="11689"/>
                    <a:pt x="1041" y="11689"/>
                  </a:cubicBezTo>
                  <a:lnTo>
                    <a:pt x="10650" y="11689"/>
                  </a:lnTo>
                  <a:cubicBezTo>
                    <a:pt x="11185" y="11689"/>
                    <a:pt x="11658" y="11216"/>
                    <a:pt x="11658" y="10649"/>
                  </a:cubicBezTo>
                  <a:lnTo>
                    <a:pt x="11658" y="1733"/>
                  </a:lnTo>
                  <a:cubicBezTo>
                    <a:pt x="11815" y="1166"/>
                    <a:pt x="11343" y="694"/>
                    <a:pt x="10807" y="694"/>
                  </a:cubicBezTo>
                  <a:lnTo>
                    <a:pt x="10461" y="694"/>
                  </a:lnTo>
                  <a:lnTo>
                    <a:pt x="10461" y="347"/>
                  </a:lnTo>
                  <a:cubicBezTo>
                    <a:pt x="10461" y="158"/>
                    <a:pt x="10303" y="1"/>
                    <a:pt x="10083" y="1"/>
                  </a:cubicBezTo>
                  <a:cubicBezTo>
                    <a:pt x="9893" y="1"/>
                    <a:pt x="9736" y="158"/>
                    <a:pt x="9736" y="347"/>
                  </a:cubicBezTo>
                  <a:lnTo>
                    <a:pt x="9736" y="694"/>
                  </a:lnTo>
                  <a:lnTo>
                    <a:pt x="8350" y="694"/>
                  </a:lnTo>
                  <a:lnTo>
                    <a:pt x="8350" y="347"/>
                  </a:lnTo>
                  <a:cubicBezTo>
                    <a:pt x="8350" y="158"/>
                    <a:pt x="8192" y="1"/>
                    <a:pt x="8003" y="1"/>
                  </a:cubicBezTo>
                  <a:cubicBezTo>
                    <a:pt x="7814" y="1"/>
                    <a:pt x="7657" y="158"/>
                    <a:pt x="7657" y="347"/>
                  </a:cubicBezTo>
                  <a:lnTo>
                    <a:pt x="7657" y="694"/>
                  </a:lnTo>
                  <a:lnTo>
                    <a:pt x="6270" y="694"/>
                  </a:lnTo>
                  <a:lnTo>
                    <a:pt x="6270" y="347"/>
                  </a:lnTo>
                  <a:cubicBezTo>
                    <a:pt x="6270" y="158"/>
                    <a:pt x="6113" y="1"/>
                    <a:pt x="5924" y="1"/>
                  </a:cubicBezTo>
                  <a:cubicBezTo>
                    <a:pt x="5735" y="1"/>
                    <a:pt x="5577" y="158"/>
                    <a:pt x="5577" y="347"/>
                  </a:cubicBezTo>
                  <a:lnTo>
                    <a:pt x="5577" y="694"/>
                  </a:lnTo>
                  <a:lnTo>
                    <a:pt x="4191" y="694"/>
                  </a:lnTo>
                  <a:lnTo>
                    <a:pt x="4191" y="347"/>
                  </a:lnTo>
                  <a:cubicBezTo>
                    <a:pt x="4191" y="158"/>
                    <a:pt x="4034" y="1"/>
                    <a:pt x="3845" y="1"/>
                  </a:cubicBezTo>
                  <a:cubicBezTo>
                    <a:pt x="3624" y="1"/>
                    <a:pt x="3466" y="158"/>
                    <a:pt x="3466" y="347"/>
                  </a:cubicBezTo>
                  <a:lnTo>
                    <a:pt x="3466" y="694"/>
                  </a:lnTo>
                  <a:lnTo>
                    <a:pt x="2112" y="694"/>
                  </a:lnTo>
                  <a:lnTo>
                    <a:pt x="2112" y="347"/>
                  </a:lnTo>
                  <a:cubicBezTo>
                    <a:pt x="2112" y="158"/>
                    <a:pt x="1954"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9" name="Google Shape;9909;p78"/>
          <p:cNvGrpSpPr/>
          <p:nvPr/>
        </p:nvGrpSpPr>
        <p:grpSpPr>
          <a:xfrm>
            <a:off x="1736150" y="3384280"/>
            <a:ext cx="365052" cy="352162"/>
            <a:chOff x="-32243500" y="2299850"/>
            <a:chExt cx="300900" cy="290275"/>
          </a:xfrm>
        </p:grpSpPr>
        <p:sp>
          <p:nvSpPr>
            <p:cNvPr id="9910" name="Google Shape;9910;p78"/>
            <p:cNvSpPr/>
            <p:nvPr/>
          </p:nvSpPr>
          <p:spPr>
            <a:xfrm>
              <a:off x="-32243500" y="2299850"/>
              <a:ext cx="300900" cy="290275"/>
            </a:xfrm>
            <a:custGeom>
              <a:avLst/>
              <a:gdLst/>
              <a:ahLst/>
              <a:cxnLst/>
              <a:rect l="l" t="t" r="r" b="b"/>
              <a:pathLst>
                <a:path w="12036" h="11611" extrusionOk="0">
                  <a:moveTo>
                    <a:pt x="7955" y="654"/>
                  </a:moveTo>
                  <a:cubicBezTo>
                    <a:pt x="8743" y="654"/>
                    <a:pt x="9531" y="946"/>
                    <a:pt x="10114" y="1529"/>
                  </a:cubicBezTo>
                  <a:cubicBezTo>
                    <a:pt x="11311" y="2726"/>
                    <a:pt x="11311" y="4679"/>
                    <a:pt x="10114" y="5876"/>
                  </a:cubicBezTo>
                  <a:cubicBezTo>
                    <a:pt x="9540" y="6450"/>
                    <a:pt x="8752" y="6766"/>
                    <a:pt x="7951" y="6766"/>
                  </a:cubicBezTo>
                  <a:cubicBezTo>
                    <a:pt x="7565" y="6766"/>
                    <a:pt x="7175" y="6692"/>
                    <a:pt x="6806" y="6538"/>
                  </a:cubicBezTo>
                  <a:cubicBezTo>
                    <a:pt x="6759" y="6526"/>
                    <a:pt x="6709" y="6519"/>
                    <a:pt x="6661" y="6519"/>
                  </a:cubicBezTo>
                  <a:cubicBezTo>
                    <a:pt x="6577" y="6519"/>
                    <a:pt x="6499" y="6541"/>
                    <a:pt x="6459" y="6601"/>
                  </a:cubicBezTo>
                  <a:lnTo>
                    <a:pt x="5545" y="7514"/>
                  </a:lnTo>
                  <a:lnTo>
                    <a:pt x="4726" y="7514"/>
                  </a:lnTo>
                  <a:cubicBezTo>
                    <a:pt x="4537" y="7514"/>
                    <a:pt x="4380" y="7672"/>
                    <a:pt x="4380" y="7861"/>
                  </a:cubicBezTo>
                  <a:lnTo>
                    <a:pt x="4380" y="8460"/>
                  </a:lnTo>
                  <a:lnTo>
                    <a:pt x="3907" y="8428"/>
                  </a:lnTo>
                  <a:cubicBezTo>
                    <a:pt x="3813" y="8428"/>
                    <a:pt x="3687" y="8428"/>
                    <a:pt x="3655" y="8491"/>
                  </a:cubicBezTo>
                  <a:cubicBezTo>
                    <a:pt x="3592" y="8554"/>
                    <a:pt x="3529" y="8649"/>
                    <a:pt x="3529" y="8743"/>
                  </a:cubicBezTo>
                  <a:lnTo>
                    <a:pt x="3466" y="9531"/>
                  </a:lnTo>
                  <a:lnTo>
                    <a:pt x="2678" y="9594"/>
                  </a:lnTo>
                  <a:cubicBezTo>
                    <a:pt x="2584" y="9594"/>
                    <a:pt x="2521" y="9657"/>
                    <a:pt x="2426" y="9720"/>
                  </a:cubicBezTo>
                  <a:cubicBezTo>
                    <a:pt x="2395" y="9814"/>
                    <a:pt x="2363" y="9877"/>
                    <a:pt x="2363" y="9972"/>
                  </a:cubicBezTo>
                  <a:lnTo>
                    <a:pt x="2426" y="10665"/>
                  </a:lnTo>
                  <a:lnTo>
                    <a:pt x="2174" y="10949"/>
                  </a:lnTo>
                  <a:lnTo>
                    <a:pt x="694" y="10949"/>
                  </a:lnTo>
                  <a:lnTo>
                    <a:pt x="694" y="9499"/>
                  </a:lnTo>
                  <a:lnTo>
                    <a:pt x="757" y="9499"/>
                  </a:lnTo>
                  <a:lnTo>
                    <a:pt x="5041" y="5215"/>
                  </a:lnTo>
                  <a:cubicBezTo>
                    <a:pt x="5104" y="5120"/>
                    <a:pt x="5167" y="4963"/>
                    <a:pt x="5104" y="4837"/>
                  </a:cubicBezTo>
                  <a:cubicBezTo>
                    <a:pt x="4695" y="3702"/>
                    <a:pt x="4947" y="2411"/>
                    <a:pt x="5797" y="1529"/>
                  </a:cubicBezTo>
                  <a:cubicBezTo>
                    <a:pt x="6380" y="946"/>
                    <a:pt x="7168" y="654"/>
                    <a:pt x="7955" y="654"/>
                  </a:cubicBezTo>
                  <a:close/>
                  <a:moveTo>
                    <a:pt x="7936" y="1"/>
                  </a:moveTo>
                  <a:cubicBezTo>
                    <a:pt x="6971" y="1"/>
                    <a:pt x="6002" y="363"/>
                    <a:pt x="5262" y="1088"/>
                  </a:cubicBezTo>
                  <a:cubicBezTo>
                    <a:pt x="4285" y="2096"/>
                    <a:pt x="3939" y="3576"/>
                    <a:pt x="4380" y="4931"/>
                  </a:cubicBezTo>
                  <a:lnTo>
                    <a:pt x="126" y="9184"/>
                  </a:lnTo>
                  <a:cubicBezTo>
                    <a:pt x="32" y="9247"/>
                    <a:pt x="0" y="9342"/>
                    <a:pt x="0" y="9405"/>
                  </a:cubicBezTo>
                  <a:lnTo>
                    <a:pt x="0" y="11358"/>
                  </a:lnTo>
                  <a:cubicBezTo>
                    <a:pt x="32" y="11453"/>
                    <a:pt x="189" y="11610"/>
                    <a:pt x="379" y="11610"/>
                  </a:cubicBezTo>
                  <a:lnTo>
                    <a:pt x="2332" y="11610"/>
                  </a:lnTo>
                  <a:cubicBezTo>
                    <a:pt x="2395" y="11610"/>
                    <a:pt x="2521" y="11579"/>
                    <a:pt x="2552" y="11516"/>
                  </a:cubicBezTo>
                  <a:lnTo>
                    <a:pt x="3025" y="11043"/>
                  </a:lnTo>
                  <a:cubicBezTo>
                    <a:pt x="3119" y="10949"/>
                    <a:pt x="3151" y="10823"/>
                    <a:pt x="3119" y="10759"/>
                  </a:cubicBezTo>
                  <a:lnTo>
                    <a:pt x="3025" y="10255"/>
                  </a:lnTo>
                  <a:lnTo>
                    <a:pt x="3750" y="10161"/>
                  </a:lnTo>
                  <a:cubicBezTo>
                    <a:pt x="3907" y="10161"/>
                    <a:pt x="4002" y="10003"/>
                    <a:pt x="4065" y="9846"/>
                  </a:cubicBezTo>
                  <a:lnTo>
                    <a:pt x="4128" y="9153"/>
                  </a:lnTo>
                  <a:lnTo>
                    <a:pt x="4663" y="9216"/>
                  </a:lnTo>
                  <a:cubicBezTo>
                    <a:pt x="4726" y="9216"/>
                    <a:pt x="4852" y="9216"/>
                    <a:pt x="4915" y="9153"/>
                  </a:cubicBezTo>
                  <a:cubicBezTo>
                    <a:pt x="5010" y="9058"/>
                    <a:pt x="5041" y="8995"/>
                    <a:pt x="5041" y="8901"/>
                  </a:cubicBezTo>
                  <a:lnTo>
                    <a:pt x="5041" y="8271"/>
                  </a:lnTo>
                  <a:lnTo>
                    <a:pt x="5671" y="8271"/>
                  </a:lnTo>
                  <a:cubicBezTo>
                    <a:pt x="5734" y="8271"/>
                    <a:pt x="5829" y="8239"/>
                    <a:pt x="5892" y="8145"/>
                  </a:cubicBezTo>
                  <a:lnTo>
                    <a:pt x="6774" y="7325"/>
                  </a:lnTo>
                  <a:cubicBezTo>
                    <a:pt x="7153" y="7452"/>
                    <a:pt x="7548" y="7514"/>
                    <a:pt x="7941" y="7514"/>
                  </a:cubicBezTo>
                  <a:cubicBezTo>
                    <a:pt x="8920" y="7514"/>
                    <a:pt x="9889" y="7131"/>
                    <a:pt x="10586" y="6412"/>
                  </a:cubicBezTo>
                  <a:cubicBezTo>
                    <a:pt x="12035" y="4963"/>
                    <a:pt x="12035" y="2568"/>
                    <a:pt x="10586" y="1088"/>
                  </a:cubicBezTo>
                  <a:cubicBezTo>
                    <a:pt x="9862" y="363"/>
                    <a:pt x="8901" y="1"/>
                    <a:pt x="79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1" name="Google Shape;9911;p78"/>
            <p:cNvSpPr/>
            <p:nvPr/>
          </p:nvSpPr>
          <p:spPr>
            <a:xfrm>
              <a:off x="-32048175" y="2342775"/>
              <a:ext cx="55950" cy="51025"/>
            </a:xfrm>
            <a:custGeom>
              <a:avLst/>
              <a:gdLst/>
              <a:ahLst/>
              <a:cxnLst/>
              <a:rect l="l" t="t" r="r" b="b"/>
              <a:pathLst>
                <a:path w="2238" h="2041" extrusionOk="0">
                  <a:moveTo>
                    <a:pt x="1119" y="662"/>
                  </a:moveTo>
                  <a:cubicBezTo>
                    <a:pt x="1206" y="662"/>
                    <a:pt x="1292" y="694"/>
                    <a:pt x="1355" y="757"/>
                  </a:cubicBezTo>
                  <a:cubicBezTo>
                    <a:pt x="1481" y="883"/>
                    <a:pt x="1481" y="1135"/>
                    <a:pt x="1355" y="1229"/>
                  </a:cubicBezTo>
                  <a:cubicBezTo>
                    <a:pt x="1292" y="1292"/>
                    <a:pt x="1206" y="1324"/>
                    <a:pt x="1119" y="1324"/>
                  </a:cubicBezTo>
                  <a:cubicBezTo>
                    <a:pt x="1032" y="1324"/>
                    <a:pt x="946" y="1292"/>
                    <a:pt x="883" y="1229"/>
                  </a:cubicBezTo>
                  <a:cubicBezTo>
                    <a:pt x="725" y="1135"/>
                    <a:pt x="725" y="914"/>
                    <a:pt x="883" y="757"/>
                  </a:cubicBezTo>
                  <a:cubicBezTo>
                    <a:pt x="946" y="694"/>
                    <a:pt x="1032" y="662"/>
                    <a:pt x="1119" y="662"/>
                  </a:cubicBezTo>
                  <a:close/>
                  <a:moveTo>
                    <a:pt x="1115" y="1"/>
                  </a:moveTo>
                  <a:cubicBezTo>
                    <a:pt x="851" y="1"/>
                    <a:pt x="584" y="95"/>
                    <a:pt x="379" y="284"/>
                  </a:cubicBezTo>
                  <a:cubicBezTo>
                    <a:pt x="1" y="694"/>
                    <a:pt x="1" y="1355"/>
                    <a:pt x="379" y="1733"/>
                  </a:cubicBezTo>
                  <a:cubicBezTo>
                    <a:pt x="599" y="1938"/>
                    <a:pt x="867" y="2041"/>
                    <a:pt x="1127" y="2041"/>
                  </a:cubicBezTo>
                  <a:cubicBezTo>
                    <a:pt x="1387" y="2041"/>
                    <a:pt x="1639" y="1938"/>
                    <a:pt x="1828" y="1733"/>
                  </a:cubicBezTo>
                  <a:cubicBezTo>
                    <a:pt x="2238" y="1355"/>
                    <a:pt x="2238" y="694"/>
                    <a:pt x="1828" y="284"/>
                  </a:cubicBezTo>
                  <a:cubicBezTo>
                    <a:pt x="1639" y="95"/>
                    <a:pt x="1379" y="1"/>
                    <a:pt x="11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12" name="Google Shape;9912;p78"/>
          <p:cNvSpPr/>
          <p:nvPr/>
        </p:nvSpPr>
        <p:spPr>
          <a:xfrm>
            <a:off x="1737541" y="3844649"/>
            <a:ext cx="356438" cy="352617"/>
          </a:xfrm>
          <a:custGeom>
            <a:avLst/>
            <a:gdLst/>
            <a:ahLst/>
            <a:cxnLst/>
            <a:rect l="l" t="t" r="r" b="b"/>
            <a:pathLst>
              <a:path w="11752" h="11626" extrusionOk="0">
                <a:moveTo>
                  <a:pt x="5829" y="662"/>
                </a:moveTo>
                <a:cubicBezTo>
                  <a:pt x="6049" y="662"/>
                  <a:pt x="6207" y="819"/>
                  <a:pt x="6207" y="1008"/>
                </a:cubicBezTo>
                <a:cubicBezTo>
                  <a:pt x="6207" y="1197"/>
                  <a:pt x="6049" y="1355"/>
                  <a:pt x="5829" y="1355"/>
                </a:cubicBezTo>
                <a:cubicBezTo>
                  <a:pt x="5640" y="1355"/>
                  <a:pt x="5482" y="1197"/>
                  <a:pt x="5482" y="1008"/>
                </a:cubicBezTo>
                <a:cubicBezTo>
                  <a:pt x="5482" y="819"/>
                  <a:pt x="5640" y="662"/>
                  <a:pt x="5829" y="662"/>
                </a:cubicBezTo>
                <a:close/>
                <a:moveTo>
                  <a:pt x="5829" y="2048"/>
                </a:moveTo>
                <a:cubicBezTo>
                  <a:pt x="6743" y="2048"/>
                  <a:pt x="7625" y="2363"/>
                  <a:pt x="8255" y="2898"/>
                </a:cubicBezTo>
                <a:lnTo>
                  <a:pt x="7247" y="3875"/>
                </a:lnTo>
                <a:cubicBezTo>
                  <a:pt x="6869" y="3560"/>
                  <a:pt x="6364" y="3403"/>
                  <a:pt x="5797" y="3403"/>
                </a:cubicBezTo>
                <a:cubicBezTo>
                  <a:pt x="5325" y="3403"/>
                  <a:pt x="4821" y="3560"/>
                  <a:pt x="4380" y="3875"/>
                </a:cubicBezTo>
                <a:lnTo>
                  <a:pt x="3435" y="2930"/>
                </a:lnTo>
                <a:cubicBezTo>
                  <a:pt x="4065" y="2363"/>
                  <a:pt x="4884" y="2048"/>
                  <a:pt x="5829" y="2048"/>
                </a:cubicBezTo>
                <a:close/>
                <a:moveTo>
                  <a:pt x="4852" y="1355"/>
                </a:moveTo>
                <a:cubicBezTo>
                  <a:pt x="4852" y="1418"/>
                  <a:pt x="4884" y="1449"/>
                  <a:pt x="4884" y="1449"/>
                </a:cubicBezTo>
                <a:cubicBezTo>
                  <a:pt x="3214" y="1796"/>
                  <a:pt x="1828" y="3151"/>
                  <a:pt x="1481" y="4883"/>
                </a:cubicBezTo>
                <a:cubicBezTo>
                  <a:pt x="1450" y="4883"/>
                  <a:pt x="1387" y="4820"/>
                  <a:pt x="1387" y="4820"/>
                </a:cubicBezTo>
                <a:lnTo>
                  <a:pt x="1387" y="3718"/>
                </a:lnTo>
                <a:cubicBezTo>
                  <a:pt x="1387" y="2426"/>
                  <a:pt x="2458" y="1355"/>
                  <a:pt x="3750" y="1355"/>
                </a:cubicBezTo>
                <a:close/>
                <a:moveTo>
                  <a:pt x="7908" y="1355"/>
                </a:moveTo>
                <a:cubicBezTo>
                  <a:pt x="9200" y="1355"/>
                  <a:pt x="10240" y="2426"/>
                  <a:pt x="10240" y="3718"/>
                </a:cubicBezTo>
                <a:lnTo>
                  <a:pt x="10240" y="4820"/>
                </a:lnTo>
                <a:cubicBezTo>
                  <a:pt x="10208" y="4820"/>
                  <a:pt x="10177" y="4883"/>
                  <a:pt x="10177" y="4883"/>
                </a:cubicBezTo>
                <a:cubicBezTo>
                  <a:pt x="9830" y="3182"/>
                  <a:pt x="8475" y="1796"/>
                  <a:pt x="6743" y="1449"/>
                </a:cubicBezTo>
                <a:cubicBezTo>
                  <a:pt x="6743" y="1418"/>
                  <a:pt x="6774" y="1355"/>
                  <a:pt x="6774" y="1355"/>
                </a:cubicBezTo>
                <a:close/>
                <a:moveTo>
                  <a:pt x="10618" y="5419"/>
                </a:moveTo>
                <a:cubicBezTo>
                  <a:pt x="10807" y="5419"/>
                  <a:pt x="10964" y="5576"/>
                  <a:pt x="10964" y="5765"/>
                </a:cubicBezTo>
                <a:cubicBezTo>
                  <a:pt x="10964" y="5986"/>
                  <a:pt x="10807" y="6143"/>
                  <a:pt x="10618" y="6143"/>
                </a:cubicBezTo>
                <a:cubicBezTo>
                  <a:pt x="10397" y="6143"/>
                  <a:pt x="10240" y="5986"/>
                  <a:pt x="10240" y="5765"/>
                </a:cubicBezTo>
                <a:cubicBezTo>
                  <a:pt x="10240" y="5576"/>
                  <a:pt x="10397" y="5419"/>
                  <a:pt x="10618" y="5419"/>
                </a:cubicBezTo>
                <a:close/>
                <a:moveTo>
                  <a:pt x="1040" y="5450"/>
                </a:moveTo>
                <a:cubicBezTo>
                  <a:pt x="1229" y="5450"/>
                  <a:pt x="1387" y="5608"/>
                  <a:pt x="1387" y="5828"/>
                </a:cubicBezTo>
                <a:cubicBezTo>
                  <a:pt x="1387" y="6017"/>
                  <a:pt x="1229" y="6175"/>
                  <a:pt x="1040" y="6175"/>
                </a:cubicBezTo>
                <a:cubicBezTo>
                  <a:pt x="851" y="6175"/>
                  <a:pt x="694" y="6017"/>
                  <a:pt x="694" y="5828"/>
                </a:cubicBezTo>
                <a:cubicBezTo>
                  <a:pt x="694" y="5608"/>
                  <a:pt x="851" y="5450"/>
                  <a:pt x="1040" y="5450"/>
                </a:cubicBezTo>
                <a:close/>
                <a:moveTo>
                  <a:pt x="5829" y="4096"/>
                </a:moveTo>
                <a:cubicBezTo>
                  <a:pt x="6774" y="4096"/>
                  <a:pt x="7530" y="4820"/>
                  <a:pt x="7530" y="5765"/>
                </a:cubicBezTo>
                <a:cubicBezTo>
                  <a:pt x="7530" y="6711"/>
                  <a:pt x="6837" y="7498"/>
                  <a:pt x="5829" y="7498"/>
                </a:cubicBezTo>
                <a:cubicBezTo>
                  <a:pt x="4884" y="7498"/>
                  <a:pt x="4096" y="6711"/>
                  <a:pt x="4159" y="5734"/>
                </a:cubicBezTo>
                <a:cubicBezTo>
                  <a:pt x="4191" y="4789"/>
                  <a:pt x="4884" y="4096"/>
                  <a:pt x="5829" y="4096"/>
                </a:cubicBezTo>
                <a:close/>
                <a:moveTo>
                  <a:pt x="2930" y="3371"/>
                </a:moveTo>
                <a:lnTo>
                  <a:pt x="3876" y="4316"/>
                </a:lnTo>
                <a:cubicBezTo>
                  <a:pt x="3561" y="4757"/>
                  <a:pt x="3403" y="5261"/>
                  <a:pt x="3403" y="5765"/>
                </a:cubicBezTo>
                <a:cubicBezTo>
                  <a:pt x="3403" y="6301"/>
                  <a:pt x="3561" y="6805"/>
                  <a:pt x="3876" y="7183"/>
                </a:cubicBezTo>
                <a:lnTo>
                  <a:pt x="2899" y="8191"/>
                </a:lnTo>
                <a:cubicBezTo>
                  <a:pt x="2363" y="7561"/>
                  <a:pt x="2048" y="6711"/>
                  <a:pt x="2048" y="5765"/>
                </a:cubicBezTo>
                <a:cubicBezTo>
                  <a:pt x="2048" y="4883"/>
                  <a:pt x="2363" y="4001"/>
                  <a:pt x="2930" y="3371"/>
                </a:cubicBezTo>
                <a:close/>
                <a:moveTo>
                  <a:pt x="8759" y="3340"/>
                </a:moveTo>
                <a:cubicBezTo>
                  <a:pt x="9294" y="4001"/>
                  <a:pt x="9609" y="4820"/>
                  <a:pt x="9609" y="5734"/>
                </a:cubicBezTo>
                <a:cubicBezTo>
                  <a:pt x="9578" y="6711"/>
                  <a:pt x="9263" y="7561"/>
                  <a:pt x="8727" y="8191"/>
                </a:cubicBezTo>
                <a:lnTo>
                  <a:pt x="7782" y="7246"/>
                </a:lnTo>
                <a:cubicBezTo>
                  <a:pt x="8097" y="6805"/>
                  <a:pt x="8255" y="6301"/>
                  <a:pt x="8255" y="5765"/>
                </a:cubicBezTo>
                <a:cubicBezTo>
                  <a:pt x="8255" y="5576"/>
                  <a:pt x="8192" y="5387"/>
                  <a:pt x="8160" y="5198"/>
                </a:cubicBezTo>
                <a:cubicBezTo>
                  <a:pt x="8097" y="4883"/>
                  <a:pt x="7971" y="4600"/>
                  <a:pt x="7782" y="4316"/>
                </a:cubicBezTo>
                <a:lnTo>
                  <a:pt x="8759" y="3340"/>
                </a:lnTo>
                <a:close/>
                <a:moveTo>
                  <a:pt x="7310" y="7719"/>
                </a:moveTo>
                <a:lnTo>
                  <a:pt x="8255" y="8664"/>
                </a:lnTo>
                <a:cubicBezTo>
                  <a:pt x="7562" y="9231"/>
                  <a:pt x="6743" y="9546"/>
                  <a:pt x="5829" y="9546"/>
                </a:cubicBezTo>
                <a:cubicBezTo>
                  <a:pt x="4947" y="9546"/>
                  <a:pt x="4065" y="9231"/>
                  <a:pt x="3435" y="8695"/>
                </a:cubicBezTo>
                <a:lnTo>
                  <a:pt x="4411" y="7719"/>
                </a:lnTo>
                <a:cubicBezTo>
                  <a:pt x="4821" y="8034"/>
                  <a:pt x="5325" y="8191"/>
                  <a:pt x="5829" y="8191"/>
                </a:cubicBezTo>
                <a:cubicBezTo>
                  <a:pt x="6364" y="8191"/>
                  <a:pt x="6869" y="8034"/>
                  <a:pt x="7310" y="7719"/>
                </a:cubicBezTo>
                <a:close/>
                <a:moveTo>
                  <a:pt x="1481" y="6711"/>
                </a:moveTo>
                <a:cubicBezTo>
                  <a:pt x="1828" y="8443"/>
                  <a:pt x="3214" y="9798"/>
                  <a:pt x="4884" y="10145"/>
                </a:cubicBezTo>
                <a:cubicBezTo>
                  <a:pt x="4884" y="10176"/>
                  <a:pt x="4852" y="10239"/>
                  <a:pt x="4852" y="10271"/>
                </a:cubicBezTo>
                <a:lnTo>
                  <a:pt x="3781" y="10271"/>
                </a:lnTo>
                <a:cubicBezTo>
                  <a:pt x="2458" y="10271"/>
                  <a:pt x="1387" y="9168"/>
                  <a:pt x="1387" y="7813"/>
                </a:cubicBezTo>
                <a:lnTo>
                  <a:pt x="1387" y="6774"/>
                </a:lnTo>
                <a:cubicBezTo>
                  <a:pt x="1418" y="6774"/>
                  <a:pt x="1481" y="6711"/>
                  <a:pt x="1481" y="6711"/>
                </a:cubicBezTo>
                <a:close/>
                <a:moveTo>
                  <a:pt x="10177" y="6711"/>
                </a:moveTo>
                <a:cubicBezTo>
                  <a:pt x="10208" y="6711"/>
                  <a:pt x="10240" y="6774"/>
                  <a:pt x="10240" y="6774"/>
                </a:cubicBezTo>
                <a:lnTo>
                  <a:pt x="10240" y="7876"/>
                </a:lnTo>
                <a:cubicBezTo>
                  <a:pt x="10240" y="9168"/>
                  <a:pt x="9200" y="10271"/>
                  <a:pt x="7877" y="10271"/>
                </a:cubicBezTo>
                <a:lnTo>
                  <a:pt x="6774" y="10271"/>
                </a:lnTo>
                <a:cubicBezTo>
                  <a:pt x="6774" y="10239"/>
                  <a:pt x="6743" y="10176"/>
                  <a:pt x="6743" y="10145"/>
                </a:cubicBezTo>
                <a:cubicBezTo>
                  <a:pt x="8475" y="9798"/>
                  <a:pt x="9830" y="8412"/>
                  <a:pt x="10177" y="6711"/>
                </a:cubicBezTo>
                <a:close/>
                <a:moveTo>
                  <a:pt x="5829" y="10239"/>
                </a:moveTo>
                <a:cubicBezTo>
                  <a:pt x="6049" y="10239"/>
                  <a:pt x="6207" y="10397"/>
                  <a:pt x="6207" y="10586"/>
                </a:cubicBezTo>
                <a:cubicBezTo>
                  <a:pt x="6144" y="10775"/>
                  <a:pt x="5986" y="10932"/>
                  <a:pt x="5829" y="10932"/>
                </a:cubicBezTo>
                <a:cubicBezTo>
                  <a:pt x="5640" y="10932"/>
                  <a:pt x="5482" y="10775"/>
                  <a:pt x="5482" y="10586"/>
                </a:cubicBezTo>
                <a:cubicBezTo>
                  <a:pt x="5482" y="10397"/>
                  <a:pt x="5640" y="10239"/>
                  <a:pt x="5829" y="10239"/>
                </a:cubicBezTo>
                <a:close/>
                <a:moveTo>
                  <a:pt x="5829" y="0"/>
                </a:moveTo>
                <a:cubicBezTo>
                  <a:pt x="5388" y="0"/>
                  <a:pt x="5010" y="315"/>
                  <a:pt x="4852" y="693"/>
                </a:cubicBezTo>
                <a:lnTo>
                  <a:pt x="3813" y="693"/>
                </a:lnTo>
                <a:cubicBezTo>
                  <a:pt x="2111" y="693"/>
                  <a:pt x="725" y="2079"/>
                  <a:pt x="725" y="3781"/>
                </a:cubicBezTo>
                <a:lnTo>
                  <a:pt x="725" y="4820"/>
                </a:lnTo>
                <a:cubicBezTo>
                  <a:pt x="316" y="4946"/>
                  <a:pt x="0" y="5356"/>
                  <a:pt x="0" y="5828"/>
                </a:cubicBezTo>
                <a:cubicBezTo>
                  <a:pt x="0" y="6301"/>
                  <a:pt x="316" y="6648"/>
                  <a:pt x="725" y="6805"/>
                </a:cubicBezTo>
                <a:lnTo>
                  <a:pt x="725" y="7876"/>
                </a:lnTo>
                <a:cubicBezTo>
                  <a:pt x="725" y="9546"/>
                  <a:pt x="2111" y="10964"/>
                  <a:pt x="3813" y="10964"/>
                </a:cubicBezTo>
                <a:lnTo>
                  <a:pt x="4915" y="10964"/>
                </a:lnTo>
                <a:cubicBezTo>
                  <a:pt x="5073" y="11373"/>
                  <a:pt x="5419" y="11625"/>
                  <a:pt x="5892" y="11625"/>
                </a:cubicBezTo>
                <a:cubicBezTo>
                  <a:pt x="6333" y="11625"/>
                  <a:pt x="6711" y="11310"/>
                  <a:pt x="6869" y="10932"/>
                </a:cubicBezTo>
                <a:lnTo>
                  <a:pt x="7971" y="10932"/>
                </a:lnTo>
                <a:cubicBezTo>
                  <a:pt x="9672" y="10932"/>
                  <a:pt x="11059" y="9546"/>
                  <a:pt x="11059" y="7845"/>
                </a:cubicBezTo>
                <a:lnTo>
                  <a:pt x="11059" y="6774"/>
                </a:lnTo>
                <a:cubicBezTo>
                  <a:pt x="11216" y="6711"/>
                  <a:pt x="11311" y="6648"/>
                  <a:pt x="11437" y="6522"/>
                </a:cubicBezTo>
                <a:cubicBezTo>
                  <a:pt x="11626" y="6333"/>
                  <a:pt x="11752" y="6049"/>
                  <a:pt x="11752" y="5765"/>
                </a:cubicBezTo>
                <a:cubicBezTo>
                  <a:pt x="11752" y="5513"/>
                  <a:pt x="11626" y="5230"/>
                  <a:pt x="11437" y="5041"/>
                </a:cubicBezTo>
                <a:cubicBezTo>
                  <a:pt x="11248" y="4946"/>
                  <a:pt x="11090" y="4883"/>
                  <a:pt x="10964" y="4820"/>
                </a:cubicBezTo>
                <a:lnTo>
                  <a:pt x="10964" y="3781"/>
                </a:lnTo>
                <a:cubicBezTo>
                  <a:pt x="10964" y="2079"/>
                  <a:pt x="9578" y="693"/>
                  <a:pt x="7877" y="693"/>
                </a:cubicBezTo>
                <a:lnTo>
                  <a:pt x="6837" y="693"/>
                </a:lnTo>
                <a:cubicBezTo>
                  <a:pt x="6711" y="315"/>
                  <a:pt x="6301"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13" name="Google Shape;9913;p78"/>
          <p:cNvGrpSpPr/>
          <p:nvPr/>
        </p:nvGrpSpPr>
        <p:grpSpPr>
          <a:xfrm>
            <a:off x="1299432" y="1534571"/>
            <a:ext cx="354527" cy="355498"/>
            <a:chOff x="-35495600" y="1912725"/>
            <a:chExt cx="292225" cy="293025"/>
          </a:xfrm>
        </p:grpSpPr>
        <p:sp>
          <p:nvSpPr>
            <p:cNvPr id="9914" name="Google Shape;9914;p78"/>
            <p:cNvSpPr/>
            <p:nvPr/>
          </p:nvSpPr>
          <p:spPr>
            <a:xfrm>
              <a:off x="-35495600" y="1912725"/>
              <a:ext cx="102400" cy="293025"/>
            </a:xfrm>
            <a:custGeom>
              <a:avLst/>
              <a:gdLst/>
              <a:ahLst/>
              <a:cxnLst/>
              <a:rect l="l" t="t" r="r" b="b"/>
              <a:pathLst>
                <a:path w="4096" h="11721" extrusionOk="0">
                  <a:moveTo>
                    <a:pt x="3088" y="726"/>
                  </a:moveTo>
                  <a:cubicBezTo>
                    <a:pt x="3277" y="726"/>
                    <a:pt x="3435" y="883"/>
                    <a:pt x="3435" y="1041"/>
                  </a:cubicBezTo>
                  <a:lnTo>
                    <a:pt x="3435" y="3120"/>
                  </a:lnTo>
                  <a:cubicBezTo>
                    <a:pt x="3435" y="3309"/>
                    <a:pt x="3277" y="3467"/>
                    <a:pt x="3088" y="3467"/>
                  </a:cubicBezTo>
                  <a:lnTo>
                    <a:pt x="2710" y="3467"/>
                  </a:lnTo>
                  <a:lnTo>
                    <a:pt x="2710" y="726"/>
                  </a:lnTo>
                  <a:close/>
                  <a:moveTo>
                    <a:pt x="2080" y="757"/>
                  </a:moveTo>
                  <a:lnTo>
                    <a:pt x="2080" y="3561"/>
                  </a:lnTo>
                  <a:cubicBezTo>
                    <a:pt x="1702" y="3719"/>
                    <a:pt x="1418" y="4065"/>
                    <a:pt x="1418" y="4538"/>
                  </a:cubicBezTo>
                  <a:lnTo>
                    <a:pt x="1418" y="7310"/>
                  </a:lnTo>
                  <a:cubicBezTo>
                    <a:pt x="1418" y="7720"/>
                    <a:pt x="1702" y="8129"/>
                    <a:pt x="2080" y="8287"/>
                  </a:cubicBezTo>
                  <a:lnTo>
                    <a:pt x="2080" y="11028"/>
                  </a:lnTo>
                  <a:cubicBezTo>
                    <a:pt x="1292" y="10870"/>
                    <a:pt x="725" y="10177"/>
                    <a:pt x="725" y="9326"/>
                  </a:cubicBezTo>
                  <a:lnTo>
                    <a:pt x="725" y="2458"/>
                  </a:lnTo>
                  <a:cubicBezTo>
                    <a:pt x="725" y="1639"/>
                    <a:pt x="1292" y="915"/>
                    <a:pt x="2080" y="757"/>
                  </a:cubicBezTo>
                  <a:close/>
                  <a:moveTo>
                    <a:pt x="3136" y="8314"/>
                  </a:moveTo>
                  <a:cubicBezTo>
                    <a:pt x="3303" y="8314"/>
                    <a:pt x="3435" y="8461"/>
                    <a:pt x="3435" y="8633"/>
                  </a:cubicBezTo>
                  <a:lnTo>
                    <a:pt x="3435" y="10681"/>
                  </a:lnTo>
                  <a:cubicBezTo>
                    <a:pt x="3435" y="10870"/>
                    <a:pt x="3277" y="11028"/>
                    <a:pt x="3088" y="11028"/>
                  </a:cubicBezTo>
                  <a:lnTo>
                    <a:pt x="2710" y="11028"/>
                  </a:lnTo>
                  <a:lnTo>
                    <a:pt x="2710" y="8318"/>
                  </a:lnTo>
                  <a:lnTo>
                    <a:pt x="3088" y="8318"/>
                  </a:lnTo>
                  <a:cubicBezTo>
                    <a:pt x="3104" y="8316"/>
                    <a:pt x="3120" y="8314"/>
                    <a:pt x="3136" y="8314"/>
                  </a:cubicBezTo>
                  <a:close/>
                  <a:moveTo>
                    <a:pt x="2395" y="1"/>
                  </a:moveTo>
                  <a:cubicBezTo>
                    <a:pt x="1072" y="1"/>
                    <a:pt x="0" y="1104"/>
                    <a:pt x="0" y="2427"/>
                  </a:cubicBezTo>
                  <a:lnTo>
                    <a:pt x="0" y="9263"/>
                  </a:lnTo>
                  <a:cubicBezTo>
                    <a:pt x="0" y="10618"/>
                    <a:pt x="1072" y="11721"/>
                    <a:pt x="2395" y="11721"/>
                  </a:cubicBezTo>
                  <a:lnTo>
                    <a:pt x="3088" y="11721"/>
                  </a:lnTo>
                  <a:cubicBezTo>
                    <a:pt x="3624" y="11721"/>
                    <a:pt x="4096" y="11248"/>
                    <a:pt x="4096" y="10681"/>
                  </a:cubicBezTo>
                  <a:lnTo>
                    <a:pt x="4096" y="8633"/>
                  </a:lnTo>
                  <a:cubicBezTo>
                    <a:pt x="4096" y="8098"/>
                    <a:pt x="3624" y="7625"/>
                    <a:pt x="3088" y="7625"/>
                  </a:cubicBezTo>
                  <a:lnTo>
                    <a:pt x="2395" y="7625"/>
                  </a:lnTo>
                  <a:cubicBezTo>
                    <a:pt x="2206" y="7625"/>
                    <a:pt x="2048" y="7468"/>
                    <a:pt x="2048" y="7247"/>
                  </a:cubicBezTo>
                  <a:lnTo>
                    <a:pt x="2048" y="4506"/>
                  </a:lnTo>
                  <a:cubicBezTo>
                    <a:pt x="2048" y="4317"/>
                    <a:pt x="2206" y="4160"/>
                    <a:pt x="2395" y="4160"/>
                  </a:cubicBezTo>
                  <a:lnTo>
                    <a:pt x="3088" y="4160"/>
                  </a:lnTo>
                  <a:cubicBezTo>
                    <a:pt x="3624" y="4160"/>
                    <a:pt x="4096" y="3687"/>
                    <a:pt x="4096" y="3120"/>
                  </a:cubicBezTo>
                  <a:lnTo>
                    <a:pt x="4096" y="1041"/>
                  </a:lnTo>
                  <a:cubicBezTo>
                    <a:pt x="4096" y="474"/>
                    <a:pt x="3624"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5" name="Google Shape;9915;p78"/>
            <p:cNvSpPr/>
            <p:nvPr/>
          </p:nvSpPr>
          <p:spPr>
            <a:xfrm>
              <a:off x="-35305775" y="1912725"/>
              <a:ext cx="102400" cy="292250"/>
            </a:xfrm>
            <a:custGeom>
              <a:avLst/>
              <a:gdLst/>
              <a:ahLst/>
              <a:cxnLst/>
              <a:rect l="l" t="t" r="r" b="b"/>
              <a:pathLst>
                <a:path w="4096" h="11690" extrusionOk="0">
                  <a:moveTo>
                    <a:pt x="1386" y="694"/>
                  </a:moveTo>
                  <a:lnTo>
                    <a:pt x="1386" y="3435"/>
                  </a:lnTo>
                  <a:lnTo>
                    <a:pt x="1040" y="3435"/>
                  </a:lnTo>
                  <a:cubicBezTo>
                    <a:pt x="1023" y="3438"/>
                    <a:pt x="1007" y="3439"/>
                    <a:pt x="992" y="3439"/>
                  </a:cubicBezTo>
                  <a:cubicBezTo>
                    <a:pt x="825" y="3439"/>
                    <a:pt x="693" y="3293"/>
                    <a:pt x="693" y="3120"/>
                  </a:cubicBezTo>
                  <a:lnTo>
                    <a:pt x="693" y="1041"/>
                  </a:lnTo>
                  <a:cubicBezTo>
                    <a:pt x="693" y="852"/>
                    <a:pt x="851" y="694"/>
                    <a:pt x="1040" y="694"/>
                  </a:cubicBezTo>
                  <a:close/>
                  <a:moveTo>
                    <a:pt x="1386" y="8287"/>
                  </a:moveTo>
                  <a:lnTo>
                    <a:pt x="1386" y="10996"/>
                  </a:lnTo>
                  <a:lnTo>
                    <a:pt x="1040" y="10996"/>
                  </a:lnTo>
                  <a:cubicBezTo>
                    <a:pt x="851" y="10996"/>
                    <a:pt x="693" y="10839"/>
                    <a:pt x="693" y="10681"/>
                  </a:cubicBezTo>
                  <a:lnTo>
                    <a:pt x="693" y="8633"/>
                  </a:lnTo>
                  <a:cubicBezTo>
                    <a:pt x="693" y="8444"/>
                    <a:pt x="851" y="8287"/>
                    <a:pt x="1040" y="8287"/>
                  </a:cubicBezTo>
                  <a:close/>
                  <a:moveTo>
                    <a:pt x="2016" y="757"/>
                  </a:moveTo>
                  <a:cubicBezTo>
                    <a:pt x="2804" y="915"/>
                    <a:pt x="3403" y="1639"/>
                    <a:pt x="3403" y="2458"/>
                  </a:cubicBezTo>
                  <a:lnTo>
                    <a:pt x="3403" y="9295"/>
                  </a:lnTo>
                  <a:cubicBezTo>
                    <a:pt x="3403" y="10114"/>
                    <a:pt x="2804" y="10839"/>
                    <a:pt x="2016" y="10996"/>
                  </a:cubicBezTo>
                  <a:lnTo>
                    <a:pt x="2016" y="8255"/>
                  </a:lnTo>
                  <a:cubicBezTo>
                    <a:pt x="2426" y="8098"/>
                    <a:pt x="2678" y="7720"/>
                    <a:pt x="2678" y="7247"/>
                  </a:cubicBezTo>
                  <a:lnTo>
                    <a:pt x="2678" y="4506"/>
                  </a:lnTo>
                  <a:cubicBezTo>
                    <a:pt x="2678" y="4065"/>
                    <a:pt x="2426" y="3687"/>
                    <a:pt x="2016" y="3530"/>
                  </a:cubicBezTo>
                  <a:lnTo>
                    <a:pt x="2016" y="757"/>
                  </a:lnTo>
                  <a:close/>
                  <a:moveTo>
                    <a:pt x="1040" y="1"/>
                  </a:moveTo>
                  <a:cubicBezTo>
                    <a:pt x="473" y="1"/>
                    <a:pt x="0" y="474"/>
                    <a:pt x="0" y="1041"/>
                  </a:cubicBezTo>
                  <a:lnTo>
                    <a:pt x="0" y="3120"/>
                  </a:lnTo>
                  <a:cubicBezTo>
                    <a:pt x="0" y="3687"/>
                    <a:pt x="473" y="4128"/>
                    <a:pt x="1040" y="4128"/>
                  </a:cubicBezTo>
                  <a:lnTo>
                    <a:pt x="1701" y="4128"/>
                  </a:lnTo>
                  <a:cubicBezTo>
                    <a:pt x="1890" y="4128"/>
                    <a:pt x="2048" y="4286"/>
                    <a:pt x="2048" y="4506"/>
                  </a:cubicBezTo>
                  <a:lnTo>
                    <a:pt x="2048" y="7247"/>
                  </a:lnTo>
                  <a:cubicBezTo>
                    <a:pt x="2048" y="7436"/>
                    <a:pt x="1890" y="7625"/>
                    <a:pt x="1701" y="7625"/>
                  </a:cubicBezTo>
                  <a:lnTo>
                    <a:pt x="1040" y="7625"/>
                  </a:lnTo>
                  <a:cubicBezTo>
                    <a:pt x="473" y="7625"/>
                    <a:pt x="0" y="8098"/>
                    <a:pt x="0" y="8633"/>
                  </a:cubicBezTo>
                  <a:lnTo>
                    <a:pt x="0" y="10681"/>
                  </a:lnTo>
                  <a:cubicBezTo>
                    <a:pt x="0" y="11248"/>
                    <a:pt x="473" y="11689"/>
                    <a:pt x="1040" y="11689"/>
                  </a:cubicBezTo>
                  <a:lnTo>
                    <a:pt x="1701" y="11689"/>
                  </a:lnTo>
                  <a:cubicBezTo>
                    <a:pt x="3056" y="11689"/>
                    <a:pt x="4096" y="10650"/>
                    <a:pt x="4096" y="9295"/>
                  </a:cubicBezTo>
                  <a:lnTo>
                    <a:pt x="4096" y="2458"/>
                  </a:lnTo>
                  <a:cubicBezTo>
                    <a:pt x="4096" y="1104"/>
                    <a:pt x="2993" y="1"/>
                    <a:pt x="17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78"/>
            <p:cNvSpPr/>
            <p:nvPr/>
          </p:nvSpPr>
          <p:spPr>
            <a:xfrm>
              <a:off x="-35427875" y="2017025"/>
              <a:ext cx="155200" cy="85800"/>
            </a:xfrm>
            <a:custGeom>
              <a:avLst/>
              <a:gdLst/>
              <a:ahLst/>
              <a:cxnLst/>
              <a:rect l="l" t="t" r="r" b="b"/>
              <a:pathLst>
                <a:path w="6208" h="3432" extrusionOk="0">
                  <a:moveTo>
                    <a:pt x="4853" y="1122"/>
                  </a:moveTo>
                  <a:lnTo>
                    <a:pt x="5420" y="1657"/>
                  </a:lnTo>
                  <a:lnTo>
                    <a:pt x="4853" y="2256"/>
                  </a:lnTo>
                  <a:cubicBezTo>
                    <a:pt x="4821" y="2130"/>
                    <a:pt x="4695" y="2035"/>
                    <a:pt x="4538" y="2035"/>
                  </a:cubicBezTo>
                  <a:lnTo>
                    <a:pt x="1734" y="2035"/>
                  </a:lnTo>
                  <a:cubicBezTo>
                    <a:pt x="1576" y="2035"/>
                    <a:pt x="1482" y="2098"/>
                    <a:pt x="1419" y="2256"/>
                  </a:cubicBezTo>
                  <a:lnTo>
                    <a:pt x="883" y="1657"/>
                  </a:lnTo>
                  <a:lnTo>
                    <a:pt x="1419" y="1122"/>
                  </a:lnTo>
                  <a:cubicBezTo>
                    <a:pt x="1482" y="1248"/>
                    <a:pt x="1576" y="1342"/>
                    <a:pt x="1734" y="1342"/>
                  </a:cubicBezTo>
                  <a:lnTo>
                    <a:pt x="4538" y="1342"/>
                  </a:lnTo>
                  <a:cubicBezTo>
                    <a:pt x="4695" y="1342"/>
                    <a:pt x="4821" y="1279"/>
                    <a:pt x="4853" y="1122"/>
                  </a:cubicBezTo>
                  <a:close/>
                  <a:moveTo>
                    <a:pt x="1715" y="0"/>
                  </a:moveTo>
                  <a:cubicBezTo>
                    <a:pt x="1631" y="0"/>
                    <a:pt x="1553" y="22"/>
                    <a:pt x="1513" y="82"/>
                  </a:cubicBezTo>
                  <a:lnTo>
                    <a:pt x="127" y="1468"/>
                  </a:lnTo>
                  <a:cubicBezTo>
                    <a:pt x="1" y="1594"/>
                    <a:pt x="1" y="1783"/>
                    <a:pt x="127" y="1941"/>
                  </a:cubicBezTo>
                  <a:lnTo>
                    <a:pt x="1513" y="3327"/>
                  </a:lnTo>
                  <a:cubicBezTo>
                    <a:pt x="1550" y="3401"/>
                    <a:pt x="1619" y="3432"/>
                    <a:pt x="1696" y="3432"/>
                  </a:cubicBezTo>
                  <a:cubicBezTo>
                    <a:pt x="1750" y="3432"/>
                    <a:pt x="1807" y="3416"/>
                    <a:pt x="1860" y="3390"/>
                  </a:cubicBezTo>
                  <a:cubicBezTo>
                    <a:pt x="1986" y="3359"/>
                    <a:pt x="2049" y="3201"/>
                    <a:pt x="2049" y="3075"/>
                  </a:cubicBezTo>
                  <a:lnTo>
                    <a:pt x="2049" y="2729"/>
                  </a:lnTo>
                  <a:lnTo>
                    <a:pt x="4160" y="2729"/>
                  </a:lnTo>
                  <a:lnTo>
                    <a:pt x="4160" y="3075"/>
                  </a:lnTo>
                  <a:cubicBezTo>
                    <a:pt x="4160" y="3233"/>
                    <a:pt x="4223" y="3359"/>
                    <a:pt x="4349" y="3390"/>
                  </a:cubicBezTo>
                  <a:cubicBezTo>
                    <a:pt x="4401" y="3416"/>
                    <a:pt x="4458" y="3432"/>
                    <a:pt x="4512" y="3432"/>
                  </a:cubicBezTo>
                  <a:cubicBezTo>
                    <a:pt x="4589" y="3432"/>
                    <a:pt x="4658" y="3401"/>
                    <a:pt x="4695" y="3327"/>
                  </a:cubicBezTo>
                  <a:lnTo>
                    <a:pt x="6081" y="1941"/>
                  </a:lnTo>
                  <a:cubicBezTo>
                    <a:pt x="6207" y="1815"/>
                    <a:pt x="6207" y="1594"/>
                    <a:pt x="6081" y="1468"/>
                  </a:cubicBezTo>
                  <a:lnTo>
                    <a:pt x="4695" y="82"/>
                  </a:lnTo>
                  <a:cubicBezTo>
                    <a:pt x="4649" y="36"/>
                    <a:pt x="4552" y="7"/>
                    <a:pt x="4454" y="7"/>
                  </a:cubicBezTo>
                  <a:cubicBezTo>
                    <a:pt x="4418" y="7"/>
                    <a:pt x="4382" y="11"/>
                    <a:pt x="4349" y="19"/>
                  </a:cubicBezTo>
                  <a:cubicBezTo>
                    <a:pt x="4223" y="51"/>
                    <a:pt x="4160" y="208"/>
                    <a:pt x="4160" y="334"/>
                  </a:cubicBezTo>
                  <a:lnTo>
                    <a:pt x="4160" y="681"/>
                  </a:lnTo>
                  <a:lnTo>
                    <a:pt x="2049" y="681"/>
                  </a:lnTo>
                  <a:lnTo>
                    <a:pt x="2049" y="334"/>
                  </a:lnTo>
                  <a:cubicBezTo>
                    <a:pt x="2049" y="177"/>
                    <a:pt x="1986" y="51"/>
                    <a:pt x="1860" y="19"/>
                  </a:cubicBezTo>
                  <a:cubicBezTo>
                    <a:pt x="1814" y="8"/>
                    <a:pt x="1763" y="0"/>
                    <a:pt x="17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17" name="Google Shape;9917;p78"/>
          <p:cNvSpPr/>
          <p:nvPr/>
        </p:nvSpPr>
        <p:spPr>
          <a:xfrm>
            <a:off x="1295266" y="1993775"/>
            <a:ext cx="356438" cy="354527"/>
          </a:xfrm>
          <a:custGeom>
            <a:avLst/>
            <a:gdLst/>
            <a:ahLst/>
            <a:cxnLst/>
            <a:rect l="l" t="t" r="r" b="b"/>
            <a:pathLst>
              <a:path w="11752" h="11689" extrusionOk="0">
                <a:moveTo>
                  <a:pt x="5860" y="662"/>
                </a:moveTo>
                <a:cubicBezTo>
                  <a:pt x="6427" y="662"/>
                  <a:pt x="6900" y="1135"/>
                  <a:pt x="6900" y="1670"/>
                </a:cubicBezTo>
                <a:cubicBezTo>
                  <a:pt x="6900" y="2238"/>
                  <a:pt x="6427" y="2710"/>
                  <a:pt x="5860" y="2710"/>
                </a:cubicBezTo>
                <a:cubicBezTo>
                  <a:pt x="5293" y="2710"/>
                  <a:pt x="4821" y="2238"/>
                  <a:pt x="4821" y="1670"/>
                </a:cubicBezTo>
                <a:cubicBezTo>
                  <a:pt x="4821" y="1135"/>
                  <a:pt x="5293" y="662"/>
                  <a:pt x="5860" y="662"/>
                </a:cubicBezTo>
                <a:close/>
                <a:moveTo>
                  <a:pt x="5860" y="3372"/>
                </a:moveTo>
                <a:cubicBezTo>
                  <a:pt x="7058" y="3403"/>
                  <a:pt x="8034" y="4317"/>
                  <a:pt x="8223" y="5451"/>
                </a:cubicBezTo>
                <a:lnTo>
                  <a:pt x="3466" y="5451"/>
                </a:lnTo>
                <a:cubicBezTo>
                  <a:pt x="3624" y="4285"/>
                  <a:pt x="4663" y="3372"/>
                  <a:pt x="5860" y="3372"/>
                </a:cubicBezTo>
                <a:close/>
                <a:moveTo>
                  <a:pt x="9420" y="7562"/>
                </a:moveTo>
                <a:cubicBezTo>
                  <a:pt x="9956" y="7562"/>
                  <a:pt x="10429" y="7814"/>
                  <a:pt x="10744" y="8223"/>
                </a:cubicBezTo>
                <a:lnTo>
                  <a:pt x="10082" y="8223"/>
                </a:lnTo>
                <a:cubicBezTo>
                  <a:pt x="9546" y="8223"/>
                  <a:pt x="9074" y="8696"/>
                  <a:pt x="9074" y="9232"/>
                </a:cubicBezTo>
                <a:cubicBezTo>
                  <a:pt x="9074" y="9799"/>
                  <a:pt x="9546" y="10271"/>
                  <a:pt x="10082" y="10271"/>
                </a:cubicBezTo>
                <a:lnTo>
                  <a:pt x="10744" y="10271"/>
                </a:lnTo>
                <a:cubicBezTo>
                  <a:pt x="10429" y="10712"/>
                  <a:pt x="9925" y="10933"/>
                  <a:pt x="9420" y="10933"/>
                </a:cubicBezTo>
                <a:cubicBezTo>
                  <a:pt x="8696" y="10933"/>
                  <a:pt x="8034" y="10460"/>
                  <a:pt x="7814" y="9799"/>
                </a:cubicBezTo>
                <a:cubicBezTo>
                  <a:pt x="7751" y="9673"/>
                  <a:pt x="7593" y="9547"/>
                  <a:pt x="7499" y="9547"/>
                </a:cubicBezTo>
                <a:lnTo>
                  <a:pt x="4222" y="9547"/>
                </a:lnTo>
                <a:cubicBezTo>
                  <a:pt x="4065" y="9547"/>
                  <a:pt x="3939" y="9641"/>
                  <a:pt x="3907" y="9799"/>
                </a:cubicBezTo>
                <a:cubicBezTo>
                  <a:pt x="3655" y="10460"/>
                  <a:pt x="2993" y="10933"/>
                  <a:pt x="2300" y="10933"/>
                </a:cubicBezTo>
                <a:cubicBezTo>
                  <a:pt x="1733" y="10933"/>
                  <a:pt x="1261" y="10649"/>
                  <a:pt x="914" y="10271"/>
                </a:cubicBezTo>
                <a:lnTo>
                  <a:pt x="1576" y="10271"/>
                </a:lnTo>
                <a:cubicBezTo>
                  <a:pt x="2143" y="10271"/>
                  <a:pt x="2615" y="9799"/>
                  <a:pt x="2615" y="9232"/>
                </a:cubicBezTo>
                <a:cubicBezTo>
                  <a:pt x="2615" y="8696"/>
                  <a:pt x="2143" y="8223"/>
                  <a:pt x="1576" y="8223"/>
                </a:cubicBezTo>
                <a:lnTo>
                  <a:pt x="914" y="8223"/>
                </a:lnTo>
                <a:cubicBezTo>
                  <a:pt x="1229" y="7782"/>
                  <a:pt x="1733" y="7562"/>
                  <a:pt x="2300" y="7562"/>
                </a:cubicBezTo>
                <a:cubicBezTo>
                  <a:pt x="2993" y="7562"/>
                  <a:pt x="3655" y="8034"/>
                  <a:pt x="3907" y="8696"/>
                </a:cubicBezTo>
                <a:cubicBezTo>
                  <a:pt x="3939" y="8822"/>
                  <a:pt x="4096" y="8917"/>
                  <a:pt x="4222" y="8917"/>
                </a:cubicBezTo>
                <a:lnTo>
                  <a:pt x="7499" y="8917"/>
                </a:lnTo>
                <a:cubicBezTo>
                  <a:pt x="7656" y="8917"/>
                  <a:pt x="7751" y="8854"/>
                  <a:pt x="7814" y="8696"/>
                </a:cubicBezTo>
                <a:cubicBezTo>
                  <a:pt x="8034" y="8034"/>
                  <a:pt x="8727" y="7562"/>
                  <a:pt x="9420" y="7562"/>
                </a:cubicBezTo>
                <a:close/>
                <a:moveTo>
                  <a:pt x="5860" y="1"/>
                </a:moveTo>
                <a:cubicBezTo>
                  <a:pt x="4915" y="1"/>
                  <a:pt x="4128" y="725"/>
                  <a:pt x="4128" y="1670"/>
                </a:cubicBezTo>
                <a:cubicBezTo>
                  <a:pt x="4128" y="2143"/>
                  <a:pt x="4348" y="2584"/>
                  <a:pt x="4663" y="2899"/>
                </a:cubicBezTo>
                <a:lnTo>
                  <a:pt x="4695" y="2931"/>
                </a:lnTo>
                <a:cubicBezTo>
                  <a:pt x="3592" y="3372"/>
                  <a:pt x="2773" y="4474"/>
                  <a:pt x="2773" y="5829"/>
                </a:cubicBezTo>
                <a:cubicBezTo>
                  <a:pt x="2773" y="6018"/>
                  <a:pt x="2930" y="6176"/>
                  <a:pt x="3119" y="6176"/>
                </a:cubicBezTo>
                <a:lnTo>
                  <a:pt x="5514" y="6176"/>
                </a:lnTo>
                <a:lnTo>
                  <a:pt x="5514" y="8255"/>
                </a:lnTo>
                <a:lnTo>
                  <a:pt x="4443" y="8255"/>
                </a:lnTo>
                <a:cubicBezTo>
                  <a:pt x="4065" y="7436"/>
                  <a:pt x="3245" y="6869"/>
                  <a:pt x="2300" y="6869"/>
                </a:cubicBezTo>
                <a:cubicBezTo>
                  <a:pt x="1261" y="6869"/>
                  <a:pt x="410" y="7499"/>
                  <a:pt x="32" y="8444"/>
                </a:cubicBezTo>
                <a:cubicBezTo>
                  <a:pt x="0" y="8570"/>
                  <a:pt x="0" y="8696"/>
                  <a:pt x="95" y="8759"/>
                </a:cubicBezTo>
                <a:cubicBezTo>
                  <a:pt x="158" y="8854"/>
                  <a:pt x="253" y="8917"/>
                  <a:pt x="347" y="8917"/>
                </a:cubicBezTo>
                <a:lnTo>
                  <a:pt x="1607" y="8917"/>
                </a:lnTo>
                <a:cubicBezTo>
                  <a:pt x="1828" y="8917"/>
                  <a:pt x="1985" y="9074"/>
                  <a:pt x="1985" y="9295"/>
                </a:cubicBezTo>
                <a:cubicBezTo>
                  <a:pt x="1985" y="9484"/>
                  <a:pt x="1828" y="9641"/>
                  <a:pt x="1607" y="9641"/>
                </a:cubicBezTo>
                <a:lnTo>
                  <a:pt x="347" y="9641"/>
                </a:lnTo>
                <a:cubicBezTo>
                  <a:pt x="253" y="9641"/>
                  <a:pt x="158" y="9673"/>
                  <a:pt x="95" y="9799"/>
                </a:cubicBezTo>
                <a:cubicBezTo>
                  <a:pt x="0" y="9862"/>
                  <a:pt x="0" y="9988"/>
                  <a:pt x="32" y="10114"/>
                </a:cubicBezTo>
                <a:cubicBezTo>
                  <a:pt x="410" y="11059"/>
                  <a:pt x="1292" y="11689"/>
                  <a:pt x="2300" y="11689"/>
                </a:cubicBezTo>
                <a:cubicBezTo>
                  <a:pt x="3182" y="11689"/>
                  <a:pt x="4065" y="11122"/>
                  <a:pt x="4443" y="10303"/>
                </a:cubicBezTo>
                <a:lnTo>
                  <a:pt x="7278" y="10303"/>
                </a:lnTo>
                <a:cubicBezTo>
                  <a:pt x="7688" y="11122"/>
                  <a:pt x="8507" y="11689"/>
                  <a:pt x="9452" y="11689"/>
                </a:cubicBezTo>
                <a:cubicBezTo>
                  <a:pt x="10492" y="11689"/>
                  <a:pt x="11342" y="11059"/>
                  <a:pt x="11689" y="10114"/>
                </a:cubicBezTo>
                <a:cubicBezTo>
                  <a:pt x="11752" y="9988"/>
                  <a:pt x="11752" y="9862"/>
                  <a:pt x="11657" y="9799"/>
                </a:cubicBezTo>
                <a:cubicBezTo>
                  <a:pt x="11594" y="9704"/>
                  <a:pt x="11500" y="9641"/>
                  <a:pt x="11374" y="9641"/>
                </a:cubicBezTo>
                <a:lnTo>
                  <a:pt x="10114" y="9641"/>
                </a:lnTo>
                <a:cubicBezTo>
                  <a:pt x="9925" y="9641"/>
                  <a:pt x="9767" y="9484"/>
                  <a:pt x="9767" y="9295"/>
                </a:cubicBezTo>
                <a:cubicBezTo>
                  <a:pt x="9767" y="9074"/>
                  <a:pt x="9925" y="8917"/>
                  <a:pt x="10114" y="8917"/>
                </a:cubicBezTo>
                <a:lnTo>
                  <a:pt x="11374" y="8917"/>
                </a:lnTo>
                <a:cubicBezTo>
                  <a:pt x="11500" y="8917"/>
                  <a:pt x="11594" y="8885"/>
                  <a:pt x="11657" y="8759"/>
                </a:cubicBezTo>
                <a:cubicBezTo>
                  <a:pt x="11752" y="8696"/>
                  <a:pt x="11752" y="8570"/>
                  <a:pt x="11689" y="8444"/>
                </a:cubicBezTo>
                <a:cubicBezTo>
                  <a:pt x="11342" y="7499"/>
                  <a:pt x="10429" y="6869"/>
                  <a:pt x="9452" y="6869"/>
                </a:cubicBezTo>
                <a:cubicBezTo>
                  <a:pt x="8538" y="6869"/>
                  <a:pt x="7688" y="7436"/>
                  <a:pt x="7278" y="8255"/>
                </a:cubicBezTo>
                <a:lnTo>
                  <a:pt x="6238" y="8255"/>
                </a:lnTo>
                <a:lnTo>
                  <a:pt x="6238" y="6176"/>
                </a:lnTo>
                <a:lnTo>
                  <a:pt x="8633" y="6176"/>
                </a:lnTo>
                <a:cubicBezTo>
                  <a:pt x="8822" y="6176"/>
                  <a:pt x="8979" y="6018"/>
                  <a:pt x="8979" y="5829"/>
                </a:cubicBezTo>
                <a:cubicBezTo>
                  <a:pt x="8979" y="4506"/>
                  <a:pt x="8192" y="3403"/>
                  <a:pt x="7058" y="2931"/>
                </a:cubicBezTo>
                <a:cubicBezTo>
                  <a:pt x="7341" y="2616"/>
                  <a:pt x="7562" y="2175"/>
                  <a:pt x="7562" y="1670"/>
                </a:cubicBezTo>
                <a:cubicBezTo>
                  <a:pt x="7562" y="725"/>
                  <a:pt x="6806"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18" name="Google Shape;9918;p78"/>
          <p:cNvGrpSpPr/>
          <p:nvPr/>
        </p:nvGrpSpPr>
        <p:grpSpPr>
          <a:xfrm>
            <a:off x="1299432" y="2449119"/>
            <a:ext cx="354527" cy="353587"/>
            <a:chOff x="-35495600" y="2631825"/>
            <a:chExt cx="292225" cy="291450"/>
          </a:xfrm>
        </p:grpSpPr>
        <p:sp>
          <p:nvSpPr>
            <p:cNvPr id="9919" name="Google Shape;9919;p78"/>
            <p:cNvSpPr/>
            <p:nvPr/>
          </p:nvSpPr>
          <p:spPr>
            <a:xfrm>
              <a:off x="-35495600" y="2735025"/>
              <a:ext cx="137075" cy="188250"/>
            </a:xfrm>
            <a:custGeom>
              <a:avLst/>
              <a:gdLst/>
              <a:ahLst/>
              <a:cxnLst/>
              <a:rect l="l" t="t" r="r" b="b"/>
              <a:pathLst>
                <a:path w="5483" h="7530" extrusionOk="0">
                  <a:moveTo>
                    <a:pt x="4443" y="662"/>
                  </a:moveTo>
                  <a:cubicBezTo>
                    <a:pt x="4663" y="662"/>
                    <a:pt x="4821" y="819"/>
                    <a:pt x="4821" y="1040"/>
                  </a:cubicBezTo>
                  <a:lnTo>
                    <a:pt x="4821" y="1386"/>
                  </a:lnTo>
                  <a:lnTo>
                    <a:pt x="662" y="1386"/>
                  </a:lnTo>
                  <a:lnTo>
                    <a:pt x="662" y="1040"/>
                  </a:lnTo>
                  <a:cubicBezTo>
                    <a:pt x="725" y="819"/>
                    <a:pt x="820" y="662"/>
                    <a:pt x="1040" y="662"/>
                  </a:cubicBezTo>
                  <a:close/>
                  <a:moveTo>
                    <a:pt x="4821" y="2048"/>
                  </a:moveTo>
                  <a:lnTo>
                    <a:pt x="4821" y="5482"/>
                  </a:lnTo>
                  <a:lnTo>
                    <a:pt x="662" y="5482"/>
                  </a:lnTo>
                  <a:lnTo>
                    <a:pt x="662" y="2048"/>
                  </a:lnTo>
                  <a:close/>
                  <a:moveTo>
                    <a:pt x="4852" y="6143"/>
                  </a:moveTo>
                  <a:lnTo>
                    <a:pt x="4852" y="6490"/>
                  </a:lnTo>
                  <a:cubicBezTo>
                    <a:pt x="4821" y="6711"/>
                    <a:pt x="4663" y="6868"/>
                    <a:pt x="4506" y="6868"/>
                  </a:cubicBezTo>
                  <a:lnTo>
                    <a:pt x="1072" y="6868"/>
                  </a:lnTo>
                  <a:cubicBezTo>
                    <a:pt x="883" y="6868"/>
                    <a:pt x="725" y="6711"/>
                    <a:pt x="725" y="6490"/>
                  </a:cubicBezTo>
                  <a:lnTo>
                    <a:pt x="725" y="6143"/>
                  </a:lnTo>
                  <a:close/>
                  <a:moveTo>
                    <a:pt x="1040" y="0"/>
                  </a:moveTo>
                  <a:cubicBezTo>
                    <a:pt x="473" y="0"/>
                    <a:pt x="0" y="473"/>
                    <a:pt x="0" y="1040"/>
                  </a:cubicBezTo>
                  <a:lnTo>
                    <a:pt x="0" y="6490"/>
                  </a:lnTo>
                  <a:cubicBezTo>
                    <a:pt x="0" y="7057"/>
                    <a:pt x="473" y="7530"/>
                    <a:pt x="1040" y="7530"/>
                  </a:cubicBezTo>
                  <a:lnTo>
                    <a:pt x="4443" y="7530"/>
                  </a:lnTo>
                  <a:cubicBezTo>
                    <a:pt x="5010" y="7530"/>
                    <a:pt x="5482" y="7057"/>
                    <a:pt x="5482" y="6490"/>
                  </a:cubicBezTo>
                  <a:lnTo>
                    <a:pt x="5482" y="1040"/>
                  </a:lnTo>
                  <a:cubicBezTo>
                    <a:pt x="5482" y="473"/>
                    <a:pt x="5010"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0" name="Google Shape;9920;p78"/>
            <p:cNvSpPr/>
            <p:nvPr/>
          </p:nvSpPr>
          <p:spPr>
            <a:xfrm>
              <a:off x="-35339650" y="2631825"/>
              <a:ext cx="136275" cy="188275"/>
            </a:xfrm>
            <a:custGeom>
              <a:avLst/>
              <a:gdLst/>
              <a:ahLst/>
              <a:cxnLst/>
              <a:rect l="l" t="t" r="r" b="b"/>
              <a:pathLst>
                <a:path w="5451" h="7531" extrusionOk="0">
                  <a:moveTo>
                    <a:pt x="4411" y="662"/>
                  </a:moveTo>
                  <a:cubicBezTo>
                    <a:pt x="4600" y="662"/>
                    <a:pt x="4758" y="820"/>
                    <a:pt x="4758" y="1009"/>
                  </a:cubicBezTo>
                  <a:lnTo>
                    <a:pt x="4758" y="1387"/>
                  </a:lnTo>
                  <a:lnTo>
                    <a:pt x="631" y="1387"/>
                  </a:lnTo>
                  <a:lnTo>
                    <a:pt x="631" y="1009"/>
                  </a:lnTo>
                  <a:cubicBezTo>
                    <a:pt x="631" y="820"/>
                    <a:pt x="788" y="662"/>
                    <a:pt x="977" y="662"/>
                  </a:cubicBezTo>
                  <a:close/>
                  <a:moveTo>
                    <a:pt x="4758" y="2049"/>
                  </a:moveTo>
                  <a:lnTo>
                    <a:pt x="4758" y="5483"/>
                  </a:lnTo>
                  <a:lnTo>
                    <a:pt x="631" y="5483"/>
                  </a:lnTo>
                  <a:lnTo>
                    <a:pt x="631" y="2049"/>
                  </a:lnTo>
                  <a:close/>
                  <a:moveTo>
                    <a:pt x="4789" y="6144"/>
                  </a:moveTo>
                  <a:lnTo>
                    <a:pt x="4789" y="6491"/>
                  </a:lnTo>
                  <a:cubicBezTo>
                    <a:pt x="4758" y="6680"/>
                    <a:pt x="4600" y="6837"/>
                    <a:pt x="4443" y="6837"/>
                  </a:cubicBezTo>
                  <a:lnTo>
                    <a:pt x="1009" y="6837"/>
                  </a:lnTo>
                  <a:cubicBezTo>
                    <a:pt x="820" y="6837"/>
                    <a:pt x="662" y="6680"/>
                    <a:pt x="662" y="6491"/>
                  </a:cubicBezTo>
                  <a:lnTo>
                    <a:pt x="662" y="6144"/>
                  </a:lnTo>
                  <a:close/>
                  <a:moveTo>
                    <a:pt x="1009" y="1"/>
                  </a:moveTo>
                  <a:cubicBezTo>
                    <a:pt x="473" y="1"/>
                    <a:pt x="0" y="473"/>
                    <a:pt x="0" y="1009"/>
                  </a:cubicBezTo>
                  <a:lnTo>
                    <a:pt x="0" y="6491"/>
                  </a:lnTo>
                  <a:cubicBezTo>
                    <a:pt x="0" y="7058"/>
                    <a:pt x="473" y="7531"/>
                    <a:pt x="1009" y="7531"/>
                  </a:cubicBezTo>
                  <a:lnTo>
                    <a:pt x="4443" y="7531"/>
                  </a:lnTo>
                  <a:cubicBezTo>
                    <a:pt x="4978" y="7531"/>
                    <a:pt x="5451" y="7058"/>
                    <a:pt x="5451" y="6491"/>
                  </a:cubicBezTo>
                  <a:lnTo>
                    <a:pt x="5451" y="1009"/>
                  </a:lnTo>
                  <a:cubicBezTo>
                    <a:pt x="5451" y="442"/>
                    <a:pt x="4978"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78"/>
            <p:cNvSpPr/>
            <p:nvPr/>
          </p:nvSpPr>
          <p:spPr>
            <a:xfrm>
              <a:off x="-35341225" y="2836625"/>
              <a:ext cx="85075" cy="84500"/>
            </a:xfrm>
            <a:custGeom>
              <a:avLst/>
              <a:gdLst/>
              <a:ahLst/>
              <a:cxnLst/>
              <a:rect l="l" t="t" r="r" b="b"/>
              <a:pathLst>
                <a:path w="3403" h="3380" extrusionOk="0">
                  <a:moveTo>
                    <a:pt x="3056" y="0"/>
                  </a:moveTo>
                  <a:cubicBezTo>
                    <a:pt x="2836" y="0"/>
                    <a:pt x="2678" y="158"/>
                    <a:pt x="2678" y="347"/>
                  </a:cubicBezTo>
                  <a:lnTo>
                    <a:pt x="2678" y="1008"/>
                  </a:lnTo>
                  <a:cubicBezTo>
                    <a:pt x="2678" y="1575"/>
                    <a:pt x="2206" y="2048"/>
                    <a:pt x="1670" y="2048"/>
                  </a:cubicBezTo>
                  <a:lnTo>
                    <a:pt x="1103" y="2048"/>
                  </a:lnTo>
                  <a:lnTo>
                    <a:pt x="1229" y="1922"/>
                  </a:lnTo>
                  <a:cubicBezTo>
                    <a:pt x="1418" y="1859"/>
                    <a:pt x="1418" y="1638"/>
                    <a:pt x="1261" y="1481"/>
                  </a:cubicBezTo>
                  <a:cubicBezTo>
                    <a:pt x="1213" y="1418"/>
                    <a:pt x="1127" y="1386"/>
                    <a:pt x="1036" y="1386"/>
                  </a:cubicBezTo>
                  <a:cubicBezTo>
                    <a:pt x="946" y="1386"/>
                    <a:pt x="851" y="1418"/>
                    <a:pt x="788" y="1481"/>
                  </a:cubicBezTo>
                  <a:lnTo>
                    <a:pt x="126" y="2142"/>
                  </a:lnTo>
                  <a:cubicBezTo>
                    <a:pt x="0" y="2268"/>
                    <a:pt x="0" y="2521"/>
                    <a:pt x="126" y="2615"/>
                  </a:cubicBezTo>
                  <a:lnTo>
                    <a:pt x="788" y="3308"/>
                  </a:lnTo>
                  <a:cubicBezTo>
                    <a:pt x="851" y="3355"/>
                    <a:pt x="946" y="3379"/>
                    <a:pt x="1036" y="3379"/>
                  </a:cubicBezTo>
                  <a:cubicBezTo>
                    <a:pt x="1127" y="3379"/>
                    <a:pt x="1213" y="3355"/>
                    <a:pt x="1261" y="3308"/>
                  </a:cubicBezTo>
                  <a:cubicBezTo>
                    <a:pt x="1387" y="3182"/>
                    <a:pt x="1387" y="2930"/>
                    <a:pt x="1261" y="2836"/>
                  </a:cubicBezTo>
                  <a:lnTo>
                    <a:pt x="1166" y="2710"/>
                  </a:lnTo>
                  <a:lnTo>
                    <a:pt x="1702" y="2710"/>
                  </a:lnTo>
                  <a:cubicBezTo>
                    <a:pt x="2647" y="2710"/>
                    <a:pt x="3403" y="1953"/>
                    <a:pt x="3403" y="1008"/>
                  </a:cubicBezTo>
                  <a:lnTo>
                    <a:pt x="3403" y="347"/>
                  </a:lnTo>
                  <a:cubicBezTo>
                    <a:pt x="3403" y="158"/>
                    <a:pt x="3245" y="0"/>
                    <a:pt x="30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2" name="Google Shape;9922;p78"/>
            <p:cNvSpPr/>
            <p:nvPr/>
          </p:nvSpPr>
          <p:spPr>
            <a:xfrm>
              <a:off x="-35442050" y="2632625"/>
              <a:ext cx="84300" cy="85075"/>
            </a:xfrm>
            <a:custGeom>
              <a:avLst/>
              <a:gdLst/>
              <a:ahLst/>
              <a:cxnLst/>
              <a:rect l="l" t="t" r="r" b="b"/>
              <a:pathLst>
                <a:path w="3372" h="3403" extrusionOk="0">
                  <a:moveTo>
                    <a:pt x="2348" y="0"/>
                  </a:moveTo>
                  <a:cubicBezTo>
                    <a:pt x="2261" y="0"/>
                    <a:pt x="2175" y="32"/>
                    <a:pt x="2112" y="95"/>
                  </a:cubicBezTo>
                  <a:cubicBezTo>
                    <a:pt x="1986" y="189"/>
                    <a:pt x="1986" y="441"/>
                    <a:pt x="2112" y="567"/>
                  </a:cubicBezTo>
                  <a:lnTo>
                    <a:pt x="2238" y="662"/>
                  </a:lnTo>
                  <a:lnTo>
                    <a:pt x="1671" y="662"/>
                  </a:lnTo>
                  <a:cubicBezTo>
                    <a:pt x="725" y="662"/>
                    <a:pt x="1" y="1418"/>
                    <a:pt x="1" y="2363"/>
                  </a:cubicBezTo>
                  <a:lnTo>
                    <a:pt x="1" y="3025"/>
                  </a:lnTo>
                  <a:cubicBezTo>
                    <a:pt x="1" y="3245"/>
                    <a:pt x="158" y="3403"/>
                    <a:pt x="347" y="3403"/>
                  </a:cubicBezTo>
                  <a:cubicBezTo>
                    <a:pt x="536" y="3403"/>
                    <a:pt x="694" y="3245"/>
                    <a:pt x="694" y="3025"/>
                  </a:cubicBezTo>
                  <a:lnTo>
                    <a:pt x="694" y="2363"/>
                  </a:lnTo>
                  <a:cubicBezTo>
                    <a:pt x="694" y="1828"/>
                    <a:pt x="1166" y="1355"/>
                    <a:pt x="1734" y="1355"/>
                  </a:cubicBezTo>
                  <a:lnTo>
                    <a:pt x="2269" y="1355"/>
                  </a:lnTo>
                  <a:lnTo>
                    <a:pt x="2143" y="1450"/>
                  </a:lnTo>
                  <a:cubicBezTo>
                    <a:pt x="1954" y="1544"/>
                    <a:pt x="1954" y="1765"/>
                    <a:pt x="2112" y="1891"/>
                  </a:cubicBezTo>
                  <a:cubicBezTo>
                    <a:pt x="2175" y="1954"/>
                    <a:pt x="2261" y="1985"/>
                    <a:pt x="2348" y="1985"/>
                  </a:cubicBezTo>
                  <a:cubicBezTo>
                    <a:pt x="2435" y="1985"/>
                    <a:pt x="2521" y="1954"/>
                    <a:pt x="2584" y="1891"/>
                  </a:cubicBezTo>
                  <a:lnTo>
                    <a:pt x="3246" y="1229"/>
                  </a:lnTo>
                  <a:cubicBezTo>
                    <a:pt x="3372" y="1103"/>
                    <a:pt x="3372" y="883"/>
                    <a:pt x="3246" y="756"/>
                  </a:cubicBezTo>
                  <a:lnTo>
                    <a:pt x="2584" y="95"/>
                  </a:lnTo>
                  <a:cubicBezTo>
                    <a:pt x="2521" y="32"/>
                    <a:pt x="2435" y="0"/>
                    <a:pt x="2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3" name="Google Shape;9923;p78"/>
          <p:cNvGrpSpPr/>
          <p:nvPr/>
        </p:nvGrpSpPr>
        <p:grpSpPr>
          <a:xfrm>
            <a:off x="3537081" y="1535527"/>
            <a:ext cx="353587" cy="353587"/>
            <a:chOff x="-33673825" y="1916675"/>
            <a:chExt cx="291450" cy="291450"/>
          </a:xfrm>
        </p:grpSpPr>
        <p:sp>
          <p:nvSpPr>
            <p:cNvPr id="9924" name="Google Shape;9924;p78"/>
            <p:cNvSpPr/>
            <p:nvPr/>
          </p:nvSpPr>
          <p:spPr>
            <a:xfrm>
              <a:off x="-33486375" y="1950550"/>
              <a:ext cx="85875" cy="85075"/>
            </a:xfrm>
            <a:custGeom>
              <a:avLst/>
              <a:gdLst/>
              <a:ahLst/>
              <a:cxnLst/>
              <a:rect l="l" t="t" r="r" b="b"/>
              <a:pathLst>
                <a:path w="3435" h="3403" extrusionOk="0">
                  <a:moveTo>
                    <a:pt x="379" y="0"/>
                  </a:moveTo>
                  <a:cubicBezTo>
                    <a:pt x="158" y="0"/>
                    <a:pt x="1" y="158"/>
                    <a:pt x="1" y="347"/>
                  </a:cubicBezTo>
                  <a:cubicBezTo>
                    <a:pt x="1" y="536"/>
                    <a:pt x="158" y="693"/>
                    <a:pt x="379" y="693"/>
                  </a:cubicBezTo>
                  <a:lnTo>
                    <a:pt x="1072" y="693"/>
                  </a:lnTo>
                  <a:cubicBezTo>
                    <a:pt x="1639" y="693"/>
                    <a:pt x="2111" y="1166"/>
                    <a:pt x="2111" y="1733"/>
                  </a:cubicBezTo>
                  <a:lnTo>
                    <a:pt x="2111" y="2269"/>
                  </a:lnTo>
                  <a:lnTo>
                    <a:pt x="1985" y="2174"/>
                  </a:lnTo>
                  <a:cubicBezTo>
                    <a:pt x="1922" y="2111"/>
                    <a:pt x="1836" y="2080"/>
                    <a:pt x="1749" y="2080"/>
                  </a:cubicBezTo>
                  <a:cubicBezTo>
                    <a:pt x="1663" y="2080"/>
                    <a:pt x="1576" y="2111"/>
                    <a:pt x="1513" y="2174"/>
                  </a:cubicBezTo>
                  <a:cubicBezTo>
                    <a:pt x="1387" y="2269"/>
                    <a:pt x="1387" y="2521"/>
                    <a:pt x="1513" y="2647"/>
                  </a:cubicBezTo>
                  <a:lnTo>
                    <a:pt x="2174" y="3308"/>
                  </a:lnTo>
                  <a:cubicBezTo>
                    <a:pt x="2237" y="3371"/>
                    <a:pt x="2324" y="3403"/>
                    <a:pt x="2411" y="3403"/>
                  </a:cubicBezTo>
                  <a:cubicBezTo>
                    <a:pt x="2497" y="3403"/>
                    <a:pt x="2584" y="3371"/>
                    <a:pt x="2647" y="3308"/>
                  </a:cubicBezTo>
                  <a:lnTo>
                    <a:pt x="3309" y="2647"/>
                  </a:lnTo>
                  <a:cubicBezTo>
                    <a:pt x="3435" y="2521"/>
                    <a:pt x="3435" y="2269"/>
                    <a:pt x="3309" y="2174"/>
                  </a:cubicBezTo>
                  <a:cubicBezTo>
                    <a:pt x="3261" y="2111"/>
                    <a:pt x="3175" y="2080"/>
                    <a:pt x="3084" y="2080"/>
                  </a:cubicBezTo>
                  <a:cubicBezTo>
                    <a:pt x="2994" y="2080"/>
                    <a:pt x="2899" y="2111"/>
                    <a:pt x="2836" y="2174"/>
                  </a:cubicBezTo>
                  <a:lnTo>
                    <a:pt x="2742" y="2269"/>
                  </a:lnTo>
                  <a:lnTo>
                    <a:pt x="2742" y="1733"/>
                  </a:lnTo>
                  <a:cubicBezTo>
                    <a:pt x="2773" y="788"/>
                    <a:pt x="1985"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78"/>
            <p:cNvSpPr/>
            <p:nvPr/>
          </p:nvSpPr>
          <p:spPr>
            <a:xfrm>
              <a:off x="-33605300" y="2122250"/>
              <a:ext cx="85075" cy="85875"/>
            </a:xfrm>
            <a:custGeom>
              <a:avLst/>
              <a:gdLst/>
              <a:ahLst/>
              <a:cxnLst/>
              <a:rect l="l" t="t" r="r" b="b"/>
              <a:pathLst>
                <a:path w="3403" h="3435" extrusionOk="0">
                  <a:moveTo>
                    <a:pt x="1024" y="0"/>
                  </a:moveTo>
                  <a:cubicBezTo>
                    <a:pt x="938" y="0"/>
                    <a:pt x="851" y="32"/>
                    <a:pt x="788" y="95"/>
                  </a:cubicBezTo>
                  <a:lnTo>
                    <a:pt x="126" y="756"/>
                  </a:lnTo>
                  <a:cubicBezTo>
                    <a:pt x="0" y="882"/>
                    <a:pt x="0" y="1134"/>
                    <a:pt x="126" y="1229"/>
                  </a:cubicBezTo>
                  <a:cubicBezTo>
                    <a:pt x="189" y="1292"/>
                    <a:pt x="276" y="1323"/>
                    <a:pt x="363" y="1323"/>
                  </a:cubicBezTo>
                  <a:cubicBezTo>
                    <a:pt x="449" y="1323"/>
                    <a:pt x="536" y="1292"/>
                    <a:pt x="599" y="1229"/>
                  </a:cubicBezTo>
                  <a:lnTo>
                    <a:pt x="725" y="1134"/>
                  </a:lnTo>
                  <a:lnTo>
                    <a:pt x="725" y="1670"/>
                  </a:lnTo>
                  <a:cubicBezTo>
                    <a:pt x="662" y="2174"/>
                    <a:pt x="820" y="2615"/>
                    <a:pt x="1135" y="2930"/>
                  </a:cubicBezTo>
                  <a:cubicBezTo>
                    <a:pt x="1450" y="3245"/>
                    <a:pt x="1891" y="3434"/>
                    <a:pt x="2363" y="3434"/>
                  </a:cubicBezTo>
                  <a:lnTo>
                    <a:pt x="3025" y="3434"/>
                  </a:lnTo>
                  <a:cubicBezTo>
                    <a:pt x="3245" y="3434"/>
                    <a:pt x="3403" y="3277"/>
                    <a:pt x="3403" y="3088"/>
                  </a:cubicBezTo>
                  <a:cubicBezTo>
                    <a:pt x="3403" y="2899"/>
                    <a:pt x="3245" y="2741"/>
                    <a:pt x="3025" y="2741"/>
                  </a:cubicBezTo>
                  <a:lnTo>
                    <a:pt x="2363" y="2741"/>
                  </a:lnTo>
                  <a:cubicBezTo>
                    <a:pt x="1828" y="2741"/>
                    <a:pt x="1355" y="2269"/>
                    <a:pt x="1355" y="1670"/>
                  </a:cubicBezTo>
                  <a:lnTo>
                    <a:pt x="1355" y="1134"/>
                  </a:lnTo>
                  <a:lnTo>
                    <a:pt x="1450" y="1229"/>
                  </a:lnTo>
                  <a:cubicBezTo>
                    <a:pt x="1513" y="1292"/>
                    <a:pt x="1607" y="1323"/>
                    <a:pt x="1698" y="1323"/>
                  </a:cubicBezTo>
                  <a:cubicBezTo>
                    <a:pt x="1788" y="1323"/>
                    <a:pt x="1875" y="1292"/>
                    <a:pt x="1922" y="1229"/>
                  </a:cubicBezTo>
                  <a:cubicBezTo>
                    <a:pt x="2048" y="1134"/>
                    <a:pt x="2048" y="882"/>
                    <a:pt x="1922" y="756"/>
                  </a:cubicBezTo>
                  <a:lnTo>
                    <a:pt x="1261" y="95"/>
                  </a:lnTo>
                  <a:cubicBezTo>
                    <a:pt x="1198" y="32"/>
                    <a:pt x="1111" y="0"/>
                    <a:pt x="10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78"/>
            <p:cNvSpPr/>
            <p:nvPr/>
          </p:nvSpPr>
          <p:spPr>
            <a:xfrm>
              <a:off x="-33673825" y="1916675"/>
              <a:ext cx="189050" cy="189050"/>
            </a:xfrm>
            <a:custGeom>
              <a:avLst/>
              <a:gdLst/>
              <a:ahLst/>
              <a:cxnLst/>
              <a:rect l="l" t="t" r="r" b="b"/>
              <a:pathLst>
                <a:path w="7562" h="7562" extrusionOk="0">
                  <a:moveTo>
                    <a:pt x="3718" y="694"/>
                  </a:moveTo>
                  <a:cubicBezTo>
                    <a:pt x="5073" y="694"/>
                    <a:pt x="6144" y="1733"/>
                    <a:pt x="6144" y="3088"/>
                  </a:cubicBezTo>
                  <a:lnTo>
                    <a:pt x="6144" y="3466"/>
                  </a:lnTo>
                  <a:lnTo>
                    <a:pt x="6081" y="3466"/>
                  </a:lnTo>
                  <a:cubicBezTo>
                    <a:pt x="5986" y="2647"/>
                    <a:pt x="5262" y="2048"/>
                    <a:pt x="4411" y="2048"/>
                  </a:cubicBezTo>
                  <a:lnTo>
                    <a:pt x="3025" y="2048"/>
                  </a:lnTo>
                  <a:cubicBezTo>
                    <a:pt x="2143" y="2048"/>
                    <a:pt x="1481" y="2678"/>
                    <a:pt x="1324" y="3466"/>
                  </a:cubicBezTo>
                  <a:lnTo>
                    <a:pt x="1292" y="3466"/>
                  </a:lnTo>
                  <a:lnTo>
                    <a:pt x="1292" y="3088"/>
                  </a:lnTo>
                  <a:cubicBezTo>
                    <a:pt x="1355" y="1733"/>
                    <a:pt x="2426" y="694"/>
                    <a:pt x="3718" y="694"/>
                  </a:cubicBezTo>
                  <a:close/>
                  <a:moveTo>
                    <a:pt x="4380" y="2741"/>
                  </a:moveTo>
                  <a:cubicBezTo>
                    <a:pt x="4915" y="2741"/>
                    <a:pt x="5388" y="3214"/>
                    <a:pt x="5388" y="3750"/>
                  </a:cubicBezTo>
                  <a:lnTo>
                    <a:pt x="5388" y="4096"/>
                  </a:lnTo>
                  <a:lnTo>
                    <a:pt x="5388" y="4096"/>
                  </a:lnTo>
                  <a:cubicBezTo>
                    <a:pt x="5153" y="4096"/>
                    <a:pt x="4907" y="4091"/>
                    <a:pt x="4821" y="4033"/>
                  </a:cubicBezTo>
                  <a:cubicBezTo>
                    <a:pt x="4789" y="4002"/>
                    <a:pt x="4758" y="3876"/>
                    <a:pt x="4758" y="3781"/>
                  </a:cubicBezTo>
                  <a:cubicBezTo>
                    <a:pt x="4758" y="3592"/>
                    <a:pt x="4600" y="3435"/>
                    <a:pt x="4411" y="3435"/>
                  </a:cubicBezTo>
                  <a:cubicBezTo>
                    <a:pt x="4191" y="3435"/>
                    <a:pt x="4033" y="3592"/>
                    <a:pt x="4033" y="3781"/>
                  </a:cubicBezTo>
                  <a:cubicBezTo>
                    <a:pt x="4033" y="3876"/>
                    <a:pt x="4033" y="4002"/>
                    <a:pt x="3970" y="4033"/>
                  </a:cubicBezTo>
                  <a:cubicBezTo>
                    <a:pt x="3907" y="4096"/>
                    <a:pt x="3757" y="4112"/>
                    <a:pt x="3576" y="4112"/>
                  </a:cubicBezTo>
                  <a:cubicBezTo>
                    <a:pt x="3395" y="4112"/>
                    <a:pt x="3182" y="4096"/>
                    <a:pt x="2993" y="4096"/>
                  </a:cubicBezTo>
                  <a:lnTo>
                    <a:pt x="1954" y="4096"/>
                  </a:lnTo>
                  <a:lnTo>
                    <a:pt x="1954" y="3750"/>
                  </a:lnTo>
                  <a:cubicBezTo>
                    <a:pt x="1954" y="3214"/>
                    <a:pt x="2426" y="2741"/>
                    <a:pt x="2993" y="2741"/>
                  </a:cubicBezTo>
                  <a:close/>
                  <a:moveTo>
                    <a:pt x="1009" y="4065"/>
                  </a:moveTo>
                  <a:cubicBezTo>
                    <a:pt x="1198" y="4065"/>
                    <a:pt x="1355" y="4222"/>
                    <a:pt x="1355" y="4411"/>
                  </a:cubicBezTo>
                  <a:lnTo>
                    <a:pt x="1355" y="5104"/>
                  </a:lnTo>
                  <a:cubicBezTo>
                    <a:pt x="1355" y="5293"/>
                    <a:pt x="1198" y="5451"/>
                    <a:pt x="1009" y="5451"/>
                  </a:cubicBezTo>
                  <a:cubicBezTo>
                    <a:pt x="820" y="5451"/>
                    <a:pt x="662" y="5293"/>
                    <a:pt x="662" y="5104"/>
                  </a:cubicBezTo>
                  <a:lnTo>
                    <a:pt x="662" y="4411"/>
                  </a:lnTo>
                  <a:cubicBezTo>
                    <a:pt x="662" y="4222"/>
                    <a:pt x="820" y="4065"/>
                    <a:pt x="1009" y="4065"/>
                  </a:cubicBezTo>
                  <a:close/>
                  <a:moveTo>
                    <a:pt x="6490" y="4096"/>
                  </a:moveTo>
                  <a:cubicBezTo>
                    <a:pt x="6679" y="4096"/>
                    <a:pt x="6837" y="4254"/>
                    <a:pt x="6837" y="4474"/>
                  </a:cubicBezTo>
                  <a:lnTo>
                    <a:pt x="6837" y="5136"/>
                  </a:lnTo>
                  <a:cubicBezTo>
                    <a:pt x="6837" y="5325"/>
                    <a:pt x="6679" y="5482"/>
                    <a:pt x="6490" y="5482"/>
                  </a:cubicBezTo>
                  <a:cubicBezTo>
                    <a:pt x="6301" y="5482"/>
                    <a:pt x="6144" y="5325"/>
                    <a:pt x="6144" y="5136"/>
                  </a:cubicBezTo>
                  <a:lnTo>
                    <a:pt x="6144" y="4474"/>
                  </a:lnTo>
                  <a:cubicBezTo>
                    <a:pt x="6144" y="4254"/>
                    <a:pt x="6301" y="4096"/>
                    <a:pt x="6490" y="4096"/>
                  </a:cubicBezTo>
                  <a:close/>
                  <a:moveTo>
                    <a:pt x="4443" y="4537"/>
                  </a:moveTo>
                  <a:cubicBezTo>
                    <a:pt x="4726" y="4726"/>
                    <a:pt x="5073" y="4789"/>
                    <a:pt x="5451" y="4789"/>
                  </a:cubicBezTo>
                  <a:lnTo>
                    <a:pt x="5451" y="5136"/>
                  </a:lnTo>
                  <a:cubicBezTo>
                    <a:pt x="5451" y="6081"/>
                    <a:pt x="4663" y="6869"/>
                    <a:pt x="3718" y="6869"/>
                  </a:cubicBezTo>
                  <a:cubicBezTo>
                    <a:pt x="2773" y="6869"/>
                    <a:pt x="2048" y="6081"/>
                    <a:pt x="2048" y="5136"/>
                  </a:cubicBezTo>
                  <a:lnTo>
                    <a:pt x="2048" y="4789"/>
                  </a:lnTo>
                  <a:lnTo>
                    <a:pt x="3056" y="4789"/>
                  </a:lnTo>
                  <a:cubicBezTo>
                    <a:pt x="3148" y="4789"/>
                    <a:pt x="3241" y="4790"/>
                    <a:pt x="3333" y="4790"/>
                  </a:cubicBezTo>
                  <a:cubicBezTo>
                    <a:pt x="3749" y="4790"/>
                    <a:pt x="4159" y="4769"/>
                    <a:pt x="4443" y="4537"/>
                  </a:cubicBezTo>
                  <a:close/>
                  <a:moveTo>
                    <a:pt x="3813" y="1"/>
                  </a:moveTo>
                  <a:cubicBezTo>
                    <a:pt x="2111" y="1"/>
                    <a:pt x="725" y="1387"/>
                    <a:pt x="725" y="3088"/>
                  </a:cubicBezTo>
                  <a:lnTo>
                    <a:pt x="725" y="3466"/>
                  </a:lnTo>
                  <a:cubicBezTo>
                    <a:pt x="347" y="3624"/>
                    <a:pt x="63" y="4002"/>
                    <a:pt x="63" y="4474"/>
                  </a:cubicBezTo>
                  <a:lnTo>
                    <a:pt x="63" y="5136"/>
                  </a:lnTo>
                  <a:cubicBezTo>
                    <a:pt x="0" y="5671"/>
                    <a:pt x="473" y="6144"/>
                    <a:pt x="1009" y="6144"/>
                  </a:cubicBezTo>
                  <a:cubicBezTo>
                    <a:pt x="1198" y="6144"/>
                    <a:pt x="1355" y="6112"/>
                    <a:pt x="1513" y="6049"/>
                  </a:cubicBezTo>
                  <a:cubicBezTo>
                    <a:pt x="1891" y="6932"/>
                    <a:pt x="2741" y="7562"/>
                    <a:pt x="3781" y="7562"/>
                  </a:cubicBezTo>
                  <a:cubicBezTo>
                    <a:pt x="4789" y="7562"/>
                    <a:pt x="5671" y="6932"/>
                    <a:pt x="6018" y="6049"/>
                  </a:cubicBezTo>
                  <a:cubicBezTo>
                    <a:pt x="6175" y="6112"/>
                    <a:pt x="6333" y="6144"/>
                    <a:pt x="6522" y="6144"/>
                  </a:cubicBezTo>
                  <a:cubicBezTo>
                    <a:pt x="7089" y="6144"/>
                    <a:pt x="7562" y="5671"/>
                    <a:pt x="7562" y="5136"/>
                  </a:cubicBezTo>
                  <a:lnTo>
                    <a:pt x="7562" y="4474"/>
                  </a:lnTo>
                  <a:cubicBezTo>
                    <a:pt x="7562" y="4033"/>
                    <a:pt x="7278" y="3624"/>
                    <a:pt x="6869" y="3466"/>
                  </a:cubicBezTo>
                  <a:lnTo>
                    <a:pt x="6869" y="3088"/>
                  </a:lnTo>
                  <a:cubicBezTo>
                    <a:pt x="6869" y="1387"/>
                    <a:pt x="551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78"/>
            <p:cNvSpPr/>
            <p:nvPr/>
          </p:nvSpPr>
          <p:spPr>
            <a:xfrm>
              <a:off x="-33503700" y="2070250"/>
              <a:ext cx="121325" cy="137075"/>
            </a:xfrm>
            <a:custGeom>
              <a:avLst/>
              <a:gdLst/>
              <a:ahLst/>
              <a:cxnLst/>
              <a:rect l="l" t="t" r="r" b="b"/>
              <a:pathLst>
                <a:path w="4853" h="5483" extrusionOk="0">
                  <a:moveTo>
                    <a:pt x="3151" y="726"/>
                  </a:moveTo>
                  <a:cubicBezTo>
                    <a:pt x="3687" y="726"/>
                    <a:pt x="4222" y="1198"/>
                    <a:pt x="4222" y="1734"/>
                  </a:cubicBezTo>
                  <a:lnTo>
                    <a:pt x="4222" y="2112"/>
                  </a:lnTo>
                  <a:cubicBezTo>
                    <a:pt x="3939" y="2112"/>
                    <a:pt x="3655" y="2112"/>
                    <a:pt x="3592" y="1986"/>
                  </a:cubicBezTo>
                  <a:cubicBezTo>
                    <a:pt x="3529" y="1954"/>
                    <a:pt x="3498" y="1828"/>
                    <a:pt x="3498" y="1734"/>
                  </a:cubicBezTo>
                  <a:cubicBezTo>
                    <a:pt x="3498" y="1545"/>
                    <a:pt x="3340" y="1387"/>
                    <a:pt x="3151" y="1387"/>
                  </a:cubicBezTo>
                  <a:cubicBezTo>
                    <a:pt x="2962" y="1387"/>
                    <a:pt x="2804" y="1545"/>
                    <a:pt x="2804" y="1734"/>
                  </a:cubicBezTo>
                  <a:cubicBezTo>
                    <a:pt x="2804" y="1828"/>
                    <a:pt x="2804" y="1954"/>
                    <a:pt x="2710" y="1986"/>
                  </a:cubicBezTo>
                  <a:cubicBezTo>
                    <a:pt x="2636" y="2060"/>
                    <a:pt x="2487" y="2090"/>
                    <a:pt x="2312" y="2090"/>
                  </a:cubicBezTo>
                  <a:cubicBezTo>
                    <a:pt x="2189" y="2090"/>
                    <a:pt x="2053" y="2075"/>
                    <a:pt x="1922" y="2049"/>
                  </a:cubicBezTo>
                  <a:lnTo>
                    <a:pt x="694" y="2049"/>
                  </a:lnTo>
                  <a:lnTo>
                    <a:pt x="694" y="1734"/>
                  </a:lnTo>
                  <a:cubicBezTo>
                    <a:pt x="694" y="1198"/>
                    <a:pt x="1166" y="726"/>
                    <a:pt x="1765" y="726"/>
                  </a:cubicBezTo>
                  <a:close/>
                  <a:moveTo>
                    <a:pt x="3151" y="2521"/>
                  </a:moveTo>
                  <a:cubicBezTo>
                    <a:pt x="3435" y="2742"/>
                    <a:pt x="3813" y="2773"/>
                    <a:pt x="4222" y="2773"/>
                  </a:cubicBezTo>
                  <a:lnTo>
                    <a:pt x="4222" y="3120"/>
                  </a:lnTo>
                  <a:cubicBezTo>
                    <a:pt x="4159" y="4034"/>
                    <a:pt x="3372" y="4853"/>
                    <a:pt x="2426" y="4853"/>
                  </a:cubicBezTo>
                  <a:cubicBezTo>
                    <a:pt x="1481" y="4853"/>
                    <a:pt x="694" y="4065"/>
                    <a:pt x="694" y="3120"/>
                  </a:cubicBezTo>
                  <a:lnTo>
                    <a:pt x="694" y="2773"/>
                  </a:lnTo>
                  <a:lnTo>
                    <a:pt x="1765" y="2773"/>
                  </a:lnTo>
                  <a:cubicBezTo>
                    <a:pt x="1859" y="2773"/>
                    <a:pt x="2836" y="2773"/>
                    <a:pt x="3151" y="2521"/>
                  </a:cubicBezTo>
                  <a:close/>
                  <a:moveTo>
                    <a:pt x="1733" y="1"/>
                  </a:moveTo>
                  <a:cubicBezTo>
                    <a:pt x="788" y="1"/>
                    <a:pt x="1" y="757"/>
                    <a:pt x="1" y="1702"/>
                  </a:cubicBezTo>
                  <a:lnTo>
                    <a:pt x="1" y="3088"/>
                  </a:lnTo>
                  <a:cubicBezTo>
                    <a:pt x="1" y="4412"/>
                    <a:pt x="1103" y="5483"/>
                    <a:pt x="2395" y="5483"/>
                  </a:cubicBezTo>
                  <a:cubicBezTo>
                    <a:pt x="3750" y="5483"/>
                    <a:pt x="4789" y="4380"/>
                    <a:pt x="4789" y="3088"/>
                  </a:cubicBezTo>
                  <a:lnTo>
                    <a:pt x="4789" y="1702"/>
                  </a:lnTo>
                  <a:cubicBezTo>
                    <a:pt x="4852" y="789"/>
                    <a:pt x="4065"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8" name="Google Shape;9928;p78"/>
          <p:cNvGrpSpPr/>
          <p:nvPr/>
        </p:nvGrpSpPr>
        <p:grpSpPr>
          <a:xfrm>
            <a:off x="3534700" y="1993107"/>
            <a:ext cx="358349" cy="355468"/>
            <a:chOff x="-33676975" y="2275050"/>
            <a:chExt cx="295375" cy="293000"/>
          </a:xfrm>
        </p:grpSpPr>
        <p:sp>
          <p:nvSpPr>
            <p:cNvPr id="9929" name="Google Shape;9929;p78"/>
            <p:cNvSpPr/>
            <p:nvPr/>
          </p:nvSpPr>
          <p:spPr>
            <a:xfrm>
              <a:off x="-33502125" y="2309700"/>
              <a:ext cx="52800" cy="67750"/>
            </a:xfrm>
            <a:custGeom>
              <a:avLst/>
              <a:gdLst/>
              <a:ahLst/>
              <a:cxnLst/>
              <a:rect l="l" t="t" r="r" b="b"/>
              <a:pathLst>
                <a:path w="2112" h="2710" extrusionOk="0">
                  <a:moveTo>
                    <a:pt x="1040" y="0"/>
                  </a:moveTo>
                  <a:cubicBezTo>
                    <a:pt x="473" y="0"/>
                    <a:pt x="1" y="473"/>
                    <a:pt x="1" y="1040"/>
                  </a:cubicBezTo>
                  <a:cubicBezTo>
                    <a:pt x="1" y="1229"/>
                    <a:pt x="158" y="1387"/>
                    <a:pt x="379" y="1387"/>
                  </a:cubicBezTo>
                  <a:cubicBezTo>
                    <a:pt x="568" y="1387"/>
                    <a:pt x="725" y="1229"/>
                    <a:pt x="725" y="1040"/>
                  </a:cubicBezTo>
                  <a:cubicBezTo>
                    <a:pt x="725" y="820"/>
                    <a:pt x="883" y="662"/>
                    <a:pt x="1072" y="662"/>
                  </a:cubicBezTo>
                  <a:cubicBezTo>
                    <a:pt x="1261" y="662"/>
                    <a:pt x="1450" y="820"/>
                    <a:pt x="1450" y="1040"/>
                  </a:cubicBezTo>
                  <a:cubicBezTo>
                    <a:pt x="1450" y="1198"/>
                    <a:pt x="1355" y="1292"/>
                    <a:pt x="1198" y="1355"/>
                  </a:cubicBezTo>
                  <a:cubicBezTo>
                    <a:pt x="914" y="1418"/>
                    <a:pt x="725" y="1702"/>
                    <a:pt x="725" y="1985"/>
                  </a:cubicBezTo>
                  <a:lnTo>
                    <a:pt x="725" y="2363"/>
                  </a:lnTo>
                  <a:cubicBezTo>
                    <a:pt x="725" y="2552"/>
                    <a:pt x="883" y="2710"/>
                    <a:pt x="1072" y="2710"/>
                  </a:cubicBezTo>
                  <a:cubicBezTo>
                    <a:pt x="1292" y="2710"/>
                    <a:pt x="1450" y="2552"/>
                    <a:pt x="1450" y="2363"/>
                  </a:cubicBezTo>
                  <a:lnTo>
                    <a:pt x="1450" y="1985"/>
                  </a:lnTo>
                  <a:cubicBezTo>
                    <a:pt x="1828" y="1828"/>
                    <a:pt x="2111" y="1418"/>
                    <a:pt x="2111" y="977"/>
                  </a:cubicBezTo>
                  <a:cubicBezTo>
                    <a:pt x="2048" y="473"/>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78"/>
            <p:cNvSpPr/>
            <p:nvPr/>
          </p:nvSpPr>
          <p:spPr>
            <a:xfrm>
              <a:off x="-33484800" y="2395550"/>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62"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78"/>
            <p:cNvSpPr/>
            <p:nvPr/>
          </p:nvSpPr>
          <p:spPr>
            <a:xfrm>
              <a:off x="-33676975" y="2275050"/>
              <a:ext cx="295375" cy="293000"/>
            </a:xfrm>
            <a:custGeom>
              <a:avLst/>
              <a:gdLst/>
              <a:ahLst/>
              <a:cxnLst/>
              <a:rect l="l" t="t" r="r" b="b"/>
              <a:pathLst>
                <a:path w="11815" h="11720" extrusionOk="0">
                  <a:moveTo>
                    <a:pt x="8034" y="725"/>
                  </a:moveTo>
                  <a:cubicBezTo>
                    <a:pt x="9735" y="725"/>
                    <a:pt x="11090" y="2080"/>
                    <a:pt x="11090" y="3781"/>
                  </a:cubicBezTo>
                  <a:cubicBezTo>
                    <a:pt x="11090" y="5482"/>
                    <a:pt x="9735" y="6868"/>
                    <a:pt x="8034" y="6868"/>
                  </a:cubicBezTo>
                  <a:cubicBezTo>
                    <a:pt x="6333" y="6868"/>
                    <a:pt x="4947" y="5482"/>
                    <a:pt x="4947" y="3781"/>
                  </a:cubicBezTo>
                  <a:cubicBezTo>
                    <a:pt x="4947" y="2080"/>
                    <a:pt x="6333" y="725"/>
                    <a:pt x="8034" y="725"/>
                  </a:cubicBezTo>
                  <a:close/>
                  <a:moveTo>
                    <a:pt x="5104" y="6207"/>
                  </a:moveTo>
                  <a:cubicBezTo>
                    <a:pt x="5262" y="6364"/>
                    <a:pt x="5419" y="6553"/>
                    <a:pt x="5577" y="6679"/>
                  </a:cubicBezTo>
                  <a:lnTo>
                    <a:pt x="5325" y="6931"/>
                  </a:lnTo>
                  <a:cubicBezTo>
                    <a:pt x="5262" y="6994"/>
                    <a:pt x="5167" y="7026"/>
                    <a:pt x="5077" y="7026"/>
                  </a:cubicBezTo>
                  <a:cubicBezTo>
                    <a:pt x="4986" y="7026"/>
                    <a:pt x="4899" y="6994"/>
                    <a:pt x="4852" y="6931"/>
                  </a:cubicBezTo>
                  <a:cubicBezTo>
                    <a:pt x="4726" y="6805"/>
                    <a:pt x="4726" y="6585"/>
                    <a:pt x="4852" y="6459"/>
                  </a:cubicBezTo>
                  <a:lnTo>
                    <a:pt x="5104" y="6207"/>
                  </a:lnTo>
                  <a:close/>
                  <a:moveTo>
                    <a:pt x="3104" y="8380"/>
                  </a:moveTo>
                  <a:cubicBezTo>
                    <a:pt x="3190" y="8380"/>
                    <a:pt x="3277" y="8412"/>
                    <a:pt x="3340" y="8475"/>
                  </a:cubicBezTo>
                  <a:cubicBezTo>
                    <a:pt x="3466" y="8601"/>
                    <a:pt x="3466" y="8822"/>
                    <a:pt x="3340" y="8948"/>
                  </a:cubicBezTo>
                  <a:lnTo>
                    <a:pt x="1387" y="10932"/>
                  </a:lnTo>
                  <a:cubicBezTo>
                    <a:pt x="1324" y="10980"/>
                    <a:pt x="1229" y="11003"/>
                    <a:pt x="1139" y="11003"/>
                  </a:cubicBezTo>
                  <a:cubicBezTo>
                    <a:pt x="1048" y="11003"/>
                    <a:pt x="961" y="10980"/>
                    <a:pt x="914" y="10932"/>
                  </a:cubicBezTo>
                  <a:cubicBezTo>
                    <a:pt x="788" y="10806"/>
                    <a:pt x="788" y="10554"/>
                    <a:pt x="914" y="10460"/>
                  </a:cubicBezTo>
                  <a:lnTo>
                    <a:pt x="2867" y="8475"/>
                  </a:lnTo>
                  <a:cubicBezTo>
                    <a:pt x="2930" y="8412"/>
                    <a:pt x="3017" y="8380"/>
                    <a:pt x="3104" y="8380"/>
                  </a:cubicBezTo>
                  <a:close/>
                  <a:moveTo>
                    <a:pt x="8034" y="0"/>
                  </a:moveTo>
                  <a:cubicBezTo>
                    <a:pt x="5955" y="0"/>
                    <a:pt x="4285" y="1701"/>
                    <a:pt x="4285" y="3749"/>
                  </a:cubicBezTo>
                  <a:cubicBezTo>
                    <a:pt x="4285" y="4411"/>
                    <a:pt x="4443" y="5041"/>
                    <a:pt x="4758" y="5608"/>
                  </a:cubicBezTo>
                  <a:lnTo>
                    <a:pt x="4380" y="5986"/>
                  </a:lnTo>
                  <a:cubicBezTo>
                    <a:pt x="4065" y="6301"/>
                    <a:pt x="3970" y="6774"/>
                    <a:pt x="4159" y="7183"/>
                  </a:cubicBezTo>
                  <a:lnTo>
                    <a:pt x="3529" y="7813"/>
                  </a:lnTo>
                  <a:cubicBezTo>
                    <a:pt x="3387" y="7743"/>
                    <a:pt x="3232" y="7707"/>
                    <a:pt x="3077" y="7707"/>
                  </a:cubicBezTo>
                  <a:cubicBezTo>
                    <a:pt x="2819" y="7707"/>
                    <a:pt x="2560" y="7806"/>
                    <a:pt x="2363" y="8002"/>
                  </a:cubicBezTo>
                  <a:lnTo>
                    <a:pt x="378" y="9987"/>
                  </a:lnTo>
                  <a:cubicBezTo>
                    <a:pt x="0" y="10365"/>
                    <a:pt x="0" y="11027"/>
                    <a:pt x="378" y="11436"/>
                  </a:cubicBezTo>
                  <a:cubicBezTo>
                    <a:pt x="583" y="11625"/>
                    <a:pt x="851" y="11720"/>
                    <a:pt x="1119" y="11720"/>
                  </a:cubicBezTo>
                  <a:cubicBezTo>
                    <a:pt x="1387" y="11720"/>
                    <a:pt x="1654" y="11625"/>
                    <a:pt x="1859" y="11436"/>
                  </a:cubicBezTo>
                  <a:lnTo>
                    <a:pt x="3813" y="9452"/>
                  </a:lnTo>
                  <a:cubicBezTo>
                    <a:pt x="4128" y="9137"/>
                    <a:pt x="4222" y="8664"/>
                    <a:pt x="4002" y="8286"/>
                  </a:cubicBezTo>
                  <a:lnTo>
                    <a:pt x="4632" y="7656"/>
                  </a:lnTo>
                  <a:cubicBezTo>
                    <a:pt x="4782" y="7725"/>
                    <a:pt x="4940" y="7761"/>
                    <a:pt x="5097" y="7761"/>
                  </a:cubicBezTo>
                  <a:cubicBezTo>
                    <a:pt x="5367" y="7761"/>
                    <a:pt x="5629" y="7655"/>
                    <a:pt x="5829" y="7435"/>
                  </a:cubicBezTo>
                  <a:lnTo>
                    <a:pt x="6207" y="7057"/>
                  </a:lnTo>
                  <a:cubicBezTo>
                    <a:pt x="6774" y="7372"/>
                    <a:pt x="7404" y="7530"/>
                    <a:pt x="8066" y="7530"/>
                  </a:cubicBezTo>
                  <a:cubicBezTo>
                    <a:pt x="10145" y="7530"/>
                    <a:pt x="11815" y="5829"/>
                    <a:pt x="11815" y="3781"/>
                  </a:cubicBezTo>
                  <a:cubicBezTo>
                    <a:pt x="11815" y="1733"/>
                    <a:pt x="10082" y="0"/>
                    <a:pt x="80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32" name="Google Shape;9932;p78"/>
          <p:cNvGrpSpPr/>
          <p:nvPr/>
        </p:nvGrpSpPr>
        <p:grpSpPr>
          <a:xfrm>
            <a:off x="3537081" y="2448406"/>
            <a:ext cx="353587" cy="355013"/>
            <a:chOff x="-33673825" y="2634975"/>
            <a:chExt cx="291450" cy="292625"/>
          </a:xfrm>
        </p:grpSpPr>
        <p:sp>
          <p:nvSpPr>
            <p:cNvPr id="9933" name="Google Shape;9933;p78"/>
            <p:cNvSpPr/>
            <p:nvPr/>
          </p:nvSpPr>
          <p:spPr>
            <a:xfrm>
              <a:off x="-33673825" y="2634975"/>
              <a:ext cx="291450" cy="292625"/>
            </a:xfrm>
            <a:custGeom>
              <a:avLst/>
              <a:gdLst/>
              <a:ahLst/>
              <a:cxnLst/>
              <a:rect l="l" t="t" r="r" b="b"/>
              <a:pathLst>
                <a:path w="11658" h="11705" extrusionOk="0">
                  <a:moveTo>
                    <a:pt x="5829" y="662"/>
                  </a:moveTo>
                  <a:cubicBezTo>
                    <a:pt x="6459" y="662"/>
                    <a:pt x="7089" y="1261"/>
                    <a:pt x="7562" y="2238"/>
                  </a:cubicBezTo>
                  <a:cubicBezTo>
                    <a:pt x="7310" y="2364"/>
                    <a:pt x="7152" y="2553"/>
                    <a:pt x="7026" y="2773"/>
                  </a:cubicBezTo>
                  <a:cubicBezTo>
                    <a:pt x="6648" y="2742"/>
                    <a:pt x="6238" y="2710"/>
                    <a:pt x="5860" y="2710"/>
                  </a:cubicBezTo>
                  <a:cubicBezTo>
                    <a:pt x="5451" y="2710"/>
                    <a:pt x="5041" y="2742"/>
                    <a:pt x="4663" y="2773"/>
                  </a:cubicBezTo>
                  <a:cubicBezTo>
                    <a:pt x="4569" y="2553"/>
                    <a:pt x="4348" y="2364"/>
                    <a:pt x="4159" y="2238"/>
                  </a:cubicBezTo>
                  <a:cubicBezTo>
                    <a:pt x="4569" y="1261"/>
                    <a:pt x="5199" y="662"/>
                    <a:pt x="5829" y="662"/>
                  </a:cubicBezTo>
                  <a:close/>
                  <a:moveTo>
                    <a:pt x="3403" y="2742"/>
                  </a:moveTo>
                  <a:cubicBezTo>
                    <a:pt x="3813" y="2742"/>
                    <a:pt x="4096" y="3057"/>
                    <a:pt x="4096" y="3403"/>
                  </a:cubicBezTo>
                  <a:cubicBezTo>
                    <a:pt x="4096" y="3750"/>
                    <a:pt x="3781" y="4097"/>
                    <a:pt x="3403" y="4097"/>
                  </a:cubicBezTo>
                  <a:cubicBezTo>
                    <a:pt x="3025" y="4097"/>
                    <a:pt x="2741" y="3750"/>
                    <a:pt x="2741" y="3403"/>
                  </a:cubicBezTo>
                  <a:cubicBezTo>
                    <a:pt x="2741" y="3057"/>
                    <a:pt x="3025" y="2742"/>
                    <a:pt x="3403" y="2742"/>
                  </a:cubicBezTo>
                  <a:close/>
                  <a:moveTo>
                    <a:pt x="7562" y="946"/>
                  </a:moveTo>
                  <a:cubicBezTo>
                    <a:pt x="9011" y="1482"/>
                    <a:pt x="10145" y="2616"/>
                    <a:pt x="10649" y="4097"/>
                  </a:cubicBezTo>
                  <a:cubicBezTo>
                    <a:pt x="10334" y="3844"/>
                    <a:pt x="9988" y="3655"/>
                    <a:pt x="9609" y="3466"/>
                  </a:cubicBezTo>
                  <a:lnTo>
                    <a:pt x="9609" y="3403"/>
                  </a:lnTo>
                  <a:cubicBezTo>
                    <a:pt x="9609" y="2679"/>
                    <a:pt x="8979" y="2049"/>
                    <a:pt x="8223" y="2049"/>
                  </a:cubicBezTo>
                  <a:lnTo>
                    <a:pt x="8192" y="2049"/>
                  </a:lnTo>
                  <a:cubicBezTo>
                    <a:pt x="7971" y="1608"/>
                    <a:pt x="7782" y="1261"/>
                    <a:pt x="7562" y="946"/>
                  </a:cubicBezTo>
                  <a:close/>
                  <a:moveTo>
                    <a:pt x="4096" y="978"/>
                  </a:moveTo>
                  <a:lnTo>
                    <a:pt x="4096" y="978"/>
                  </a:lnTo>
                  <a:cubicBezTo>
                    <a:pt x="3844" y="1293"/>
                    <a:pt x="3624" y="1639"/>
                    <a:pt x="3466" y="2080"/>
                  </a:cubicBezTo>
                  <a:lnTo>
                    <a:pt x="3403" y="2080"/>
                  </a:lnTo>
                  <a:cubicBezTo>
                    <a:pt x="2678" y="2080"/>
                    <a:pt x="2048" y="2710"/>
                    <a:pt x="2048" y="3466"/>
                  </a:cubicBezTo>
                  <a:lnTo>
                    <a:pt x="2048" y="3498"/>
                  </a:lnTo>
                  <a:cubicBezTo>
                    <a:pt x="1639" y="3687"/>
                    <a:pt x="1292" y="3876"/>
                    <a:pt x="977" y="4128"/>
                  </a:cubicBezTo>
                  <a:cubicBezTo>
                    <a:pt x="1481" y="2616"/>
                    <a:pt x="2615" y="1482"/>
                    <a:pt x="4096" y="978"/>
                  </a:cubicBezTo>
                  <a:close/>
                  <a:moveTo>
                    <a:pt x="8223" y="2773"/>
                  </a:moveTo>
                  <a:cubicBezTo>
                    <a:pt x="8601" y="2773"/>
                    <a:pt x="8885" y="3088"/>
                    <a:pt x="8885" y="3466"/>
                  </a:cubicBezTo>
                  <a:cubicBezTo>
                    <a:pt x="8885" y="3813"/>
                    <a:pt x="8601" y="4128"/>
                    <a:pt x="8223" y="4128"/>
                  </a:cubicBezTo>
                  <a:cubicBezTo>
                    <a:pt x="7814" y="4128"/>
                    <a:pt x="7562" y="3813"/>
                    <a:pt x="7562" y="3466"/>
                  </a:cubicBezTo>
                  <a:cubicBezTo>
                    <a:pt x="7562" y="3088"/>
                    <a:pt x="7877" y="2773"/>
                    <a:pt x="8223" y="2773"/>
                  </a:cubicBezTo>
                  <a:close/>
                  <a:moveTo>
                    <a:pt x="9452" y="4160"/>
                  </a:moveTo>
                  <a:cubicBezTo>
                    <a:pt x="10429" y="4632"/>
                    <a:pt x="11027" y="5262"/>
                    <a:pt x="11027" y="5892"/>
                  </a:cubicBezTo>
                  <a:cubicBezTo>
                    <a:pt x="10964" y="5924"/>
                    <a:pt x="10933" y="6050"/>
                    <a:pt x="10933" y="6176"/>
                  </a:cubicBezTo>
                  <a:cubicBezTo>
                    <a:pt x="10492" y="5735"/>
                    <a:pt x="9925" y="5514"/>
                    <a:pt x="9294" y="5514"/>
                  </a:cubicBezTo>
                  <a:cubicBezTo>
                    <a:pt x="9168" y="5514"/>
                    <a:pt x="9042" y="5514"/>
                    <a:pt x="8916" y="5546"/>
                  </a:cubicBezTo>
                  <a:cubicBezTo>
                    <a:pt x="8916" y="5231"/>
                    <a:pt x="8885" y="4947"/>
                    <a:pt x="8885" y="4664"/>
                  </a:cubicBezTo>
                  <a:cubicBezTo>
                    <a:pt x="9137" y="4569"/>
                    <a:pt x="9326" y="4349"/>
                    <a:pt x="9452" y="4160"/>
                  </a:cubicBezTo>
                  <a:close/>
                  <a:moveTo>
                    <a:pt x="2237" y="4097"/>
                  </a:moveTo>
                  <a:cubicBezTo>
                    <a:pt x="2363" y="4349"/>
                    <a:pt x="2552" y="4506"/>
                    <a:pt x="2773" y="4632"/>
                  </a:cubicBezTo>
                  <a:cubicBezTo>
                    <a:pt x="2741" y="5042"/>
                    <a:pt x="2710" y="5420"/>
                    <a:pt x="2710" y="5829"/>
                  </a:cubicBezTo>
                  <a:cubicBezTo>
                    <a:pt x="2710" y="6207"/>
                    <a:pt x="2741" y="6617"/>
                    <a:pt x="2773" y="6995"/>
                  </a:cubicBezTo>
                  <a:cubicBezTo>
                    <a:pt x="2552" y="7121"/>
                    <a:pt x="2363" y="7310"/>
                    <a:pt x="2237" y="7499"/>
                  </a:cubicBezTo>
                  <a:cubicBezTo>
                    <a:pt x="1261" y="7026"/>
                    <a:pt x="662" y="6459"/>
                    <a:pt x="662" y="5829"/>
                  </a:cubicBezTo>
                  <a:cubicBezTo>
                    <a:pt x="662" y="5199"/>
                    <a:pt x="1261" y="4569"/>
                    <a:pt x="2237" y="4097"/>
                  </a:cubicBezTo>
                  <a:close/>
                  <a:moveTo>
                    <a:pt x="5829" y="3466"/>
                  </a:moveTo>
                  <a:cubicBezTo>
                    <a:pt x="6175" y="3466"/>
                    <a:pt x="6522" y="3466"/>
                    <a:pt x="6869" y="3498"/>
                  </a:cubicBezTo>
                  <a:cubicBezTo>
                    <a:pt x="6932" y="4191"/>
                    <a:pt x="7467" y="4790"/>
                    <a:pt x="8192" y="4790"/>
                  </a:cubicBezTo>
                  <a:cubicBezTo>
                    <a:pt x="8223" y="5105"/>
                    <a:pt x="8223" y="5420"/>
                    <a:pt x="8223" y="5735"/>
                  </a:cubicBezTo>
                  <a:cubicBezTo>
                    <a:pt x="7436" y="6144"/>
                    <a:pt x="6869" y="6963"/>
                    <a:pt x="6869" y="7909"/>
                  </a:cubicBezTo>
                  <a:lnTo>
                    <a:pt x="6869" y="8192"/>
                  </a:lnTo>
                  <a:cubicBezTo>
                    <a:pt x="6522" y="8224"/>
                    <a:pt x="6175" y="8224"/>
                    <a:pt x="5829" y="8224"/>
                  </a:cubicBezTo>
                  <a:cubicBezTo>
                    <a:pt x="5451" y="8224"/>
                    <a:pt x="5104" y="8224"/>
                    <a:pt x="4758" y="8192"/>
                  </a:cubicBezTo>
                  <a:cubicBezTo>
                    <a:pt x="4726" y="7468"/>
                    <a:pt x="4159" y="6869"/>
                    <a:pt x="3466" y="6869"/>
                  </a:cubicBezTo>
                  <a:cubicBezTo>
                    <a:pt x="3403" y="6522"/>
                    <a:pt x="3403" y="6207"/>
                    <a:pt x="3403" y="5861"/>
                  </a:cubicBezTo>
                  <a:cubicBezTo>
                    <a:pt x="3403" y="5483"/>
                    <a:pt x="3403" y="5136"/>
                    <a:pt x="3466" y="4790"/>
                  </a:cubicBezTo>
                  <a:cubicBezTo>
                    <a:pt x="4159" y="4758"/>
                    <a:pt x="4758" y="4191"/>
                    <a:pt x="4758" y="3498"/>
                  </a:cubicBezTo>
                  <a:cubicBezTo>
                    <a:pt x="5104" y="3466"/>
                    <a:pt x="5482" y="3466"/>
                    <a:pt x="5829" y="3466"/>
                  </a:cubicBezTo>
                  <a:close/>
                  <a:moveTo>
                    <a:pt x="3403" y="7562"/>
                  </a:moveTo>
                  <a:cubicBezTo>
                    <a:pt x="3813" y="7562"/>
                    <a:pt x="4096" y="7877"/>
                    <a:pt x="4096" y="8224"/>
                  </a:cubicBezTo>
                  <a:cubicBezTo>
                    <a:pt x="4096" y="8570"/>
                    <a:pt x="3781" y="8885"/>
                    <a:pt x="3403" y="8885"/>
                  </a:cubicBezTo>
                  <a:cubicBezTo>
                    <a:pt x="3025" y="8885"/>
                    <a:pt x="2741" y="8570"/>
                    <a:pt x="2741" y="8224"/>
                  </a:cubicBezTo>
                  <a:cubicBezTo>
                    <a:pt x="2741" y="7877"/>
                    <a:pt x="3025" y="7562"/>
                    <a:pt x="3403" y="7562"/>
                  </a:cubicBezTo>
                  <a:close/>
                  <a:moveTo>
                    <a:pt x="7940" y="10114"/>
                  </a:moveTo>
                  <a:lnTo>
                    <a:pt x="8192" y="10429"/>
                  </a:lnTo>
                  <a:lnTo>
                    <a:pt x="7593" y="10650"/>
                  </a:lnTo>
                  <a:cubicBezTo>
                    <a:pt x="7719" y="10492"/>
                    <a:pt x="7814" y="10303"/>
                    <a:pt x="7940" y="10114"/>
                  </a:cubicBezTo>
                  <a:close/>
                  <a:moveTo>
                    <a:pt x="977" y="7594"/>
                  </a:moveTo>
                  <a:cubicBezTo>
                    <a:pt x="1261" y="7814"/>
                    <a:pt x="1639" y="8035"/>
                    <a:pt x="2048" y="8224"/>
                  </a:cubicBezTo>
                  <a:lnTo>
                    <a:pt x="2048" y="8255"/>
                  </a:lnTo>
                  <a:cubicBezTo>
                    <a:pt x="2048" y="9011"/>
                    <a:pt x="2678" y="9641"/>
                    <a:pt x="3403" y="9641"/>
                  </a:cubicBezTo>
                  <a:lnTo>
                    <a:pt x="3466" y="9641"/>
                  </a:lnTo>
                  <a:cubicBezTo>
                    <a:pt x="3655" y="10019"/>
                    <a:pt x="3844" y="10397"/>
                    <a:pt x="4096" y="10681"/>
                  </a:cubicBezTo>
                  <a:cubicBezTo>
                    <a:pt x="2615" y="10145"/>
                    <a:pt x="1481" y="9011"/>
                    <a:pt x="977" y="7594"/>
                  </a:cubicBezTo>
                  <a:close/>
                  <a:moveTo>
                    <a:pt x="9294" y="6207"/>
                  </a:moveTo>
                  <a:cubicBezTo>
                    <a:pt x="10240" y="6207"/>
                    <a:pt x="10964" y="6963"/>
                    <a:pt x="10964" y="7909"/>
                  </a:cubicBezTo>
                  <a:cubicBezTo>
                    <a:pt x="10964" y="8192"/>
                    <a:pt x="10901" y="8413"/>
                    <a:pt x="10807" y="8665"/>
                  </a:cubicBezTo>
                  <a:cubicBezTo>
                    <a:pt x="10744" y="8759"/>
                    <a:pt x="10177" y="9484"/>
                    <a:pt x="9294" y="10744"/>
                  </a:cubicBezTo>
                  <a:lnTo>
                    <a:pt x="8979" y="10303"/>
                  </a:lnTo>
                  <a:cubicBezTo>
                    <a:pt x="8018" y="9071"/>
                    <a:pt x="8059" y="9043"/>
                    <a:pt x="8038" y="9043"/>
                  </a:cubicBezTo>
                  <a:lnTo>
                    <a:pt x="8038" y="9043"/>
                  </a:lnTo>
                  <a:cubicBezTo>
                    <a:pt x="8037" y="9043"/>
                    <a:pt x="8036" y="9043"/>
                    <a:pt x="8034" y="9043"/>
                  </a:cubicBezTo>
                  <a:cubicBezTo>
                    <a:pt x="7751" y="8728"/>
                    <a:pt x="7593" y="8350"/>
                    <a:pt x="7593" y="7909"/>
                  </a:cubicBezTo>
                  <a:cubicBezTo>
                    <a:pt x="7593" y="6963"/>
                    <a:pt x="8349" y="6207"/>
                    <a:pt x="9294" y="6207"/>
                  </a:cubicBezTo>
                  <a:close/>
                  <a:moveTo>
                    <a:pt x="7026" y="8854"/>
                  </a:moveTo>
                  <a:cubicBezTo>
                    <a:pt x="7152" y="9074"/>
                    <a:pt x="7278" y="9326"/>
                    <a:pt x="7467" y="9515"/>
                  </a:cubicBezTo>
                  <a:cubicBezTo>
                    <a:pt x="7026" y="10429"/>
                    <a:pt x="6459" y="10965"/>
                    <a:pt x="5829" y="10965"/>
                  </a:cubicBezTo>
                  <a:cubicBezTo>
                    <a:pt x="5199" y="10965"/>
                    <a:pt x="4569" y="10397"/>
                    <a:pt x="4096" y="9389"/>
                  </a:cubicBezTo>
                  <a:cubicBezTo>
                    <a:pt x="4317" y="9295"/>
                    <a:pt x="4474" y="9074"/>
                    <a:pt x="4600" y="8854"/>
                  </a:cubicBezTo>
                  <a:cubicBezTo>
                    <a:pt x="4978" y="8885"/>
                    <a:pt x="5388" y="8917"/>
                    <a:pt x="5766" y="8917"/>
                  </a:cubicBezTo>
                  <a:cubicBezTo>
                    <a:pt x="6207" y="8917"/>
                    <a:pt x="6616" y="8885"/>
                    <a:pt x="7026" y="8854"/>
                  </a:cubicBezTo>
                  <a:close/>
                  <a:moveTo>
                    <a:pt x="5829" y="1"/>
                  </a:moveTo>
                  <a:cubicBezTo>
                    <a:pt x="2584" y="1"/>
                    <a:pt x="0" y="2616"/>
                    <a:pt x="0" y="5861"/>
                  </a:cubicBezTo>
                  <a:cubicBezTo>
                    <a:pt x="0" y="9043"/>
                    <a:pt x="2584" y="11689"/>
                    <a:pt x="5829" y="11689"/>
                  </a:cubicBezTo>
                  <a:cubicBezTo>
                    <a:pt x="6806" y="11689"/>
                    <a:pt x="7751" y="11437"/>
                    <a:pt x="8570" y="11028"/>
                  </a:cubicBezTo>
                  <a:lnTo>
                    <a:pt x="8979" y="11563"/>
                  </a:lnTo>
                  <a:cubicBezTo>
                    <a:pt x="9042" y="11658"/>
                    <a:pt x="9145" y="11705"/>
                    <a:pt x="9247" y="11705"/>
                  </a:cubicBezTo>
                  <a:cubicBezTo>
                    <a:pt x="9350" y="11705"/>
                    <a:pt x="9452" y="11658"/>
                    <a:pt x="9515" y="11563"/>
                  </a:cubicBezTo>
                  <a:cubicBezTo>
                    <a:pt x="9515" y="11563"/>
                    <a:pt x="11279" y="9169"/>
                    <a:pt x="11405" y="8980"/>
                  </a:cubicBezTo>
                  <a:cubicBezTo>
                    <a:pt x="11563" y="8665"/>
                    <a:pt x="11657" y="8287"/>
                    <a:pt x="11657" y="7940"/>
                  </a:cubicBezTo>
                  <a:cubicBezTo>
                    <a:pt x="11657" y="7657"/>
                    <a:pt x="11626" y="7405"/>
                    <a:pt x="11531" y="7152"/>
                  </a:cubicBezTo>
                  <a:cubicBezTo>
                    <a:pt x="11594" y="6774"/>
                    <a:pt x="11657" y="6333"/>
                    <a:pt x="11657" y="5892"/>
                  </a:cubicBezTo>
                  <a:cubicBezTo>
                    <a:pt x="11657" y="2616"/>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78"/>
            <p:cNvSpPr/>
            <p:nvPr/>
          </p:nvSpPr>
          <p:spPr>
            <a:xfrm>
              <a:off x="-33467475" y="2806675"/>
              <a:ext cx="51225" cy="51225"/>
            </a:xfrm>
            <a:custGeom>
              <a:avLst/>
              <a:gdLst/>
              <a:ahLst/>
              <a:cxnLst/>
              <a:rect l="l" t="t" r="r" b="b"/>
              <a:pathLst>
                <a:path w="2049" h="2049" extrusionOk="0">
                  <a:moveTo>
                    <a:pt x="1040" y="631"/>
                  </a:moveTo>
                  <a:cubicBezTo>
                    <a:pt x="1229" y="631"/>
                    <a:pt x="1387" y="789"/>
                    <a:pt x="1387" y="1009"/>
                  </a:cubicBezTo>
                  <a:cubicBezTo>
                    <a:pt x="1387" y="1198"/>
                    <a:pt x="1198" y="1356"/>
                    <a:pt x="1040" y="1356"/>
                  </a:cubicBezTo>
                  <a:cubicBezTo>
                    <a:pt x="820" y="1356"/>
                    <a:pt x="662" y="1198"/>
                    <a:pt x="662" y="1009"/>
                  </a:cubicBezTo>
                  <a:cubicBezTo>
                    <a:pt x="662" y="789"/>
                    <a:pt x="820" y="631"/>
                    <a:pt x="1040" y="631"/>
                  </a:cubicBezTo>
                  <a:close/>
                  <a:moveTo>
                    <a:pt x="1040" y="1"/>
                  </a:moveTo>
                  <a:cubicBezTo>
                    <a:pt x="473" y="1"/>
                    <a:pt x="1" y="474"/>
                    <a:pt x="1" y="1041"/>
                  </a:cubicBezTo>
                  <a:cubicBezTo>
                    <a:pt x="1" y="1576"/>
                    <a:pt x="473" y="2049"/>
                    <a:pt x="1040" y="2049"/>
                  </a:cubicBezTo>
                  <a:cubicBezTo>
                    <a:pt x="1576" y="2049"/>
                    <a:pt x="2049" y="1576"/>
                    <a:pt x="2049" y="1041"/>
                  </a:cubicBezTo>
                  <a:cubicBezTo>
                    <a:pt x="2049" y="442"/>
                    <a:pt x="1576"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35" name="Google Shape;9935;p78"/>
          <p:cNvGrpSpPr/>
          <p:nvPr/>
        </p:nvGrpSpPr>
        <p:grpSpPr>
          <a:xfrm>
            <a:off x="2205089" y="2915322"/>
            <a:ext cx="329687" cy="353648"/>
            <a:chOff x="-31874100" y="1939525"/>
            <a:chExt cx="271750" cy="291500"/>
          </a:xfrm>
        </p:grpSpPr>
        <p:sp>
          <p:nvSpPr>
            <p:cNvPr id="9936" name="Google Shape;9936;p78"/>
            <p:cNvSpPr/>
            <p:nvPr/>
          </p:nvSpPr>
          <p:spPr>
            <a:xfrm>
              <a:off x="-31874100" y="2132475"/>
              <a:ext cx="271750" cy="98550"/>
            </a:xfrm>
            <a:custGeom>
              <a:avLst/>
              <a:gdLst/>
              <a:ahLst/>
              <a:cxnLst/>
              <a:rect l="l" t="t" r="r" b="b"/>
              <a:pathLst>
                <a:path w="10870" h="3942" extrusionOk="0">
                  <a:moveTo>
                    <a:pt x="2080" y="1135"/>
                  </a:moveTo>
                  <a:lnTo>
                    <a:pt x="2300" y="1576"/>
                  </a:lnTo>
                  <a:cubicBezTo>
                    <a:pt x="2363" y="1702"/>
                    <a:pt x="2458" y="1734"/>
                    <a:pt x="2584" y="1765"/>
                  </a:cubicBezTo>
                  <a:lnTo>
                    <a:pt x="3056" y="1860"/>
                  </a:lnTo>
                  <a:lnTo>
                    <a:pt x="2710" y="2206"/>
                  </a:lnTo>
                  <a:cubicBezTo>
                    <a:pt x="2615" y="2269"/>
                    <a:pt x="2584" y="2395"/>
                    <a:pt x="2615" y="2521"/>
                  </a:cubicBezTo>
                  <a:lnTo>
                    <a:pt x="2710" y="2994"/>
                  </a:lnTo>
                  <a:lnTo>
                    <a:pt x="2269" y="2773"/>
                  </a:lnTo>
                  <a:cubicBezTo>
                    <a:pt x="2237" y="2710"/>
                    <a:pt x="2143" y="2710"/>
                    <a:pt x="2111" y="2710"/>
                  </a:cubicBezTo>
                  <a:cubicBezTo>
                    <a:pt x="2080" y="2710"/>
                    <a:pt x="1985" y="2710"/>
                    <a:pt x="1954" y="2773"/>
                  </a:cubicBezTo>
                  <a:lnTo>
                    <a:pt x="1513" y="2994"/>
                  </a:lnTo>
                  <a:lnTo>
                    <a:pt x="1607" y="2521"/>
                  </a:lnTo>
                  <a:cubicBezTo>
                    <a:pt x="1607" y="2395"/>
                    <a:pt x="1607" y="2301"/>
                    <a:pt x="1513" y="2206"/>
                  </a:cubicBezTo>
                  <a:lnTo>
                    <a:pt x="1166" y="1860"/>
                  </a:lnTo>
                  <a:lnTo>
                    <a:pt x="1639" y="1765"/>
                  </a:lnTo>
                  <a:cubicBezTo>
                    <a:pt x="1670" y="1765"/>
                    <a:pt x="1796" y="1702"/>
                    <a:pt x="1828" y="1576"/>
                  </a:cubicBezTo>
                  <a:lnTo>
                    <a:pt x="2080" y="1135"/>
                  </a:lnTo>
                  <a:close/>
                  <a:moveTo>
                    <a:pt x="5514" y="1135"/>
                  </a:moveTo>
                  <a:lnTo>
                    <a:pt x="5734" y="1576"/>
                  </a:lnTo>
                  <a:cubicBezTo>
                    <a:pt x="5766" y="1702"/>
                    <a:pt x="5892" y="1734"/>
                    <a:pt x="6018" y="1765"/>
                  </a:cubicBezTo>
                  <a:lnTo>
                    <a:pt x="6490" y="1860"/>
                  </a:lnTo>
                  <a:lnTo>
                    <a:pt x="6144" y="2206"/>
                  </a:lnTo>
                  <a:cubicBezTo>
                    <a:pt x="6049" y="2269"/>
                    <a:pt x="6018" y="2395"/>
                    <a:pt x="6049" y="2521"/>
                  </a:cubicBezTo>
                  <a:lnTo>
                    <a:pt x="6144" y="2994"/>
                  </a:lnTo>
                  <a:lnTo>
                    <a:pt x="5703" y="2773"/>
                  </a:lnTo>
                  <a:cubicBezTo>
                    <a:pt x="5671" y="2710"/>
                    <a:pt x="5577" y="2710"/>
                    <a:pt x="5545" y="2710"/>
                  </a:cubicBezTo>
                  <a:cubicBezTo>
                    <a:pt x="5514" y="2710"/>
                    <a:pt x="5419" y="2710"/>
                    <a:pt x="5388" y="2773"/>
                  </a:cubicBezTo>
                  <a:lnTo>
                    <a:pt x="4947" y="2994"/>
                  </a:lnTo>
                  <a:lnTo>
                    <a:pt x="5041" y="2521"/>
                  </a:lnTo>
                  <a:cubicBezTo>
                    <a:pt x="5041" y="2395"/>
                    <a:pt x="5041" y="2301"/>
                    <a:pt x="4947" y="2206"/>
                  </a:cubicBezTo>
                  <a:lnTo>
                    <a:pt x="4600" y="1860"/>
                  </a:lnTo>
                  <a:lnTo>
                    <a:pt x="4978" y="1765"/>
                  </a:lnTo>
                  <a:cubicBezTo>
                    <a:pt x="5104" y="1765"/>
                    <a:pt x="5199" y="1702"/>
                    <a:pt x="5262" y="1576"/>
                  </a:cubicBezTo>
                  <a:lnTo>
                    <a:pt x="5514" y="1135"/>
                  </a:lnTo>
                  <a:close/>
                  <a:moveTo>
                    <a:pt x="8916" y="1135"/>
                  </a:moveTo>
                  <a:lnTo>
                    <a:pt x="9168" y="1576"/>
                  </a:lnTo>
                  <a:cubicBezTo>
                    <a:pt x="9200" y="1702"/>
                    <a:pt x="9326" y="1734"/>
                    <a:pt x="9452" y="1765"/>
                  </a:cubicBezTo>
                  <a:lnTo>
                    <a:pt x="9924" y="1860"/>
                  </a:lnTo>
                  <a:lnTo>
                    <a:pt x="9546" y="2206"/>
                  </a:lnTo>
                  <a:cubicBezTo>
                    <a:pt x="9483" y="2269"/>
                    <a:pt x="9452" y="2395"/>
                    <a:pt x="9483" y="2521"/>
                  </a:cubicBezTo>
                  <a:lnTo>
                    <a:pt x="9546" y="2994"/>
                  </a:lnTo>
                  <a:lnTo>
                    <a:pt x="9137" y="2773"/>
                  </a:lnTo>
                  <a:cubicBezTo>
                    <a:pt x="9074" y="2710"/>
                    <a:pt x="9011" y="2710"/>
                    <a:pt x="8979" y="2710"/>
                  </a:cubicBezTo>
                  <a:cubicBezTo>
                    <a:pt x="8916" y="2710"/>
                    <a:pt x="8853" y="2710"/>
                    <a:pt x="8822" y="2773"/>
                  </a:cubicBezTo>
                  <a:lnTo>
                    <a:pt x="8381" y="2994"/>
                  </a:lnTo>
                  <a:lnTo>
                    <a:pt x="8444" y="2521"/>
                  </a:lnTo>
                  <a:cubicBezTo>
                    <a:pt x="8444" y="2395"/>
                    <a:pt x="8444" y="2301"/>
                    <a:pt x="8381" y="2206"/>
                  </a:cubicBezTo>
                  <a:lnTo>
                    <a:pt x="8034" y="1860"/>
                  </a:lnTo>
                  <a:lnTo>
                    <a:pt x="8412" y="1765"/>
                  </a:lnTo>
                  <a:cubicBezTo>
                    <a:pt x="8538" y="1765"/>
                    <a:pt x="8601" y="1702"/>
                    <a:pt x="8696" y="1576"/>
                  </a:cubicBezTo>
                  <a:lnTo>
                    <a:pt x="8916" y="1135"/>
                  </a:lnTo>
                  <a:close/>
                  <a:moveTo>
                    <a:pt x="2048" y="1"/>
                  </a:moveTo>
                  <a:cubicBezTo>
                    <a:pt x="1922" y="1"/>
                    <a:pt x="1796" y="64"/>
                    <a:pt x="1733" y="190"/>
                  </a:cubicBezTo>
                  <a:lnTo>
                    <a:pt x="1292" y="1104"/>
                  </a:lnTo>
                  <a:lnTo>
                    <a:pt x="315" y="1261"/>
                  </a:lnTo>
                  <a:cubicBezTo>
                    <a:pt x="189" y="1261"/>
                    <a:pt x="63" y="1387"/>
                    <a:pt x="32" y="1482"/>
                  </a:cubicBezTo>
                  <a:cubicBezTo>
                    <a:pt x="0" y="1608"/>
                    <a:pt x="32" y="1765"/>
                    <a:pt x="95" y="1860"/>
                  </a:cubicBezTo>
                  <a:lnTo>
                    <a:pt x="819" y="2553"/>
                  </a:lnTo>
                  <a:lnTo>
                    <a:pt x="662" y="3561"/>
                  </a:lnTo>
                  <a:cubicBezTo>
                    <a:pt x="630" y="3655"/>
                    <a:pt x="693" y="3813"/>
                    <a:pt x="788" y="3876"/>
                  </a:cubicBezTo>
                  <a:cubicBezTo>
                    <a:pt x="862" y="3913"/>
                    <a:pt x="925" y="3928"/>
                    <a:pt x="990" y="3928"/>
                  </a:cubicBezTo>
                  <a:cubicBezTo>
                    <a:pt x="1035" y="3928"/>
                    <a:pt x="1082" y="3920"/>
                    <a:pt x="1134" y="3907"/>
                  </a:cubicBezTo>
                  <a:lnTo>
                    <a:pt x="2048" y="3435"/>
                  </a:lnTo>
                  <a:lnTo>
                    <a:pt x="2962" y="3907"/>
                  </a:lnTo>
                  <a:cubicBezTo>
                    <a:pt x="2998" y="3931"/>
                    <a:pt x="3039" y="3942"/>
                    <a:pt x="3082" y="3942"/>
                  </a:cubicBezTo>
                  <a:cubicBezTo>
                    <a:pt x="3153" y="3942"/>
                    <a:pt x="3230" y="3915"/>
                    <a:pt x="3308" y="3876"/>
                  </a:cubicBezTo>
                  <a:cubicBezTo>
                    <a:pt x="3434" y="3781"/>
                    <a:pt x="3466" y="3655"/>
                    <a:pt x="3434" y="3561"/>
                  </a:cubicBezTo>
                  <a:lnTo>
                    <a:pt x="3277" y="2553"/>
                  </a:lnTo>
                  <a:lnTo>
                    <a:pt x="3749" y="2080"/>
                  </a:lnTo>
                  <a:lnTo>
                    <a:pt x="4222" y="2553"/>
                  </a:lnTo>
                  <a:lnTo>
                    <a:pt x="4064" y="3561"/>
                  </a:lnTo>
                  <a:cubicBezTo>
                    <a:pt x="4001" y="3655"/>
                    <a:pt x="4096" y="3813"/>
                    <a:pt x="4159" y="3876"/>
                  </a:cubicBezTo>
                  <a:cubicBezTo>
                    <a:pt x="4233" y="3913"/>
                    <a:pt x="4307" y="3928"/>
                    <a:pt x="4380" y="3928"/>
                  </a:cubicBezTo>
                  <a:cubicBezTo>
                    <a:pt x="4433" y="3928"/>
                    <a:pt x="4485" y="3920"/>
                    <a:pt x="4537" y="3907"/>
                  </a:cubicBezTo>
                  <a:lnTo>
                    <a:pt x="5419" y="3435"/>
                  </a:lnTo>
                  <a:lnTo>
                    <a:pt x="6333" y="3907"/>
                  </a:lnTo>
                  <a:cubicBezTo>
                    <a:pt x="6381" y="3931"/>
                    <a:pt x="6429" y="3942"/>
                    <a:pt x="6475" y="3942"/>
                  </a:cubicBezTo>
                  <a:cubicBezTo>
                    <a:pt x="6550" y="3942"/>
                    <a:pt x="6621" y="3915"/>
                    <a:pt x="6679" y="3876"/>
                  </a:cubicBezTo>
                  <a:cubicBezTo>
                    <a:pt x="6805" y="3781"/>
                    <a:pt x="6837" y="3655"/>
                    <a:pt x="6805" y="3561"/>
                  </a:cubicBezTo>
                  <a:lnTo>
                    <a:pt x="6648" y="2553"/>
                  </a:lnTo>
                  <a:lnTo>
                    <a:pt x="7120" y="2080"/>
                  </a:lnTo>
                  <a:lnTo>
                    <a:pt x="7593" y="2553"/>
                  </a:lnTo>
                  <a:lnTo>
                    <a:pt x="7435" y="3561"/>
                  </a:lnTo>
                  <a:cubicBezTo>
                    <a:pt x="7404" y="3655"/>
                    <a:pt x="7467" y="3813"/>
                    <a:pt x="7561" y="3876"/>
                  </a:cubicBezTo>
                  <a:cubicBezTo>
                    <a:pt x="7635" y="3913"/>
                    <a:pt x="7698" y="3928"/>
                    <a:pt x="7763" y="3928"/>
                  </a:cubicBezTo>
                  <a:cubicBezTo>
                    <a:pt x="7809" y="3928"/>
                    <a:pt x="7856" y="3920"/>
                    <a:pt x="7908" y="3907"/>
                  </a:cubicBezTo>
                  <a:lnTo>
                    <a:pt x="8822" y="3435"/>
                  </a:lnTo>
                  <a:lnTo>
                    <a:pt x="9735" y="3907"/>
                  </a:lnTo>
                  <a:cubicBezTo>
                    <a:pt x="9771" y="3931"/>
                    <a:pt x="9812" y="3942"/>
                    <a:pt x="9856" y="3942"/>
                  </a:cubicBezTo>
                  <a:cubicBezTo>
                    <a:pt x="9926" y="3942"/>
                    <a:pt x="10004" y="3915"/>
                    <a:pt x="10082" y="3876"/>
                  </a:cubicBezTo>
                  <a:cubicBezTo>
                    <a:pt x="10208" y="3781"/>
                    <a:pt x="10239" y="3655"/>
                    <a:pt x="10208" y="3561"/>
                  </a:cubicBezTo>
                  <a:lnTo>
                    <a:pt x="10050" y="2553"/>
                  </a:lnTo>
                  <a:lnTo>
                    <a:pt x="10743" y="1860"/>
                  </a:lnTo>
                  <a:cubicBezTo>
                    <a:pt x="10838" y="1765"/>
                    <a:pt x="10869" y="1608"/>
                    <a:pt x="10838" y="1482"/>
                  </a:cubicBezTo>
                  <a:cubicBezTo>
                    <a:pt x="10775" y="1387"/>
                    <a:pt x="10680" y="1293"/>
                    <a:pt x="10554" y="1261"/>
                  </a:cubicBezTo>
                  <a:lnTo>
                    <a:pt x="9578" y="1104"/>
                  </a:lnTo>
                  <a:lnTo>
                    <a:pt x="9137" y="190"/>
                  </a:lnTo>
                  <a:cubicBezTo>
                    <a:pt x="9105" y="64"/>
                    <a:pt x="8979" y="1"/>
                    <a:pt x="8822" y="1"/>
                  </a:cubicBezTo>
                  <a:cubicBezTo>
                    <a:pt x="8696" y="1"/>
                    <a:pt x="8570" y="64"/>
                    <a:pt x="8507" y="190"/>
                  </a:cubicBezTo>
                  <a:lnTo>
                    <a:pt x="8066" y="1104"/>
                  </a:lnTo>
                  <a:lnTo>
                    <a:pt x="7120" y="1261"/>
                  </a:lnTo>
                  <a:lnTo>
                    <a:pt x="6175" y="1104"/>
                  </a:lnTo>
                  <a:lnTo>
                    <a:pt x="5734" y="190"/>
                  </a:lnTo>
                  <a:cubicBezTo>
                    <a:pt x="5703" y="64"/>
                    <a:pt x="5577" y="1"/>
                    <a:pt x="5419" y="1"/>
                  </a:cubicBezTo>
                  <a:cubicBezTo>
                    <a:pt x="5262" y="1"/>
                    <a:pt x="5199" y="64"/>
                    <a:pt x="5104" y="190"/>
                  </a:cubicBezTo>
                  <a:lnTo>
                    <a:pt x="4695" y="1104"/>
                  </a:lnTo>
                  <a:lnTo>
                    <a:pt x="3749" y="1261"/>
                  </a:lnTo>
                  <a:lnTo>
                    <a:pt x="2804" y="1104"/>
                  </a:lnTo>
                  <a:lnTo>
                    <a:pt x="2363" y="190"/>
                  </a:lnTo>
                  <a:cubicBezTo>
                    <a:pt x="2332" y="64"/>
                    <a:pt x="2206"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78"/>
            <p:cNvSpPr/>
            <p:nvPr/>
          </p:nvSpPr>
          <p:spPr>
            <a:xfrm>
              <a:off x="-31830775" y="1939525"/>
              <a:ext cx="189050" cy="189825"/>
            </a:xfrm>
            <a:custGeom>
              <a:avLst/>
              <a:gdLst/>
              <a:ahLst/>
              <a:cxnLst/>
              <a:rect l="l" t="t" r="r" b="b"/>
              <a:pathLst>
                <a:path w="7562" h="7593" extrusionOk="0">
                  <a:moveTo>
                    <a:pt x="3718" y="662"/>
                  </a:moveTo>
                  <a:cubicBezTo>
                    <a:pt x="5072" y="662"/>
                    <a:pt x="6144" y="1764"/>
                    <a:pt x="6144" y="3088"/>
                  </a:cubicBezTo>
                  <a:lnTo>
                    <a:pt x="6144" y="3466"/>
                  </a:lnTo>
                  <a:lnTo>
                    <a:pt x="6081" y="3466"/>
                  </a:lnTo>
                  <a:cubicBezTo>
                    <a:pt x="5986" y="2647"/>
                    <a:pt x="5261" y="2048"/>
                    <a:pt x="4411" y="2048"/>
                  </a:cubicBezTo>
                  <a:lnTo>
                    <a:pt x="3025" y="2048"/>
                  </a:lnTo>
                  <a:cubicBezTo>
                    <a:pt x="2142" y="2048"/>
                    <a:pt x="1481" y="2678"/>
                    <a:pt x="1323" y="3466"/>
                  </a:cubicBezTo>
                  <a:lnTo>
                    <a:pt x="1292" y="3466"/>
                  </a:lnTo>
                  <a:lnTo>
                    <a:pt x="1292" y="3088"/>
                  </a:lnTo>
                  <a:cubicBezTo>
                    <a:pt x="1323" y="1764"/>
                    <a:pt x="2426" y="662"/>
                    <a:pt x="3718" y="662"/>
                  </a:cubicBezTo>
                  <a:close/>
                  <a:moveTo>
                    <a:pt x="4348" y="2773"/>
                  </a:moveTo>
                  <a:cubicBezTo>
                    <a:pt x="4915" y="2773"/>
                    <a:pt x="5387" y="3245"/>
                    <a:pt x="5387" y="3781"/>
                  </a:cubicBezTo>
                  <a:lnTo>
                    <a:pt x="5387" y="4127"/>
                  </a:lnTo>
                  <a:lnTo>
                    <a:pt x="5387" y="4127"/>
                  </a:lnTo>
                  <a:cubicBezTo>
                    <a:pt x="5153" y="4127"/>
                    <a:pt x="4907" y="4122"/>
                    <a:pt x="4820" y="4064"/>
                  </a:cubicBezTo>
                  <a:cubicBezTo>
                    <a:pt x="4789" y="4033"/>
                    <a:pt x="4757" y="3907"/>
                    <a:pt x="4757" y="3812"/>
                  </a:cubicBezTo>
                  <a:cubicBezTo>
                    <a:pt x="4757" y="3623"/>
                    <a:pt x="4600" y="3466"/>
                    <a:pt x="4411" y="3466"/>
                  </a:cubicBezTo>
                  <a:cubicBezTo>
                    <a:pt x="4190" y="3466"/>
                    <a:pt x="4033" y="3623"/>
                    <a:pt x="4033" y="3812"/>
                  </a:cubicBezTo>
                  <a:cubicBezTo>
                    <a:pt x="4033" y="3907"/>
                    <a:pt x="4033" y="4033"/>
                    <a:pt x="3970" y="4064"/>
                  </a:cubicBezTo>
                  <a:cubicBezTo>
                    <a:pt x="3907" y="4127"/>
                    <a:pt x="3789" y="4143"/>
                    <a:pt x="3643" y="4143"/>
                  </a:cubicBezTo>
                  <a:cubicBezTo>
                    <a:pt x="3497" y="4143"/>
                    <a:pt x="3324" y="4127"/>
                    <a:pt x="3151" y="4127"/>
                  </a:cubicBezTo>
                  <a:lnTo>
                    <a:pt x="1953" y="4127"/>
                  </a:lnTo>
                  <a:lnTo>
                    <a:pt x="1953" y="3781"/>
                  </a:lnTo>
                  <a:cubicBezTo>
                    <a:pt x="1953" y="3214"/>
                    <a:pt x="2426" y="2773"/>
                    <a:pt x="2993" y="2773"/>
                  </a:cubicBezTo>
                  <a:close/>
                  <a:moveTo>
                    <a:pt x="1008" y="4096"/>
                  </a:moveTo>
                  <a:cubicBezTo>
                    <a:pt x="1197" y="4096"/>
                    <a:pt x="1355" y="4253"/>
                    <a:pt x="1355" y="4442"/>
                  </a:cubicBezTo>
                  <a:lnTo>
                    <a:pt x="1355" y="5135"/>
                  </a:lnTo>
                  <a:cubicBezTo>
                    <a:pt x="1323" y="5356"/>
                    <a:pt x="1197" y="5482"/>
                    <a:pt x="1008" y="5482"/>
                  </a:cubicBezTo>
                  <a:cubicBezTo>
                    <a:pt x="819" y="5482"/>
                    <a:pt x="662" y="5324"/>
                    <a:pt x="662" y="5135"/>
                  </a:cubicBezTo>
                  <a:lnTo>
                    <a:pt x="662" y="4442"/>
                  </a:lnTo>
                  <a:cubicBezTo>
                    <a:pt x="662" y="4253"/>
                    <a:pt x="819" y="4096"/>
                    <a:pt x="1008" y="4096"/>
                  </a:cubicBezTo>
                  <a:close/>
                  <a:moveTo>
                    <a:pt x="6459" y="4127"/>
                  </a:moveTo>
                  <a:cubicBezTo>
                    <a:pt x="6648" y="4127"/>
                    <a:pt x="6805" y="4285"/>
                    <a:pt x="6805" y="4505"/>
                  </a:cubicBezTo>
                  <a:lnTo>
                    <a:pt x="6805" y="5167"/>
                  </a:lnTo>
                  <a:cubicBezTo>
                    <a:pt x="6805" y="5356"/>
                    <a:pt x="6648" y="5513"/>
                    <a:pt x="6459" y="5513"/>
                  </a:cubicBezTo>
                  <a:cubicBezTo>
                    <a:pt x="6238" y="5513"/>
                    <a:pt x="6081" y="5356"/>
                    <a:pt x="6081" y="5167"/>
                  </a:cubicBezTo>
                  <a:lnTo>
                    <a:pt x="6081" y="4505"/>
                  </a:lnTo>
                  <a:cubicBezTo>
                    <a:pt x="6081" y="4285"/>
                    <a:pt x="6238" y="4127"/>
                    <a:pt x="6459" y="4127"/>
                  </a:cubicBezTo>
                  <a:close/>
                  <a:moveTo>
                    <a:pt x="4442" y="4568"/>
                  </a:moveTo>
                  <a:cubicBezTo>
                    <a:pt x="4726" y="4757"/>
                    <a:pt x="5072" y="4820"/>
                    <a:pt x="5450" y="4820"/>
                  </a:cubicBezTo>
                  <a:lnTo>
                    <a:pt x="5450" y="5167"/>
                  </a:lnTo>
                  <a:cubicBezTo>
                    <a:pt x="5450" y="6112"/>
                    <a:pt x="4663" y="6900"/>
                    <a:pt x="3718" y="6900"/>
                  </a:cubicBezTo>
                  <a:cubicBezTo>
                    <a:pt x="2772" y="6900"/>
                    <a:pt x="2048" y="6112"/>
                    <a:pt x="2048" y="5167"/>
                  </a:cubicBezTo>
                  <a:lnTo>
                    <a:pt x="2048" y="4820"/>
                  </a:lnTo>
                  <a:lnTo>
                    <a:pt x="3214" y="4820"/>
                  </a:lnTo>
                  <a:cubicBezTo>
                    <a:pt x="3305" y="4820"/>
                    <a:pt x="3394" y="4821"/>
                    <a:pt x="3479" y="4821"/>
                  </a:cubicBezTo>
                  <a:cubicBezTo>
                    <a:pt x="3863" y="4821"/>
                    <a:pt x="4184" y="4800"/>
                    <a:pt x="4442" y="4568"/>
                  </a:cubicBezTo>
                  <a:close/>
                  <a:moveTo>
                    <a:pt x="3718" y="0"/>
                  </a:moveTo>
                  <a:cubicBezTo>
                    <a:pt x="2048" y="0"/>
                    <a:pt x="662" y="1386"/>
                    <a:pt x="662" y="3119"/>
                  </a:cubicBezTo>
                  <a:lnTo>
                    <a:pt x="662" y="3497"/>
                  </a:lnTo>
                  <a:cubicBezTo>
                    <a:pt x="252" y="3655"/>
                    <a:pt x="0" y="4033"/>
                    <a:pt x="0" y="4505"/>
                  </a:cubicBezTo>
                  <a:lnTo>
                    <a:pt x="0" y="5167"/>
                  </a:lnTo>
                  <a:cubicBezTo>
                    <a:pt x="0" y="5703"/>
                    <a:pt x="473" y="6175"/>
                    <a:pt x="1008" y="6175"/>
                  </a:cubicBezTo>
                  <a:cubicBezTo>
                    <a:pt x="1197" y="6175"/>
                    <a:pt x="1355" y="6144"/>
                    <a:pt x="1512" y="6081"/>
                  </a:cubicBezTo>
                  <a:cubicBezTo>
                    <a:pt x="1890" y="6963"/>
                    <a:pt x="2741" y="7593"/>
                    <a:pt x="3781" y="7593"/>
                  </a:cubicBezTo>
                  <a:cubicBezTo>
                    <a:pt x="4789" y="7593"/>
                    <a:pt x="5671" y="6963"/>
                    <a:pt x="6018" y="6049"/>
                  </a:cubicBezTo>
                  <a:cubicBezTo>
                    <a:pt x="6175" y="6144"/>
                    <a:pt x="6333" y="6175"/>
                    <a:pt x="6522" y="6175"/>
                  </a:cubicBezTo>
                  <a:cubicBezTo>
                    <a:pt x="7089" y="6175"/>
                    <a:pt x="7561" y="5703"/>
                    <a:pt x="7561" y="5167"/>
                  </a:cubicBezTo>
                  <a:lnTo>
                    <a:pt x="7561" y="4474"/>
                  </a:lnTo>
                  <a:cubicBezTo>
                    <a:pt x="7561" y="4064"/>
                    <a:pt x="7278" y="3655"/>
                    <a:pt x="6868" y="3497"/>
                  </a:cubicBezTo>
                  <a:lnTo>
                    <a:pt x="6868" y="3119"/>
                  </a:lnTo>
                  <a:cubicBezTo>
                    <a:pt x="6805" y="1386"/>
                    <a:pt x="5419"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38" name="Google Shape;9938;p78"/>
          <p:cNvSpPr/>
          <p:nvPr/>
        </p:nvSpPr>
        <p:spPr>
          <a:xfrm>
            <a:off x="2211275" y="3383767"/>
            <a:ext cx="311550" cy="353587"/>
          </a:xfrm>
          <a:custGeom>
            <a:avLst/>
            <a:gdLst/>
            <a:ahLst/>
            <a:cxnLst/>
            <a:rect l="l" t="t" r="r" b="b"/>
            <a:pathLst>
              <a:path w="10272" h="11658" extrusionOk="0">
                <a:moveTo>
                  <a:pt x="7877" y="693"/>
                </a:moveTo>
                <a:cubicBezTo>
                  <a:pt x="8066" y="693"/>
                  <a:pt x="8224" y="851"/>
                  <a:pt x="8224" y="1040"/>
                </a:cubicBezTo>
                <a:lnTo>
                  <a:pt x="8224" y="1387"/>
                </a:lnTo>
                <a:lnTo>
                  <a:pt x="2080" y="1387"/>
                </a:lnTo>
                <a:lnTo>
                  <a:pt x="2080" y="1040"/>
                </a:lnTo>
                <a:cubicBezTo>
                  <a:pt x="2049" y="851"/>
                  <a:pt x="2206" y="693"/>
                  <a:pt x="2395" y="693"/>
                </a:cubicBezTo>
                <a:close/>
                <a:moveTo>
                  <a:pt x="9200" y="2710"/>
                </a:moveTo>
                <a:cubicBezTo>
                  <a:pt x="9421" y="2710"/>
                  <a:pt x="9578" y="2899"/>
                  <a:pt x="9578" y="3088"/>
                </a:cubicBezTo>
                <a:cubicBezTo>
                  <a:pt x="9578" y="3277"/>
                  <a:pt x="9421" y="3434"/>
                  <a:pt x="9200" y="3434"/>
                </a:cubicBezTo>
                <a:lnTo>
                  <a:pt x="8854" y="3434"/>
                </a:lnTo>
                <a:lnTo>
                  <a:pt x="8854" y="2773"/>
                </a:lnTo>
                <a:lnTo>
                  <a:pt x="9200" y="2773"/>
                </a:lnTo>
                <a:lnTo>
                  <a:pt x="9200" y="2710"/>
                </a:lnTo>
                <a:close/>
                <a:moveTo>
                  <a:pt x="6176" y="3907"/>
                </a:moveTo>
                <a:cubicBezTo>
                  <a:pt x="6207" y="4033"/>
                  <a:pt x="6333" y="4127"/>
                  <a:pt x="6491" y="4127"/>
                </a:cubicBezTo>
                <a:lnTo>
                  <a:pt x="9200" y="4127"/>
                </a:lnTo>
                <a:cubicBezTo>
                  <a:pt x="9326" y="4127"/>
                  <a:pt x="9421" y="4127"/>
                  <a:pt x="9515" y="4096"/>
                </a:cubicBezTo>
                <a:lnTo>
                  <a:pt x="9515" y="4096"/>
                </a:lnTo>
                <a:cubicBezTo>
                  <a:pt x="9421" y="4474"/>
                  <a:pt x="9011" y="4789"/>
                  <a:pt x="8539" y="4789"/>
                </a:cubicBezTo>
                <a:lnTo>
                  <a:pt x="6491" y="4789"/>
                </a:lnTo>
                <a:cubicBezTo>
                  <a:pt x="6333" y="4789"/>
                  <a:pt x="6239" y="4852"/>
                  <a:pt x="6176" y="5010"/>
                </a:cubicBezTo>
                <a:lnTo>
                  <a:pt x="5640" y="4474"/>
                </a:lnTo>
                <a:lnTo>
                  <a:pt x="6176" y="3907"/>
                </a:lnTo>
                <a:close/>
                <a:moveTo>
                  <a:pt x="1387" y="4789"/>
                </a:moveTo>
                <a:lnTo>
                  <a:pt x="1387" y="5451"/>
                </a:lnTo>
                <a:lnTo>
                  <a:pt x="1009" y="5451"/>
                </a:lnTo>
                <a:cubicBezTo>
                  <a:pt x="820" y="5451"/>
                  <a:pt x="662" y="5293"/>
                  <a:pt x="662" y="5073"/>
                </a:cubicBezTo>
                <a:cubicBezTo>
                  <a:pt x="662" y="4884"/>
                  <a:pt x="820" y="4789"/>
                  <a:pt x="1009" y="4789"/>
                </a:cubicBezTo>
                <a:close/>
                <a:moveTo>
                  <a:pt x="4065" y="5923"/>
                </a:moveTo>
                <a:lnTo>
                  <a:pt x="4601" y="6459"/>
                </a:lnTo>
                <a:lnTo>
                  <a:pt x="4065" y="7026"/>
                </a:lnTo>
                <a:cubicBezTo>
                  <a:pt x="4033" y="6900"/>
                  <a:pt x="3907" y="6774"/>
                  <a:pt x="3750" y="6774"/>
                </a:cubicBezTo>
                <a:lnTo>
                  <a:pt x="1702" y="6774"/>
                </a:lnTo>
                <a:cubicBezTo>
                  <a:pt x="1664" y="6779"/>
                  <a:pt x="1626" y="6782"/>
                  <a:pt x="1589" y="6782"/>
                </a:cubicBezTo>
                <a:cubicBezTo>
                  <a:pt x="1192" y="6782"/>
                  <a:pt x="838" y="6487"/>
                  <a:pt x="694" y="6112"/>
                </a:cubicBezTo>
                <a:lnTo>
                  <a:pt x="694" y="6112"/>
                </a:lnTo>
                <a:cubicBezTo>
                  <a:pt x="788" y="6144"/>
                  <a:pt x="914" y="6144"/>
                  <a:pt x="1009" y="6144"/>
                </a:cubicBezTo>
                <a:lnTo>
                  <a:pt x="3750" y="6144"/>
                </a:lnTo>
                <a:cubicBezTo>
                  <a:pt x="3907" y="6144"/>
                  <a:pt x="4002" y="6081"/>
                  <a:pt x="4065" y="5923"/>
                </a:cubicBezTo>
                <a:close/>
                <a:moveTo>
                  <a:pt x="8192" y="2048"/>
                </a:moveTo>
                <a:lnTo>
                  <a:pt x="8192" y="3434"/>
                </a:lnTo>
                <a:lnTo>
                  <a:pt x="6806" y="3434"/>
                </a:lnTo>
                <a:lnTo>
                  <a:pt x="6806" y="3088"/>
                </a:lnTo>
                <a:cubicBezTo>
                  <a:pt x="6806" y="2930"/>
                  <a:pt x="6743" y="2804"/>
                  <a:pt x="6617" y="2773"/>
                </a:cubicBezTo>
                <a:cubicBezTo>
                  <a:pt x="6571" y="2761"/>
                  <a:pt x="6520" y="2754"/>
                  <a:pt x="6472" y="2754"/>
                </a:cubicBezTo>
                <a:cubicBezTo>
                  <a:pt x="6388" y="2754"/>
                  <a:pt x="6310" y="2776"/>
                  <a:pt x="6270" y="2836"/>
                </a:cubicBezTo>
                <a:lnTo>
                  <a:pt x="4884" y="4222"/>
                </a:lnTo>
                <a:cubicBezTo>
                  <a:pt x="4758" y="4348"/>
                  <a:pt x="4758" y="4569"/>
                  <a:pt x="4884" y="4695"/>
                </a:cubicBezTo>
                <a:lnTo>
                  <a:pt x="6270" y="6081"/>
                </a:lnTo>
                <a:cubicBezTo>
                  <a:pt x="6315" y="6125"/>
                  <a:pt x="6407" y="6170"/>
                  <a:pt x="6501" y="6170"/>
                </a:cubicBezTo>
                <a:cubicBezTo>
                  <a:pt x="6540" y="6170"/>
                  <a:pt x="6580" y="6162"/>
                  <a:pt x="6617" y="6144"/>
                </a:cubicBezTo>
                <a:cubicBezTo>
                  <a:pt x="6743" y="6112"/>
                  <a:pt x="6806" y="5955"/>
                  <a:pt x="6806" y="5829"/>
                </a:cubicBezTo>
                <a:lnTo>
                  <a:pt x="6806" y="5482"/>
                </a:lnTo>
                <a:lnTo>
                  <a:pt x="8192" y="5482"/>
                </a:lnTo>
                <a:lnTo>
                  <a:pt x="8192" y="8948"/>
                </a:lnTo>
                <a:lnTo>
                  <a:pt x="2049" y="8948"/>
                </a:lnTo>
                <a:lnTo>
                  <a:pt x="2049" y="7530"/>
                </a:lnTo>
                <a:lnTo>
                  <a:pt x="3435" y="7530"/>
                </a:lnTo>
                <a:lnTo>
                  <a:pt x="3435" y="7877"/>
                </a:lnTo>
                <a:cubicBezTo>
                  <a:pt x="3435" y="8034"/>
                  <a:pt x="3498" y="8160"/>
                  <a:pt x="3624" y="8192"/>
                </a:cubicBezTo>
                <a:cubicBezTo>
                  <a:pt x="3676" y="8218"/>
                  <a:pt x="3734" y="8233"/>
                  <a:pt x="3788" y="8233"/>
                </a:cubicBezTo>
                <a:cubicBezTo>
                  <a:pt x="3864" y="8233"/>
                  <a:pt x="3934" y="8202"/>
                  <a:pt x="3970" y="8129"/>
                </a:cubicBezTo>
                <a:lnTo>
                  <a:pt x="5357" y="6742"/>
                </a:lnTo>
                <a:cubicBezTo>
                  <a:pt x="5483" y="6616"/>
                  <a:pt x="5483" y="6396"/>
                  <a:pt x="5357" y="6270"/>
                </a:cubicBezTo>
                <a:lnTo>
                  <a:pt x="3970" y="4884"/>
                </a:lnTo>
                <a:cubicBezTo>
                  <a:pt x="3924" y="4837"/>
                  <a:pt x="3828" y="4808"/>
                  <a:pt x="3730" y="4808"/>
                </a:cubicBezTo>
                <a:cubicBezTo>
                  <a:pt x="3694" y="4808"/>
                  <a:pt x="3658" y="4812"/>
                  <a:pt x="3624" y="4821"/>
                </a:cubicBezTo>
                <a:cubicBezTo>
                  <a:pt x="3498" y="4852"/>
                  <a:pt x="3435" y="5010"/>
                  <a:pt x="3435" y="5136"/>
                </a:cubicBezTo>
                <a:lnTo>
                  <a:pt x="3435" y="5482"/>
                </a:lnTo>
                <a:lnTo>
                  <a:pt x="2049" y="5482"/>
                </a:lnTo>
                <a:lnTo>
                  <a:pt x="2049" y="2048"/>
                </a:lnTo>
                <a:close/>
                <a:moveTo>
                  <a:pt x="8192" y="9609"/>
                </a:moveTo>
                <a:lnTo>
                  <a:pt x="8192" y="10649"/>
                </a:lnTo>
                <a:cubicBezTo>
                  <a:pt x="8192" y="10838"/>
                  <a:pt x="8035" y="10996"/>
                  <a:pt x="7877" y="10996"/>
                </a:cubicBezTo>
                <a:lnTo>
                  <a:pt x="2395" y="10996"/>
                </a:lnTo>
                <a:cubicBezTo>
                  <a:pt x="2206" y="10996"/>
                  <a:pt x="2049" y="10838"/>
                  <a:pt x="2049" y="10649"/>
                </a:cubicBezTo>
                <a:lnTo>
                  <a:pt x="2049" y="9609"/>
                </a:lnTo>
                <a:close/>
                <a:moveTo>
                  <a:pt x="2395" y="0"/>
                </a:moveTo>
                <a:cubicBezTo>
                  <a:pt x="1860" y="0"/>
                  <a:pt x="1387" y="473"/>
                  <a:pt x="1387" y="1040"/>
                </a:cubicBezTo>
                <a:lnTo>
                  <a:pt x="1387" y="4096"/>
                </a:lnTo>
                <a:lnTo>
                  <a:pt x="1009" y="4096"/>
                </a:lnTo>
                <a:cubicBezTo>
                  <a:pt x="473" y="4096"/>
                  <a:pt x="1" y="4569"/>
                  <a:pt x="1" y="5136"/>
                </a:cubicBezTo>
                <a:lnTo>
                  <a:pt x="1" y="5797"/>
                </a:lnTo>
                <a:cubicBezTo>
                  <a:pt x="1" y="6616"/>
                  <a:pt x="599" y="7341"/>
                  <a:pt x="1387" y="7498"/>
                </a:cubicBezTo>
                <a:lnTo>
                  <a:pt x="1387" y="10649"/>
                </a:lnTo>
                <a:cubicBezTo>
                  <a:pt x="1387" y="11185"/>
                  <a:pt x="1860" y="11657"/>
                  <a:pt x="2395" y="11657"/>
                </a:cubicBezTo>
                <a:lnTo>
                  <a:pt x="7877" y="11657"/>
                </a:lnTo>
                <a:cubicBezTo>
                  <a:pt x="8413" y="11657"/>
                  <a:pt x="8885" y="11185"/>
                  <a:pt x="8885" y="10649"/>
                </a:cubicBezTo>
                <a:lnTo>
                  <a:pt x="8885" y="5451"/>
                </a:lnTo>
                <a:cubicBezTo>
                  <a:pt x="9673" y="5293"/>
                  <a:pt x="10271" y="4569"/>
                  <a:pt x="10271" y="3749"/>
                </a:cubicBezTo>
                <a:lnTo>
                  <a:pt x="10271" y="3088"/>
                </a:lnTo>
                <a:cubicBezTo>
                  <a:pt x="10271" y="2521"/>
                  <a:pt x="9799" y="2048"/>
                  <a:pt x="9263" y="2048"/>
                </a:cubicBezTo>
                <a:lnTo>
                  <a:pt x="8885" y="2048"/>
                </a:lnTo>
                <a:lnTo>
                  <a:pt x="8885" y="1040"/>
                </a:lnTo>
                <a:cubicBezTo>
                  <a:pt x="8885" y="473"/>
                  <a:pt x="8413" y="0"/>
                  <a:pt x="7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39" name="Google Shape;9939;p78"/>
          <p:cNvGrpSpPr/>
          <p:nvPr/>
        </p:nvGrpSpPr>
        <p:grpSpPr>
          <a:xfrm>
            <a:off x="2186451" y="3844343"/>
            <a:ext cx="366963" cy="352768"/>
            <a:chOff x="-31889075" y="2658950"/>
            <a:chExt cx="302475" cy="290775"/>
          </a:xfrm>
        </p:grpSpPr>
        <p:sp>
          <p:nvSpPr>
            <p:cNvPr id="9940" name="Google Shape;9940;p78"/>
            <p:cNvSpPr/>
            <p:nvPr/>
          </p:nvSpPr>
          <p:spPr>
            <a:xfrm>
              <a:off x="-31889075" y="2658950"/>
              <a:ext cx="302475" cy="290775"/>
            </a:xfrm>
            <a:custGeom>
              <a:avLst/>
              <a:gdLst/>
              <a:ahLst/>
              <a:cxnLst/>
              <a:rect l="l" t="t" r="r" b="b"/>
              <a:pathLst>
                <a:path w="12099" h="11631" extrusionOk="0">
                  <a:moveTo>
                    <a:pt x="10555" y="712"/>
                  </a:moveTo>
                  <a:lnTo>
                    <a:pt x="11153" y="1310"/>
                  </a:lnTo>
                  <a:lnTo>
                    <a:pt x="10051" y="3138"/>
                  </a:lnTo>
                  <a:lnTo>
                    <a:pt x="8728" y="1814"/>
                  </a:lnTo>
                  <a:lnTo>
                    <a:pt x="10555" y="712"/>
                  </a:lnTo>
                  <a:close/>
                  <a:moveTo>
                    <a:pt x="8665" y="2696"/>
                  </a:moveTo>
                  <a:lnTo>
                    <a:pt x="9137" y="3169"/>
                  </a:lnTo>
                  <a:lnTo>
                    <a:pt x="7278" y="4996"/>
                  </a:lnTo>
                  <a:lnTo>
                    <a:pt x="6806" y="4524"/>
                  </a:lnTo>
                  <a:lnTo>
                    <a:pt x="8665" y="2696"/>
                  </a:lnTo>
                  <a:close/>
                  <a:moveTo>
                    <a:pt x="3022" y="640"/>
                  </a:moveTo>
                  <a:cubicBezTo>
                    <a:pt x="3549" y="640"/>
                    <a:pt x="4066" y="847"/>
                    <a:pt x="4443" y="1247"/>
                  </a:cubicBezTo>
                  <a:cubicBezTo>
                    <a:pt x="5010" y="1783"/>
                    <a:pt x="5199" y="2602"/>
                    <a:pt x="4915" y="3358"/>
                  </a:cubicBezTo>
                  <a:cubicBezTo>
                    <a:pt x="4884" y="3484"/>
                    <a:pt x="4915" y="3642"/>
                    <a:pt x="5010" y="3705"/>
                  </a:cubicBezTo>
                  <a:lnTo>
                    <a:pt x="8160" y="6855"/>
                  </a:lnTo>
                  <a:cubicBezTo>
                    <a:pt x="8208" y="6926"/>
                    <a:pt x="8308" y="6961"/>
                    <a:pt x="8409" y="6961"/>
                  </a:cubicBezTo>
                  <a:cubicBezTo>
                    <a:pt x="8442" y="6961"/>
                    <a:pt x="8476" y="6957"/>
                    <a:pt x="8507" y="6950"/>
                  </a:cubicBezTo>
                  <a:cubicBezTo>
                    <a:pt x="8741" y="6862"/>
                    <a:pt x="8981" y="6819"/>
                    <a:pt x="9217" y="6819"/>
                  </a:cubicBezTo>
                  <a:cubicBezTo>
                    <a:pt x="9743" y="6819"/>
                    <a:pt x="10248" y="7031"/>
                    <a:pt x="10618" y="7422"/>
                  </a:cubicBezTo>
                  <a:cubicBezTo>
                    <a:pt x="11153" y="7926"/>
                    <a:pt x="11342" y="8682"/>
                    <a:pt x="11153" y="9375"/>
                  </a:cubicBezTo>
                  <a:lnTo>
                    <a:pt x="10240" y="8493"/>
                  </a:lnTo>
                  <a:cubicBezTo>
                    <a:pt x="10035" y="8289"/>
                    <a:pt x="9767" y="8186"/>
                    <a:pt x="9503" y="8186"/>
                  </a:cubicBezTo>
                  <a:cubicBezTo>
                    <a:pt x="9240" y="8186"/>
                    <a:pt x="8980" y="8289"/>
                    <a:pt x="8791" y="8493"/>
                  </a:cubicBezTo>
                  <a:cubicBezTo>
                    <a:pt x="8381" y="8871"/>
                    <a:pt x="8381" y="9533"/>
                    <a:pt x="8791" y="9943"/>
                  </a:cubicBezTo>
                  <a:lnTo>
                    <a:pt x="9673" y="10856"/>
                  </a:lnTo>
                  <a:cubicBezTo>
                    <a:pt x="9498" y="10904"/>
                    <a:pt x="9318" y="10928"/>
                    <a:pt x="9140" y="10928"/>
                  </a:cubicBezTo>
                  <a:cubicBezTo>
                    <a:pt x="8614" y="10928"/>
                    <a:pt x="8096" y="10721"/>
                    <a:pt x="7719" y="10321"/>
                  </a:cubicBezTo>
                  <a:cubicBezTo>
                    <a:pt x="7152" y="9785"/>
                    <a:pt x="6963" y="8966"/>
                    <a:pt x="7247" y="8210"/>
                  </a:cubicBezTo>
                  <a:cubicBezTo>
                    <a:pt x="7278" y="8084"/>
                    <a:pt x="7247" y="7926"/>
                    <a:pt x="7152" y="7863"/>
                  </a:cubicBezTo>
                  <a:lnTo>
                    <a:pt x="4002" y="4713"/>
                  </a:lnTo>
                  <a:cubicBezTo>
                    <a:pt x="3960" y="4629"/>
                    <a:pt x="3876" y="4587"/>
                    <a:pt x="3787" y="4587"/>
                  </a:cubicBezTo>
                  <a:cubicBezTo>
                    <a:pt x="3743" y="4587"/>
                    <a:pt x="3697" y="4597"/>
                    <a:pt x="3655" y="4618"/>
                  </a:cubicBezTo>
                  <a:cubicBezTo>
                    <a:pt x="3421" y="4706"/>
                    <a:pt x="3181" y="4749"/>
                    <a:pt x="2945" y="4749"/>
                  </a:cubicBezTo>
                  <a:cubicBezTo>
                    <a:pt x="2419" y="4749"/>
                    <a:pt x="1914" y="4537"/>
                    <a:pt x="1544" y="4146"/>
                  </a:cubicBezTo>
                  <a:cubicBezTo>
                    <a:pt x="1009" y="3642"/>
                    <a:pt x="820" y="2885"/>
                    <a:pt x="1009" y="2192"/>
                  </a:cubicBezTo>
                  <a:lnTo>
                    <a:pt x="1009" y="2192"/>
                  </a:lnTo>
                  <a:lnTo>
                    <a:pt x="1922" y="3075"/>
                  </a:lnTo>
                  <a:cubicBezTo>
                    <a:pt x="2127" y="3279"/>
                    <a:pt x="2395" y="3382"/>
                    <a:pt x="2659" y="3382"/>
                  </a:cubicBezTo>
                  <a:cubicBezTo>
                    <a:pt x="2923" y="3382"/>
                    <a:pt x="3183" y="3279"/>
                    <a:pt x="3372" y="3075"/>
                  </a:cubicBezTo>
                  <a:cubicBezTo>
                    <a:pt x="3781" y="2696"/>
                    <a:pt x="3781" y="2035"/>
                    <a:pt x="3372" y="1625"/>
                  </a:cubicBezTo>
                  <a:lnTo>
                    <a:pt x="2490" y="712"/>
                  </a:lnTo>
                  <a:cubicBezTo>
                    <a:pt x="2665" y="664"/>
                    <a:pt x="2844" y="640"/>
                    <a:pt x="3022" y="640"/>
                  </a:cubicBezTo>
                  <a:close/>
                  <a:moveTo>
                    <a:pt x="4380" y="6036"/>
                  </a:moveTo>
                  <a:lnTo>
                    <a:pt x="5829" y="7485"/>
                  </a:lnTo>
                  <a:lnTo>
                    <a:pt x="2679" y="10636"/>
                  </a:lnTo>
                  <a:cubicBezTo>
                    <a:pt x="2474" y="10840"/>
                    <a:pt x="2206" y="10943"/>
                    <a:pt x="1942" y="10943"/>
                  </a:cubicBezTo>
                  <a:cubicBezTo>
                    <a:pt x="1678" y="10943"/>
                    <a:pt x="1418" y="10840"/>
                    <a:pt x="1229" y="10636"/>
                  </a:cubicBezTo>
                  <a:cubicBezTo>
                    <a:pt x="820" y="10226"/>
                    <a:pt x="820" y="9596"/>
                    <a:pt x="1229" y="9186"/>
                  </a:cubicBezTo>
                  <a:lnTo>
                    <a:pt x="4380" y="6036"/>
                  </a:lnTo>
                  <a:close/>
                  <a:moveTo>
                    <a:pt x="2915" y="1"/>
                  </a:moveTo>
                  <a:cubicBezTo>
                    <a:pt x="2465" y="1"/>
                    <a:pt x="2014" y="112"/>
                    <a:pt x="1607" y="334"/>
                  </a:cubicBezTo>
                  <a:cubicBezTo>
                    <a:pt x="1544" y="365"/>
                    <a:pt x="1450" y="491"/>
                    <a:pt x="1450" y="554"/>
                  </a:cubicBezTo>
                  <a:cubicBezTo>
                    <a:pt x="1450" y="680"/>
                    <a:pt x="1481" y="775"/>
                    <a:pt x="1544" y="838"/>
                  </a:cubicBezTo>
                  <a:lnTo>
                    <a:pt x="2836" y="2129"/>
                  </a:lnTo>
                  <a:cubicBezTo>
                    <a:pt x="2962" y="2255"/>
                    <a:pt x="2962" y="2507"/>
                    <a:pt x="2836" y="2602"/>
                  </a:cubicBezTo>
                  <a:cubicBezTo>
                    <a:pt x="2773" y="2665"/>
                    <a:pt x="2686" y="2696"/>
                    <a:pt x="2600" y="2696"/>
                  </a:cubicBezTo>
                  <a:cubicBezTo>
                    <a:pt x="2513" y="2696"/>
                    <a:pt x="2427" y="2665"/>
                    <a:pt x="2364" y="2602"/>
                  </a:cubicBezTo>
                  <a:lnTo>
                    <a:pt x="1072" y="1310"/>
                  </a:lnTo>
                  <a:cubicBezTo>
                    <a:pt x="1001" y="1239"/>
                    <a:pt x="912" y="1204"/>
                    <a:pt x="846" y="1204"/>
                  </a:cubicBezTo>
                  <a:cubicBezTo>
                    <a:pt x="824" y="1204"/>
                    <a:pt x="804" y="1208"/>
                    <a:pt x="788" y="1216"/>
                  </a:cubicBezTo>
                  <a:cubicBezTo>
                    <a:pt x="662" y="1216"/>
                    <a:pt x="599" y="1310"/>
                    <a:pt x="536" y="1373"/>
                  </a:cubicBezTo>
                  <a:cubicBezTo>
                    <a:pt x="1" y="2413"/>
                    <a:pt x="127" y="3736"/>
                    <a:pt x="1009" y="4618"/>
                  </a:cubicBezTo>
                  <a:cubicBezTo>
                    <a:pt x="1549" y="5135"/>
                    <a:pt x="2230" y="5407"/>
                    <a:pt x="2934" y="5407"/>
                  </a:cubicBezTo>
                  <a:cubicBezTo>
                    <a:pt x="3173" y="5407"/>
                    <a:pt x="3415" y="5375"/>
                    <a:pt x="3655" y="5311"/>
                  </a:cubicBezTo>
                  <a:lnTo>
                    <a:pt x="3907" y="5563"/>
                  </a:lnTo>
                  <a:lnTo>
                    <a:pt x="757" y="8714"/>
                  </a:lnTo>
                  <a:cubicBezTo>
                    <a:pt x="64" y="9344"/>
                    <a:pt x="64" y="10447"/>
                    <a:pt x="757" y="11108"/>
                  </a:cubicBezTo>
                  <a:cubicBezTo>
                    <a:pt x="1088" y="11455"/>
                    <a:pt x="1521" y="11628"/>
                    <a:pt x="1954" y="11628"/>
                  </a:cubicBezTo>
                  <a:cubicBezTo>
                    <a:pt x="2387" y="11628"/>
                    <a:pt x="2820" y="11455"/>
                    <a:pt x="3151" y="11108"/>
                  </a:cubicBezTo>
                  <a:lnTo>
                    <a:pt x="6302" y="7958"/>
                  </a:lnTo>
                  <a:lnTo>
                    <a:pt x="6522" y="8210"/>
                  </a:lnTo>
                  <a:cubicBezTo>
                    <a:pt x="6302" y="9155"/>
                    <a:pt x="6522" y="10132"/>
                    <a:pt x="7247" y="10825"/>
                  </a:cubicBezTo>
                  <a:cubicBezTo>
                    <a:pt x="7765" y="11362"/>
                    <a:pt x="8469" y="11630"/>
                    <a:pt x="9169" y="11630"/>
                  </a:cubicBezTo>
                  <a:cubicBezTo>
                    <a:pt x="9618" y="11630"/>
                    <a:pt x="10066" y="11519"/>
                    <a:pt x="10460" y="11297"/>
                  </a:cubicBezTo>
                  <a:cubicBezTo>
                    <a:pt x="10555" y="11266"/>
                    <a:pt x="10618" y="11140"/>
                    <a:pt x="10618" y="11077"/>
                  </a:cubicBezTo>
                  <a:cubicBezTo>
                    <a:pt x="10618" y="11014"/>
                    <a:pt x="10586" y="10888"/>
                    <a:pt x="10555" y="10793"/>
                  </a:cubicBezTo>
                  <a:lnTo>
                    <a:pt x="9263" y="9501"/>
                  </a:lnTo>
                  <a:cubicBezTo>
                    <a:pt x="9137" y="9375"/>
                    <a:pt x="9137" y="9155"/>
                    <a:pt x="9263" y="9029"/>
                  </a:cubicBezTo>
                  <a:cubicBezTo>
                    <a:pt x="9310" y="8966"/>
                    <a:pt x="9397" y="8934"/>
                    <a:pt x="9488" y="8934"/>
                  </a:cubicBezTo>
                  <a:cubicBezTo>
                    <a:pt x="9578" y="8934"/>
                    <a:pt x="9673" y="8966"/>
                    <a:pt x="9736" y="9029"/>
                  </a:cubicBezTo>
                  <a:lnTo>
                    <a:pt x="11027" y="10321"/>
                  </a:lnTo>
                  <a:cubicBezTo>
                    <a:pt x="11075" y="10392"/>
                    <a:pt x="11157" y="10427"/>
                    <a:pt x="11236" y="10427"/>
                  </a:cubicBezTo>
                  <a:cubicBezTo>
                    <a:pt x="11262" y="10427"/>
                    <a:pt x="11287" y="10423"/>
                    <a:pt x="11311" y="10415"/>
                  </a:cubicBezTo>
                  <a:cubicBezTo>
                    <a:pt x="11405" y="10415"/>
                    <a:pt x="11500" y="10321"/>
                    <a:pt x="11532" y="10258"/>
                  </a:cubicBezTo>
                  <a:cubicBezTo>
                    <a:pt x="12099" y="9218"/>
                    <a:pt x="11973" y="7895"/>
                    <a:pt x="11059" y="7013"/>
                  </a:cubicBezTo>
                  <a:cubicBezTo>
                    <a:pt x="10542" y="6496"/>
                    <a:pt x="9850" y="6224"/>
                    <a:pt x="9139" y="6224"/>
                  </a:cubicBezTo>
                  <a:cubicBezTo>
                    <a:pt x="8897" y="6224"/>
                    <a:pt x="8653" y="6255"/>
                    <a:pt x="8413" y="6320"/>
                  </a:cubicBezTo>
                  <a:lnTo>
                    <a:pt x="7719" y="5595"/>
                  </a:lnTo>
                  <a:lnTo>
                    <a:pt x="9578" y="3736"/>
                  </a:lnTo>
                  <a:lnTo>
                    <a:pt x="9799" y="3988"/>
                  </a:lnTo>
                  <a:cubicBezTo>
                    <a:pt x="9867" y="4056"/>
                    <a:pt x="9958" y="4089"/>
                    <a:pt x="10051" y="4089"/>
                  </a:cubicBezTo>
                  <a:cubicBezTo>
                    <a:pt x="10172" y="4089"/>
                    <a:pt x="10294" y="4032"/>
                    <a:pt x="10366" y="3925"/>
                  </a:cubicBezTo>
                  <a:lnTo>
                    <a:pt x="11815" y="1499"/>
                  </a:lnTo>
                  <a:cubicBezTo>
                    <a:pt x="11878" y="1373"/>
                    <a:pt x="11878" y="1184"/>
                    <a:pt x="11784" y="1090"/>
                  </a:cubicBezTo>
                  <a:lnTo>
                    <a:pt x="10775" y="82"/>
                  </a:lnTo>
                  <a:cubicBezTo>
                    <a:pt x="10723" y="30"/>
                    <a:pt x="10652" y="6"/>
                    <a:pt x="10573" y="6"/>
                  </a:cubicBezTo>
                  <a:cubicBezTo>
                    <a:pt x="10507" y="6"/>
                    <a:pt x="10437" y="22"/>
                    <a:pt x="10366" y="50"/>
                  </a:cubicBezTo>
                  <a:lnTo>
                    <a:pt x="7940" y="1499"/>
                  </a:lnTo>
                  <a:cubicBezTo>
                    <a:pt x="7751" y="1625"/>
                    <a:pt x="7719" y="1909"/>
                    <a:pt x="7877" y="2066"/>
                  </a:cubicBezTo>
                  <a:lnTo>
                    <a:pt x="8097" y="2287"/>
                  </a:lnTo>
                  <a:lnTo>
                    <a:pt x="6270" y="4146"/>
                  </a:lnTo>
                  <a:lnTo>
                    <a:pt x="5546" y="3421"/>
                  </a:lnTo>
                  <a:cubicBezTo>
                    <a:pt x="5798" y="2476"/>
                    <a:pt x="5546" y="1499"/>
                    <a:pt x="4852" y="806"/>
                  </a:cubicBezTo>
                  <a:cubicBezTo>
                    <a:pt x="4315" y="269"/>
                    <a:pt x="3615" y="1"/>
                    <a:pt x="2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1" name="Google Shape;9941;p78"/>
            <p:cNvSpPr/>
            <p:nvPr/>
          </p:nvSpPr>
          <p:spPr>
            <a:xfrm>
              <a:off x="-31838650" y="2838200"/>
              <a:ext cx="70100" cy="68550"/>
            </a:xfrm>
            <a:custGeom>
              <a:avLst/>
              <a:gdLst/>
              <a:ahLst/>
              <a:cxnLst/>
              <a:rect l="l" t="t" r="r" b="b"/>
              <a:pathLst>
                <a:path w="2804" h="2742" extrusionOk="0">
                  <a:moveTo>
                    <a:pt x="2430" y="0"/>
                  </a:moveTo>
                  <a:cubicBezTo>
                    <a:pt x="2339" y="0"/>
                    <a:pt x="2253" y="32"/>
                    <a:pt x="2205" y="95"/>
                  </a:cubicBezTo>
                  <a:lnTo>
                    <a:pt x="95" y="2174"/>
                  </a:lnTo>
                  <a:cubicBezTo>
                    <a:pt x="0" y="2300"/>
                    <a:pt x="0" y="2521"/>
                    <a:pt x="95" y="2647"/>
                  </a:cubicBezTo>
                  <a:cubicBezTo>
                    <a:pt x="158" y="2710"/>
                    <a:pt x="236" y="2741"/>
                    <a:pt x="319" y="2741"/>
                  </a:cubicBezTo>
                  <a:cubicBezTo>
                    <a:pt x="402" y="2741"/>
                    <a:pt x="488" y="2710"/>
                    <a:pt x="567" y="2647"/>
                  </a:cubicBezTo>
                  <a:lnTo>
                    <a:pt x="2678" y="567"/>
                  </a:lnTo>
                  <a:cubicBezTo>
                    <a:pt x="2804" y="441"/>
                    <a:pt x="2804" y="221"/>
                    <a:pt x="2678" y="95"/>
                  </a:cubicBezTo>
                  <a:cubicBezTo>
                    <a:pt x="2615" y="32"/>
                    <a:pt x="2520" y="0"/>
                    <a:pt x="24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2" name="Google Shape;9942;p78"/>
          <p:cNvSpPr/>
          <p:nvPr/>
        </p:nvSpPr>
        <p:spPr>
          <a:xfrm>
            <a:off x="3974577" y="3383282"/>
            <a:ext cx="356438" cy="354558"/>
          </a:xfrm>
          <a:custGeom>
            <a:avLst/>
            <a:gdLst/>
            <a:ahLst/>
            <a:cxnLst/>
            <a:rect l="l" t="t" r="r" b="b"/>
            <a:pathLst>
              <a:path w="11752" h="11690" extrusionOk="0">
                <a:moveTo>
                  <a:pt x="5923" y="694"/>
                </a:moveTo>
                <a:cubicBezTo>
                  <a:pt x="6490" y="694"/>
                  <a:pt x="6963" y="1166"/>
                  <a:pt x="6963" y="1765"/>
                </a:cubicBezTo>
                <a:cubicBezTo>
                  <a:pt x="6963" y="2332"/>
                  <a:pt x="6490" y="2805"/>
                  <a:pt x="5923" y="2805"/>
                </a:cubicBezTo>
                <a:cubicBezTo>
                  <a:pt x="5325" y="2805"/>
                  <a:pt x="4852" y="2332"/>
                  <a:pt x="4852" y="1765"/>
                </a:cubicBezTo>
                <a:cubicBezTo>
                  <a:pt x="4852" y="1229"/>
                  <a:pt x="5325" y="694"/>
                  <a:pt x="5923" y="694"/>
                </a:cubicBezTo>
                <a:close/>
                <a:moveTo>
                  <a:pt x="2489" y="3466"/>
                </a:moveTo>
                <a:cubicBezTo>
                  <a:pt x="2678" y="3466"/>
                  <a:pt x="2836" y="3624"/>
                  <a:pt x="2836" y="3813"/>
                </a:cubicBezTo>
                <a:lnTo>
                  <a:pt x="2836" y="4916"/>
                </a:lnTo>
                <a:cubicBezTo>
                  <a:pt x="2678" y="4947"/>
                  <a:pt x="2584" y="5042"/>
                  <a:pt x="2458" y="5168"/>
                </a:cubicBezTo>
                <a:cubicBezTo>
                  <a:pt x="2363" y="5231"/>
                  <a:pt x="2300" y="5357"/>
                  <a:pt x="2237" y="5420"/>
                </a:cubicBezTo>
                <a:cubicBezTo>
                  <a:pt x="2174" y="5357"/>
                  <a:pt x="2143" y="5262"/>
                  <a:pt x="2143" y="5199"/>
                </a:cubicBezTo>
                <a:lnTo>
                  <a:pt x="2143" y="3813"/>
                </a:lnTo>
                <a:cubicBezTo>
                  <a:pt x="2143" y="3624"/>
                  <a:pt x="2300" y="3466"/>
                  <a:pt x="2489" y="3466"/>
                </a:cubicBezTo>
                <a:close/>
                <a:moveTo>
                  <a:pt x="9326" y="3466"/>
                </a:moveTo>
                <a:cubicBezTo>
                  <a:pt x="9546" y="3466"/>
                  <a:pt x="9704" y="3624"/>
                  <a:pt x="9704" y="3813"/>
                </a:cubicBezTo>
                <a:lnTo>
                  <a:pt x="9704" y="5199"/>
                </a:lnTo>
                <a:cubicBezTo>
                  <a:pt x="9704" y="5262"/>
                  <a:pt x="9641" y="5357"/>
                  <a:pt x="9578" y="5420"/>
                </a:cubicBezTo>
                <a:cubicBezTo>
                  <a:pt x="9546" y="5294"/>
                  <a:pt x="9452" y="5231"/>
                  <a:pt x="9389" y="5168"/>
                </a:cubicBezTo>
                <a:cubicBezTo>
                  <a:pt x="9263" y="5042"/>
                  <a:pt x="9137" y="4947"/>
                  <a:pt x="8979" y="4916"/>
                </a:cubicBezTo>
                <a:lnTo>
                  <a:pt x="8979" y="3813"/>
                </a:lnTo>
                <a:cubicBezTo>
                  <a:pt x="9011" y="3624"/>
                  <a:pt x="9168" y="3466"/>
                  <a:pt x="9326" y="3466"/>
                </a:cubicBezTo>
                <a:close/>
                <a:moveTo>
                  <a:pt x="5923" y="3466"/>
                </a:moveTo>
                <a:cubicBezTo>
                  <a:pt x="6900" y="3466"/>
                  <a:pt x="7814" y="4096"/>
                  <a:pt x="8160" y="4947"/>
                </a:cubicBezTo>
                <a:cubicBezTo>
                  <a:pt x="8066" y="5010"/>
                  <a:pt x="8003" y="5042"/>
                  <a:pt x="7971" y="5105"/>
                </a:cubicBezTo>
                <a:lnTo>
                  <a:pt x="6081" y="6963"/>
                </a:lnTo>
                <a:cubicBezTo>
                  <a:pt x="6018" y="6995"/>
                  <a:pt x="5955" y="7089"/>
                  <a:pt x="5923" y="7152"/>
                </a:cubicBezTo>
                <a:cubicBezTo>
                  <a:pt x="5860" y="7089"/>
                  <a:pt x="5797" y="7026"/>
                  <a:pt x="5766" y="6963"/>
                </a:cubicBezTo>
                <a:lnTo>
                  <a:pt x="3876" y="5105"/>
                </a:lnTo>
                <a:cubicBezTo>
                  <a:pt x="3781" y="5042"/>
                  <a:pt x="3750" y="5010"/>
                  <a:pt x="3655" y="4947"/>
                </a:cubicBezTo>
                <a:cubicBezTo>
                  <a:pt x="4033" y="4096"/>
                  <a:pt x="4915" y="3466"/>
                  <a:pt x="5923" y="3466"/>
                </a:cubicBezTo>
                <a:close/>
                <a:moveTo>
                  <a:pt x="10744" y="2049"/>
                </a:moveTo>
                <a:cubicBezTo>
                  <a:pt x="10964" y="2049"/>
                  <a:pt x="11122" y="2206"/>
                  <a:pt x="11122" y="2395"/>
                </a:cubicBezTo>
                <a:lnTo>
                  <a:pt x="11122" y="6144"/>
                </a:lnTo>
                <a:lnTo>
                  <a:pt x="11059" y="6144"/>
                </a:lnTo>
                <a:cubicBezTo>
                  <a:pt x="11059" y="6333"/>
                  <a:pt x="11027" y="6491"/>
                  <a:pt x="10901" y="6648"/>
                </a:cubicBezTo>
                <a:lnTo>
                  <a:pt x="9263" y="9421"/>
                </a:lnTo>
                <a:cubicBezTo>
                  <a:pt x="9105" y="9673"/>
                  <a:pt x="9011" y="9956"/>
                  <a:pt x="9011" y="10271"/>
                </a:cubicBezTo>
                <a:lnTo>
                  <a:pt x="9011" y="10933"/>
                </a:lnTo>
                <a:lnTo>
                  <a:pt x="6270" y="10933"/>
                </a:lnTo>
                <a:lnTo>
                  <a:pt x="6270" y="8097"/>
                </a:lnTo>
                <a:cubicBezTo>
                  <a:pt x="6270" y="7845"/>
                  <a:pt x="6396" y="7593"/>
                  <a:pt x="6585" y="7404"/>
                </a:cubicBezTo>
                <a:lnTo>
                  <a:pt x="8475" y="5546"/>
                </a:lnTo>
                <a:cubicBezTo>
                  <a:pt x="8538" y="5483"/>
                  <a:pt x="8625" y="5451"/>
                  <a:pt x="8712" y="5451"/>
                </a:cubicBezTo>
                <a:cubicBezTo>
                  <a:pt x="8798" y="5451"/>
                  <a:pt x="8885" y="5483"/>
                  <a:pt x="8948" y="5546"/>
                </a:cubicBezTo>
                <a:cubicBezTo>
                  <a:pt x="9074" y="5672"/>
                  <a:pt x="9074" y="5892"/>
                  <a:pt x="8948" y="6018"/>
                </a:cubicBezTo>
                <a:lnTo>
                  <a:pt x="7751" y="7215"/>
                </a:lnTo>
                <a:cubicBezTo>
                  <a:pt x="7656" y="7310"/>
                  <a:pt x="7656" y="7562"/>
                  <a:pt x="7751" y="7656"/>
                </a:cubicBezTo>
                <a:cubicBezTo>
                  <a:pt x="7814" y="7719"/>
                  <a:pt x="7908" y="7751"/>
                  <a:pt x="7999" y="7751"/>
                </a:cubicBezTo>
                <a:cubicBezTo>
                  <a:pt x="8089" y="7751"/>
                  <a:pt x="8176" y="7719"/>
                  <a:pt x="8223" y="7656"/>
                </a:cubicBezTo>
                <a:lnTo>
                  <a:pt x="10082" y="5829"/>
                </a:lnTo>
                <a:cubicBezTo>
                  <a:pt x="10271" y="5609"/>
                  <a:pt x="10397" y="5388"/>
                  <a:pt x="10397" y="5105"/>
                </a:cubicBezTo>
                <a:lnTo>
                  <a:pt x="10397" y="2395"/>
                </a:lnTo>
                <a:cubicBezTo>
                  <a:pt x="10397" y="2206"/>
                  <a:pt x="10555" y="2049"/>
                  <a:pt x="10744" y="2049"/>
                </a:cubicBezTo>
                <a:close/>
                <a:moveTo>
                  <a:pt x="1103" y="2080"/>
                </a:moveTo>
                <a:cubicBezTo>
                  <a:pt x="1292" y="2080"/>
                  <a:pt x="1450" y="2238"/>
                  <a:pt x="1450" y="2427"/>
                </a:cubicBezTo>
                <a:lnTo>
                  <a:pt x="1450" y="5168"/>
                </a:lnTo>
                <a:cubicBezTo>
                  <a:pt x="1450" y="5420"/>
                  <a:pt x="1576" y="5672"/>
                  <a:pt x="1796" y="5861"/>
                </a:cubicBezTo>
                <a:lnTo>
                  <a:pt x="3624" y="7719"/>
                </a:lnTo>
                <a:cubicBezTo>
                  <a:pt x="3687" y="7782"/>
                  <a:pt x="3781" y="7814"/>
                  <a:pt x="3872" y="7814"/>
                </a:cubicBezTo>
                <a:cubicBezTo>
                  <a:pt x="3962" y="7814"/>
                  <a:pt x="4049" y="7782"/>
                  <a:pt x="4096" y="7719"/>
                </a:cubicBezTo>
                <a:cubicBezTo>
                  <a:pt x="4222" y="7593"/>
                  <a:pt x="4222" y="7373"/>
                  <a:pt x="4096" y="7247"/>
                </a:cubicBezTo>
                <a:lnTo>
                  <a:pt x="2930" y="6050"/>
                </a:lnTo>
                <a:cubicBezTo>
                  <a:pt x="2804" y="5955"/>
                  <a:pt x="2804" y="5703"/>
                  <a:pt x="2930" y="5577"/>
                </a:cubicBezTo>
                <a:cubicBezTo>
                  <a:pt x="2978" y="5530"/>
                  <a:pt x="3064" y="5506"/>
                  <a:pt x="3155" y="5506"/>
                </a:cubicBezTo>
                <a:cubicBezTo>
                  <a:pt x="3245" y="5506"/>
                  <a:pt x="3340" y="5530"/>
                  <a:pt x="3403" y="5577"/>
                </a:cubicBezTo>
                <a:lnTo>
                  <a:pt x="5293" y="7436"/>
                </a:lnTo>
                <a:cubicBezTo>
                  <a:pt x="5482" y="7625"/>
                  <a:pt x="5608" y="7877"/>
                  <a:pt x="5608" y="8161"/>
                </a:cubicBezTo>
                <a:lnTo>
                  <a:pt x="5608" y="10996"/>
                </a:lnTo>
                <a:lnTo>
                  <a:pt x="2836" y="10996"/>
                </a:lnTo>
                <a:lnTo>
                  <a:pt x="2836" y="10303"/>
                </a:lnTo>
                <a:cubicBezTo>
                  <a:pt x="2804" y="10051"/>
                  <a:pt x="2710" y="9736"/>
                  <a:pt x="2552" y="9452"/>
                </a:cubicBezTo>
                <a:lnTo>
                  <a:pt x="914" y="6680"/>
                </a:lnTo>
                <a:cubicBezTo>
                  <a:pt x="851" y="6522"/>
                  <a:pt x="757" y="6333"/>
                  <a:pt x="757" y="6176"/>
                </a:cubicBezTo>
                <a:lnTo>
                  <a:pt x="757" y="2427"/>
                </a:lnTo>
                <a:cubicBezTo>
                  <a:pt x="757" y="2238"/>
                  <a:pt x="914" y="2080"/>
                  <a:pt x="1103" y="2080"/>
                </a:cubicBezTo>
                <a:close/>
                <a:moveTo>
                  <a:pt x="5860" y="1"/>
                </a:moveTo>
                <a:cubicBezTo>
                  <a:pt x="4915" y="1"/>
                  <a:pt x="4128" y="788"/>
                  <a:pt x="4128" y="1734"/>
                </a:cubicBezTo>
                <a:cubicBezTo>
                  <a:pt x="4128" y="2206"/>
                  <a:pt x="4348" y="2647"/>
                  <a:pt x="4695" y="2994"/>
                </a:cubicBezTo>
                <a:cubicBezTo>
                  <a:pt x="4411" y="3120"/>
                  <a:pt x="4191" y="3214"/>
                  <a:pt x="3939" y="3435"/>
                </a:cubicBezTo>
                <a:cubicBezTo>
                  <a:pt x="3750" y="3592"/>
                  <a:pt x="3592" y="3750"/>
                  <a:pt x="3435" y="3939"/>
                </a:cubicBezTo>
                <a:lnTo>
                  <a:pt x="3435" y="3813"/>
                </a:lnTo>
                <a:cubicBezTo>
                  <a:pt x="3435" y="3246"/>
                  <a:pt x="2962" y="2805"/>
                  <a:pt x="2395" y="2805"/>
                </a:cubicBezTo>
                <a:cubicBezTo>
                  <a:pt x="2300" y="2805"/>
                  <a:pt x="2174" y="2836"/>
                  <a:pt x="2048" y="2836"/>
                </a:cubicBezTo>
                <a:lnTo>
                  <a:pt x="2048" y="2427"/>
                </a:lnTo>
                <a:cubicBezTo>
                  <a:pt x="2048" y="1891"/>
                  <a:pt x="1576" y="1418"/>
                  <a:pt x="1040" y="1418"/>
                </a:cubicBezTo>
                <a:cubicBezTo>
                  <a:pt x="473" y="1418"/>
                  <a:pt x="0" y="1891"/>
                  <a:pt x="0" y="2427"/>
                </a:cubicBezTo>
                <a:lnTo>
                  <a:pt x="0" y="6176"/>
                </a:lnTo>
                <a:cubicBezTo>
                  <a:pt x="0" y="6491"/>
                  <a:pt x="95" y="6806"/>
                  <a:pt x="253" y="7026"/>
                </a:cubicBezTo>
                <a:lnTo>
                  <a:pt x="1891" y="9799"/>
                </a:lnTo>
                <a:cubicBezTo>
                  <a:pt x="1985" y="9956"/>
                  <a:pt x="2048" y="10145"/>
                  <a:pt x="2048" y="10303"/>
                </a:cubicBezTo>
                <a:lnTo>
                  <a:pt x="2048" y="11342"/>
                </a:lnTo>
                <a:cubicBezTo>
                  <a:pt x="2048" y="11532"/>
                  <a:pt x="2206" y="11689"/>
                  <a:pt x="2395" y="11689"/>
                </a:cubicBezTo>
                <a:lnTo>
                  <a:pt x="9294" y="11689"/>
                </a:lnTo>
                <a:cubicBezTo>
                  <a:pt x="9483" y="11689"/>
                  <a:pt x="9641" y="11532"/>
                  <a:pt x="9641" y="11342"/>
                </a:cubicBezTo>
                <a:lnTo>
                  <a:pt x="9641" y="10303"/>
                </a:lnTo>
                <a:cubicBezTo>
                  <a:pt x="9641" y="10114"/>
                  <a:pt x="9704" y="9956"/>
                  <a:pt x="9799" y="9799"/>
                </a:cubicBezTo>
                <a:lnTo>
                  <a:pt x="11468" y="7026"/>
                </a:lnTo>
                <a:cubicBezTo>
                  <a:pt x="11626" y="6774"/>
                  <a:pt x="11689" y="6491"/>
                  <a:pt x="11689" y="6176"/>
                </a:cubicBezTo>
                <a:lnTo>
                  <a:pt x="11689" y="2427"/>
                </a:lnTo>
                <a:cubicBezTo>
                  <a:pt x="11752" y="1891"/>
                  <a:pt x="11279" y="1418"/>
                  <a:pt x="10712" y="1418"/>
                </a:cubicBezTo>
                <a:cubicBezTo>
                  <a:pt x="10177" y="1418"/>
                  <a:pt x="9704" y="1891"/>
                  <a:pt x="9704" y="2427"/>
                </a:cubicBezTo>
                <a:lnTo>
                  <a:pt x="9704" y="2836"/>
                </a:lnTo>
                <a:cubicBezTo>
                  <a:pt x="9578" y="2805"/>
                  <a:pt x="9452" y="2805"/>
                  <a:pt x="9326" y="2805"/>
                </a:cubicBezTo>
                <a:cubicBezTo>
                  <a:pt x="8790" y="2805"/>
                  <a:pt x="8318" y="3246"/>
                  <a:pt x="8318" y="3813"/>
                </a:cubicBezTo>
                <a:lnTo>
                  <a:pt x="8318" y="3939"/>
                </a:lnTo>
                <a:cubicBezTo>
                  <a:pt x="8160" y="3750"/>
                  <a:pt x="8003" y="3592"/>
                  <a:pt x="7814" y="3435"/>
                </a:cubicBezTo>
                <a:cubicBezTo>
                  <a:pt x="7562" y="3246"/>
                  <a:pt x="7341" y="3088"/>
                  <a:pt x="7058" y="2994"/>
                </a:cubicBezTo>
                <a:cubicBezTo>
                  <a:pt x="7404" y="2647"/>
                  <a:pt x="7593" y="2206"/>
                  <a:pt x="7593" y="1734"/>
                </a:cubicBezTo>
                <a:cubicBezTo>
                  <a:pt x="7593" y="788"/>
                  <a:pt x="6806"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3" name="Google Shape;9943;p78"/>
          <p:cNvGrpSpPr/>
          <p:nvPr/>
        </p:nvGrpSpPr>
        <p:grpSpPr>
          <a:xfrm>
            <a:off x="1747421" y="1534571"/>
            <a:ext cx="354527" cy="355498"/>
            <a:chOff x="-35136450" y="1912725"/>
            <a:chExt cx="292225" cy="293025"/>
          </a:xfrm>
        </p:grpSpPr>
        <p:sp>
          <p:nvSpPr>
            <p:cNvPr id="9944" name="Google Shape;9944;p78"/>
            <p:cNvSpPr/>
            <p:nvPr/>
          </p:nvSpPr>
          <p:spPr>
            <a:xfrm>
              <a:off x="-35136450" y="2050575"/>
              <a:ext cx="155975" cy="155175"/>
            </a:xfrm>
            <a:custGeom>
              <a:avLst/>
              <a:gdLst/>
              <a:ahLst/>
              <a:cxnLst/>
              <a:rect l="l" t="t" r="r" b="b"/>
              <a:pathLst>
                <a:path w="6239" h="6207" extrusionOk="0">
                  <a:moveTo>
                    <a:pt x="3120" y="693"/>
                  </a:moveTo>
                  <a:cubicBezTo>
                    <a:pt x="3718" y="693"/>
                    <a:pt x="4191" y="1166"/>
                    <a:pt x="4191" y="1702"/>
                  </a:cubicBezTo>
                  <a:cubicBezTo>
                    <a:pt x="4191" y="2269"/>
                    <a:pt x="3718" y="2741"/>
                    <a:pt x="3120" y="2741"/>
                  </a:cubicBezTo>
                  <a:cubicBezTo>
                    <a:pt x="2521" y="2741"/>
                    <a:pt x="2049" y="2269"/>
                    <a:pt x="2049" y="1702"/>
                  </a:cubicBezTo>
                  <a:cubicBezTo>
                    <a:pt x="2049" y="1166"/>
                    <a:pt x="2521" y="693"/>
                    <a:pt x="3120" y="693"/>
                  </a:cubicBezTo>
                  <a:close/>
                  <a:moveTo>
                    <a:pt x="3120" y="3434"/>
                  </a:moveTo>
                  <a:cubicBezTo>
                    <a:pt x="4348" y="3434"/>
                    <a:pt x="5357" y="4348"/>
                    <a:pt x="5514" y="5514"/>
                  </a:cubicBezTo>
                  <a:lnTo>
                    <a:pt x="757" y="5514"/>
                  </a:lnTo>
                  <a:cubicBezTo>
                    <a:pt x="883" y="4348"/>
                    <a:pt x="1891" y="3434"/>
                    <a:pt x="3120" y="3434"/>
                  </a:cubicBezTo>
                  <a:close/>
                  <a:moveTo>
                    <a:pt x="3120" y="0"/>
                  </a:moveTo>
                  <a:cubicBezTo>
                    <a:pt x="2175" y="0"/>
                    <a:pt x="1387" y="756"/>
                    <a:pt x="1387" y="1702"/>
                  </a:cubicBezTo>
                  <a:cubicBezTo>
                    <a:pt x="1387" y="2174"/>
                    <a:pt x="1576" y="2615"/>
                    <a:pt x="1891" y="2930"/>
                  </a:cubicBezTo>
                  <a:lnTo>
                    <a:pt x="1954" y="2962"/>
                  </a:lnTo>
                  <a:cubicBezTo>
                    <a:pt x="851" y="3403"/>
                    <a:pt x="1" y="4506"/>
                    <a:pt x="1" y="5829"/>
                  </a:cubicBezTo>
                  <a:cubicBezTo>
                    <a:pt x="1" y="6049"/>
                    <a:pt x="158" y="6207"/>
                    <a:pt x="379" y="6207"/>
                  </a:cubicBezTo>
                  <a:lnTo>
                    <a:pt x="5892" y="6207"/>
                  </a:lnTo>
                  <a:cubicBezTo>
                    <a:pt x="6081" y="6207"/>
                    <a:pt x="6239" y="6049"/>
                    <a:pt x="6239" y="5829"/>
                  </a:cubicBezTo>
                  <a:cubicBezTo>
                    <a:pt x="6239" y="4537"/>
                    <a:pt x="5420" y="3434"/>
                    <a:pt x="4317" y="2962"/>
                  </a:cubicBezTo>
                  <a:lnTo>
                    <a:pt x="4348" y="2930"/>
                  </a:lnTo>
                  <a:cubicBezTo>
                    <a:pt x="4663" y="2615"/>
                    <a:pt x="4852" y="2174"/>
                    <a:pt x="4852" y="1702"/>
                  </a:cubicBezTo>
                  <a:cubicBezTo>
                    <a:pt x="4852" y="756"/>
                    <a:pt x="4065" y="0"/>
                    <a:pt x="31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78"/>
            <p:cNvSpPr/>
            <p:nvPr/>
          </p:nvSpPr>
          <p:spPr>
            <a:xfrm>
              <a:off x="-34964750" y="1947400"/>
              <a:ext cx="68550" cy="103200"/>
            </a:xfrm>
            <a:custGeom>
              <a:avLst/>
              <a:gdLst/>
              <a:ahLst/>
              <a:cxnLst/>
              <a:rect l="l" t="t" r="r" b="b"/>
              <a:pathLst>
                <a:path w="2742" h="4128" extrusionOk="0">
                  <a:moveTo>
                    <a:pt x="1387" y="725"/>
                  </a:moveTo>
                  <a:cubicBezTo>
                    <a:pt x="1765" y="725"/>
                    <a:pt x="2049" y="1008"/>
                    <a:pt x="2049" y="1386"/>
                  </a:cubicBezTo>
                  <a:lnTo>
                    <a:pt x="2049" y="2773"/>
                  </a:lnTo>
                  <a:cubicBezTo>
                    <a:pt x="2049" y="2836"/>
                    <a:pt x="2049" y="2867"/>
                    <a:pt x="2017" y="2930"/>
                  </a:cubicBezTo>
                  <a:lnTo>
                    <a:pt x="1923" y="2836"/>
                  </a:lnTo>
                  <a:cubicBezTo>
                    <a:pt x="1860" y="2773"/>
                    <a:pt x="1773" y="2741"/>
                    <a:pt x="1686" y="2741"/>
                  </a:cubicBezTo>
                  <a:cubicBezTo>
                    <a:pt x="1600" y="2741"/>
                    <a:pt x="1513" y="2773"/>
                    <a:pt x="1450" y="2836"/>
                  </a:cubicBezTo>
                  <a:cubicBezTo>
                    <a:pt x="1324" y="2962"/>
                    <a:pt x="1324" y="3182"/>
                    <a:pt x="1450" y="3308"/>
                  </a:cubicBezTo>
                  <a:lnTo>
                    <a:pt x="1545" y="3403"/>
                  </a:lnTo>
                  <a:cubicBezTo>
                    <a:pt x="1482" y="3434"/>
                    <a:pt x="1450" y="3434"/>
                    <a:pt x="1387" y="3434"/>
                  </a:cubicBezTo>
                  <a:cubicBezTo>
                    <a:pt x="977" y="3434"/>
                    <a:pt x="694" y="3119"/>
                    <a:pt x="694" y="2773"/>
                  </a:cubicBezTo>
                  <a:lnTo>
                    <a:pt x="694" y="1386"/>
                  </a:lnTo>
                  <a:cubicBezTo>
                    <a:pt x="694" y="977"/>
                    <a:pt x="1040" y="725"/>
                    <a:pt x="1387" y="725"/>
                  </a:cubicBezTo>
                  <a:close/>
                  <a:moveTo>
                    <a:pt x="1387" y="0"/>
                  </a:moveTo>
                  <a:cubicBezTo>
                    <a:pt x="631" y="0"/>
                    <a:pt x="1" y="630"/>
                    <a:pt x="1" y="1386"/>
                  </a:cubicBezTo>
                  <a:lnTo>
                    <a:pt x="1" y="2773"/>
                  </a:lnTo>
                  <a:cubicBezTo>
                    <a:pt x="1" y="3497"/>
                    <a:pt x="631" y="4127"/>
                    <a:pt x="1387" y="4127"/>
                  </a:cubicBezTo>
                  <a:cubicBezTo>
                    <a:pt x="1608" y="4127"/>
                    <a:pt x="1860" y="4064"/>
                    <a:pt x="2080" y="3938"/>
                  </a:cubicBezTo>
                  <a:lnTo>
                    <a:pt x="2175" y="4033"/>
                  </a:lnTo>
                  <a:cubicBezTo>
                    <a:pt x="2222" y="4080"/>
                    <a:pt x="2309" y="4104"/>
                    <a:pt x="2399" y="4104"/>
                  </a:cubicBezTo>
                  <a:cubicBezTo>
                    <a:pt x="2490" y="4104"/>
                    <a:pt x="2584" y="4080"/>
                    <a:pt x="2647" y="4033"/>
                  </a:cubicBezTo>
                  <a:cubicBezTo>
                    <a:pt x="2742" y="3907"/>
                    <a:pt x="2742" y="3655"/>
                    <a:pt x="2647" y="3560"/>
                  </a:cubicBezTo>
                  <a:lnTo>
                    <a:pt x="2553" y="3466"/>
                  </a:lnTo>
                  <a:cubicBezTo>
                    <a:pt x="2679" y="3277"/>
                    <a:pt x="2742" y="3025"/>
                    <a:pt x="2742" y="2773"/>
                  </a:cubicBezTo>
                  <a:lnTo>
                    <a:pt x="2742" y="1386"/>
                  </a:lnTo>
                  <a:cubicBezTo>
                    <a:pt x="2742" y="630"/>
                    <a:pt x="2112"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78"/>
            <p:cNvSpPr/>
            <p:nvPr/>
          </p:nvSpPr>
          <p:spPr>
            <a:xfrm>
              <a:off x="-35016725" y="1912725"/>
              <a:ext cx="172500" cy="172025"/>
            </a:xfrm>
            <a:custGeom>
              <a:avLst/>
              <a:gdLst/>
              <a:ahLst/>
              <a:cxnLst/>
              <a:rect l="l" t="t" r="r" b="b"/>
              <a:pathLst>
                <a:path w="6900" h="6881" extrusionOk="0">
                  <a:moveTo>
                    <a:pt x="3466" y="726"/>
                  </a:moveTo>
                  <a:cubicBezTo>
                    <a:pt x="4947" y="726"/>
                    <a:pt x="6175" y="1954"/>
                    <a:pt x="6175" y="3467"/>
                  </a:cubicBezTo>
                  <a:cubicBezTo>
                    <a:pt x="6207" y="4979"/>
                    <a:pt x="4978" y="6207"/>
                    <a:pt x="3466" y="6207"/>
                  </a:cubicBezTo>
                  <a:cubicBezTo>
                    <a:pt x="2930" y="6207"/>
                    <a:pt x="2426" y="6050"/>
                    <a:pt x="1985" y="5766"/>
                  </a:cubicBezTo>
                  <a:cubicBezTo>
                    <a:pt x="1942" y="5745"/>
                    <a:pt x="1868" y="5708"/>
                    <a:pt x="1806" y="5708"/>
                  </a:cubicBezTo>
                  <a:cubicBezTo>
                    <a:pt x="1778" y="5708"/>
                    <a:pt x="1753" y="5715"/>
                    <a:pt x="1733" y="5735"/>
                  </a:cubicBezTo>
                  <a:lnTo>
                    <a:pt x="946" y="5987"/>
                  </a:lnTo>
                  <a:lnTo>
                    <a:pt x="1198" y="5199"/>
                  </a:lnTo>
                  <a:cubicBezTo>
                    <a:pt x="1261" y="5136"/>
                    <a:pt x="1198" y="5010"/>
                    <a:pt x="1166" y="4947"/>
                  </a:cubicBezTo>
                  <a:cubicBezTo>
                    <a:pt x="914" y="4506"/>
                    <a:pt x="757" y="4002"/>
                    <a:pt x="757" y="3467"/>
                  </a:cubicBezTo>
                  <a:cubicBezTo>
                    <a:pt x="757" y="1954"/>
                    <a:pt x="1954" y="726"/>
                    <a:pt x="3466" y="726"/>
                  </a:cubicBezTo>
                  <a:close/>
                  <a:moveTo>
                    <a:pt x="3466" y="1"/>
                  </a:moveTo>
                  <a:cubicBezTo>
                    <a:pt x="1576" y="1"/>
                    <a:pt x="32" y="1545"/>
                    <a:pt x="32" y="3435"/>
                  </a:cubicBezTo>
                  <a:cubicBezTo>
                    <a:pt x="32" y="4034"/>
                    <a:pt x="190" y="4569"/>
                    <a:pt x="473" y="5136"/>
                  </a:cubicBezTo>
                  <a:lnTo>
                    <a:pt x="32" y="6428"/>
                  </a:lnTo>
                  <a:cubicBezTo>
                    <a:pt x="0" y="6554"/>
                    <a:pt x="32" y="6712"/>
                    <a:pt x="95" y="6775"/>
                  </a:cubicBezTo>
                  <a:cubicBezTo>
                    <a:pt x="166" y="6845"/>
                    <a:pt x="272" y="6881"/>
                    <a:pt x="374" y="6881"/>
                  </a:cubicBezTo>
                  <a:cubicBezTo>
                    <a:pt x="408" y="6881"/>
                    <a:pt x="442" y="6877"/>
                    <a:pt x="473" y="6869"/>
                  </a:cubicBezTo>
                  <a:lnTo>
                    <a:pt x="1765" y="6428"/>
                  </a:lnTo>
                  <a:cubicBezTo>
                    <a:pt x="2269" y="6712"/>
                    <a:pt x="2867" y="6869"/>
                    <a:pt x="3466" y="6869"/>
                  </a:cubicBezTo>
                  <a:cubicBezTo>
                    <a:pt x="5356" y="6869"/>
                    <a:pt x="6900" y="5325"/>
                    <a:pt x="6900" y="3435"/>
                  </a:cubicBezTo>
                  <a:cubicBezTo>
                    <a:pt x="6869" y="1576"/>
                    <a:pt x="5356"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7" name="Google Shape;9947;p78"/>
          <p:cNvGrpSpPr/>
          <p:nvPr/>
        </p:nvGrpSpPr>
        <p:grpSpPr>
          <a:xfrm>
            <a:off x="1747891" y="1993790"/>
            <a:ext cx="353587" cy="354103"/>
            <a:chOff x="-35134875" y="2272675"/>
            <a:chExt cx="291450" cy="291875"/>
          </a:xfrm>
        </p:grpSpPr>
        <p:sp>
          <p:nvSpPr>
            <p:cNvPr id="9948" name="Google Shape;9948;p78"/>
            <p:cNvSpPr/>
            <p:nvPr/>
          </p:nvSpPr>
          <p:spPr>
            <a:xfrm>
              <a:off x="-35134875" y="2272675"/>
              <a:ext cx="291450" cy="291875"/>
            </a:xfrm>
            <a:custGeom>
              <a:avLst/>
              <a:gdLst/>
              <a:ahLst/>
              <a:cxnLst/>
              <a:rect l="l" t="t" r="r" b="b"/>
              <a:pathLst>
                <a:path w="11658" h="11675" extrusionOk="0">
                  <a:moveTo>
                    <a:pt x="9925" y="662"/>
                  </a:moveTo>
                  <a:cubicBezTo>
                    <a:pt x="10460" y="662"/>
                    <a:pt x="10933" y="1135"/>
                    <a:pt x="10933" y="1733"/>
                  </a:cubicBezTo>
                  <a:lnTo>
                    <a:pt x="10933" y="5136"/>
                  </a:lnTo>
                  <a:cubicBezTo>
                    <a:pt x="10933" y="5703"/>
                    <a:pt x="10460" y="6176"/>
                    <a:pt x="9925" y="6176"/>
                  </a:cubicBezTo>
                  <a:cubicBezTo>
                    <a:pt x="9704" y="6176"/>
                    <a:pt x="9547" y="6333"/>
                    <a:pt x="9547" y="6522"/>
                  </a:cubicBezTo>
                  <a:lnTo>
                    <a:pt x="9547" y="7751"/>
                  </a:lnTo>
                  <a:lnTo>
                    <a:pt x="8192" y="6365"/>
                  </a:lnTo>
                  <a:lnTo>
                    <a:pt x="8192" y="4474"/>
                  </a:lnTo>
                  <a:cubicBezTo>
                    <a:pt x="8192" y="3529"/>
                    <a:pt x="7404" y="2742"/>
                    <a:pt x="6459" y="2742"/>
                  </a:cubicBezTo>
                  <a:lnTo>
                    <a:pt x="3372" y="2742"/>
                  </a:lnTo>
                  <a:lnTo>
                    <a:pt x="3372" y="1733"/>
                  </a:lnTo>
                  <a:cubicBezTo>
                    <a:pt x="3372" y="1166"/>
                    <a:pt x="3844" y="662"/>
                    <a:pt x="4411" y="662"/>
                  </a:cubicBezTo>
                  <a:close/>
                  <a:moveTo>
                    <a:pt x="6459" y="3403"/>
                  </a:moveTo>
                  <a:cubicBezTo>
                    <a:pt x="6995" y="3403"/>
                    <a:pt x="7499" y="3876"/>
                    <a:pt x="7499" y="4474"/>
                  </a:cubicBezTo>
                  <a:lnTo>
                    <a:pt x="7499" y="7908"/>
                  </a:lnTo>
                  <a:lnTo>
                    <a:pt x="7467" y="7908"/>
                  </a:lnTo>
                  <a:cubicBezTo>
                    <a:pt x="7467" y="8444"/>
                    <a:pt x="6995" y="8917"/>
                    <a:pt x="6396" y="8917"/>
                  </a:cubicBezTo>
                  <a:lnTo>
                    <a:pt x="3687" y="8917"/>
                  </a:lnTo>
                  <a:cubicBezTo>
                    <a:pt x="3624" y="8917"/>
                    <a:pt x="3498" y="8948"/>
                    <a:pt x="3466" y="9043"/>
                  </a:cubicBezTo>
                  <a:lnTo>
                    <a:pt x="1986" y="10492"/>
                  </a:lnTo>
                  <a:lnTo>
                    <a:pt x="1986" y="9295"/>
                  </a:lnTo>
                  <a:cubicBezTo>
                    <a:pt x="1986" y="9074"/>
                    <a:pt x="1828" y="8917"/>
                    <a:pt x="1639" y="8917"/>
                  </a:cubicBezTo>
                  <a:cubicBezTo>
                    <a:pt x="1103" y="8917"/>
                    <a:pt x="631" y="8444"/>
                    <a:pt x="631" y="7908"/>
                  </a:cubicBezTo>
                  <a:lnTo>
                    <a:pt x="631" y="4474"/>
                  </a:lnTo>
                  <a:cubicBezTo>
                    <a:pt x="631" y="3939"/>
                    <a:pt x="1103" y="3403"/>
                    <a:pt x="1639" y="3403"/>
                  </a:cubicBezTo>
                  <a:close/>
                  <a:moveTo>
                    <a:pt x="4411" y="1"/>
                  </a:moveTo>
                  <a:cubicBezTo>
                    <a:pt x="3466" y="1"/>
                    <a:pt x="2710" y="788"/>
                    <a:pt x="2710" y="1733"/>
                  </a:cubicBezTo>
                  <a:lnTo>
                    <a:pt x="2710" y="2742"/>
                  </a:lnTo>
                  <a:lnTo>
                    <a:pt x="1671" y="2742"/>
                  </a:lnTo>
                  <a:cubicBezTo>
                    <a:pt x="725" y="2742"/>
                    <a:pt x="1" y="3529"/>
                    <a:pt x="1" y="4474"/>
                  </a:cubicBezTo>
                  <a:lnTo>
                    <a:pt x="1" y="7908"/>
                  </a:lnTo>
                  <a:cubicBezTo>
                    <a:pt x="1" y="8728"/>
                    <a:pt x="568" y="9452"/>
                    <a:pt x="1355" y="9610"/>
                  </a:cubicBezTo>
                  <a:lnTo>
                    <a:pt x="1355" y="11342"/>
                  </a:lnTo>
                  <a:cubicBezTo>
                    <a:pt x="1355" y="11500"/>
                    <a:pt x="1450" y="11594"/>
                    <a:pt x="1576" y="11657"/>
                  </a:cubicBezTo>
                  <a:cubicBezTo>
                    <a:pt x="1607" y="11668"/>
                    <a:pt x="1646" y="11675"/>
                    <a:pt x="1687" y="11675"/>
                  </a:cubicBezTo>
                  <a:cubicBezTo>
                    <a:pt x="1769" y="11675"/>
                    <a:pt x="1860" y="11647"/>
                    <a:pt x="1923" y="11563"/>
                  </a:cubicBezTo>
                  <a:lnTo>
                    <a:pt x="3876" y="9610"/>
                  </a:lnTo>
                  <a:lnTo>
                    <a:pt x="6491" y="9610"/>
                  </a:lnTo>
                  <a:cubicBezTo>
                    <a:pt x="7436" y="9610"/>
                    <a:pt x="8224" y="8854"/>
                    <a:pt x="8224" y="7908"/>
                  </a:cubicBezTo>
                  <a:lnTo>
                    <a:pt x="8224" y="7341"/>
                  </a:lnTo>
                  <a:lnTo>
                    <a:pt x="9704" y="8822"/>
                  </a:lnTo>
                  <a:cubicBezTo>
                    <a:pt x="9773" y="8868"/>
                    <a:pt x="9876" y="8897"/>
                    <a:pt x="9976" y="8897"/>
                  </a:cubicBezTo>
                  <a:cubicBezTo>
                    <a:pt x="10013" y="8897"/>
                    <a:pt x="10049" y="8893"/>
                    <a:pt x="10082" y="8885"/>
                  </a:cubicBezTo>
                  <a:cubicBezTo>
                    <a:pt x="10208" y="8854"/>
                    <a:pt x="10271" y="8696"/>
                    <a:pt x="10271" y="8570"/>
                  </a:cubicBezTo>
                  <a:lnTo>
                    <a:pt x="10271" y="6837"/>
                  </a:lnTo>
                  <a:cubicBezTo>
                    <a:pt x="11059" y="6680"/>
                    <a:pt x="11658" y="5987"/>
                    <a:pt x="11658" y="5136"/>
                  </a:cubicBezTo>
                  <a:lnTo>
                    <a:pt x="11658" y="1733"/>
                  </a:lnTo>
                  <a:cubicBezTo>
                    <a:pt x="11595" y="788"/>
                    <a:pt x="10870" y="1"/>
                    <a:pt x="99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9" name="Google Shape;9949;p78"/>
            <p:cNvSpPr/>
            <p:nvPr/>
          </p:nvSpPr>
          <p:spPr>
            <a:xfrm>
              <a:off x="-35093925" y="2419175"/>
              <a:ext cx="18150" cy="17350"/>
            </a:xfrm>
            <a:custGeom>
              <a:avLst/>
              <a:gdLst/>
              <a:ahLst/>
              <a:cxnLst/>
              <a:rect l="l" t="t" r="r" b="b"/>
              <a:pathLst>
                <a:path w="726" h="694" extrusionOk="0">
                  <a:moveTo>
                    <a:pt x="348" y="1"/>
                  </a:moveTo>
                  <a:cubicBezTo>
                    <a:pt x="159" y="1"/>
                    <a:pt x="1" y="158"/>
                    <a:pt x="1" y="347"/>
                  </a:cubicBezTo>
                  <a:cubicBezTo>
                    <a:pt x="1" y="536"/>
                    <a:pt x="159"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0" name="Google Shape;9950;p78"/>
            <p:cNvSpPr/>
            <p:nvPr/>
          </p:nvSpPr>
          <p:spPr>
            <a:xfrm>
              <a:off x="-350427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78"/>
            <p:cNvSpPr/>
            <p:nvPr/>
          </p:nvSpPr>
          <p:spPr>
            <a:xfrm>
              <a:off x="-349915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2" name="Google Shape;9952;p78"/>
          <p:cNvGrpSpPr/>
          <p:nvPr/>
        </p:nvGrpSpPr>
        <p:grpSpPr>
          <a:xfrm>
            <a:off x="1789458" y="2449119"/>
            <a:ext cx="270453" cy="353587"/>
            <a:chOff x="-35101800" y="2631050"/>
            <a:chExt cx="222925" cy="291450"/>
          </a:xfrm>
        </p:grpSpPr>
        <p:sp>
          <p:nvSpPr>
            <p:cNvPr id="9953" name="Google Shape;9953;p78"/>
            <p:cNvSpPr/>
            <p:nvPr/>
          </p:nvSpPr>
          <p:spPr>
            <a:xfrm>
              <a:off x="-34999400" y="2699575"/>
              <a:ext cx="18150" cy="18125"/>
            </a:xfrm>
            <a:custGeom>
              <a:avLst/>
              <a:gdLst/>
              <a:ahLst/>
              <a:cxnLst/>
              <a:rect l="l" t="t" r="r" b="b"/>
              <a:pathLst>
                <a:path w="726" h="725" extrusionOk="0">
                  <a:moveTo>
                    <a:pt x="347" y="0"/>
                  </a:moveTo>
                  <a:cubicBezTo>
                    <a:pt x="158" y="0"/>
                    <a:pt x="1" y="158"/>
                    <a:pt x="1" y="347"/>
                  </a:cubicBezTo>
                  <a:cubicBezTo>
                    <a:pt x="1" y="567"/>
                    <a:pt x="158" y="725"/>
                    <a:pt x="347" y="725"/>
                  </a:cubicBezTo>
                  <a:cubicBezTo>
                    <a:pt x="568" y="725"/>
                    <a:pt x="725" y="567"/>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78"/>
            <p:cNvSpPr/>
            <p:nvPr/>
          </p:nvSpPr>
          <p:spPr>
            <a:xfrm>
              <a:off x="-34999400" y="2732650"/>
              <a:ext cx="18150" cy="52800"/>
            </a:xfrm>
            <a:custGeom>
              <a:avLst/>
              <a:gdLst/>
              <a:ahLst/>
              <a:cxnLst/>
              <a:rect l="l" t="t" r="r" b="b"/>
              <a:pathLst>
                <a:path w="726" h="2112" extrusionOk="0">
                  <a:moveTo>
                    <a:pt x="347" y="0"/>
                  </a:moveTo>
                  <a:cubicBezTo>
                    <a:pt x="158" y="0"/>
                    <a:pt x="1" y="190"/>
                    <a:pt x="1" y="379"/>
                  </a:cubicBezTo>
                  <a:lnTo>
                    <a:pt x="1" y="1765"/>
                  </a:lnTo>
                  <a:cubicBezTo>
                    <a:pt x="1" y="1985"/>
                    <a:pt x="158" y="2111"/>
                    <a:pt x="347" y="2111"/>
                  </a:cubicBezTo>
                  <a:cubicBezTo>
                    <a:pt x="568" y="2111"/>
                    <a:pt x="725" y="1954"/>
                    <a:pt x="725" y="1765"/>
                  </a:cubicBezTo>
                  <a:lnTo>
                    <a:pt x="725" y="379"/>
                  </a:lnTo>
                  <a:cubicBezTo>
                    <a:pt x="725" y="190"/>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78"/>
            <p:cNvSpPr/>
            <p:nvPr/>
          </p:nvSpPr>
          <p:spPr>
            <a:xfrm>
              <a:off x="-35067125" y="2665700"/>
              <a:ext cx="153600" cy="154400"/>
            </a:xfrm>
            <a:custGeom>
              <a:avLst/>
              <a:gdLst/>
              <a:ahLst/>
              <a:cxnLst/>
              <a:rect l="l" t="t" r="r" b="b"/>
              <a:pathLst>
                <a:path w="6144" h="6176" extrusionOk="0">
                  <a:moveTo>
                    <a:pt x="3056" y="694"/>
                  </a:moveTo>
                  <a:cubicBezTo>
                    <a:pt x="4411" y="694"/>
                    <a:pt x="5482" y="1765"/>
                    <a:pt x="5482" y="3088"/>
                  </a:cubicBezTo>
                  <a:cubicBezTo>
                    <a:pt x="5482" y="4443"/>
                    <a:pt x="4411" y="5482"/>
                    <a:pt x="3056" y="5482"/>
                  </a:cubicBezTo>
                  <a:cubicBezTo>
                    <a:pt x="1733" y="5482"/>
                    <a:pt x="662" y="4443"/>
                    <a:pt x="662" y="3088"/>
                  </a:cubicBezTo>
                  <a:cubicBezTo>
                    <a:pt x="662" y="1796"/>
                    <a:pt x="1764" y="694"/>
                    <a:pt x="3056" y="694"/>
                  </a:cubicBezTo>
                  <a:close/>
                  <a:moveTo>
                    <a:pt x="3056" y="1"/>
                  </a:moveTo>
                  <a:cubicBezTo>
                    <a:pt x="1386" y="1"/>
                    <a:pt x="0" y="1387"/>
                    <a:pt x="0" y="3088"/>
                  </a:cubicBezTo>
                  <a:cubicBezTo>
                    <a:pt x="0" y="4789"/>
                    <a:pt x="1386" y="6176"/>
                    <a:pt x="3056" y="6176"/>
                  </a:cubicBezTo>
                  <a:cubicBezTo>
                    <a:pt x="4757" y="6176"/>
                    <a:pt x="6144" y="4789"/>
                    <a:pt x="6144" y="3088"/>
                  </a:cubicBezTo>
                  <a:cubicBezTo>
                    <a:pt x="6144" y="1387"/>
                    <a:pt x="4757" y="1"/>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6" name="Google Shape;9956;p78"/>
            <p:cNvSpPr/>
            <p:nvPr/>
          </p:nvSpPr>
          <p:spPr>
            <a:xfrm>
              <a:off x="-35101800" y="2631050"/>
              <a:ext cx="222925" cy="291450"/>
            </a:xfrm>
            <a:custGeom>
              <a:avLst/>
              <a:gdLst/>
              <a:ahLst/>
              <a:cxnLst/>
              <a:rect l="l" t="t" r="r" b="b"/>
              <a:pathLst>
                <a:path w="8917" h="11658" extrusionOk="0">
                  <a:moveTo>
                    <a:pt x="4443" y="693"/>
                  </a:moveTo>
                  <a:cubicBezTo>
                    <a:pt x="6554" y="693"/>
                    <a:pt x="8192" y="2395"/>
                    <a:pt x="8192" y="4474"/>
                  </a:cubicBezTo>
                  <a:cubicBezTo>
                    <a:pt x="8192" y="5293"/>
                    <a:pt x="7940" y="6081"/>
                    <a:pt x="7436" y="6711"/>
                  </a:cubicBezTo>
                  <a:lnTo>
                    <a:pt x="4443" y="10775"/>
                  </a:lnTo>
                  <a:lnTo>
                    <a:pt x="1450" y="6711"/>
                  </a:lnTo>
                  <a:cubicBezTo>
                    <a:pt x="1009" y="6049"/>
                    <a:pt x="726" y="5293"/>
                    <a:pt x="726" y="4474"/>
                  </a:cubicBezTo>
                  <a:cubicBezTo>
                    <a:pt x="726" y="2395"/>
                    <a:pt x="2364" y="693"/>
                    <a:pt x="4443" y="693"/>
                  </a:cubicBezTo>
                  <a:close/>
                  <a:moveTo>
                    <a:pt x="4443" y="0"/>
                  </a:moveTo>
                  <a:cubicBezTo>
                    <a:pt x="2017" y="0"/>
                    <a:pt x="1" y="1985"/>
                    <a:pt x="1" y="4443"/>
                  </a:cubicBezTo>
                  <a:cubicBezTo>
                    <a:pt x="1" y="5419"/>
                    <a:pt x="316" y="6333"/>
                    <a:pt x="883" y="7120"/>
                  </a:cubicBezTo>
                  <a:lnTo>
                    <a:pt x="4191" y="11531"/>
                  </a:lnTo>
                  <a:cubicBezTo>
                    <a:pt x="4254" y="11594"/>
                    <a:pt x="4349" y="11657"/>
                    <a:pt x="4443" y="11657"/>
                  </a:cubicBezTo>
                  <a:cubicBezTo>
                    <a:pt x="4569" y="11657"/>
                    <a:pt x="4664" y="11594"/>
                    <a:pt x="4727" y="11531"/>
                  </a:cubicBezTo>
                  <a:lnTo>
                    <a:pt x="8003" y="7120"/>
                  </a:lnTo>
                  <a:cubicBezTo>
                    <a:pt x="8602" y="6333"/>
                    <a:pt x="8917" y="5419"/>
                    <a:pt x="8917" y="4443"/>
                  </a:cubicBezTo>
                  <a:cubicBezTo>
                    <a:pt x="8917" y="1985"/>
                    <a:pt x="6901"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7" name="Google Shape;9957;p78"/>
          <p:cNvSpPr/>
          <p:nvPr/>
        </p:nvSpPr>
        <p:spPr>
          <a:xfrm>
            <a:off x="3982155" y="1534859"/>
            <a:ext cx="338270" cy="355255"/>
          </a:xfrm>
          <a:custGeom>
            <a:avLst/>
            <a:gdLst/>
            <a:ahLst/>
            <a:cxnLst/>
            <a:rect l="l" t="t" r="r" b="b"/>
            <a:pathLst>
              <a:path w="11153" h="11713" extrusionOk="0">
                <a:moveTo>
                  <a:pt x="9594" y="693"/>
                </a:moveTo>
                <a:cubicBezTo>
                  <a:pt x="9767" y="693"/>
                  <a:pt x="9940" y="764"/>
                  <a:pt x="10082" y="906"/>
                </a:cubicBezTo>
                <a:cubicBezTo>
                  <a:pt x="10365" y="1158"/>
                  <a:pt x="10365" y="1599"/>
                  <a:pt x="10082" y="1883"/>
                </a:cubicBezTo>
                <a:lnTo>
                  <a:pt x="9168" y="2796"/>
                </a:lnTo>
                <a:lnTo>
                  <a:pt x="6175" y="3364"/>
                </a:lnTo>
                <a:lnTo>
                  <a:pt x="6175" y="1410"/>
                </a:lnTo>
                <a:lnTo>
                  <a:pt x="8475" y="1410"/>
                </a:lnTo>
                <a:cubicBezTo>
                  <a:pt x="8538" y="1410"/>
                  <a:pt x="8664" y="1379"/>
                  <a:pt x="8696" y="1284"/>
                </a:cubicBezTo>
                <a:lnTo>
                  <a:pt x="9105" y="906"/>
                </a:lnTo>
                <a:cubicBezTo>
                  <a:pt x="9247" y="764"/>
                  <a:pt x="9420" y="693"/>
                  <a:pt x="9594" y="693"/>
                </a:cubicBezTo>
                <a:close/>
                <a:moveTo>
                  <a:pt x="5136" y="749"/>
                </a:moveTo>
                <a:cubicBezTo>
                  <a:pt x="5325" y="749"/>
                  <a:pt x="5482" y="906"/>
                  <a:pt x="5482" y="1095"/>
                </a:cubicBezTo>
                <a:lnTo>
                  <a:pt x="5482" y="4214"/>
                </a:lnTo>
                <a:cubicBezTo>
                  <a:pt x="5356" y="4151"/>
                  <a:pt x="5230" y="4151"/>
                  <a:pt x="5136" y="4151"/>
                </a:cubicBezTo>
                <a:cubicBezTo>
                  <a:pt x="5010" y="4151"/>
                  <a:pt x="4884" y="4151"/>
                  <a:pt x="4758" y="4214"/>
                </a:cubicBezTo>
                <a:lnTo>
                  <a:pt x="4758" y="1095"/>
                </a:lnTo>
                <a:cubicBezTo>
                  <a:pt x="4758" y="906"/>
                  <a:pt x="4915" y="749"/>
                  <a:pt x="5136" y="749"/>
                </a:cubicBezTo>
                <a:close/>
                <a:moveTo>
                  <a:pt x="5136" y="4844"/>
                </a:moveTo>
                <a:cubicBezTo>
                  <a:pt x="5671" y="4844"/>
                  <a:pt x="6144" y="5317"/>
                  <a:pt x="6144" y="5852"/>
                </a:cubicBezTo>
                <a:cubicBezTo>
                  <a:pt x="6144" y="6419"/>
                  <a:pt x="5671" y="6861"/>
                  <a:pt x="5136" y="6861"/>
                </a:cubicBezTo>
                <a:cubicBezTo>
                  <a:pt x="4568" y="6861"/>
                  <a:pt x="4096" y="6388"/>
                  <a:pt x="4096" y="5852"/>
                </a:cubicBezTo>
                <a:cubicBezTo>
                  <a:pt x="4096" y="5317"/>
                  <a:pt x="4568" y="4844"/>
                  <a:pt x="5136" y="4844"/>
                </a:cubicBezTo>
                <a:close/>
                <a:moveTo>
                  <a:pt x="4096" y="1442"/>
                </a:moveTo>
                <a:lnTo>
                  <a:pt x="4096" y="4529"/>
                </a:lnTo>
                <a:cubicBezTo>
                  <a:pt x="3655" y="4844"/>
                  <a:pt x="3434" y="5348"/>
                  <a:pt x="3434" y="5884"/>
                </a:cubicBezTo>
                <a:cubicBezTo>
                  <a:pt x="3434" y="6136"/>
                  <a:pt x="3466" y="6419"/>
                  <a:pt x="3592" y="6609"/>
                </a:cubicBezTo>
                <a:lnTo>
                  <a:pt x="2332" y="8184"/>
                </a:lnTo>
                <a:cubicBezTo>
                  <a:pt x="1323" y="7522"/>
                  <a:pt x="725" y="6356"/>
                  <a:pt x="725" y="5159"/>
                </a:cubicBezTo>
                <a:cubicBezTo>
                  <a:pt x="662" y="3143"/>
                  <a:pt x="2206" y="1568"/>
                  <a:pt x="4096" y="1442"/>
                </a:cubicBezTo>
                <a:close/>
                <a:moveTo>
                  <a:pt x="8916" y="3521"/>
                </a:moveTo>
                <a:lnTo>
                  <a:pt x="8916" y="4466"/>
                </a:lnTo>
                <a:cubicBezTo>
                  <a:pt x="8916" y="4529"/>
                  <a:pt x="8916" y="4592"/>
                  <a:pt x="8948" y="4624"/>
                </a:cubicBezTo>
                <a:lnTo>
                  <a:pt x="9798" y="6419"/>
                </a:lnTo>
                <a:cubicBezTo>
                  <a:pt x="9893" y="6577"/>
                  <a:pt x="9798" y="6672"/>
                  <a:pt x="9798" y="6735"/>
                </a:cubicBezTo>
                <a:cubicBezTo>
                  <a:pt x="9767" y="6766"/>
                  <a:pt x="9704" y="6892"/>
                  <a:pt x="9546" y="6892"/>
                </a:cubicBezTo>
                <a:lnTo>
                  <a:pt x="9263" y="6892"/>
                </a:lnTo>
                <a:cubicBezTo>
                  <a:pt x="9074" y="6892"/>
                  <a:pt x="8916" y="7050"/>
                  <a:pt x="8916" y="7239"/>
                </a:cubicBezTo>
                <a:lnTo>
                  <a:pt x="8916" y="8341"/>
                </a:lnTo>
                <a:cubicBezTo>
                  <a:pt x="8633" y="8467"/>
                  <a:pt x="8381" y="8656"/>
                  <a:pt x="8286" y="8971"/>
                </a:cubicBezTo>
                <a:lnTo>
                  <a:pt x="6522" y="8971"/>
                </a:lnTo>
                <a:cubicBezTo>
                  <a:pt x="5955" y="8971"/>
                  <a:pt x="5482" y="8499"/>
                  <a:pt x="5482" y="7932"/>
                </a:cubicBezTo>
                <a:lnTo>
                  <a:pt x="5482" y="7554"/>
                </a:lnTo>
                <a:cubicBezTo>
                  <a:pt x="6270" y="7396"/>
                  <a:pt x="6868" y="6672"/>
                  <a:pt x="6868" y="5852"/>
                </a:cubicBezTo>
                <a:cubicBezTo>
                  <a:pt x="6868" y="5317"/>
                  <a:pt x="6585" y="4781"/>
                  <a:pt x="6207" y="4466"/>
                </a:cubicBezTo>
                <a:lnTo>
                  <a:pt x="6207" y="4088"/>
                </a:lnTo>
                <a:lnTo>
                  <a:pt x="8916" y="3521"/>
                </a:lnTo>
                <a:close/>
                <a:moveTo>
                  <a:pt x="9231" y="8940"/>
                </a:moveTo>
                <a:cubicBezTo>
                  <a:pt x="9420" y="8940"/>
                  <a:pt x="9578" y="9097"/>
                  <a:pt x="9578" y="9286"/>
                </a:cubicBezTo>
                <a:cubicBezTo>
                  <a:pt x="9578" y="9475"/>
                  <a:pt x="9420" y="9633"/>
                  <a:pt x="9231" y="9633"/>
                </a:cubicBezTo>
                <a:cubicBezTo>
                  <a:pt x="9011" y="9633"/>
                  <a:pt x="8853" y="9475"/>
                  <a:pt x="8853" y="9286"/>
                </a:cubicBezTo>
                <a:cubicBezTo>
                  <a:pt x="8853" y="9097"/>
                  <a:pt x="9011" y="8940"/>
                  <a:pt x="9231" y="8940"/>
                </a:cubicBezTo>
                <a:close/>
                <a:moveTo>
                  <a:pt x="3970" y="7144"/>
                </a:moveTo>
                <a:cubicBezTo>
                  <a:pt x="4222" y="7365"/>
                  <a:pt x="4442" y="7522"/>
                  <a:pt x="4758" y="7554"/>
                </a:cubicBezTo>
                <a:lnTo>
                  <a:pt x="4758" y="7932"/>
                </a:lnTo>
                <a:cubicBezTo>
                  <a:pt x="4758" y="8877"/>
                  <a:pt x="5514" y="9633"/>
                  <a:pt x="6459" y="9633"/>
                </a:cubicBezTo>
                <a:lnTo>
                  <a:pt x="8223" y="9633"/>
                </a:lnTo>
                <a:cubicBezTo>
                  <a:pt x="8286" y="9727"/>
                  <a:pt x="8318" y="9791"/>
                  <a:pt x="8349" y="9822"/>
                </a:cubicBezTo>
                <a:cubicBezTo>
                  <a:pt x="8034" y="10137"/>
                  <a:pt x="7593" y="10295"/>
                  <a:pt x="7183" y="10295"/>
                </a:cubicBezTo>
                <a:lnTo>
                  <a:pt x="5797" y="10295"/>
                </a:lnTo>
                <a:cubicBezTo>
                  <a:pt x="5608" y="10295"/>
                  <a:pt x="5451" y="10452"/>
                  <a:pt x="5451" y="10673"/>
                </a:cubicBezTo>
                <a:lnTo>
                  <a:pt x="5451" y="11051"/>
                </a:lnTo>
                <a:lnTo>
                  <a:pt x="2710" y="11051"/>
                </a:lnTo>
                <a:lnTo>
                  <a:pt x="2710" y="8719"/>
                </a:lnTo>
                <a:lnTo>
                  <a:pt x="3970" y="7144"/>
                </a:lnTo>
                <a:close/>
                <a:moveTo>
                  <a:pt x="9629" y="0"/>
                </a:moveTo>
                <a:cubicBezTo>
                  <a:pt x="9278" y="0"/>
                  <a:pt x="8932" y="134"/>
                  <a:pt x="8664" y="402"/>
                </a:cubicBezTo>
                <a:lnTo>
                  <a:pt x="8412" y="686"/>
                </a:lnTo>
                <a:lnTo>
                  <a:pt x="6144" y="686"/>
                </a:lnTo>
                <a:cubicBezTo>
                  <a:pt x="5986" y="308"/>
                  <a:pt x="5640" y="24"/>
                  <a:pt x="5167" y="24"/>
                </a:cubicBezTo>
                <a:cubicBezTo>
                  <a:pt x="4726" y="24"/>
                  <a:pt x="4348" y="308"/>
                  <a:pt x="4190" y="686"/>
                </a:cubicBezTo>
                <a:cubicBezTo>
                  <a:pt x="1859" y="812"/>
                  <a:pt x="0" y="2702"/>
                  <a:pt x="0" y="5033"/>
                </a:cubicBezTo>
                <a:cubicBezTo>
                  <a:pt x="0" y="6514"/>
                  <a:pt x="725" y="7900"/>
                  <a:pt x="1922" y="8688"/>
                </a:cubicBezTo>
                <a:lnTo>
                  <a:pt x="2048" y="8782"/>
                </a:lnTo>
                <a:lnTo>
                  <a:pt x="2048" y="11366"/>
                </a:lnTo>
                <a:cubicBezTo>
                  <a:pt x="2048" y="11555"/>
                  <a:pt x="2206" y="11712"/>
                  <a:pt x="2426" y="11712"/>
                </a:cubicBezTo>
                <a:lnTo>
                  <a:pt x="5829" y="11712"/>
                </a:lnTo>
                <a:cubicBezTo>
                  <a:pt x="6018" y="11712"/>
                  <a:pt x="6207" y="11555"/>
                  <a:pt x="6207" y="11366"/>
                </a:cubicBezTo>
                <a:lnTo>
                  <a:pt x="6207" y="10956"/>
                </a:lnTo>
                <a:lnTo>
                  <a:pt x="7215" y="10956"/>
                </a:lnTo>
                <a:cubicBezTo>
                  <a:pt x="7877" y="10956"/>
                  <a:pt x="8475" y="10704"/>
                  <a:pt x="8948" y="10232"/>
                </a:cubicBezTo>
                <a:cubicBezTo>
                  <a:pt x="9074" y="10263"/>
                  <a:pt x="9137" y="10263"/>
                  <a:pt x="9263" y="10263"/>
                </a:cubicBezTo>
                <a:cubicBezTo>
                  <a:pt x="9830" y="10263"/>
                  <a:pt x="10302" y="9791"/>
                  <a:pt x="10302" y="9223"/>
                </a:cubicBezTo>
                <a:cubicBezTo>
                  <a:pt x="10302" y="8814"/>
                  <a:pt x="10019" y="8404"/>
                  <a:pt x="9609" y="8247"/>
                </a:cubicBezTo>
                <a:lnTo>
                  <a:pt x="9609" y="7491"/>
                </a:lnTo>
                <a:cubicBezTo>
                  <a:pt x="9924" y="7459"/>
                  <a:pt x="10239" y="7302"/>
                  <a:pt x="10397" y="7018"/>
                </a:cubicBezTo>
                <a:cubicBezTo>
                  <a:pt x="10617" y="6703"/>
                  <a:pt x="10617" y="6356"/>
                  <a:pt x="10460" y="6041"/>
                </a:cubicBezTo>
                <a:lnTo>
                  <a:pt x="9609" y="4403"/>
                </a:lnTo>
                <a:lnTo>
                  <a:pt x="9609" y="3332"/>
                </a:lnTo>
                <a:lnTo>
                  <a:pt x="10617" y="2355"/>
                </a:lnTo>
                <a:cubicBezTo>
                  <a:pt x="11153" y="1788"/>
                  <a:pt x="11153" y="938"/>
                  <a:pt x="10617" y="402"/>
                </a:cubicBezTo>
                <a:cubicBezTo>
                  <a:pt x="10334" y="134"/>
                  <a:pt x="9979" y="0"/>
                  <a:pt x="96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58" name="Google Shape;9958;p78"/>
          <p:cNvGrpSpPr/>
          <p:nvPr/>
        </p:nvGrpSpPr>
        <p:grpSpPr>
          <a:xfrm>
            <a:off x="3977510" y="1993107"/>
            <a:ext cx="353587" cy="355468"/>
            <a:chOff x="-33314675" y="2275050"/>
            <a:chExt cx="291450" cy="293000"/>
          </a:xfrm>
        </p:grpSpPr>
        <p:sp>
          <p:nvSpPr>
            <p:cNvPr id="9959" name="Google Shape;9959;p78"/>
            <p:cNvSpPr/>
            <p:nvPr/>
          </p:nvSpPr>
          <p:spPr>
            <a:xfrm>
              <a:off x="-33143750" y="2275050"/>
              <a:ext cx="120525" cy="120525"/>
            </a:xfrm>
            <a:custGeom>
              <a:avLst/>
              <a:gdLst/>
              <a:ahLst/>
              <a:cxnLst/>
              <a:rect l="l" t="t" r="r" b="b"/>
              <a:pathLst>
                <a:path w="4821" h="4821" extrusionOk="0">
                  <a:moveTo>
                    <a:pt x="2426" y="725"/>
                  </a:moveTo>
                  <a:cubicBezTo>
                    <a:pt x="3371" y="725"/>
                    <a:pt x="4096" y="1512"/>
                    <a:pt x="4096" y="2458"/>
                  </a:cubicBezTo>
                  <a:cubicBezTo>
                    <a:pt x="4159" y="3403"/>
                    <a:pt x="3371" y="4159"/>
                    <a:pt x="2426" y="4159"/>
                  </a:cubicBezTo>
                  <a:cubicBezTo>
                    <a:pt x="1481" y="4159"/>
                    <a:pt x="725" y="3403"/>
                    <a:pt x="725" y="2458"/>
                  </a:cubicBezTo>
                  <a:cubicBezTo>
                    <a:pt x="725" y="1512"/>
                    <a:pt x="1481" y="725"/>
                    <a:pt x="2426" y="725"/>
                  </a:cubicBezTo>
                  <a:close/>
                  <a:moveTo>
                    <a:pt x="2426" y="0"/>
                  </a:moveTo>
                  <a:cubicBezTo>
                    <a:pt x="1071" y="0"/>
                    <a:pt x="0" y="1103"/>
                    <a:pt x="0" y="2426"/>
                  </a:cubicBezTo>
                  <a:cubicBezTo>
                    <a:pt x="0" y="3749"/>
                    <a:pt x="1071" y="4820"/>
                    <a:pt x="2426" y="4820"/>
                  </a:cubicBezTo>
                  <a:cubicBezTo>
                    <a:pt x="3749" y="4820"/>
                    <a:pt x="4821" y="3749"/>
                    <a:pt x="4821" y="2426"/>
                  </a:cubicBezTo>
                  <a:cubicBezTo>
                    <a:pt x="4821" y="1103"/>
                    <a:pt x="3749"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78"/>
            <p:cNvSpPr/>
            <p:nvPr/>
          </p:nvSpPr>
          <p:spPr>
            <a:xfrm>
              <a:off x="-33093350" y="2309700"/>
              <a:ext cx="35475" cy="34675"/>
            </a:xfrm>
            <a:custGeom>
              <a:avLst/>
              <a:gdLst/>
              <a:ahLst/>
              <a:cxnLst/>
              <a:rect l="l" t="t" r="r" b="b"/>
              <a:pathLst>
                <a:path w="1419" h="1387" extrusionOk="0">
                  <a:moveTo>
                    <a:pt x="347" y="0"/>
                  </a:moveTo>
                  <a:cubicBezTo>
                    <a:pt x="158" y="0"/>
                    <a:pt x="1" y="158"/>
                    <a:pt x="1" y="347"/>
                  </a:cubicBezTo>
                  <a:lnTo>
                    <a:pt x="1" y="1009"/>
                  </a:lnTo>
                  <a:cubicBezTo>
                    <a:pt x="1" y="1229"/>
                    <a:pt x="158" y="1387"/>
                    <a:pt x="347" y="1387"/>
                  </a:cubicBezTo>
                  <a:lnTo>
                    <a:pt x="1040" y="1387"/>
                  </a:lnTo>
                  <a:cubicBezTo>
                    <a:pt x="1229" y="1387"/>
                    <a:pt x="1387" y="1229"/>
                    <a:pt x="1387" y="1009"/>
                  </a:cubicBezTo>
                  <a:cubicBezTo>
                    <a:pt x="1418" y="883"/>
                    <a:pt x="1261" y="694"/>
                    <a:pt x="1072" y="694"/>
                  </a:cubicBezTo>
                  <a:lnTo>
                    <a:pt x="725" y="694"/>
                  </a:lnTo>
                  <a:lnTo>
                    <a:pt x="725" y="347"/>
                  </a:ln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78"/>
            <p:cNvSpPr/>
            <p:nvPr/>
          </p:nvSpPr>
          <p:spPr>
            <a:xfrm>
              <a:off x="-33314675" y="2328600"/>
              <a:ext cx="239475" cy="239450"/>
            </a:xfrm>
            <a:custGeom>
              <a:avLst/>
              <a:gdLst/>
              <a:ahLst/>
              <a:cxnLst/>
              <a:rect l="l" t="t" r="r" b="b"/>
              <a:pathLst>
                <a:path w="9579" h="9578" extrusionOk="0">
                  <a:moveTo>
                    <a:pt x="3057" y="631"/>
                  </a:moveTo>
                  <a:cubicBezTo>
                    <a:pt x="3624" y="631"/>
                    <a:pt x="4096" y="1103"/>
                    <a:pt x="4096" y="1639"/>
                  </a:cubicBezTo>
                  <a:cubicBezTo>
                    <a:pt x="4096" y="2206"/>
                    <a:pt x="3624" y="2678"/>
                    <a:pt x="3057" y="2678"/>
                  </a:cubicBezTo>
                  <a:cubicBezTo>
                    <a:pt x="2521" y="2678"/>
                    <a:pt x="2049" y="2206"/>
                    <a:pt x="2049" y="1639"/>
                  </a:cubicBezTo>
                  <a:cubicBezTo>
                    <a:pt x="2049" y="1103"/>
                    <a:pt x="2490" y="631"/>
                    <a:pt x="3057" y="631"/>
                  </a:cubicBezTo>
                  <a:close/>
                  <a:moveTo>
                    <a:pt x="3063" y="3369"/>
                  </a:moveTo>
                  <a:cubicBezTo>
                    <a:pt x="3690" y="3369"/>
                    <a:pt x="4308" y="3646"/>
                    <a:pt x="4726" y="4065"/>
                  </a:cubicBezTo>
                  <a:lnTo>
                    <a:pt x="4411" y="4065"/>
                  </a:lnTo>
                  <a:cubicBezTo>
                    <a:pt x="3844" y="4065"/>
                    <a:pt x="3372" y="4506"/>
                    <a:pt x="3372" y="5073"/>
                  </a:cubicBezTo>
                  <a:lnTo>
                    <a:pt x="3372" y="6774"/>
                  </a:lnTo>
                  <a:lnTo>
                    <a:pt x="662" y="6774"/>
                  </a:lnTo>
                  <a:lnTo>
                    <a:pt x="662" y="5892"/>
                  </a:lnTo>
                  <a:cubicBezTo>
                    <a:pt x="662" y="4569"/>
                    <a:pt x="1702" y="3435"/>
                    <a:pt x="2962" y="3372"/>
                  </a:cubicBezTo>
                  <a:cubicBezTo>
                    <a:pt x="2996" y="3370"/>
                    <a:pt x="3029" y="3369"/>
                    <a:pt x="3063" y="3369"/>
                  </a:cubicBezTo>
                  <a:close/>
                  <a:moveTo>
                    <a:pt x="7215" y="4726"/>
                  </a:moveTo>
                  <a:cubicBezTo>
                    <a:pt x="7373" y="4726"/>
                    <a:pt x="7530" y="4884"/>
                    <a:pt x="7530" y="5073"/>
                  </a:cubicBezTo>
                  <a:lnTo>
                    <a:pt x="7530" y="6774"/>
                  </a:lnTo>
                  <a:lnTo>
                    <a:pt x="4096" y="6774"/>
                  </a:lnTo>
                  <a:lnTo>
                    <a:pt x="4096" y="5073"/>
                  </a:lnTo>
                  <a:cubicBezTo>
                    <a:pt x="4096" y="4884"/>
                    <a:pt x="4254" y="4726"/>
                    <a:pt x="4443" y="4726"/>
                  </a:cubicBezTo>
                  <a:close/>
                  <a:moveTo>
                    <a:pt x="8586" y="7495"/>
                  </a:moveTo>
                  <a:cubicBezTo>
                    <a:pt x="8753" y="7495"/>
                    <a:pt x="8885" y="7644"/>
                    <a:pt x="8885" y="7845"/>
                  </a:cubicBezTo>
                  <a:lnTo>
                    <a:pt x="8885" y="8885"/>
                  </a:lnTo>
                  <a:lnTo>
                    <a:pt x="662" y="8885"/>
                  </a:lnTo>
                  <a:lnTo>
                    <a:pt x="662" y="7499"/>
                  </a:lnTo>
                  <a:lnTo>
                    <a:pt x="8539" y="7499"/>
                  </a:lnTo>
                  <a:cubicBezTo>
                    <a:pt x="8555" y="7496"/>
                    <a:pt x="8571" y="7495"/>
                    <a:pt x="8586" y="7495"/>
                  </a:cubicBezTo>
                  <a:close/>
                  <a:moveTo>
                    <a:pt x="3057" y="1"/>
                  </a:moveTo>
                  <a:cubicBezTo>
                    <a:pt x="2112" y="1"/>
                    <a:pt x="1387" y="725"/>
                    <a:pt x="1387" y="1702"/>
                  </a:cubicBezTo>
                  <a:cubicBezTo>
                    <a:pt x="1387" y="2206"/>
                    <a:pt x="1576" y="2647"/>
                    <a:pt x="1923" y="2930"/>
                  </a:cubicBezTo>
                  <a:cubicBezTo>
                    <a:pt x="820" y="3403"/>
                    <a:pt x="1" y="4600"/>
                    <a:pt x="1" y="5923"/>
                  </a:cubicBezTo>
                  <a:lnTo>
                    <a:pt x="1" y="9263"/>
                  </a:lnTo>
                  <a:cubicBezTo>
                    <a:pt x="1" y="9420"/>
                    <a:pt x="127" y="9578"/>
                    <a:pt x="316" y="9578"/>
                  </a:cubicBezTo>
                  <a:lnTo>
                    <a:pt x="9200" y="9578"/>
                  </a:lnTo>
                  <a:cubicBezTo>
                    <a:pt x="9421" y="9578"/>
                    <a:pt x="9578" y="9420"/>
                    <a:pt x="9578" y="9200"/>
                  </a:cubicBezTo>
                  <a:lnTo>
                    <a:pt x="9578" y="7845"/>
                  </a:lnTo>
                  <a:cubicBezTo>
                    <a:pt x="9578" y="7278"/>
                    <a:pt x="9106" y="6806"/>
                    <a:pt x="8539" y="6806"/>
                  </a:cubicBezTo>
                  <a:lnTo>
                    <a:pt x="8192" y="6806"/>
                  </a:lnTo>
                  <a:lnTo>
                    <a:pt x="8192" y="5104"/>
                  </a:lnTo>
                  <a:cubicBezTo>
                    <a:pt x="8192" y="4569"/>
                    <a:pt x="7719" y="4096"/>
                    <a:pt x="7152" y="4096"/>
                  </a:cubicBezTo>
                  <a:lnTo>
                    <a:pt x="5577" y="4096"/>
                  </a:lnTo>
                  <a:cubicBezTo>
                    <a:pt x="5231" y="3561"/>
                    <a:pt x="4758" y="3183"/>
                    <a:pt x="4222" y="2930"/>
                  </a:cubicBezTo>
                  <a:cubicBezTo>
                    <a:pt x="4569" y="2615"/>
                    <a:pt x="4758" y="2206"/>
                    <a:pt x="4758" y="1702"/>
                  </a:cubicBezTo>
                  <a:cubicBezTo>
                    <a:pt x="4758" y="725"/>
                    <a:pt x="4002" y="1"/>
                    <a:pt x="30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2" name="Google Shape;9962;p78"/>
          <p:cNvSpPr/>
          <p:nvPr/>
        </p:nvSpPr>
        <p:spPr>
          <a:xfrm>
            <a:off x="3973071" y="2447907"/>
            <a:ext cx="356438" cy="356468"/>
          </a:xfrm>
          <a:custGeom>
            <a:avLst/>
            <a:gdLst/>
            <a:ahLst/>
            <a:cxnLst/>
            <a:rect l="l" t="t" r="r" b="b"/>
            <a:pathLst>
              <a:path w="11752" h="11753" extrusionOk="0">
                <a:moveTo>
                  <a:pt x="9672" y="725"/>
                </a:moveTo>
                <a:lnTo>
                  <a:pt x="9672" y="4191"/>
                </a:lnTo>
                <a:cubicBezTo>
                  <a:pt x="9546" y="4160"/>
                  <a:pt x="9420" y="4160"/>
                  <a:pt x="9294" y="4160"/>
                </a:cubicBezTo>
                <a:cubicBezTo>
                  <a:pt x="9200" y="4160"/>
                  <a:pt x="9074" y="4191"/>
                  <a:pt x="8948" y="4223"/>
                </a:cubicBezTo>
                <a:lnTo>
                  <a:pt x="8948" y="3844"/>
                </a:lnTo>
                <a:cubicBezTo>
                  <a:pt x="8948" y="3277"/>
                  <a:pt x="8475" y="2805"/>
                  <a:pt x="7939" y="2805"/>
                </a:cubicBezTo>
                <a:cubicBezTo>
                  <a:pt x="7813" y="2805"/>
                  <a:pt x="7687" y="2836"/>
                  <a:pt x="7561" y="2836"/>
                </a:cubicBezTo>
                <a:lnTo>
                  <a:pt x="7561" y="2458"/>
                </a:lnTo>
                <a:cubicBezTo>
                  <a:pt x="7561" y="1891"/>
                  <a:pt x="7089" y="1419"/>
                  <a:pt x="6553" y="1419"/>
                </a:cubicBezTo>
                <a:cubicBezTo>
                  <a:pt x="6427" y="1419"/>
                  <a:pt x="6364" y="1419"/>
                  <a:pt x="6238" y="1482"/>
                </a:cubicBezTo>
                <a:cubicBezTo>
                  <a:pt x="6427" y="1041"/>
                  <a:pt x="6837" y="725"/>
                  <a:pt x="7246" y="725"/>
                </a:cubicBezTo>
                <a:close/>
                <a:moveTo>
                  <a:pt x="11090" y="1419"/>
                </a:moveTo>
                <a:lnTo>
                  <a:pt x="11090" y="4884"/>
                </a:lnTo>
                <a:cubicBezTo>
                  <a:pt x="10964" y="4853"/>
                  <a:pt x="10838" y="4853"/>
                  <a:pt x="10712" y="4853"/>
                </a:cubicBezTo>
                <a:cubicBezTo>
                  <a:pt x="10617" y="4853"/>
                  <a:pt x="10491" y="4884"/>
                  <a:pt x="10365" y="4884"/>
                </a:cubicBezTo>
                <a:lnTo>
                  <a:pt x="10365" y="1419"/>
                </a:lnTo>
                <a:close/>
                <a:moveTo>
                  <a:pt x="4537" y="725"/>
                </a:moveTo>
                <a:cubicBezTo>
                  <a:pt x="5104" y="725"/>
                  <a:pt x="5577" y="1198"/>
                  <a:pt x="5577" y="1734"/>
                </a:cubicBezTo>
                <a:lnTo>
                  <a:pt x="5577" y="5010"/>
                </a:lnTo>
                <a:lnTo>
                  <a:pt x="4474" y="6113"/>
                </a:lnTo>
                <a:cubicBezTo>
                  <a:pt x="4253" y="6302"/>
                  <a:pt x="4096" y="6585"/>
                  <a:pt x="4033" y="6869"/>
                </a:cubicBezTo>
                <a:lnTo>
                  <a:pt x="2143" y="6869"/>
                </a:lnTo>
                <a:lnTo>
                  <a:pt x="2143" y="725"/>
                </a:lnTo>
                <a:close/>
                <a:moveTo>
                  <a:pt x="1418" y="1419"/>
                </a:moveTo>
                <a:lnTo>
                  <a:pt x="1418" y="7247"/>
                </a:lnTo>
                <a:cubicBezTo>
                  <a:pt x="1418" y="7468"/>
                  <a:pt x="1575" y="7625"/>
                  <a:pt x="1796" y="7625"/>
                </a:cubicBezTo>
                <a:lnTo>
                  <a:pt x="3938" y="7625"/>
                </a:lnTo>
                <a:cubicBezTo>
                  <a:pt x="4001" y="7846"/>
                  <a:pt x="4064" y="8098"/>
                  <a:pt x="4190" y="8287"/>
                </a:cubicBezTo>
                <a:lnTo>
                  <a:pt x="725" y="8287"/>
                </a:lnTo>
                <a:lnTo>
                  <a:pt x="725" y="1419"/>
                </a:lnTo>
                <a:close/>
                <a:moveTo>
                  <a:pt x="6648" y="2112"/>
                </a:moveTo>
                <a:cubicBezTo>
                  <a:pt x="6837" y="2112"/>
                  <a:pt x="6994" y="2269"/>
                  <a:pt x="6994" y="2458"/>
                </a:cubicBezTo>
                <a:lnTo>
                  <a:pt x="6994" y="6554"/>
                </a:lnTo>
                <a:cubicBezTo>
                  <a:pt x="6994" y="6743"/>
                  <a:pt x="7152" y="6900"/>
                  <a:pt x="7341" y="6900"/>
                </a:cubicBezTo>
                <a:cubicBezTo>
                  <a:pt x="7530" y="6900"/>
                  <a:pt x="7687" y="6743"/>
                  <a:pt x="7687" y="6554"/>
                </a:cubicBezTo>
                <a:lnTo>
                  <a:pt x="7687" y="3844"/>
                </a:lnTo>
                <a:cubicBezTo>
                  <a:pt x="7687" y="3624"/>
                  <a:pt x="7845" y="3466"/>
                  <a:pt x="8065" y="3466"/>
                </a:cubicBezTo>
                <a:cubicBezTo>
                  <a:pt x="8254" y="3466"/>
                  <a:pt x="8412" y="3624"/>
                  <a:pt x="8412" y="3844"/>
                </a:cubicBezTo>
                <a:lnTo>
                  <a:pt x="8412" y="6554"/>
                </a:lnTo>
                <a:cubicBezTo>
                  <a:pt x="8412" y="6743"/>
                  <a:pt x="8570" y="6900"/>
                  <a:pt x="8759" y="6900"/>
                </a:cubicBezTo>
                <a:cubicBezTo>
                  <a:pt x="8948" y="6900"/>
                  <a:pt x="9105" y="6743"/>
                  <a:pt x="9105" y="6554"/>
                </a:cubicBezTo>
                <a:lnTo>
                  <a:pt x="9105" y="5168"/>
                </a:lnTo>
                <a:cubicBezTo>
                  <a:pt x="9105" y="4979"/>
                  <a:pt x="9263" y="4821"/>
                  <a:pt x="9483" y="4821"/>
                </a:cubicBezTo>
                <a:cubicBezTo>
                  <a:pt x="9672" y="4821"/>
                  <a:pt x="9830" y="4979"/>
                  <a:pt x="9830" y="5168"/>
                </a:cubicBezTo>
                <a:lnTo>
                  <a:pt x="9830" y="6554"/>
                </a:lnTo>
                <a:cubicBezTo>
                  <a:pt x="9830" y="6743"/>
                  <a:pt x="9987" y="6900"/>
                  <a:pt x="10176" y="6900"/>
                </a:cubicBezTo>
                <a:cubicBezTo>
                  <a:pt x="10365" y="6900"/>
                  <a:pt x="10523" y="6743"/>
                  <a:pt x="10523" y="6554"/>
                </a:cubicBezTo>
                <a:lnTo>
                  <a:pt x="10523" y="5892"/>
                </a:lnTo>
                <a:cubicBezTo>
                  <a:pt x="10523" y="5672"/>
                  <a:pt x="10680" y="5514"/>
                  <a:pt x="10901" y="5514"/>
                </a:cubicBezTo>
                <a:cubicBezTo>
                  <a:pt x="11090" y="5514"/>
                  <a:pt x="11247" y="5672"/>
                  <a:pt x="11247" y="5892"/>
                </a:cubicBezTo>
                <a:cubicBezTo>
                  <a:pt x="11090" y="5955"/>
                  <a:pt x="11090" y="8633"/>
                  <a:pt x="11090" y="8791"/>
                </a:cubicBezTo>
                <a:cubicBezTo>
                  <a:pt x="11090" y="9043"/>
                  <a:pt x="10995" y="9232"/>
                  <a:pt x="10838" y="9389"/>
                </a:cubicBezTo>
                <a:cubicBezTo>
                  <a:pt x="10586" y="9673"/>
                  <a:pt x="10397" y="10051"/>
                  <a:pt x="10397" y="10460"/>
                </a:cubicBezTo>
                <a:lnTo>
                  <a:pt x="10397" y="11028"/>
                </a:lnTo>
                <a:lnTo>
                  <a:pt x="6270" y="11028"/>
                </a:lnTo>
                <a:lnTo>
                  <a:pt x="6270" y="10397"/>
                </a:lnTo>
                <a:cubicBezTo>
                  <a:pt x="6270" y="10051"/>
                  <a:pt x="6144" y="9673"/>
                  <a:pt x="5923" y="9389"/>
                </a:cubicBezTo>
                <a:lnTo>
                  <a:pt x="4852" y="7972"/>
                </a:lnTo>
                <a:cubicBezTo>
                  <a:pt x="4537" y="7562"/>
                  <a:pt x="4600" y="6995"/>
                  <a:pt x="4946" y="6617"/>
                </a:cubicBezTo>
                <a:lnTo>
                  <a:pt x="5577" y="5987"/>
                </a:lnTo>
                <a:lnTo>
                  <a:pt x="5577" y="6554"/>
                </a:lnTo>
                <a:cubicBezTo>
                  <a:pt x="5577" y="6743"/>
                  <a:pt x="5734" y="6900"/>
                  <a:pt x="5923" y="6900"/>
                </a:cubicBezTo>
                <a:cubicBezTo>
                  <a:pt x="6112" y="6900"/>
                  <a:pt x="6270" y="6743"/>
                  <a:pt x="6270" y="6554"/>
                </a:cubicBezTo>
                <a:lnTo>
                  <a:pt x="6270" y="2458"/>
                </a:lnTo>
                <a:cubicBezTo>
                  <a:pt x="6270" y="2269"/>
                  <a:pt x="6427" y="2112"/>
                  <a:pt x="6648" y="2112"/>
                </a:cubicBezTo>
                <a:close/>
                <a:moveTo>
                  <a:pt x="1733" y="1"/>
                </a:moveTo>
                <a:cubicBezTo>
                  <a:pt x="1544" y="1"/>
                  <a:pt x="1386" y="158"/>
                  <a:pt x="1386" y="379"/>
                </a:cubicBezTo>
                <a:lnTo>
                  <a:pt x="1386" y="725"/>
                </a:lnTo>
                <a:lnTo>
                  <a:pt x="378" y="725"/>
                </a:lnTo>
                <a:cubicBezTo>
                  <a:pt x="158" y="725"/>
                  <a:pt x="0" y="883"/>
                  <a:pt x="0" y="1072"/>
                </a:cubicBezTo>
                <a:lnTo>
                  <a:pt x="0" y="8602"/>
                </a:lnTo>
                <a:cubicBezTo>
                  <a:pt x="0" y="8791"/>
                  <a:pt x="158" y="8948"/>
                  <a:pt x="378" y="8948"/>
                </a:cubicBezTo>
                <a:lnTo>
                  <a:pt x="4663" y="8948"/>
                </a:lnTo>
                <a:lnTo>
                  <a:pt x="5293" y="9830"/>
                </a:lnTo>
                <a:cubicBezTo>
                  <a:pt x="5419" y="9988"/>
                  <a:pt x="5482" y="10208"/>
                  <a:pt x="5482" y="10460"/>
                </a:cubicBezTo>
                <a:lnTo>
                  <a:pt x="5482" y="11406"/>
                </a:lnTo>
                <a:cubicBezTo>
                  <a:pt x="5482" y="11595"/>
                  <a:pt x="5640" y="11752"/>
                  <a:pt x="5829" y="11752"/>
                </a:cubicBezTo>
                <a:lnTo>
                  <a:pt x="10649" y="11752"/>
                </a:lnTo>
                <a:cubicBezTo>
                  <a:pt x="10838" y="11752"/>
                  <a:pt x="10995" y="11595"/>
                  <a:pt x="10995" y="11406"/>
                </a:cubicBezTo>
                <a:lnTo>
                  <a:pt x="10995" y="10460"/>
                </a:lnTo>
                <a:cubicBezTo>
                  <a:pt x="10995" y="10208"/>
                  <a:pt x="11090" y="10019"/>
                  <a:pt x="11247" y="9862"/>
                </a:cubicBezTo>
                <a:cubicBezTo>
                  <a:pt x="11500" y="9578"/>
                  <a:pt x="11657" y="9200"/>
                  <a:pt x="11657" y="8791"/>
                </a:cubicBezTo>
                <a:lnTo>
                  <a:pt x="11657" y="1072"/>
                </a:lnTo>
                <a:cubicBezTo>
                  <a:pt x="11752" y="883"/>
                  <a:pt x="11594" y="725"/>
                  <a:pt x="11405" y="725"/>
                </a:cubicBezTo>
                <a:lnTo>
                  <a:pt x="10365" y="725"/>
                </a:lnTo>
                <a:lnTo>
                  <a:pt x="10365" y="379"/>
                </a:lnTo>
                <a:cubicBezTo>
                  <a:pt x="10365" y="158"/>
                  <a:pt x="10208" y="1"/>
                  <a:pt x="10019" y="1"/>
                </a:cubicBezTo>
                <a:lnTo>
                  <a:pt x="7246" y="1"/>
                </a:lnTo>
                <a:cubicBezTo>
                  <a:pt x="6711" y="1"/>
                  <a:pt x="6207" y="284"/>
                  <a:pt x="5892" y="662"/>
                </a:cubicBezTo>
                <a:cubicBezTo>
                  <a:pt x="5577" y="253"/>
                  <a:pt x="5041" y="1"/>
                  <a:pt x="45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3" name="Google Shape;9963;p78"/>
          <p:cNvGrpSpPr/>
          <p:nvPr/>
        </p:nvGrpSpPr>
        <p:grpSpPr>
          <a:xfrm>
            <a:off x="2639701" y="2915367"/>
            <a:ext cx="353587" cy="353557"/>
            <a:chOff x="-31523625" y="1939525"/>
            <a:chExt cx="291450" cy="291425"/>
          </a:xfrm>
        </p:grpSpPr>
        <p:sp>
          <p:nvSpPr>
            <p:cNvPr id="9964" name="Google Shape;9964;p78"/>
            <p:cNvSpPr/>
            <p:nvPr/>
          </p:nvSpPr>
          <p:spPr>
            <a:xfrm>
              <a:off x="-31523625" y="1939525"/>
              <a:ext cx="291450" cy="291425"/>
            </a:xfrm>
            <a:custGeom>
              <a:avLst/>
              <a:gdLst/>
              <a:ahLst/>
              <a:cxnLst/>
              <a:rect l="l" t="t" r="r" b="b"/>
              <a:pathLst>
                <a:path w="11658" h="11657" extrusionOk="0">
                  <a:moveTo>
                    <a:pt x="2269" y="756"/>
                  </a:moveTo>
                  <a:cubicBezTo>
                    <a:pt x="2899" y="756"/>
                    <a:pt x="3372" y="1260"/>
                    <a:pt x="3372" y="1859"/>
                  </a:cubicBezTo>
                  <a:cubicBezTo>
                    <a:pt x="3372" y="2363"/>
                    <a:pt x="3057" y="2615"/>
                    <a:pt x="2805" y="2867"/>
                  </a:cubicBezTo>
                  <a:cubicBezTo>
                    <a:pt x="2710" y="2962"/>
                    <a:pt x="2679" y="3025"/>
                    <a:pt x="2679" y="3119"/>
                  </a:cubicBezTo>
                  <a:lnTo>
                    <a:pt x="2679" y="7246"/>
                  </a:lnTo>
                  <a:cubicBezTo>
                    <a:pt x="2679" y="7341"/>
                    <a:pt x="2710" y="7435"/>
                    <a:pt x="2805" y="7498"/>
                  </a:cubicBezTo>
                  <a:cubicBezTo>
                    <a:pt x="3057" y="7750"/>
                    <a:pt x="3372" y="8002"/>
                    <a:pt x="3372" y="8506"/>
                  </a:cubicBezTo>
                  <a:cubicBezTo>
                    <a:pt x="3372" y="9137"/>
                    <a:pt x="2868" y="9609"/>
                    <a:pt x="2269" y="9609"/>
                  </a:cubicBezTo>
                  <a:lnTo>
                    <a:pt x="1765" y="9609"/>
                  </a:lnTo>
                  <a:cubicBezTo>
                    <a:pt x="1167" y="9609"/>
                    <a:pt x="663" y="9137"/>
                    <a:pt x="663" y="8506"/>
                  </a:cubicBezTo>
                  <a:cubicBezTo>
                    <a:pt x="663" y="8002"/>
                    <a:pt x="978" y="7750"/>
                    <a:pt x="1261" y="7498"/>
                  </a:cubicBezTo>
                  <a:cubicBezTo>
                    <a:pt x="1324" y="7404"/>
                    <a:pt x="1356" y="7341"/>
                    <a:pt x="1356" y="7246"/>
                  </a:cubicBezTo>
                  <a:lnTo>
                    <a:pt x="1356" y="3119"/>
                  </a:lnTo>
                  <a:cubicBezTo>
                    <a:pt x="1356" y="3025"/>
                    <a:pt x="1324" y="2930"/>
                    <a:pt x="1261" y="2867"/>
                  </a:cubicBezTo>
                  <a:cubicBezTo>
                    <a:pt x="978" y="2615"/>
                    <a:pt x="663" y="2363"/>
                    <a:pt x="663" y="1859"/>
                  </a:cubicBezTo>
                  <a:cubicBezTo>
                    <a:pt x="663" y="1229"/>
                    <a:pt x="1167" y="756"/>
                    <a:pt x="1765" y="756"/>
                  </a:cubicBezTo>
                  <a:close/>
                  <a:moveTo>
                    <a:pt x="10650" y="2048"/>
                  </a:moveTo>
                  <a:cubicBezTo>
                    <a:pt x="10870" y="2048"/>
                    <a:pt x="11028" y="2205"/>
                    <a:pt x="11028" y="2395"/>
                  </a:cubicBezTo>
                  <a:lnTo>
                    <a:pt x="11028" y="9294"/>
                  </a:lnTo>
                  <a:lnTo>
                    <a:pt x="10965" y="9294"/>
                  </a:lnTo>
                  <a:cubicBezTo>
                    <a:pt x="10965" y="9483"/>
                    <a:pt x="10807" y="9641"/>
                    <a:pt x="10618" y="9641"/>
                  </a:cubicBezTo>
                  <a:lnTo>
                    <a:pt x="3687" y="9641"/>
                  </a:lnTo>
                  <a:cubicBezTo>
                    <a:pt x="3939" y="9326"/>
                    <a:pt x="4097" y="8948"/>
                    <a:pt x="4097" y="8538"/>
                  </a:cubicBezTo>
                  <a:cubicBezTo>
                    <a:pt x="4097" y="8065"/>
                    <a:pt x="3876" y="7593"/>
                    <a:pt x="3561" y="7278"/>
                  </a:cubicBezTo>
                  <a:lnTo>
                    <a:pt x="3404" y="7120"/>
                  </a:lnTo>
                  <a:lnTo>
                    <a:pt x="3404" y="3245"/>
                  </a:lnTo>
                  <a:cubicBezTo>
                    <a:pt x="3624" y="3025"/>
                    <a:pt x="4002" y="2710"/>
                    <a:pt x="4097" y="2048"/>
                  </a:cubicBezTo>
                  <a:close/>
                  <a:moveTo>
                    <a:pt x="4758" y="10334"/>
                  </a:moveTo>
                  <a:lnTo>
                    <a:pt x="4758" y="10649"/>
                  </a:lnTo>
                  <a:cubicBezTo>
                    <a:pt x="4758" y="10838"/>
                    <a:pt x="4601" y="10995"/>
                    <a:pt x="4412" y="10995"/>
                  </a:cubicBezTo>
                  <a:lnTo>
                    <a:pt x="2710" y="10995"/>
                  </a:lnTo>
                  <a:cubicBezTo>
                    <a:pt x="2521" y="10995"/>
                    <a:pt x="2364" y="10838"/>
                    <a:pt x="2364" y="10649"/>
                  </a:cubicBezTo>
                  <a:lnTo>
                    <a:pt x="2364" y="10334"/>
                  </a:lnTo>
                  <a:close/>
                  <a:moveTo>
                    <a:pt x="1797" y="0"/>
                  </a:moveTo>
                  <a:cubicBezTo>
                    <a:pt x="820" y="0"/>
                    <a:pt x="1" y="788"/>
                    <a:pt x="1" y="1827"/>
                  </a:cubicBezTo>
                  <a:cubicBezTo>
                    <a:pt x="1" y="2300"/>
                    <a:pt x="190" y="2773"/>
                    <a:pt x="505" y="3088"/>
                  </a:cubicBezTo>
                  <a:lnTo>
                    <a:pt x="663" y="3245"/>
                  </a:lnTo>
                  <a:lnTo>
                    <a:pt x="663" y="7089"/>
                  </a:lnTo>
                  <a:cubicBezTo>
                    <a:pt x="474" y="7278"/>
                    <a:pt x="1" y="7719"/>
                    <a:pt x="1" y="8506"/>
                  </a:cubicBezTo>
                  <a:cubicBezTo>
                    <a:pt x="1" y="9452"/>
                    <a:pt x="694" y="10208"/>
                    <a:pt x="1639" y="10271"/>
                  </a:cubicBezTo>
                  <a:lnTo>
                    <a:pt x="1734" y="10271"/>
                  </a:lnTo>
                  <a:lnTo>
                    <a:pt x="1734" y="10649"/>
                  </a:lnTo>
                  <a:cubicBezTo>
                    <a:pt x="1734" y="11184"/>
                    <a:pt x="2206" y="11657"/>
                    <a:pt x="2742" y="11657"/>
                  </a:cubicBezTo>
                  <a:lnTo>
                    <a:pt x="4443" y="11657"/>
                  </a:lnTo>
                  <a:cubicBezTo>
                    <a:pt x="5010" y="11657"/>
                    <a:pt x="5451" y="11184"/>
                    <a:pt x="5451" y="10649"/>
                  </a:cubicBezTo>
                  <a:lnTo>
                    <a:pt x="5451" y="10334"/>
                  </a:lnTo>
                  <a:lnTo>
                    <a:pt x="10618" y="10334"/>
                  </a:lnTo>
                  <a:cubicBezTo>
                    <a:pt x="11185" y="10334"/>
                    <a:pt x="11658" y="9861"/>
                    <a:pt x="11658" y="9294"/>
                  </a:cubicBezTo>
                  <a:lnTo>
                    <a:pt x="11658" y="2395"/>
                  </a:lnTo>
                  <a:cubicBezTo>
                    <a:pt x="11658" y="1827"/>
                    <a:pt x="11185" y="1386"/>
                    <a:pt x="10618" y="1386"/>
                  </a:cubicBezTo>
                  <a:lnTo>
                    <a:pt x="4034" y="1386"/>
                  </a:lnTo>
                  <a:cubicBezTo>
                    <a:pt x="3845" y="599"/>
                    <a:pt x="3151" y="0"/>
                    <a:pt x="23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78"/>
            <p:cNvSpPr/>
            <p:nvPr/>
          </p:nvSpPr>
          <p:spPr>
            <a:xfrm>
              <a:off x="-31404675" y="2007250"/>
              <a:ext cx="138625" cy="52800"/>
            </a:xfrm>
            <a:custGeom>
              <a:avLst/>
              <a:gdLst/>
              <a:ahLst/>
              <a:cxnLst/>
              <a:rect l="l" t="t" r="r" b="b"/>
              <a:pathLst>
                <a:path w="5545" h="2112" extrusionOk="0">
                  <a:moveTo>
                    <a:pt x="4852" y="725"/>
                  </a:moveTo>
                  <a:lnTo>
                    <a:pt x="4852" y="1418"/>
                  </a:lnTo>
                  <a:lnTo>
                    <a:pt x="693" y="1418"/>
                  </a:lnTo>
                  <a:lnTo>
                    <a:pt x="693" y="725"/>
                  </a:lnTo>
                  <a:close/>
                  <a:moveTo>
                    <a:pt x="347" y="1"/>
                  </a:moveTo>
                  <a:cubicBezTo>
                    <a:pt x="158" y="1"/>
                    <a:pt x="0" y="158"/>
                    <a:pt x="0" y="379"/>
                  </a:cubicBezTo>
                  <a:lnTo>
                    <a:pt x="0" y="1733"/>
                  </a:lnTo>
                  <a:cubicBezTo>
                    <a:pt x="0" y="1954"/>
                    <a:pt x="158" y="2111"/>
                    <a:pt x="347" y="2111"/>
                  </a:cubicBezTo>
                  <a:lnTo>
                    <a:pt x="5199" y="2111"/>
                  </a:lnTo>
                  <a:cubicBezTo>
                    <a:pt x="5388" y="2111"/>
                    <a:pt x="5545" y="1954"/>
                    <a:pt x="5545" y="1733"/>
                  </a:cubicBezTo>
                  <a:lnTo>
                    <a:pt x="5545" y="379"/>
                  </a:lnTo>
                  <a:cubicBezTo>
                    <a:pt x="5514" y="158"/>
                    <a:pt x="5356" y="1"/>
                    <a:pt x="51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78"/>
            <p:cNvSpPr/>
            <p:nvPr/>
          </p:nvSpPr>
          <p:spPr>
            <a:xfrm>
              <a:off x="-31404675" y="2077350"/>
              <a:ext cx="34675" cy="18150"/>
            </a:xfrm>
            <a:custGeom>
              <a:avLst/>
              <a:gdLst/>
              <a:ahLst/>
              <a:cxnLst/>
              <a:rect l="l" t="t" r="r" b="b"/>
              <a:pathLst>
                <a:path w="1387" h="726" extrusionOk="0">
                  <a:moveTo>
                    <a:pt x="347" y="0"/>
                  </a:moveTo>
                  <a:cubicBezTo>
                    <a:pt x="158" y="0"/>
                    <a:pt x="0" y="158"/>
                    <a:pt x="0" y="347"/>
                  </a:cubicBezTo>
                  <a:cubicBezTo>
                    <a:pt x="0" y="568"/>
                    <a:pt x="158" y="725"/>
                    <a:pt x="347" y="725"/>
                  </a:cubicBezTo>
                  <a:lnTo>
                    <a:pt x="1008" y="725"/>
                  </a:lnTo>
                  <a:cubicBezTo>
                    <a:pt x="1229" y="725"/>
                    <a:pt x="1386" y="568"/>
                    <a:pt x="1386" y="347"/>
                  </a:cubicBezTo>
                  <a:cubicBezTo>
                    <a:pt x="1386" y="158"/>
                    <a:pt x="1229"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7" name="Google Shape;9967;p78"/>
            <p:cNvSpPr/>
            <p:nvPr/>
          </p:nvSpPr>
          <p:spPr>
            <a:xfrm>
              <a:off x="-31353475"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1" y="725"/>
                  </a:lnTo>
                  <a:cubicBezTo>
                    <a:pt x="1260" y="725"/>
                    <a:pt x="1418" y="568"/>
                    <a:pt x="1418" y="347"/>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8" name="Google Shape;9968;p78"/>
            <p:cNvSpPr/>
            <p:nvPr/>
          </p:nvSpPr>
          <p:spPr>
            <a:xfrm>
              <a:off x="-31301500"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2" y="725"/>
                  </a:lnTo>
                  <a:cubicBezTo>
                    <a:pt x="1261" y="725"/>
                    <a:pt x="1418" y="568"/>
                    <a:pt x="1418" y="347"/>
                  </a:cubicBezTo>
                  <a:cubicBezTo>
                    <a:pt x="1387" y="158"/>
                    <a:pt x="1229"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9" name="Google Shape;9969;p78"/>
            <p:cNvSpPr/>
            <p:nvPr/>
          </p:nvSpPr>
          <p:spPr>
            <a:xfrm>
              <a:off x="-31404675" y="2112000"/>
              <a:ext cx="34675" cy="17350"/>
            </a:xfrm>
            <a:custGeom>
              <a:avLst/>
              <a:gdLst/>
              <a:ahLst/>
              <a:cxnLst/>
              <a:rect l="l" t="t" r="r" b="b"/>
              <a:pathLst>
                <a:path w="1387" h="694" extrusionOk="0">
                  <a:moveTo>
                    <a:pt x="347" y="1"/>
                  </a:moveTo>
                  <a:cubicBezTo>
                    <a:pt x="158" y="1"/>
                    <a:pt x="0" y="158"/>
                    <a:pt x="0" y="347"/>
                  </a:cubicBezTo>
                  <a:cubicBezTo>
                    <a:pt x="0" y="536"/>
                    <a:pt x="158" y="694"/>
                    <a:pt x="347" y="694"/>
                  </a:cubicBezTo>
                  <a:lnTo>
                    <a:pt x="1008" y="694"/>
                  </a:lnTo>
                  <a:cubicBezTo>
                    <a:pt x="1229" y="694"/>
                    <a:pt x="1386" y="536"/>
                    <a:pt x="1386" y="347"/>
                  </a:cubicBezTo>
                  <a:cubicBezTo>
                    <a:pt x="1386" y="158"/>
                    <a:pt x="1229"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78"/>
            <p:cNvSpPr/>
            <p:nvPr/>
          </p:nvSpPr>
          <p:spPr>
            <a:xfrm>
              <a:off x="-31353475"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78"/>
            <p:cNvSpPr/>
            <p:nvPr/>
          </p:nvSpPr>
          <p:spPr>
            <a:xfrm>
              <a:off x="-31301500"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387" y="158"/>
                    <a:pt x="122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78"/>
            <p:cNvSpPr/>
            <p:nvPr/>
          </p:nvSpPr>
          <p:spPr>
            <a:xfrm>
              <a:off x="-31404675" y="2145075"/>
              <a:ext cx="34675" cy="18150"/>
            </a:xfrm>
            <a:custGeom>
              <a:avLst/>
              <a:gdLst/>
              <a:ahLst/>
              <a:cxnLst/>
              <a:rect l="l" t="t" r="r" b="b"/>
              <a:pathLst>
                <a:path w="1387" h="726" extrusionOk="0">
                  <a:moveTo>
                    <a:pt x="347" y="1"/>
                  </a:moveTo>
                  <a:cubicBezTo>
                    <a:pt x="158" y="1"/>
                    <a:pt x="0" y="158"/>
                    <a:pt x="0" y="379"/>
                  </a:cubicBezTo>
                  <a:cubicBezTo>
                    <a:pt x="0" y="568"/>
                    <a:pt x="158" y="726"/>
                    <a:pt x="347" y="726"/>
                  </a:cubicBezTo>
                  <a:lnTo>
                    <a:pt x="1008" y="726"/>
                  </a:lnTo>
                  <a:cubicBezTo>
                    <a:pt x="1229" y="726"/>
                    <a:pt x="1386" y="568"/>
                    <a:pt x="1386" y="379"/>
                  </a:cubicBezTo>
                  <a:cubicBezTo>
                    <a:pt x="1386" y="158"/>
                    <a:pt x="1229"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78"/>
            <p:cNvSpPr/>
            <p:nvPr/>
          </p:nvSpPr>
          <p:spPr>
            <a:xfrm>
              <a:off x="-31353475"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1" y="726"/>
                  </a:lnTo>
                  <a:cubicBezTo>
                    <a:pt x="1260" y="726"/>
                    <a:pt x="1418" y="568"/>
                    <a:pt x="1418" y="379"/>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78"/>
            <p:cNvSpPr/>
            <p:nvPr/>
          </p:nvSpPr>
          <p:spPr>
            <a:xfrm>
              <a:off x="-31301500"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2" y="726"/>
                  </a:lnTo>
                  <a:cubicBezTo>
                    <a:pt x="1261" y="726"/>
                    <a:pt x="1418" y="568"/>
                    <a:pt x="1418" y="379"/>
                  </a:cubicBezTo>
                  <a:cubicBezTo>
                    <a:pt x="1387" y="158"/>
                    <a:pt x="122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75" name="Google Shape;9975;p78"/>
          <p:cNvGrpSpPr/>
          <p:nvPr/>
        </p:nvGrpSpPr>
        <p:grpSpPr>
          <a:xfrm>
            <a:off x="2638746" y="3383568"/>
            <a:ext cx="355498" cy="353587"/>
            <a:chOff x="-31523625" y="2298675"/>
            <a:chExt cx="293025" cy="291450"/>
          </a:xfrm>
        </p:grpSpPr>
        <p:sp>
          <p:nvSpPr>
            <p:cNvPr id="9976" name="Google Shape;9976;p78"/>
            <p:cNvSpPr/>
            <p:nvPr/>
          </p:nvSpPr>
          <p:spPr>
            <a:xfrm>
              <a:off x="-31523625" y="2298675"/>
              <a:ext cx="293025" cy="291450"/>
            </a:xfrm>
            <a:custGeom>
              <a:avLst/>
              <a:gdLst/>
              <a:ahLst/>
              <a:cxnLst/>
              <a:rect l="l" t="t" r="r" b="b"/>
              <a:pathLst>
                <a:path w="11721" h="11658" extrusionOk="0">
                  <a:moveTo>
                    <a:pt x="4443" y="630"/>
                  </a:moveTo>
                  <a:cubicBezTo>
                    <a:pt x="4632" y="630"/>
                    <a:pt x="4790" y="788"/>
                    <a:pt x="4790" y="977"/>
                  </a:cubicBezTo>
                  <a:cubicBezTo>
                    <a:pt x="4790" y="1198"/>
                    <a:pt x="4632" y="1355"/>
                    <a:pt x="4443" y="1355"/>
                  </a:cubicBezTo>
                  <a:cubicBezTo>
                    <a:pt x="4254" y="1355"/>
                    <a:pt x="4097" y="1198"/>
                    <a:pt x="4097" y="977"/>
                  </a:cubicBezTo>
                  <a:cubicBezTo>
                    <a:pt x="4097" y="788"/>
                    <a:pt x="4254" y="630"/>
                    <a:pt x="4443" y="630"/>
                  </a:cubicBezTo>
                  <a:close/>
                  <a:moveTo>
                    <a:pt x="7153" y="3434"/>
                  </a:moveTo>
                  <a:cubicBezTo>
                    <a:pt x="6523" y="3938"/>
                    <a:pt x="6176" y="4663"/>
                    <a:pt x="6176" y="5482"/>
                  </a:cubicBezTo>
                  <a:lnTo>
                    <a:pt x="6176" y="7530"/>
                  </a:lnTo>
                  <a:lnTo>
                    <a:pt x="663" y="7530"/>
                  </a:lnTo>
                  <a:lnTo>
                    <a:pt x="663" y="5482"/>
                  </a:lnTo>
                  <a:cubicBezTo>
                    <a:pt x="663" y="4348"/>
                    <a:pt x="1576" y="3434"/>
                    <a:pt x="2710" y="3434"/>
                  </a:cubicBezTo>
                  <a:lnTo>
                    <a:pt x="4790" y="3434"/>
                  </a:lnTo>
                  <a:lnTo>
                    <a:pt x="4790" y="4474"/>
                  </a:lnTo>
                  <a:cubicBezTo>
                    <a:pt x="4790" y="4663"/>
                    <a:pt x="4947" y="4821"/>
                    <a:pt x="5136" y="4821"/>
                  </a:cubicBezTo>
                  <a:cubicBezTo>
                    <a:pt x="5357" y="4821"/>
                    <a:pt x="5514" y="4663"/>
                    <a:pt x="5514" y="4474"/>
                  </a:cubicBezTo>
                  <a:lnTo>
                    <a:pt x="5514" y="3434"/>
                  </a:lnTo>
                  <a:close/>
                  <a:moveTo>
                    <a:pt x="6176" y="8255"/>
                  </a:moveTo>
                  <a:lnTo>
                    <a:pt x="6176" y="8916"/>
                  </a:lnTo>
                  <a:lnTo>
                    <a:pt x="663" y="8916"/>
                  </a:lnTo>
                  <a:lnTo>
                    <a:pt x="663" y="8255"/>
                  </a:lnTo>
                  <a:close/>
                  <a:moveTo>
                    <a:pt x="8917" y="3434"/>
                  </a:moveTo>
                  <a:cubicBezTo>
                    <a:pt x="10083" y="3434"/>
                    <a:pt x="10965" y="4348"/>
                    <a:pt x="10965" y="5482"/>
                  </a:cubicBezTo>
                  <a:lnTo>
                    <a:pt x="10965" y="8916"/>
                  </a:lnTo>
                  <a:lnTo>
                    <a:pt x="6869" y="8916"/>
                  </a:lnTo>
                  <a:lnTo>
                    <a:pt x="6869" y="5482"/>
                  </a:lnTo>
                  <a:cubicBezTo>
                    <a:pt x="6869" y="4380"/>
                    <a:pt x="7783" y="3434"/>
                    <a:pt x="8917" y="3434"/>
                  </a:cubicBezTo>
                  <a:close/>
                  <a:moveTo>
                    <a:pt x="4790" y="9609"/>
                  </a:moveTo>
                  <a:lnTo>
                    <a:pt x="4790" y="10996"/>
                  </a:lnTo>
                  <a:lnTo>
                    <a:pt x="4128" y="10996"/>
                  </a:lnTo>
                  <a:lnTo>
                    <a:pt x="4128" y="9609"/>
                  </a:lnTo>
                  <a:close/>
                  <a:moveTo>
                    <a:pt x="4443" y="0"/>
                  </a:moveTo>
                  <a:cubicBezTo>
                    <a:pt x="3876" y="0"/>
                    <a:pt x="3404" y="473"/>
                    <a:pt x="3404" y="1040"/>
                  </a:cubicBezTo>
                  <a:cubicBezTo>
                    <a:pt x="3404" y="1576"/>
                    <a:pt x="3876" y="2048"/>
                    <a:pt x="4443" y="2048"/>
                  </a:cubicBezTo>
                  <a:cubicBezTo>
                    <a:pt x="4569" y="2048"/>
                    <a:pt x="4664" y="2017"/>
                    <a:pt x="4790" y="2017"/>
                  </a:cubicBezTo>
                  <a:lnTo>
                    <a:pt x="4790" y="2773"/>
                  </a:lnTo>
                  <a:lnTo>
                    <a:pt x="2710" y="2773"/>
                  </a:lnTo>
                  <a:cubicBezTo>
                    <a:pt x="1198" y="2773"/>
                    <a:pt x="1" y="4001"/>
                    <a:pt x="1" y="5482"/>
                  </a:cubicBezTo>
                  <a:lnTo>
                    <a:pt x="1" y="9231"/>
                  </a:lnTo>
                  <a:cubicBezTo>
                    <a:pt x="1" y="9420"/>
                    <a:pt x="159" y="9578"/>
                    <a:pt x="348" y="9578"/>
                  </a:cubicBezTo>
                  <a:lnTo>
                    <a:pt x="3467" y="9578"/>
                  </a:lnTo>
                  <a:lnTo>
                    <a:pt x="3467" y="11311"/>
                  </a:lnTo>
                  <a:cubicBezTo>
                    <a:pt x="3467" y="11500"/>
                    <a:pt x="3624" y="11657"/>
                    <a:pt x="3813" y="11657"/>
                  </a:cubicBezTo>
                  <a:lnTo>
                    <a:pt x="5199" y="11657"/>
                  </a:lnTo>
                  <a:cubicBezTo>
                    <a:pt x="5388" y="11657"/>
                    <a:pt x="5546" y="11500"/>
                    <a:pt x="5546" y="11311"/>
                  </a:cubicBezTo>
                  <a:lnTo>
                    <a:pt x="5546" y="9578"/>
                  </a:lnTo>
                  <a:lnTo>
                    <a:pt x="11374" y="9578"/>
                  </a:lnTo>
                  <a:cubicBezTo>
                    <a:pt x="11563" y="9578"/>
                    <a:pt x="11721" y="9420"/>
                    <a:pt x="11721" y="9231"/>
                  </a:cubicBezTo>
                  <a:lnTo>
                    <a:pt x="11721" y="5482"/>
                  </a:lnTo>
                  <a:cubicBezTo>
                    <a:pt x="11658" y="4001"/>
                    <a:pt x="10429" y="2773"/>
                    <a:pt x="8917" y="2773"/>
                  </a:cubicBezTo>
                  <a:lnTo>
                    <a:pt x="5451" y="2773"/>
                  </a:lnTo>
                  <a:lnTo>
                    <a:pt x="5451" y="1040"/>
                  </a:lnTo>
                  <a:cubicBezTo>
                    <a:pt x="5451" y="473"/>
                    <a:pt x="4979"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7" name="Google Shape;9977;p78"/>
            <p:cNvSpPr/>
            <p:nvPr/>
          </p:nvSpPr>
          <p:spPr>
            <a:xfrm>
              <a:off x="-31334575" y="2452250"/>
              <a:ext cx="67750" cy="51225"/>
            </a:xfrm>
            <a:custGeom>
              <a:avLst/>
              <a:gdLst/>
              <a:ahLst/>
              <a:cxnLst/>
              <a:rect l="l" t="t" r="r" b="b"/>
              <a:pathLst>
                <a:path w="2710" h="2049" extrusionOk="0">
                  <a:moveTo>
                    <a:pt x="1670" y="694"/>
                  </a:moveTo>
                  <a:cubicBezTo>
                    <a:pt x="1890" y="694"/>
                    <a:pt x="2048" y="851"/>
                    <a:pt x="2048" y="1040"/>
                  </a:cubicBezTo>
                  <a:cubicBezTo>
                    <a:pt x="2048" y="1229"/>
                    <a:pt x="1890" y="1387"/>
                    <a:pt x="1670" y="1387"/>
                  </a:cubicBezTo>
                  <a:lnTo>
                    <a:pt x="1008" y="1387"/>
                  </a:lnTo>
                  <a:cubicBezTo>
                    <a:pt x="819" y="1387"/>
                    <a:pt x="662" y="1229"/>
                    <a:pt x="662" y="1040"/>
                  </a:cubicBezTo>
                  <a:cubicBezTo>
                    <a:pt x="662" y="851"/>
                    <a:pt x="819" y="694"/>
                    <a:pt x="1008" y="694"/>
                  </a:cubicBezTo>
                  <a:close/>
                  <a:moveTo>
                    <a:pt x="1008" y="1"/>
                  </a:moveTo>
                  <a:cubicBezTo>
                    <a:pt x="473" y="1"/>
                    <a:pt x="0" y="473"/>
                    <a:pt x="0" y="1040"/>
                  </a:cubicBezTo>
                  <a:cubicBezTo>
                    <a:pt x="0" y="1576"/>
                    <a:pt x="473" y="2049"/>
                    <a:pt x="1008" y="2049"/>
                  </a:cubicBezTo>
                  <a:lnTo>
                    <a:pt x="1670" y="2049"/>
                  </a:lnTo>
                  <a:cubicBezTo>
                    <a:pt x="2237" y="2049"/>
                    <a:pt x="2710" y="1576"/>
                    <a:pt x="2710" y="1040"/>
                  </a:cubicBezTo>
                  <a:cubicBezTo>
                    <a:pt x="2710" y="473"/>
                    <a:pt x="2269"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78"/>
            <p:cNvSpPr/>
            <p:nvPr/>
          </p:nvSpPr>
          <p:spPr>
            <a:xfrm>
              <a:off x="-31334575" y="2419175"/>
              <a:ext cx="68525" cy="17350"/>
            </a:xfrm>
            <a:custGeom>
              <a:avLst/>
              <a:gdLst/>
              <a:ahLst/>
              <a:cxnLst/>
              <a:rect l="l" t="t" r="r" b="b"/>
              <a:pathLst>
                <a:path w="2741" h="694" extrusionOk="0">
                  <a:moveTo>
                    <a:pt x="347" y="1"/>
                  </a:moveTo>
                  <a:cubicBezTo>
                    <a:pt x="158" y="1"/>
                    <a:pt x="0" y="158"/>
                    <a:pt x="0" y="347"/>
                  </a:cubicBezTo>
                  <a:cubicBezTo>
                    <a:pt x="0" y="536"/>
                    <a:pt x="158" y="694"/>
                    <a:pt x="347" y="694"/>
                  </a:cubicBezTo>
                  <a:lnTo>
                    <a:pt x="2395" y="694"/>
                  </a:lnTo>
                  <a:cubicBezTo>
                    <a:pt x="2584" y="694"/>
                    <a:pt x="2741" y="536"/>
                    <a:pt x="2741" y="347"/>
                  </a:cubicBezTo>
                  <a:cubicBezTo>
                    <a:pt x="2710" y="158"/>
                    <a:pt x="2552"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9" name="Google Shape;9979;p78"/>
          <p:cNvSpPr/>
          <p:nvPr/>
        </p:nvSpPr>
        <p:spPr>
          <a:xfrm>
            <a:off x="2633984" y="3842739"/>
            <a:ext cx="359320" cy="356438"/>
          </a:xfrm>
          <a:custGeom>
            <a:avLst/>
            <a:gdLst/>
            <a:ahLst/>
            <a:cxnLst/>
            <a:rect l="l" t="t" r="r" b="b"/>
            <a:pathLst>
              <a:path w="11847" h="11752" extrusionOk="0">
                <a:moveTo>
                  <a:pt x="6039" y="2796"/>
                </a:moveTo>
                <a:cubicBezTo>
                  <a:pt x="6845" y="2796"/>
                  <a:pt x="7621" y="3116"/>
                  <a:pt x="8224" y="3718"/>
                </a:cubicBezTo>
                <a:cubicBezTo>
                  <a:pt x="8917" y="4411"/>
                  <a:pt x="9232" y="5356"/>
                  <a:pt x="9074" y="6396"/>
                </a:cubicBezTo>
                <a:cubicBezTo>
                  <a:pt x="8885" y="7688"/>
                  <a:pt x="7814" y="8759"/>
                  <a:pt x="6522" y="8948"/>
                </a:cubicBezTo>
                <a:cubicBezTo>
                  <a:pt x="6377" y="8962"/>
                  <a:pt x="6232" y="8970"/>
                  <a:pt x="6088" y="8970"/>
                </a:cubicBezTo>
                <a:cubicBezTo>
                  <a:pt x="5606" y="8970"/>
                  <a:pt x="5132" y="8883"/>
                  <a:pt x="4695" y="8664"/>
                </a:cubicBezTo>
                <a:lnTo>
                  <a:pt x="5231" y="8160"/>
                </a:lnTo>
                <a:cubicBezTo>
                  <a:pt x="5444" y="8249"/>
                  <a:pt x="5677" y="8288"/>
                  <a:pt x="5919" y="8288"/>
                </a:cubicBezTo>
                <a:cubicBezTo>
                  <a:pt x="6106" y="8288"/>
                  <a:pt x="6298" y="8265"/>
                  <a:pt x="6491" y="8223"/>
                </a:cubicBezTo>
                <a:cubicBezTo>
                  <a:pt x="6964" y="8160"/>
                  <a:pt x="7373" y="7908"/>
                  <a:pt x="7751" y="7562"/>
                </a:cubicBezTo>
                <a:cubicBezTo>
                  <a:pt x="8098" y="7215"/>
                  <a:pt x="8318" y="6774"/>
                  <a:pt x="8413" y="6301"/>
                </a:cubicBezTo>
                <a:cubicBezTo>
                  <a:pt x="8476" y="5797"/>
                  <a:pt x="8444" y="5293"/>
                  <a:pt x="8224" y="4821"/>
                </a:cubicBezTo>
                <a:cubicBezTo>
                  <a:pt x="8161" y="4695"/>
                  <a:pt x="8066" y="4663"/>
                  <a:pt x="7972" y="4600"/>
                </a:cubicBezTo>
                <a:cubicBezTo>
                  <a:pt x="7846" y="4600"/>
                  <a:pt x="7751" y="4600"/>
                  <a:pt x="7657" y="4695"/>
                </a:cubicBezTo>
                <a:lnTo>
                  <a:pt x="6806" y="5545"/>
                </a:lnTo>
                <a:cubicBezTo>
                  <a:pt x="6743" y="5608"/>
                  <a:pt x="6649" y="5640"/>
                  <a:pt x="6558" y="5640"/>
                </a:cubicBezTo>
                <a:cubicBezTo>
                  <a:pt x="6467" y="5640"/>
                  <a:pt x="6381" y="5608"/>
                  <a:pt x="6333" y="5545"/>
                </a:cubicBezTo>
                <a:cubicBezTo>
                  <a:pt x="6207" y="5419"/>
                  <a:pt x="6207" y="5199"/>
                  <a:pt x="6333" y="5073"/>
                </a:cubicBezTo>
                <a:lnTo>
                  <a:pt x="7184" y="4222"/>
                </a:lnTo>
                <a:cubicBezTo>
                  <a:pt x="7279" y="4128"/>
                  <a:pt x="7310" y="4033"/>
                  <a:pt x="7279" y="3907"/>
                </a:cubicBezTo>
                <a:cubicBezTo>
                  <a:pt x="7279" y="3781"/>
                  <a:pt x="7184" y="3718"/>
                  <a:pt x="7058" y="3655"/>
                </a:cubicBezTo>
                <a:cubicBezTo>
                  <a:pt x="6723" y="3499"/>
                  <a:pt x="6372" y="3437"/>
                  <a:pt x="6017" y="3437"/>
                </a:cubicBezTo>
                <a:cubicBezTo>
                  <a:pt x="5871" y="3437"/>
                  <a:pt x="5724" y="3448"/>
                  <a:pt x="5577" y="3466"/>
                </a:cubicBezTo>
                <a:cubicBezTo>
                  <a:pt x="5105" y="3561"/>
                  <a:pt x="4664" y="3781"/>
                  <a:pt x="4317" y="4128"/>
                </a:cubicBezTo>
                <a:cubicBezTo>
                  <a:pt x="3971" y="4506"/>
                  <a:pt x="3719" y="4915"/>
                  <a:pt x="3656" y="5388"/>
                </a:cubicBezTo>
                <a:cubicBezTo>
                  <a:pt x="3561" y="5829"/>
                  <a:pt x="3593" y="6270"/>
                  <a:pt x="3719" y="6648"/>
                </a:cubicBezTo>
                <a:lnTo>
                  <a:pt x="3214" y="7184"/>
                </a:lnTo>
                <a:cubicBezTo>
                  <a:pt x="2962" y="6648"/>
                  <a:pt x="2868" y="6018"/>
                  <a:pt x="2962" y="5388"/>
                </a:cubicBezTo>
                <a:cubicBezTo>
                  <a:pt x="3183" y="4096"/>
                  <a:pt x="4223" y="3025"/>
                  <a:pt x="5546" y="2836"/>
                </a:cubicBezTo>
                <a:cubicBezTo>
                  <a:pt x="5710" y="2809"/>
                  <a:pt x="5875" y="2796"/>
                  <a:pt x="6039" y="2796"/>
                </a:cubicBezTo>
                <a:close/>
                <a:moveTo>
                  <a:pt x="6428" y="757"/>
                </a:moveTo>
                <a:lnTo>
                  <a:pt x="6554" y="1261"/>
                </a:lnTo>
                <a:cubicBezTo>
                  <a:pt x="6585" y="1387"/>
                  <a:pt x="6680" y="1481"/>
                  <a:pt x="6838" y="1481"/>
                </a:cubicBezTo>
                <a:cubicBezTo>
                  <a:pt x="7468" y="1607"/>
                  <a:pt x="8003" y="1859"/>
                  <a:pt x="8539" y="2206"/>
                </a:cubicBezTo>
                <a:cubicBezTo>
                  <a:pt x="8586" y="2237"/>
                  <a:pt x="8641" y="2253"/>
                  <a:pt x="8700" y="2253"/>
                </a:cubicBezTo>
                <a:cubicBezTo>
                  <a:pt x="8759" y="2253"/>
                  <a:pt x="8822" y="2237"/>
                  <a:pt x="8885" y="2206"/>
                </a:cubicBezTo>
                <a:lnTo>
                  <a:pt x="9326" y="1922"/>
                </a:lnTo>
                <a:lnTo>
                  <a:pt x="9894" y="2521"/>
                </a:lnTo>
                <a:lnTo>
                  <a:pt x="9641" y="2962"/>
                </a:lnTo>
                <a:cubicBezTo>
                  <a:pt x="9547" y="3088"/>
                  <a:pt x="9547" y="3246"/>
                  <a:pt x="9641" y="3309"/>
                </a:cubicBezTo>
                <a:cubicBezTo>
                  <a:pt x="9988" y="3813"/>
                  <a:pt x="10209" y="4411"/>
                  <a:pt x="10335" y="5010"/>
                </a:cubicBezTo>
                <a:cubicBezTo>
                  <a:pt x="10366" y="5136"/>
                  <a:pt x="10461" y="5230"/>
                  <a:pt x="10587" y="5293"/>
                </a:cubicBezTo>
                <a:lnTo>
                  <a:pt x="11091" y="5388"/>
                </a:lnTo>
                <a:lnTo>
                  <a:pt x="11091" y="6301"/>
                </a:lnTo>
                <a:lnTo>
                  <a:pt x="11154" y="6301"/>
                </a:lnTo>
                <a:lnTo>
                  <a:pt x="10650" y="6428"/>
                </a:lnTo>
                <a:cubicBezTo>
                  <a:pt x="10524" y="6459"/>
                  <a:pt x="10429" y="6554"/>
                  <a:pt x="10429" y="6711"/>
                </a:cubicBezTo>
                <a:cubicBezTo>
                  <a:pt x="10303" y="7341"/>
                  <a:pt x="10051" y="7877"/>
                  <a:pt x="9704" y="8381"/>
                </a:cubicBezTo>
                <a:cubicBezTo>
                  <a:pt x="9641" y="8507"/>
                  <a:pt x="9641" y="8633"/>
                  <a:pt x="9704" y="8759"/>
                </a:cubicBezTo>
                <a:lnTo>
                  <a:pt x="9988" y="9168"/>
                </a:lnTo>
                <a:lnTo>
                  <a:pt x="9389" y="9767"/>
                </a:lnTo>
                <a:lnTo>
                  <a:pt x="8948" y="9483"/>
                </a:lnTo>
                <a:cubicBezTo>
                  <a:pt x="8901" y="9452"/>
                  <a:pt x="8838" y="9436"/>
                  <a:pt x="8775" y="9436"/>
                </a:cubicBezTo>
                <a:cubicBezTo>
                  <a:pt x="8712" y="9436"/>
                  <a:pt x="8649" y="9452"/>
                  <a:pt x="8602" y="9483"/>
                </a:cubicBezTo>
                <a:cubicBezTo>
                  <a:pt x="8098" y="9862"/>
                  <a:pt x="7499" y="10082"/>
                  <a:pt x="6901" y="10208"/>
                </a:cubicBezTo>
                <a:cubicBezTo>
                  <a:pt x="6806" y="10240"/>
                  <a:pt x="6680" y="10334"/>
                  <a:pt x="6649" y="10429"/>
                </a:cubicBezTo>
                <a:lnTo>
                  <a:pt x="6522" y="10964"/>
                </a:lnTo>
                <a:lnTo>
                  <a:pt x="5703" y="10964"/>
                </a:lnTo>
                <a:lnTo>
                  <a:pt x="5577" y="10429"/>
                </a:lnTo>
                <a:cubicBezTo>
                  <a:pt x="5546" y="10334"/>
                  <a:pt x="5451" y="10208"/>
                  <a:pt x="5294" y="10208"/>
                </a:cubicBezTo>
                <a:cubicBezTo>
                  <a:pt x="4758" y="10082"/>
                  <a:pt x="4223" y="9893"/>
                  <a:pt x="3750" y="9609"/>
                </a:cubicBezTo>
                <a:lnTo>
                  <a:pt x="4286" y="9105"/>
                </a:lnTo>
                <a:cubicBezTo>
                  <a:pt x="4821" y="9420"/>
                  <a:pt x="5451" y="9578"/>
                  <a:pt x="6113" y="9578"/>
                </a:cubicBezTo>
                <a:cubicBezTo>
                  <a:pt x="6333" y="9578"/>
                  <a:pt x="6522" y="9578"/>
                  <a:pt x="6712" y="9546"/>
                </a:cubicBezTo>
                <a:cubicBezTo>
                  <a:pt x="7499" y="9420"/>
                  <a:pt x="8224" y="9011"/>
                  <a:pt x="8759" y="8475"/>
                </a:cubicBezTo>
                <a:cubicBezTo>
                  <a:pt x="9326" y="7908"/>
                  <a:pt x="9704" y="7184"/>
                  <a:pt x="9831" y="6428"/>
                </a:cubicBezTo>
                <a:cubicBezTo>
                  <a:pt x="10020" y="5199"/>
                  <a:pt x="9641" y="4033"/>
                  <a:pt x="8759" y="3151"/>
                </a:cubicBezTo>
                <a:cubicBezTo>
                  <a:pt x="8046" y="2438"/>
                  <a:pt x="7089" y="2034"/>
                  <a:pt x="6074" y="2034"/>
                </a:cubicBezTo>
                <a:cubicBezTo>
                  <a:pt x="5878" y="2034"/>
                  <a:pt x="5681" y="2049"/>
                  <a:pt x="5483" y="2080"/>
                </a:cubicBezTo>
                <a:cubicBezTo>
                  <a:pt x="4695" y="2206"/>
                  <a:pt x="4002" y="2615"/>
                  <a:pt x="3435" y="3151"/>
                </a:cubicBezTo>
                <a:cubicBezTo>
                  <a:pt x="2899" y="3718"/>
                  <a:pt x="2490" y="4443"/>
                  <a:pt x="2395" y="5199"/>
                </a:cubicBezTo>
                <a:cubicBezTo>
                  <a:pt x="2269" y="6018"/>
                  <a:pt x="2427" y="6900"/>
                  <a:pt x="2805" y="7656"/>
                </a:cubicBezTo>
                <a:lnTo>
                  <a:pt x="2301" y="8160"/>
                </a:lnTo>
                <a:cubicBezTo>
                  <a:pt x="2017" y="7688"/>
                  <a:pt x="1828" y="7184"/>
                  <a:pt x="1702" y="6617"/>
                </a:cubicBezTo>
                <a:cubicBezTo>
                  <a:pt x="1671" y="6491"/>
                  <a:pt x="1608" y="6396"/>
                  <a:pt x="1482" y="6333"/>
                </a:cubicBezTo>
                <a:lnTo>
                  <a:pt x="978" y="6238"/>
                </a:lnTo>
                <a:lnTo>
                  <a:pt x="978" y="5388"/>
                </a:lnTo>
                <a:lnTo>
                  <a:pt x="1482" y="5293"/>
                </a:lnTo>
                <a:cubicBezTo>
                  <a:pt x="1608" y="5230"/>
                  <a:pt x="1702" y="5167"/>
                  <a:pt x="1702" y="5010"/>
                </a:cubicBezTo>
                <a:cubicBezTo>
                  <a:pt x="1828" y="4380"/>
                  <a:pt x="2080" y="3813"/>
                  <a:pt x="2427" y="3309"/>
                </a:cubicBezTo>
                <a:cubicBezTo>
                  <a:pt x="2490" y="3183"/>
                  <a:pt x="2490" y="3088"/>
                  <a:pt x="2427" y="2962"/>
                </a:cubicBezTo>
                <a:lnTo>
                  <a:pt x="2143" y="2521"/>
                </a:lnTo>
                <a:lnTo>
                  <a:pt x="2742" y="1922"/>
                </a:lnTo>
                <a:lnTo>
                  <a:pt x="3183" y="2206"/>
                </a:lnTo>
                <a:cubicBezTo>
                  <a:pt x="3230" y="2237"/>
                  <a:pt x="3293" y="2253"/>
                  <a:pt x="3356" y="2253"/>
                </a:cubicBezTo>
                <a:cubicBezTo>
                  <a:pt x="3419" y="2253"/>
                  <a:pt x="3482" y="2237"/>
                  <a:pt x="3530" y="2206"/>
                </a:cubicBezTo>
                <a:cubicBezTo>
                  <a:pt x="4034" y="1859"/>
                  <a:pt x="4632" y="1607"/>
                  <a:pt x="5231" y="1481"/>
                </a:cubicBezTo>
                <a:cubicBezTo>
                  <a:pt x="5325" y="1450"/>
                  <a:pt x="5451" y="1387"/>
                  <a:pt x="5483" y="1261"/>
                </a:cubicBezTo>
                <a:lnTo>
                  <a:pt x="5609" y="757"/>
                </a:lnTo>
                <a:close/>
                <a:moveTo>
                  <a:pt x="6239" y="4222"/>
                </a:moveTo>
                <a:lnTo>
                  <a:pt x="5766" y="4695"/>
                </a:lnTo>
                <a:cubicBezTo>
                  <a:pt x="5388" y="5073"/>
                  <a:pt x="5388" y="5766"/>
                  <a:pt x="5766" y="6144"/>
                </a:cubicBezTo>
                <a:cubicBezTo>
                  <a:pt x="5971" y="6349"/>
                  <a:pt x="6239" y="6451"/>
                  <a:pt x="6503" y="6451"/>
                </a:cubicBezTo>
                <a:cubicBezTo>
                  <a:pt x="6767" y="6451"/>
                  <a:pt x="7027" y="6349"/>
                  <a:pt x="7216" y="6144"/>
                </a:cubicBezTo>
                <a:lnTo>
                  <a:pt x="7688" y="5671"/>
                </a:lnTo>
                <a:cubicBezTo>
                  <a:pt x="7751" y="5860"/>
                  <a:pt x="7751" y="6081"/>
                  <a:pt x="7688" y="6238"/>
                </a:cubicBezTo>
                <a:cubicBezTo>
                  <a:pt x="7594" y="6900"/>
                  <a:pt x="7027" y="7436"/>
                  <a:pt x="6365" y="7562"/>
                </a:cubicBezTo>
                <a:cubicBezTo>
                  <a:pt x="6267" y="7588"/>
                  <a:pt x="6163" y="7600"/>
                  <a:pt x="6059" y="7600"/>
                </a:cubicBezTo>
                <a:cubicBezTo>
                  <a:pt x="5794" y="7600"/>
                  <a:pt x="5520" y="7526"/>
                  <a:pt x="5294" y="7436"/>
                </a:cubicBezTo>
                <a:cubicBezTo>
                  <a:pt x="5252" y="7415"/>
                  <a:pt x="5206" y="7404"/>
                  <a:pt x="5161" y="7404"/>
                </a:cubicBezTo>
                <a:cubicBezTo>
                  <a:pt x="5070" y="7404"/>
                  <a:pt x="4979" y="7446"/>
                  <a:pt x="4916" y="7530"/>
                </a:cubicBezTo>
                <a:lnTo>
                  <a:pt x="3908" y="8507"/>
                </a:lnTo>
                <a:lnTo>
                  <a:pt x="1450" y="10964"/>
                </a:lnTo>
                <a:cubicBezTo>
                  <a:pt x="1387" y="11011"/>
                  <a:pt x="1293" y="11035"/>
                  <a:pt x="1202" y="11035"/>
                </a:cubicBezTo>
                <a:cubicBezTo>
                  <a:pt x="1112" y="11035"/>
                  <a:pt x="1025" y="11011"/>
                  <a:pt x="978" y="10964"/>
                </a:cubicBezTo>
                <a:cubicBezTo>
                  <a:pt x="852" y="10838"/>
                  <a:pt x="852" y="10586"/>
                  <a:pt x="978" y="10492"/>
                </a:cubicBezTo>
                <a:lnTo>
                  <a:pt x="3403" y="8034"/>
                </a:lnTo>
                <a:lnTo>
                  <a:pt x="4380" y="7058"/>
                </a:lnTo>
                <a:cubicBezTo>
                  <a:pt x="4506" y="6932"/>
                  <a:pt x="4506" y="6774"/>
                  <a:pt x="4475" y="6648"/>
                </a:cubicBezTo>
                <a:cubicBezTo>
                  <a:pt x="4317" y="6333"/>
                  <a:pt x="4286" y="5955"/>
                  <a:pt x="4349" y="5608"/>
                </a:cubicBezTo>
                <a:cubicBezTo>
                  <a:pt x="4475" y="4915"/>
                  <a:pt x="5010" y="4380"/>
                  <a:pt x="5703" y="4254"/>
                </a:cubicBezTo>
                <a:cubicBezTo>
                  <a:pt x="5798" y="4254"/>
                  <a:pt x="5892" y="4222"/>
                  <a:pt x="6018" y="4222"/>
                </a:cubicBezTo>
                <a:close/>
                <a:moveTo>
                  <a:pt x="5262" y="1"/>
                </a:moveTo>
                <a:cubicBezTo>
                  <a:pt x="5105" y="1"/>
                  <a:pt x="4979" y="127"/>
                  <a:pt x="4947" y="284"/>
                </a:cubicBezTo>
                <a:lnTo>
                  <a:pt x="4790" y="883"/>
                </a:lnTo>
                <a:cubicBezTo>
                  <a:pt x="4223" y="977"/>
                  <a:pt x="3719" y="1229"/>
                  <a:pt x="3214" y="1513"/>
                </a:cubicBezTo>
                <a:lnTo>
                  <a:pt x="2710" y="1198"/>
                </a:lnTo>
                <a:cubicBezTo>
                  <a:pt x="2652" y="1154"/>
                  <a:pt x="2580" y="1130"/>
                  <a:pt x="2507" y="1130"/>
                </a:cubicBezTo>
                <a:cubicBezTo>
                  <a:pt x="2422" y="1130"/>
                  <a:pt x="2337" y="1162"/>
                  <a:pt x="2269" y="1229"/>
                </a:cubicBezTo>
                <a:lnTo>
                  <a:pt x="1293" y="2206"/>
                </a:lnTo>
                <a:cubicBezTo>
                  <a:pt x="1167" y="2332"/>
                  <a:pt x="1167" y="2489"/>
                  <a:pt x="1230" y="2647"/>
                </a:cubicBezTo>
                <a:lnTo>
                  <a:pt x="1545" y="3151"/>
                </a:lnTo>
                <a:cubicBezTo>
                  <a:pt x="1230" y="3624"/>
                  <a:pt x="1041" y="4128"/>
                  <a:pt x="915" y="4726"/>
                </a:cubicBezTo>
                <a:lnTo>
                  <a:pt x="348" y="4884"/>
                </a:lnTo>
                <a:cubicBezTo>
                  <a:pt x="190" y="4915"/>
                  <a:pt x="64" y="5041"/>
                  <a:pt x="64" y="5199"/>
                </a:cubicBezTo>
                <a:lnTo>
                  <a:pt x="64" y="6585"/>
                </a:lnTo>
                <a:cubicBezTo>
                  <a:pt x="64" y="6743"/>
                  <a:pt x="190" y="6869"/>
                  <a:pt x="348" y="6900"/>
                </a:cubicBezTo>
                <a:lnTo>
                  <a:pt x="915" y="7058"/>
                </a:lnTo>
                <a:cubicBezTo>
                  <a:pt x="1041" y="7656"/>
                  <a:pt x="1324" y="8223"/>
                  <a:pt x="1639" y="8696"/>
                </a:cubicBezTo>
                <a:lnTo>
                  <a:pt x="379" y="9956"/>
                </a:lnTo>
                <a:cubicBezTo>
                  <a:pt x="1" y="10366"/>
                  <a:pt x="1" y="11027"/>
                  <a:pt x="379" y="11437"/>
                </a:cubicBezTo>
                <a:cubicBezTo>
                  <a:pt x="584" y="11626"/>
                  <a:pt x="852" y="11720"/>
                  <a:pt x="1115" y="11720"/>
                </a:cubicBezTo>
                <a:cubicBezTo>
                  <a:pt x="1379" y="11720"/>
                  <a:pt x="1639" y="11626"/>
                  <a:pt x="1828" y="11437"/>
                </a:cubicBezTo>
                <a:lnTo>
                  <a:pt x="3088" y="10177"/>
                </a:lnTo>
                <a:cubicBezTo>
                  <a:pt x="3624" y="10523"/>
                  <a:pt x="4160" y="10744"/>
                  <a:pt x="4758" y="10870"/>
                </a:cubicBezTo>
                <a:lnTo>
                  <a:pt x="4916" y="11468"/>
                </a:lnTo>
                <a:cubicBezTo>
                  <a:pt x="4947" y="11626"/>
                  <a:pt x="5073" y="11752"/>
                  <a:pt x="5231" y="11752"/>
                </a:cubicBezTo>
                <a:lnTo>
                  <a:pt x="6585" y="11752"/>
                </a:lnTo>
                <a:cubicBezTo>
                  <a:pt x="6775" y="11752"/>
                  <a:pt x="6869" y="11626"/>
                  <a:pt x="6932" y="11468"/>
                </a:cubicBezTo>
                <a:lnTo>
                  <a:pt x="7090" y="10870"/>
                </a:lnTo>
                <a:cubicBezTo>
                  <a:pt x="7625" y="10744"/>
                  <a:pt x="8129" y="10523"/>
                  <a:pt x="8665" y="10240"/>
                </a:cubicBezTo>
                <a:lnTo>
                  <a:pt x="9169" y="10555"/>
                </a:lnTo>
                <a:cubicBezTo>
                  <a:pt x="9227" y="10599"/>
                  <a:pt x="9299" y="10622"/>
                  <a:pt x="9372" y="10622"/>
                </a:cubicBezTo>
                <a:cubicBezTo>
                  <a:pt x="9457" y="10622"/>
                  <a:pt x="9542" y="10591"/>
                  <a:pt x="9610" y="10523"/>
                </a:cubicBezTo>
                <a:lnTo>
                  <a:pt x="10587" y="9546"/>
                </a:lnTo>
                <a:cubicBezTo>
                  <a:pt x="10713" y="9420"/>
                  <a:pt x="10713" y="9263"/>
                  <a:pt x="10618" y="9105"/>
                </a:cubicBezTo>
                <a:lnTo>
                  <a:pt x="10303" y="8601"/>
                </a:lnTo>
                <a:cubicBezTo>
                  <a:pt x="10618" y="8129"/>
                  <a:pt x="10807" y="7593"/>
                  <a:pt x="10933" y="7026"/>
                </a:cubicBezTo>
                <a:lnTo>
                  <a:pt x="11532" y="6869"/>
                </a:lnTo>
                <a:cubicBezTo>
                  <a:pt x="11689" y="6806"/>
                  <a:pt x="11784" y="6711"/>
                  <a:pt x="11784" y="6554"/>
                </a:cubicBezTo>
                <a:lnTo>
                  <a:pt x="11784" y="5167"/>
                </a:lnTo>
                <a:cubicBezTo>
                  <a:pt x="11847" y="5041"/>
                  <a:pt x="11721" y="4915"/>
                  <a:pt x="11563" y="4884"/>
                </a:cubicBezTo>
                <a:lnTo>
                  <a:pt x="10965" y="4726"/>
                </a:lnTo>
                <a:cubicBezTo>
                  <a:pt x="10839" y="4191"/>
                  <a:pt x="10618" y="3655"/>
                  <a:pt x="10335" y="3151"/>
                </a:cubicBezTo>
                <a:lnTo>
                  <a:pt x="10650" y="2647"/>
                </a:lnTo>
                <a:cubicBezTo>
                  <a:pt x="10744" y="2521"/>
                  <a:pt x="10744" y="2332"/>
                  <a:pt x="10618" y="2206"/>
                </a:cubicBezTo>
                <a:lnTo>
                  <a:pt x="9641" y="1229"/>
                </a:lnTo>
                <a:cubicBezTo>
                  <a:pt x="9574" y="1162"/>
                  <a:pt x="9497" y="1130"/>
                  <a:pt x="9417" y="1130"/>
                </a:cubicBezTo>
                <a:cubicBezTo>
                  <a:pt x="9347" y="1130"/>
                  <a:pt x="9274" y="1154"/>
                  <a:pt x="9200" y="1198"/>
                </a:cubicBezTo>
                <a:lnTo>
                  <a:pt x="8696" y="1513"/>
                </a:lnTo>
                <a:cubicBezTo>
                  <a:pt x="8224" y="1198"/>
                  <a:pt x="7720" y="977"/>
                  <a:pt x="7121" y="883"/>
                </a:cubicBezTo>
                <a:lnTo>
                  <a:pt x="6964" y="284"/>
                </a:lnTo>
                <a:cubicBezTo>
                  <a:pt x="6932" y="127"/>
                  <a:pt x="6806" y="1"/>
                  <a:pt x="66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0" name="Google Shape;9980;p78"/>
          <p:cNvSpPr/>
          <p:nvPr/>
        </p:nvSpPr>
        <p:spPr>
          <a:xfrm>
            <a:off x="3975533" y="3844164"/>
            <a:ext cx="354527" cy="353587"/>
          </a:xfrm>
          <a:custGeom>
            <a:avLst/>
            <a:gdLst/>
            <a:ahLst/>
            <a:cxnLst/>
            <a:rect l="l" t="t" r="r" b="b"/>
            <a:pathLst>
              <a:path w="11689" h="11658" extrusionOk="0">
                <a:moveTo>
                  <a:pt x="8632" y="694"/>
                </a:moveTo>
                <a:cubicBezTo>
                  <a:pt x="8821" y="694"/>
                  <a:pt x="8979" y="851"/>
                  <a:pt x="8979" y="1040"/>
                </a:cubicBezTo>
                <a:lnTo>
                  <a:pt x="8979" y="1387"/>
                </a:lnTo>
                <a:lnTo>
                  <a:pt x="2836" y="1387"/>
                </a:lnTo>
                <a:lnTo>
                  <a:pt x="2836" y="1040"/>
                </a:lnTo>
                <a:cubicBezTo>
                  <a:pt x="2804" y="851"/>
                  <a:pt x="2962" y="694"/>
                  <a:pt x="3151" y="694"/>
                </a:cubicBezTo>
                <a:close/>
                <a:moveTo>
                  <a:pt x="4505" y="3435"/>
                </a:moveTo>
                <a:cubicBezTo>
                  <a:pt x="4694" y="3435"/>
                  <a:pt x="4852" y="3592"/>
                  <a:pt x="4852" y="3781"/>
                </a:cubicBezTo>
                <a:lnTo>
                  <a:pt x="4852" y="5829"/>
                </a:lnTo>
                <a:cubicBezTo>
                  <a:pt x="4852" y="6049"/>
                  <a:pt x="4694" y="6207"/>
                  <a:pt x="4505" y="6207"/>
                </a:cubicBezTo>
                <a:lnTo>
                  <a:pt x="3812" y="6207"/>
                </a:lnTo>
                <a:cubicBezTo>
                  <a:pt x="3623" y="6207"/>
                  <a:pt x="3466" y="6365"/>
                  <a:pt x="3466" y="6554"/>
                </a:cubicBezTo>
                <a:lnTo>
                  <a:pt x="3466" y="7089"/>
                </a:lnTo>
                <a:lnTo>
                  <a:pt x="2678" y="6302"/>
                </a:lnTo>
                <a:cubicBezTo>
                  <a:pt x="2615" y="6239"/>
                  <a:pt x="2520" y="6207"/>
                  <a:pt x="2457" y="6207"/>
                </a:cubicBezTo>
                <a:lnTo>
                  <a:pt x="1071" y="6207"/>
                </a:lnTo>
                <a:cubicBezTo>
                  <a:pt x="882" y="6144"/>
                  <a:pt x="725" y="5986"/>
                  <a:pt x="725" y="5829"/>
                </a:cubicBezTo>
                <a:lnTo>
                  <a:pt x="725" y="3781"/>
                </a:lnTo>
                <a:cubicBezTo>
                  <a:pt x="725" y="3592"/>
                  <a:pt x="882" y="3435"/>
                  <a:pt x="1071" y="3435"/>
                </a:cubicBezTo>
                <a:close/>
                <a:moveTo>
                  <a:pt x="10680" y="3435"/>
                </a:moveTo>
                <a:cubicBezTo>
                  <a:pt x="10869" y="3435"/>
                  <a:pt x="11027" y="3592"/>
                  <a:pt x="11027" y="3781"/>
                </a:cubicBezTo>
                <a:lnTo>
                  <a:pt x="11027" y="5829"/>
                </a:lnTo>
                <a:cubicBezTo>
                  <a:pt x="11027" y="6049"/>
                  <a:pt x="10869" y="6207"/>
                  <a:pt x="10680" y="6207"/>
                </a:cubicBezTo>
                <a:lnTo>
                  <a:pt x="9294" y="6207"/>
                </a:lnTo>
                <a:cubicBezTo>
                  <a:pt x="9231" y="6207"/>
                  <a:pt x="9105" y="6239"/>
                  <a:pt x="9074" y="6302"/>
                </a:cubicBezTo>
                <a:lnTo>
                  <a:pt x="8286" y="7089"/>
                </a:lnTo>
                <a:lnTo>
                  <a:pt x="8286" y="6554"/>
                </a:lnTo>
                <a:cubicBezTo>
                  <a:pt x="8286" y="6365"/>
                  <a:pt x="8128" y="6207"/>
                  <a:pt x="7908" y="6207"/>
                </a:cubicBezTo>
                <a:lnTo>
                  <a:pt x="7246" y="6207"/>
                </a:lnTo>
                <a:cubicBezTo>
                  <a:pt x="7057" y="6207"/>
                  <a:pt x="6900" y="6049"/>
                  <a:pt x="6900" y="5829"/>
                </a:cubicBezTo>
                <a:lnTo>
                  <a:pt x="6900" y="3781"/>
                </a:lnTo>
                <a:cubicBezTo>
                  <a:pt x="6900" y="3592"/>
                  <a:pt x="7057" y="3435"/>
                  <a:pt x="7246" y="3435"/>
                </a:cubicBezTo>
                <a:close/>
                <a:moveTo>
                  <a:pt x="8948" y="2048"/>
                </a:moveTo>
                <a:lnTo>
                  <a:pt x="8948" y="2773"/>
                </a:lnTo>
                <a:lnTo>
                  <a:pt x="7246" y="2773"/>
                </a:lnTo>
                <a:cubicBezTo>
                  <a:pt x="6711" y="2773"/>
                  <a:pt x="6238" y="3246"/>
                  <a:pt x="6238" y="3781"/>
                </a:cubicBezTo>
                <a:lnTo>
                  <a:pt x="6238" y="5829"/>
                </a:lnTo>
                <a:cubicBezTo>
                  <a:pt x="6238" y="6396"/>
                  <a:pt x="6711" y="6869"/>
                  <a:pt x="7246" y="6869"/>
                </a:cubicBezTo>
                <a:lnTo>
                  <a:pt x="7593" y="6869"/>
                </a:lnTo>
                <a:lnTo>
                  <a:pt x="7593" y="7877"/>
                </a:lnTo>
                <a:cubicBezTo>
                  <a:pt x="7593" y="8034"/>
                  <a:pt x="7687" y="8160"/>
                  <a:pt x="7813" y="8192"/>
                </a:cubicBezTo>
                <a:cubicBezTo>
                  <a:pt x="7852" y="8218"/>
                  <a:pt x="7902" y="8233"/>
                  <a:pt x="7954" y="8233"/>
                </a:cubicBezTo>
                <a:cubicBezTo>
                  <a:pt x="8028" y="8233"/>
                  <a:pt x="8105" y="8203"/>
                  <a:pt x="8160" y="8129"/>
                </a:cubicBezTo>
                <a:lnTo>
                  <a:pt x="8948" y="7341"/>
                </a:lnTo>
                <a:lnTo>
                  <a:pt x="8948" y="8916"/>
                </a:lnTo>
                <a:lnTo>
                  <a:pt x="2804" y="8916"/>
                </a:lnTo>
                <a:lnTo>
                  <a:pt x="2804" y="7341"/>
                </a:lnTo>
                <a:lnTo>
                  <a:pt x="3592" y="8129"/>
                </a:lnTo>
                <a:cubicBezTo>
                  <a:pt x="3636" y="8173"/>
                  <a:pt x="3728" y="8218"/>
                  <a:pt x="3823" y="8218"/>
                </a:cubicBezTo>
                <a:cubicBezTo>
                  <a:pt x="3862" y="8218"/>
                  <a:pt x="3901" y="8210"/>
                  <a:pt x="3938" y="8192"/>
                </a:cubicBezTo>
                <a:cubicBezTo>
                  <a:pt x="4064" y="8160"/>
                  <a:pt x="4127" y="8003"/>
                  <a:pt x="4127" y="7877"/>
                </a:cubicBezTo>
                <a:lnTo>
                  <a:pt x="4127" y="6869"/>
                </a:lnTo>
                <a:lnTo>
                  <a:pt x="4505" y="6869"/>
                </a:lnTo>
                <a:cubicBezTo>
                  <a:pt x="5041" y="6869"/>
                  <a:pt x="5513" y="6396"/>
                  <a:pt x="5513" y="5829"/>
                </a:cubicBezTo>
                <a:lnTo>
                  <a:pt x="5513" y="3781"/>
                </a:lnTo>
                <a:cubicBezTo>
                  <a:pt x="5513" y="3246"/>
                  <a:pt x="5041" y="2773"/>
                  <a:pt x="4505" y="2773"/>
                </a:cubicBezTo>
                <a:lnTo>
                  <a:pt x="2804" y="2773"/>
                </a:lnTo>
                <a:lnTo>
                  <a:pt x="2804" y="2048"/>
                </a:lnTo>
                <a:close/>
                <a:moveTo>
                  <a:pt x="8948" y="9547"/>
                </a:moveTo>
                <a:lnTo>
                  <a:pt x="8948" y="10618"/>
                </a:lnTo>
                <a:cubicBezTo>
                  <a:pt x="8948" y="10838"/>
                  <a:pt x="8790" y="10964"/>
                  <a:pt x="8632" y="10964"/>
                </a:cubicBezTo>
                <a:lnTo>
                  <a:pt x="3151" y="10964"/>
                </a:lnTo>
                <a:cubicBezTo>
                  <a:pt x="2962" y="10964"/>
                  <a:pt x="2804" y="10807"/>
                  <a:pt x="2804" y="10618"/>
                </a:cubicBezTo>
                <a:lnTo>
                  <a:pt x="2804" y="9547"/>
                </a:lnTo>
                <a:close/>
                <a:moveTo>
                  <a:pt x="3119" y="1"/>
                </a:moveTo>
                <a:cubicBezTo>
                  <a:pt x="2552" y="1"/>
                  <a:pt x="2079" y="473"/>
                  <a:pt x="2079" y="1040"/>
                </a:cubicBezTo>
                <a:lnTo>
                  <a:pt x="2079" y="2773"/>
                </a:lnTo>
                <a:lnTo>
                  <a:pt x="1040" y="2773"/>
                </a:lnTo>
                <a:cubicBezTo>
                  <a:pt x="473" y="2773"/>
                  <a:pt x="0" y="3246"/>
                  <a:pt x="0" y="3781"/>
                </a:cubicBezTo>
                <a:lnTo>
                  <a:pt x="0" y="5829"/>
                </a:lnTo>
                <a:cubicBezTo>
                  <a:pt x="0" y="6396"/>
                  <a:pt x="473" y="6869"/>
                  <a:pt x="1040" y="6869"/>
                </a:cubicBezTo>
                <a:lnTo>
                  <a:pt x="2079" y="6869"/>
                </a:lnTo>
                <a:lnTo>
                  <a:pt x="2079" y="10649"/>
                </a:lnTo>
                <a:cubicBezTo>
                  <a:pt x="2079" y="11185"/>
                  <a:pt x="2552" y="11657"/>
                  <a:pt x="3119" y="11657"/>
                </a:cubicBezTo>
                <a:lnTo>
                  <a:pt x="8601" y="11657"/>
                </a:lnTo>
                <a:cubicBezTo>
                  <a:pt x="9137" y="11657"/>
                  <a:pt x="9609" y="11185"/>
                  <a:pt x="9609" y="10649"/>
                </a:cubicBezTo>
                <a:lnTo>
                  <a:pt x="9609" y="6869"/>
                </a:lnTo>
                <a:lnTo>
                  <a:pt x="10680" y="6869"/>
                </a:lnTo>
                <a:cubicBezTo>
                  <a:pt x="11216" y="6869"/>
                  <a:pt x="11688" y="6396"/>
                  <a:pt x="11688" y="5829"/>
                </a:cubicBezTo>
                <a:lnTo>
                  <a:pt x="11688" y="3781"/>
                </a:lnTo>
                <a:cubicBezTo>
                  <a:pt x="11688" y="3214"/>
                  <a:pt x="11279" y="2773"/>
                  <a:pt x="10680" y="2773"/>
                </a:cubicBezTo>
                <a:lnTo>
                  <a:pt x="9609" y="2773"/>
                </a:lnTo>
                <a:lnTo>
                  <a:pt x="9609" y="1040"/>
                </a:lnTo>
                <a:cubicBezTo>
                  <a:pt x="9609" y="473"/>
                  <a:pt x="9137"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81" name="Google Shape;9981;p78"/>
          <p:cNvGrpSpPr/>
          <p:nvPr/>
        </p:nvGrpSpPr>
        <p:grpSpPr>
          <a:xfrm>
            <a:off x="2205934" y="1535542"/>
            <a:ext cx="331598" cy="353557"/>
            <a:chOff x="-34767825" y="1914325"/>
            <a:chExt cx="273325" cy="291425"/>
          </a:xfrm>
        </p:grpSpPr>
        <p:sp>
          <p:nvSpPr>
            <p:cNvPr id="9982" name="Google Shape;9982;p78"/>
            <p:cNvSpPr/>
            <p:nvPr/>
          </p:nvSpPr>
          <p:spPr>
            <a:xfrm>
              <a:off x="-34767825" y="1914325"/>
              <a:ext cx="273325" cy="291425"/>
            </a:xfrm>
            <a:custGeom>
              <a:avLst/>
              <a:gdLst/>
              <a:ahLst/>
              <a:cxnLst/>
              <a:rect l="l" t="t" r="r" b="b"/>
              <a:pathLst>
                <a:path w="10933" h="11657" extrusionOk="0">
                  <a:moveTo>
                    <a:pt x="5954" y="662"/>
                  </a:moveTo>
                  <a:cubicBezTo>
                    <a:pt x="5702" y="851"/>
                    <a:pt x="5482" y="1103"/>
                    <a:pt x="5324" y="1355"/>
                  </a:cubicBezTo>
                  <a:lnTo>
                    <a:pt x="693" y="1355"/>
                  </a:lnTo>
                  <a:lnTo>
                    <a:pt x="693" y="1008"/>
                  </a:lnTo>
                  <a:cubicBezTo>
                    <a:pt x="662" y="819"/>
                    <a:pt x="819" y="662"/>
                    <a:pt x="1008" y="662"/>
                  </a:cubicBezTo>
                  <a:close/>
                  <a:moveTo>
                    <a:pt x="7902" y="692"/>
                  </a:moveTo>
                  <a:cubicBezTo>
                    <a:pt x="9199" y="692"/>
                    <a:pt x="10239" y="1752"/>
                    <a:pt x="10239" y="3056"/>
                  </a:cubicBezTo>
                  <a:cubicBezTo>
                    <a:pt x="10239" y="4411"/>
                    <a:pt x="9168" y="5450"/>
                    <a:pt x="7845" y="5450"/>
                  </a:cubicBezTo>
                  <a:cubicBezTo>
                    <a:pt x="7404" y="5450"/>
                    <a:pt x="6963" y="5356"/>
                    <a:pt x="6585" y="5104"/>
                  </a:cubicBezTo>
                  <a:cubicBezTo>
                    <a:pt x="6519" y="5082"/>
                    <a:pt x="6454" y="5045"/>
                    <a:pt x="6389" y="5045"/>
                  </a:cubicBezTo>
                  <a:cubicBezTo>
                    <a:pt x="6360" y="5045"/>
                    <a:pt x="6330" y="5053"/>
                    <a:pt x="6301" y="5072"/>
                  </a:cubicBezTo>
                  <a:lnTo>
                    <a:pt x="5671" y="5261"/>
                  </a:lnTo>
                  <a:lnTo>
                    <a:pt x="5860" y="4631"/>
                  </a:lnTo>
                  <a:cubicBezTo>
                    <a:pt x="5923" y="4568"/>
                    <a:pt x="5860" y="4442"/>
                    <a:pt x="5828" y="4348"/>
                  </a:cubicBezTo>
                  <a:cubicBezTo>
                    <a:pt x="5608" y="3970"/>
                    <a:pt x="5482" y="3529"/>
                    <a:pt x="5482" y="3087"/>
                  </a:cubicBezTo>
                  <a:cubicBezTo>
                    <a:pt x="5482" y="2678"/>
                    <a:pt x="5608" y="2268"/>
                    <a:pt x="5765" y="1953"/>
                  </a:cubicBezTo>
                  <a:cubicBezTo>
                    <a:pt x="5797" y="1922"/>
                    <a:pt x="5797" y="1922"/>
                    <a:pt x="5797" y="1859"/>
                  </a:cubicBezTo>
                  <a:cubicBezTo>
                    <a:pt x="6207" y="1166"/>
                    <a:pt x="6963" y="693"/>
                    <a:pt x="7845" y="693"/>
                  </a:cubicBezTo>
                  <a:cubicBezTo>
                    <a:pt x="7864" y="693"/>
                    <a:pt x="7883" y="692"/>
                    <a:pt x="7902" y="692"/>
                  </a:cubicBezTo>
                  <a:close/>
                  <a:moveTo>
                    <a:pt x="3749" y="5450"/>
                  </a:moveTo>
                  <a:cubicBezTo>
                    <a:pt x="4127" y="5450"/>
                    <a:pt x="4411" y="5765"/>
                    <a:pt x="4411" y="6143"/>
                  </a:cubicBezTo>
                  <a:cubicBezTo>
                    <a:pt x="4411" y="6521"/>
                    <a:pt x="4096" y="6805"/>
                    <a:pt x="3749" y="6805"/>
                  </a:cubicBezTo>
                  <a:cubicBezTo>
                    <a:pt x="3732" y="6806"/>
                    <a:pt x="3714" y="6807"/>
                    <a:pt x="3697" y="6807"/>
                  </a:cubicBezTo>
                  <a:cubicBezTo>
                    <a:pt x="3343" y="6807"/>
                    <a:pt x="3056" y="6504"/>
                    <a:pt x="3056" y="6143"/>
                  </a:cubicBezTo>
                  <a:cubicBezTo>
                    <a:pt x="3056" y="5734"/>
                    <a:pt x="3371" y="5450"/>
                    <a:pt x="3749" y="5450"/>
                  </a:cubicBezTo>
                  <a:close/>
                  <a:moveTo>
                    <a:pt x="4946" y="1985"/>
                  </a:moveTo>
                  <a:cubicBezTo>
                    <a:pt x="4852" y="2300"/>
                    <a:pt x="4789" y="2646"/>
                    <a:pt x="4789" y="3024"/>
                  </a:cubicBezTo>
                  <a:cubicBezTo>
                    <a:pt x="4757" y="3560"/>
                    <a:pt x="4915" y="4096"/>
                    <a:pt x="5167" y="4568"/>
                  </a:cubicBezTo>
                  <a:lnTo>
                    <a:pt x="4883" y="5387"/>
                  </a:lnTo>
                  <a:cubicBezTo>
                    <a:pt x="4631" y="5009"/>
                    <a:pt x="4222" y="4757"/>
                    <a:pt x="3749" y="4757"/>
                  </a:cubicBezTo>
                  <a:cubicBezTo>
                    <a:pt x="2993" y="4757"/>
                    <a:pt x="2363" y="5387"/>
                    <a:pt x="2363" y="6143"/>
                  </a:cubicBezTo>
                  <a:cubicBezTo>
                    <a:pt x="2363" y="6490"/>
                    <a:pt x="2489" y="6805"/>
                    <a:pt x="2709" y="7026"/>
                  </a:cubicBezTo>
                  <a:cubicBezTo>
                    <a:pt x="2016" y="7404"/>
                    <a:pt x="1481" y="8065"/>
                    <a:pt x="1386" y="8853"/>
                  </a:cubicBezTo>
                  <a:lnTo>
                    <a:pt x="662" y="8853"/>
                  </a:lnTo>
                  <a:lnTo>
                    <a:pt x="662" y="1985"/>
                  </a:lnTo>
                  <a:close/>
                  <a:moveTo>
                    <a:pt x="3749" y="7498"/>
                  </a:moveTo>
                  <a:cubicBezTo>
                    <a:pt x="4568" y="7498"/>
                    <a:pt x="5261" y="8097"/>
                    <a:pt x="5419" y="8884"/>
                  </a:cubicBezTo>
                  <a:lnTo>
                    <a:pt x="2079" y="8884"/>
                  </a:lnTo>
                  <a:cubicBezTo>
                    <a:pt x="2237" y="8097"/>
                    <a:pt x="2899" y="7498"/>
                    <a:pt x="3749" y="7498"/>
                  </a:cubicBezTo>
                  <a:close/>
                  <a:moveTo>
                    <a:pt x="6364" y="5765"/>
                  </a:moveTo>
                  <a:cubicBezTo>
                    <a:pt x="6522" y="5860"/>
                    <a:pt x="6679" y="5923"/>
                    <a:pt x="6837" y="5986"/>
                  </a:cubicBezTo>
                  <a:lnTo>
                    <a:pt x="6837" y="8884"/>
                  </a:lnTo>
                  <a:lnTo>
                    <a:pt x="6112" y="8884"/>
                  </a:lnTo>
                  <a:cubicBezTo>
                    <a:pt x="5986" y="8065"/>
                    <a:pt x="5482" y="7404"/>
                    <a:pt x="4757" y="7089"/>
                  </a:cubicBezTo>
                  <a:cubicBezTo>
                    <a:pt x="5009" y="6837"/>
                    <a:pt x="5104" y="6521"/>
                    <a:pt x="5104" y="6175"/>
                  </a:cubicBezTo>
                  <a:lnTo>
                    <a:pt x="5230" y="6175"/>
                  </a:lnTo>
                  <a:lnTo>
                    <a:pt x="6364" y="5765"/>
                  </a:lnTo>
                  <a:close/>
                  <a:moveTo>
                    <a:pt x="6805" y="9514"/>
                  </a:moveTo>
                  <a:lnTo>
                    <a:pt x="6805" y="10586"/>
                  </a:lnTo>
                  <a:cubicBezTo>
                    <a:pt x="6805" y="10775"/>
                    <a:pt x="6648" y="10932"/>
                    <a:pt x="6490" y="10932"/>
                  </a:cubicBezTo>
                  <a:lnTo>
                    <a:pt x="1008" y="10932"/>
                  </a:lnTo>
                  <a:cubicBezTo>
                    <a:pt x="819" y="10932"/>
                    <a:pt x="662" y="10775"/>
                    <a:pt x="662" y="10586"/>
                  </a:cubicBezTo>
                  <a:lnTo>
                    <a:pt x="662" y="9514"/>
                  </a:lnTo>
                  <a:close/>
                  <a:moveTo>
                    <a:pt x="1008" y="0"/>
                  </a:moveTo>
                  <a:cubicBezTo>
                    <a:pt x="473" y="0"/>
                    <a:pt x="0" y="473"/>
                    <a:pt x="0" y="1040"/>
                  </a:cubicBezTo>
                  <a:lnTo>
                    <a:pt x="0" y="10649"/>
                  </a:lnTo>
                  <a:cubicBezTo>
                    <a:pt x="0" y="11184"/>
                    <a:pt x="441" y="11657"/>
                    <a:pt x="1008" y="11657"/>
                  </a:cubicBezTo>
                  <a:lnTo>
                    <a:pt x="6490" y="11657"/>
                  </a:lnTo>
                  <a:cubicBezTo>
                    <a:pt x="7057" y="11657"/>
                    <a:pt x="7530" y="11184"/>
                    <a:pt x="7530" y="10617"/>
                  </a:cubicBezTo>
                  <a:lnTo>
                    <a:pt x="7530" y="6143"/>
                  </a:lnTo>
                  <a:cubicBezTo>
                    <a:pt x="7624" y="6143"/>
                    <a:pt x="7750" y="6175"/>
                    <a:pt x="7876" y="6175"/>
                  </a:cubicBezTo>
                  <a:cubicBezTo>
                    <a:pt x="9578" y="6175"/>
                    <a:pt x="10932" y="4789"/>
                    <a:pt x="10932" y="3087"/>
                  </a:cubicBezTo>
                  <a:cubicBezTo>
                    <a:pt x="10932" y="1418"/>
                    <a:pt x="9578" y="0"/>
                    <a:pt x="78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78"/>
            <p:cNvSpPr/>
            <p:nvPr/>
          </p:nvSpPr>
          <p:spPr>
            <a:xfrm>
              <a:off x="-34579600" y="1947400"/>
              <a:ext cx="17350" cy="18125"/>
            </a:xfrm>
            <a:custGeom>
              <a:avLst/>
              <a:gdLst/>
              <a:ahLst/>
              <a:cxnLst/>
              <a:rect l="l" t="t" r="r" b="b"/>
              <a:pathLst>
                <a:path w="694" h="725" extrusionOk="0">
                  <a:moveTo>
                    <a:pt x="347" y="0"/>
                  </a:moveTo>
                  <a:cubicBezTo>
                    <a:pt x="158" y="0"/>
                    <a:pt x="1" y="189"/>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78"/>
            <p:cNvSpPr/>
            <p:nvPr/>
          </p:nvSpPr>
          <p:spPr>
            <a:xfrm>
              <a:off x="-34581175" y="1982050"/>
              <a:ext cx="18150" cy="52000"/>
            </a:xfrm>
            <a:custGeom>
              <a:avLst/>
              <a:gdLst/>
              <a:ahLst/>
              <a:cxnLst/>
              <a:rect l="l" t="t" r="r" b="b"/>
              <a:pathLst>
                <a:path w="726" h="2080" extrusionOk="0">
                  <a:moveTo>
                    <a:pt x="379" y="0"/>
                  </a:moveTo>
                  <a:cubicBezTo>
                    <a:pt x="158" y="0"/>
                    <a:pt x="1" y="158"/>
                    <a:pt x="1" y="347"/>
                  </a:cubicBezTo>
                  <a:lnTo>
                    <a:pt x="1" y="1733"/>
                  </a:lnTo>
                  <a:cubicBezTo>
                    <a:pt x="1" y="1922"/>
                    <a:pt x="158" y="2080"/>
                    <a:pt x="379" y="2080"/>
                  </a:cubicBezTo>
                  <a:cubicBezTo>
                    <a:pt x="568" y="2080"/>
                    <a:pt x="725" y="1922"/>
                    <a:pt x="725" y="1733"/>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5" name="Google Shape;9985;p78"/>
          <p:cNvGrpSpPr/>
          <p:nvPr/>
        </p:nvGrpSpPr>
        <p:grpSpPr>
          <a:xfrm>
            <a:off x="2193513" y="1993092"/>
            <a:ext cx="356438" cy="355498"/>
            <a:chOff x="-34778075" y="2272675"/>
            <a:chExt cx="293800" cy="293025"/>
          </a:xfrm>
        </p:grpSpPr>
        <p:sp>
          <p:nvSpPr>
            <p:cNvPr id="9986" name="Google Shape;9986;p78"/>
            <p:cNvSpPr/>
            <p:nvPr/>
          </p:nvSpPr>
          <p:spPr>
            <a:xfrm>
              <a:off x="-34725300" y="2324675"/>
              <a:ext cx="187475" cy="188250"/>
            </a:xfrm>
            <a:custGeom>
              <a:avLst/>
              <a:gdLst/>
              <a:ahLst/>
              <a:cxnLst/>
              <a:rect l="l" t="t" r="r" b="b"/>
              <a:pathLst>
                <a:path w="7499" h="7530" extrusionOk="0">
                  <a:moveTo>
                    <a:pt x="4127" y="693"/>
                  </a:moveTo>
                  <a:lnTo>
                    <a:pt x="4127" y="1134"/>
                  </a:lnTo>
                  <a:cubicBezTo>
                    <a:pt x="4127" y="1292"/>
                    <a:pt x="4253" y="1418"/>
                    <a:pt x="4411" y="1449"/>
                  </a:cubicBezTo>
                  <a:cubicBezTo>
                    <a:pt x="4600" y="1481"/>
                    <a:pt x="4821" y="1607"/>
                    <a:pt x="4978" y="1701"/>
                  </a:cubicBezTo>
                  <a:cubicBezTo>
                    <a:pt x="5023" y="1724"/>
                    <a:pt x="5075" y="1734"/>
                    <a:pt x="5130" y="1734"/>
                  </a:cubicBezTo>
                  <a:cubicBezTo>
                    <a:pt x="5230" y="1734"/>
                    <a:pt x="5338" y="1699"/>
                    <a:pt x="5419" y="1638"/>
                  </a:cubicBezTo>
                  <a:lnTo>
                    <a:pt x="5734" y="1323"/>
                  </a:lnTo>
                  <a:lnTo>
                    <a:pt x="6207" y="1796"/>
                  </a:lnTo>
                  <a:lnTo>
                    <a:pt x="5892" y="2111"/>
                  </a:lnTo>
                  <a:cubicBezTo>
                    <a:pt x="5766" y="2237"/>
                    <a:pt x="5766" y="2394"/>
                    <a:pt x="5860" y="2552"/>
                  </a:cubicBezTo>
                  <a:cubicBezTo>
                    <a:pt x="5986" y="2741"/>
                    <a:pt x="6049" y="2961"/>
                    <a:pt x="6081" y="3150"/>
                  </a:cubicBezTo>
                  <a:cubicBezTo>
                    <a:pt x="6144" y="3308"/>
                    <a:pt x="6238" y="3434"/>
                    <a:pt x="6396" y="3434"/>
                  </a:cubicBezTo>
                  <a:lnTo>
                    <a:pt x="6837" y="3434"/>
                  </a:lnTo>
                  <a:lnTo>
                    <a:pt x="6837" y="4096"/>
                  </a:lnTo>
                  <a:lnTo>
                    <a:pt x="6396" y="4096"/>
                  </a:lnTo>
                  <a:cubicBezTo>
                    <a:pt x="6238" y="4096"/>
                    <a:pt x="6144" y="4222"/>
                    <a:pt x="6081" y="4379"/>
                  </a:cubicBezTo>
                  <a:cubicBezTo>
                    <a:pt x="6049" y="4568"/>
                    <a:pt x="5923" y="4789"/>
                    <a:pt x="5860" y="4946"/>
                  </a:cubicBezTo>
                  <a:cubicBezTo>
                    <a:pt x="5766" y="5072"/>
                    <a:pt x="5829" y="5261"/>
                    <a:pt x="5892" y="5387"/>
                  </a:cubicBezTo>
                  <a:lnTo>
                    <a:pt x="6207" y="5702"/>
                  </a:lnTo>
                  <a:lnTo>
                    <a:pt x="5734" y="6175"/>
                  </a:lnTo>
                  <a:lnTo>
                    <a:pt x="5419" y="5860"/>
                  </a:lnTo>
                  <a:cubicBezTo>
                    <a:pt x="5352" y="5792"/>
                    <a:pt x="5275" y="5761"/>
                    <a:pt x="5194" y="5761"/>
                  </a:cubicBezTo>
                  <a:cubicBezTo>
                    <a:pt x="5124" y="5761"/>
                    <a:pt x="5051" y="5785"/>
                    <a:pt x="4978" y="5828"/>
                  </a:cubicBezTo>
                  <a:cubicBezTo>
                    <a:pt x="4789" y="5954"/>
                    <a:pt x="4600" y="6017"/>
                    <a:pt x="4411" y="6049"/>
                  </a:cubicBezTo>
                  <a:cubicBezTo>
                    <a:pt x="4253" y="6080"/>
                    <a:pt x="4127" y="6206"/>
                    <a:pt x="4127" y="6364"/>
                  </a:cubicBezTo>
                  <a:lnTo>
                    <a:pt x="4127" y="6805"/>
                  </a:lnTo>
                  <a:lnTo>
                    <a:pt x="3466" y="6805"/>
                  </a:lnTo>
                  <a:lnTo>
                    <a:pt x="3466" y="6364"/>
                  </a:lnTo>
                  <a:cubicBezTo>
                    <a:pt x="3466" y="6206"/>
                    <a:pt x="3340" y="6112"/>
                    <a:pt x="3182" y="6049"/>
                  </a:cubicBezTo>
                  <a:cubicBezTo>
                    <a:pt x="2993" y="6017"/>
                    <a:pt x="2741" y="5891"/>
                    <a:pt x="2584" y="5828"/>
                  </a:cubicBezTo>
                  <a:cubicBezTo>
                    <a:pt x="2549" y="5794"/>
                    <a:pt x="2497" y="5780"/>
                    <a:pt x="2441" y="5780"/>
                  </a:cubicBezTo>
                  <a:cubicBezTo>
                    <a:pt x="2344" y="5780"/>
                    <a:pt x="2234" y="5820"/>
                    <a:pt x="2174" y="5860"/>
                  </a:cubicBezTo>
                  <a:lnTo>
                    <a:pt x="1859" y="6175"/>
                  </a:lnTo>
                  <a:lnTo>
                    <a:pt x="1387" y="5702"/>
                  </a:lnTo>
                  <a:lnTo>
                    <a:pt x="1702" y="5387"/>
                  </a:lnTo>
                  <a:cubicBezTo>
                    <a:pt x="1796" y="5261"/>
                    <a:pt x="1796" y="5104"/>
                    <a:pt x="1733" y="4946"/>
                  </a:cubicBezTo>
                  <a:cubicBezTo>
                    <a:pt x="1607" y="4757"/>
                    <a:pt x="1544" y="4568"/>
                    <a:pt x="1481" y="4379"/>
                  </a:cubicBezTo>
                  <a:cubicBezTo>
                    <a:pt x="1450" y="4222"/>
                    <a:pt x="1324" y="4096"/>
                    <a:pt x="1166" y="4096"/>
                  </a:cubicBezTo>
                  <a:lnTo>
                    <a:pt x="756" y="4096"/>
                  </a:lnTo>
                  <a:lnTo>
                    <a:pt x="756" y="3434"/>
                  </a:lnTo>
                  <a:lnTo>
                    <a:pt x="1166" y="3434"/>
                  </a:lnTo>
                  <a:cubicBezTo>
                    <a:pt x="1324" y="3434"/>
                    <a:pt x="1450" y="3308"/>
                    <a:pt x="1481" y="3150"/>
                  </a:cubicBezTo>
                  <a:cubicBezTo>
                    <a:pt x="1544" y="2961"/>
                    <a:pt x="1639" y="2709"/>
                    <a:pt x="1733" y="2552"/>
                  </a:cubicBezTo>
                  <a:cubicBezTo>
                    <a:pt x="1796" y="2426"/>
                    <a:pt x="1765" y="2237"/>
                    <a:pt x="1702" y="2111"/>
                  </a:cubicBezTo>
                  <a:lnTo>
                    <a:pt x="1387" y="1796"/>
                  </a:lnTo>
                  <a:lnTo>
                    <a:pt x="1859" y="1323"/>
                  </a:lnTo>
                  <a:lnTo>
                    <a:pt x="2174" y="1638"/>
                  </a:lnTo>
                  <a:cubicBezTo>
                    <a:pt x="2230" y="1712"/>
                    <a:pt x="2307" y="1743"/>
                    <a:pt x="2392" y="1743"/>
                  </a:cubicBezTo>
                  <a:cubicBezTo>
                    <a:pt x="2453" y="1743"/>
                    <a:pt x="2518" y="1727"/>
                    <a:pt x="2584" y="1701"/>
                  </a:cubicBezTo>
                  <a:cubicBezTo>
                    <a:pt x="2804" y="1575"/>
                    <a:pt x="2993" y="1481"/>
                    <a:pt x="3182" y="1449"/>
                  </a:cubicBezTo>
                  <a:cubicBezTo>
                    <a:pt x="3340" y="1418"/>
                    <a:pt x="3466" y="1292"/>
                    <a:pt x="3466" y="1134"/>
                  </a:cubicBezTo>
                  <a:lnTo>
                    <a:pt x="3466" y="693"/>
                  </a:lnTo>
                  <a:close/>
                  <a:moveTo>
                    <a:pt x="3056" y="0"/>
                  </a:moveTo>
                  <a:cubicBezTo>
                    <a:pt x="2867" y="0"/>
                    <a:pt x="2710" y="158"/>
                    <a:pt x="2710" y="347"/>
                  </a:cubicBezTo>
                  <a:lnTo>
                    <a:pt x="2710" y="851"/>
                  </a:lnTo>
                  <a:cubicBezTo>
                    <a:pt x="2584" y="914"/>
                    <a:pt x="2521" y="945"/>
                    <a:pt x="2426" y="977"/>
                  </a:cubicBezTo>
                  <a:lnTo>
                    <a:pt x="2080" y="630"/>
                  </a:lnTo>
                  <a:cubicBezTo>
                    <a:pt x="1985" y="536"/>
                    <a:pt x="1922" y="504"/>
                    <a:pt x="1828" y="504"/>
                  </a:cubicBezTo>
                  <a:cubicBezTo>
                    <a:pt x="1765" y="504"/>
                    <a:pt x="1639" y="536"/>
                    <a:pt x="1607" y="630"/>
                  </a:cubicBezTo>
                  <a:lnTo>
                    <a:pt x="630" y="1607"/>
                  </a:lnTo>
                  <a:cubicBezTo>
                    <a:pt x="536" y="1701"/>
                    <a:pt x="504" y="1764"/>
                    <a:pt x="504" y="1859"/>
                  </a:cubicBezTo>
                  <a:cubicBezTo>
                    <a:pt x="504" y="1922"/>
                    <a:pt x="536" y="2048"/>
                    <a:pt x="630" y="2079"/>
                  </a:cubicBezTo>
                  <a:lnTo>
                    <a:pt x="977" y="2426"/>
                  </a:lnTo>
                  <a:cubicBezTo>
                    <a:pt x="945" y="2520"/>
                    <a:pt x="914" y="2646"/>
                    <a:pt x="851" y="2709"/>
                  </a:cubicBezTo>
                  <a:lnTo>
                    <a:pt x="347" y="2709"/>
                  </a:lnTo>
                  <a:cubicBezTo>
                    <a:pt x="158" y="2709"/>
                    <a:pt x="0" y="2867"/>
                    <a:pt x="0" y="3056"/>
                  </a:cubicBezTo>
                  <a:lnTo>
                    <a:pt x="0" y="4442"/>
                  </a:lnTo>
                  <a:cubicBezTo>
                    <a:pt x="0" y="4631"/>
                    <a:pt x="158" y="4789"/>
                    <a:pt x="347" y="4789"/>
                  </a:cubicBezTo>
                  <a:lnTo>
                    <a:pt x="851" y="4789"/>
                  </a:lnTo>
                  <a:cubicBezTo>
                    <a:pt x="882" y="4915"/>
                    <a:pt x="945" y="5009"/>
                    <a:pt x="977" y="5072"/>
                  </a:cubicBezTo>
                  <a:lnTo>
                    <a:pt x="630" y="5419"/>
                  </a:lnTo>
                  <a:cubicBezTo>
                    <a:pt x="536" y="5513"/>
                    <a:pt x="504" y="5576"/>
                    <a:pt x="504" y="5671"/>
                  </a:cubicBezTo>
                  <a:cubicBezTo>
                    <a:pt x="504" y="5734"/>
                    <a:pt x="536" y="5860"/>
                    <a:pt x="630" y="5891"/>
                  </a:cubicBezTo>
                  <a:lnTo>
                    <a:pt x="1607" y="6900"/>
                  </a:lnTo>
                  <a:cubicBezTo>
                    <a:pt x="1670" y="6963"/>
                    <a:pt x="1765" y="6994"/>
                    <a:pt x="1828" y="6994"/>
                  </a:cubicBezTo>
                  <a:cubicBezTo>
                    <a:pt x="1922" y="6994"/>
                    <a:pt x="2048" y="6963"/>
                    <a:pt x="2080" y="6900"/>
                  </a:cubicBezTo>
                  <a:lnTo>
                    <a:pt x="2426" y="6521"/>
                  </a:lnTo>
                  <a:cubicBezTo>
                    <a:pt x="2521" y="6585"/>
                    <a:pt x="2615" y="6616"/>
                    <a:pt x="2710" y="6648"/>
                  </a:cubicBezTo>
                  <a:lnTo>
                    <a:pt x="2710" y="7152"/>
                  </a:lnTo>
                  <a:cubicBezTo>
                    <a:pt x="2710" y="7372"/>
                    <a:pt x="2867" y="7530"/>
                    <a:pt x="3056" y="7530"/>
                  </a:cubicBezTo>
                  <a:lnTo>
                    <a:pt x="4443" y="7530"/>
                  </a:lnTo>
                  <a:cubicBezTo>
                    <a:pt x="4632" y="7530"/>
                    <a:pt x="4789" y="7372"/>
                    <a:pt x="4789" y="7152"/>
                  </a:cubicBezTo>
                  <a:lnTo>
                    <a:pt x="4789" y="6648"/>
                  </a:lnTo>
                  <a:cubicBezTo>
                    <a:pt x="4915" y="6616"/>
                    <a:pt x="4978" y="6585"/>
                    <a:pt x="5073" y="6521"/>
                  </a:cubicBezTo>
                  <a:lnTo>
                    <a:pt x="5419" y="6900"/>
                  </a:lnTo>
                  <a:cubicBezTo>
                    <a:pt x="5514" y="6963"/>
                    <a:pt x="5577" y="6994"/>
                    <a:pt x="5671" y="6994"/>
                  </a:cubicBezTo>
                  <a:cubicBezTo>
                    <a:pt x="5734" y="6994"/>
                    <a:pt x="5860" y="6963"/>
                    <a:pt x="5892" y="6900"/>
                  </a:cubicBezTo>
                  <a:lnTo>
                    <a:pt x="6868" y="5891"/>
                  </a:lnTo>
                  <a:cubicBezTo>
                    <a:pt x="6994" y="5797"/>
                    <a:pt x="6994" y="5545"/>
                    <a:pt x="6868" y="5419"/>
                  </a:cubicBezTo>
                  <a:lnTo>
                    <a:pt x="6522" y="5072"/>
                  </a:lnTo>
                  <a:cubicBezTo>
                    <a:pt x="6553" y="5009"/>
                    <a:pt x="6616" y="4883"/>
                    <a:pt x="6648" y="4789"/>
                  </a:cubicBezTo>
                  <a:lnTo>
                    <a:pt x="7152" y="4789"/>
                  </a:lnTo>
                  <a:cubicBezTo>
                    <a:pt x="7341" y="4789"/>
                    <a:pt x="7499" y="4631"/>
                    <a:pt x="7499" y="4442"/>
                  </a:cubicBezTo>
                  <a:lnTo>
                    <a:pt x="7499" y="3056"/>
                  </a:lnTo>
                  <a:cubicBezTo>
                    <a:pt x="7499" y="2867"/>
                    <a:pt x="7341" y="2709"/>
                    <a:pt x="7152" y="2709"/>
                  </a:cubicBezTo>
                  <a:lnTo>
                    <a:pt x="6648" y="2709"/>
                  </a:lnTo>
                  <a:cubicBezTo>
                    <a:pt x="6616" y="2583"/>
                    <a:pt x="6553" y="2520"/>
                    <a:pt x="6522" y="2426"/>
                  </a:cubicBezTo>
                  <a:lnTo>
                    <a:pt x="6868" y="2079"/>
                  </a:lnTo>
                  <a:cubicBezTo>
                    <a:pt x="6994" y="1953"/>
                    <a:pt x="6994" y="1733"/>
                    <a:pt x="6868" y="1607"/>
                  </a:cubicBezTo>
                  <a:lnTo>
                    <a:pt x="5892" y="630"/>
                  </a:lnTo>
                  <a:cubicBezTo>
                    <a:pt x="5829" y="536"/>
                    <a:pt x="5734" y="504"/>
                    <a:pt x="5671" y="504"/>
                  </a:cubicBezTo>
                  <a:cubicBezTo>
                    <a:pt x="5577" y="504"/>
                    <a:pt x="5451" y="536"/>
                    <a:pt x="5419" y="630"/>
                  </a:cubicBezTo>
                  <a:lnTo>
                    <a:pt x="5073" y="977"/>
                  </a:lnTo>
                  <a:cubicBezTo>
                    <a:pt x="4978" y="945"/>
                    <a:pt x="4884" y="914"/>
                    <a:pt x="4789" y="851"/>
                  </a:cubicBezTo>
                  <a:lnTo>
                    <a:pt x="4789" y="347"/>
                  </a:lnTo>
                  <a:cubicBezTo>
                    <a:pt x="4789" y="158"/>
                    <a:pt x="46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78"/>
            <p:cNvSpPr/>
            <p:nvPr/>
          </p:nvSpPr>
          <p:spPr>
            <a:xfrm>
              <a:off x="-34673325" y="2375850"/>
              <a:ext cx="85100" cy="84300"/>
            </a:xfrm>
            <a:custGeom>
              <a:avLst/>
              <a:gdLst/>
              <a:ahLst/>
              <a:cxnLst/>
              <a:rect l="l" t="t" r="r" b="b"/>
              <a:pathLst>
                <a:path w="3404" h="3372" extrusionOk="0">
                  <a:moveTo>
                    <a:pt x="1702" y="662"/>
                  </a:moveTo>
                  <a:cubicBezTo>
                    <a:pt x="2238" y="662"/>
                    <a:pt x="2710" y="1135"/>
                    <a:pt x="2710" y="1702"/>
                  </a:cubicBezTo>
                  <a:cubicBezTo>
                    <a:pt x="2710" y="2238"/>
                    <a:pt x="2238" y="2710"/>
                    <a:pt x="1702" y="2710"/>
                  </a:cubicBezTo>
                  <a:cubicBezTo>
                    <a:pt x="1135" y="2710"/>
                    <a:pt x="662" y="2238"/>
                    <a:pt x="662" y="1702"/>
                  </a:cubicBezTo>
                  <a:cubicBezTo>
                    <a:pt x="662" y="1135"/>
                    <a:pt x="1135" y="662"/>
                    <a:pt x="1702" y="662"/>
                  </a:cubicBezTo>
                  <a:close/>
                  <a:moveTo>
                    <a:pt x="1702" y="1"/>
                  </a:moveTo>
                  <a:cubicBezTo>
                    <a:pt x="757" y="1"/>
                    <a:pt x="1" y="757"/>
                    <a:pt x="1" y="1702"/>
                  </a:cubicBezTo>
                  <a:cubicBezTo>
                    <a:pt x="1" y="2647"/>
                    <a:pt x="757" y="3372"/>
                    <a:pt x="1702" y="3372"/>
                  </a:cubicBezTo>
                  <a:cubicBezTo>
                    <a:pt x="2647" y="3372"/>
                    <a:pt x="3403" y="2647"/>
                    <a:pt x="3403" y="1702"/>
                  </a:cubicBezTo>
                  <a:cubicBezTo>
                    <a:pt x="3372" y="757"/>
                    <a:pt x="2647" y="1"/>
                    <a:pt x="17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78"/>
            <p:cNvSpPr/>
            <p:nvPr/>
          </p:nvSpPr>
          <p:spPr>
            <a:xfrm>
              <a:off x="-34778075" y="2272675"/>
              <a:ext cx="293800" cy="293025"/>
            </a:xfrm>
            <a:custGeom>
              <a:avLst/>
              <a:gdLst/>
              <a:ahLst/>
              <a:cxnLst/>
              <a:rect l="l" t="t" r="r" b="b"/>
              <a:pathLst>
                <a:path w="11752" h="11721" extrusionOk="0">
                  <a:moveTo>
                    <a:pt x="5892" y="694"/>
                  </a:moveTo>
                  <a:cubicBezTo>
                    <a:pt x="8727" y="694"/>
                    <a:pt x="11027" y="3025"/>
                    <a:pt x="11027" y="5861"/>
                  </a:cubicBezTo>
                  <a:cubicBezTo>
                    <a:pt x="10996" y="8665"/>
                    <a:pt x="8727" y="10964"/>
                    <a:pt x="5892" y="10964"/>
                  </a:cubicBezTo>
                  <a:cubicBezTo>
                    <a:pt x="4884" y="10964"/>
                    <a:pt x="3939" y="10712"/>
                    <a:pt x="3119" y="10177"/>
                  </a:cubicBezTo>
                  <a:cubicBezTo>
                    <a:pt x="3075" y="10154"/>
                    <a:pt x="2999" y="10132"/>
                    <a:pt x="2936" y="10132"/>
                  </a:cubicBezTo>
                  <a:cubicBezTo>
                    <a:pt x="2910" y="10132"/>
                    <a:pt x="2886" y="10136"/>
                    <a:pt x="2867" y="10145"/>
                  </a:cubicBezTo>
                  <a:lnTo>
                    <a:pt x="914" y="10775"/>
                  </a:lnTo>
                  <a:lnTo>
                    <a:pt x="1544" y="8854"/>
                  </a:lnTo>
                  <a:cubicBezTo>
                    <a:pt x="1576" y="8759"/>
                    <a:pt x="1544" y="8665"/>
                    <a:pt x="1513" y="8570"/>
                  </a:cubicBezTo>
                  <a:cubicBezTo>
                    <a:pt x="1009" y="7751"/>
                    <a:pt x="725" y="6806"/>
                    <a:pt x="725" y="5861"/>
                  </a:cubicBezTo>
                  <a:cubicBezTo>
                    <a:pt x="725" y="3025"/>
                    <a:pt x="3056" y="694"/>
                    <a:pt x="5892" y="694"/>
                  </a:cubicBezTo>
                  <a:close/>
                  <a:moveTo>
                    <a:pt x="5892" y="1"/>
                  </a:moveTo>
                  <a:cubicBezTo>
                    <a:pt x="4348" y="1"/>
                    <a:pt x="2867" y="568"/>
                    <a:pt x="1733" y="1733"/>
                  </a:cubicBezTo>
                  <a:cubicBezTo>
                    <a:pt x="631" y="2836"/>
                    <a:pt x="0" y="4285"/>
                    <a:pt x="0" y="5861"/>
                  </a:cubicBezTo>
                  <a:cubicBezTo>
                    <a:pt x="0" y="6869"/>
                    <a:pt x="284" y="7908"/>
                    <a:pt x="851" y="8822"/>
                  </a:cubicBezTo>
                  <a:lnTo>
                    <a:pt x="63" y="11248"/>
                  </a:lnTo>
                  <a:cubicBezTo>
                    <a:pt x="0" y="11374"/>
                    <a:pt x="63" y="11531"/>
                    <a:pt x="127" y="11594"/>
                  </a:cubicBezTo>
                  <a:cubicBezTo>
                    <a:pt x="197" y="11665"/>
                    <a:pt x="304" y="11701"/>
                    <a:pt x="392" y="11701"/>
                  </a:cubicBezTo>
                  <a:cubicBezTo>
                    <a:pt x="422" y="11701"/>
                    <a:pt x="449" y="11697"/>
                    <a:pt x="473" y="11689"/>
                  </a:cubicBezTo>
                  <a:lnTo>
                    <a:pt x="2930" y="10901"/>
                  </a:lnTo>
                  <a:cubicBezTo>
                    <a:pt x="3844" y="11437"/>
                    <a:pt x="4852" y="11720"/>
                    <a:pt x="5892" y="11720"/>
                  </a:cubicBezTo>
                  <a:cubicBezTo>
                    <a:pt x="7404" y="11720"/>
                    <a:pt x="8916" y="11122"/>
                    <a:pt x="10019" y="9988"/>
                  </a:cubicBezTo>
                  <a:cubicBezTo>
                    <a:pt x="11122" y="8885"/>
                    <a:pt x="11752" y="7436"/>
                    <a:pt x="11752" y="5861"/>
                  </a:cubicBezTo>
                  <a:cubicBezTo>
                    <a:pt x="11752" y="4317"/>
                    <a:pt x="11153" y="2805"/>
                    <a:pt x="10019" y="1702"/>
                  </a:cubicBezTo>
                  <a:cubicBezTo>
                    <a:pt x="8885" y="568"/>
                    <a:pt x="7404"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9" name="Google Shape;9989;p78"/>
          <p:cNvGrpSpPr/>
          <p:nvPr/>
        </p:nvGrpSpPr>
        <p:grpSpPr>
          <a:xfrm>
            <a:off x="2194939" y="2449119"/>
            <a:ext cx="353587" cy="353587"/>
            <a:chOff x="-34776500" y="2631825"/>
            <a:chExt cx="291450" cy="291450"/>
          </a:xfrm>
        </p:grpSpPr>
        <p:sp>
          <p:nvSpPr>
            <p:cNvPr id="9990" name="Google Shape;9990;p78"/>
            <p:cNvSpPr/>
            <p:nvPr/>
          </p:nvSpPr>
          <p:spPr>
            <a:xfrm>
              <a:off x="-34691425" y="2666500"/>
              <a:ext cx="120525" cy="154400"/>
            </a:xfrm>
            <a:custGeom>
              <a:avLst/>
              <a:gdLst/>
              <a:ahLst/>
              <a:cxnLst/>
              <a:rect l="l" t="t" r="r" b="b"/>
              <a:pathLst>
                <a:path w="4821" h="6176" extrusionOk="0">
                  <a:moveTo>
                    <a:pt x="2331" y="693"/>
                  </a:moveTo>
                  <a:cubicBezTo>
                    <a:pt x="3277" y="693"/>
                    <a:pt x="4033" y="1449"/>
                    <a:pt x="4033" y="2394"/>
                  </a:cubicBezTo>
                  <a:cubicBezTo>
                    <a:pt x="4096" y="2899"/>
                    <a:pt x="3844" y="3466"/>
                    <a:pt x="3403" y="3781"/>
                  </a:cubicBezTo>
                  <a:cubicBezTo>
                    <a:pt x="3151" y="3970"/>
                    <a:pt x="2741" y="4348"/>
                    <a:pt x="2741" y="4946"/>
                  </a:cubicBezTo>
                  <a:lnTo>
                    <a:pt x="2741" y="5135"/>
                  </a:lnTo>
                  <a:cubicBezTo>
                    <a:pt x="2741" y="5356"/>
                    <a:pt x="2583" y="5513"/>
                    <a:pt x="2363" y="5513"/>
                  </a:cubicBezTo>
                  <a:cubicBezTo>
                    <a:pt x="2174" y="5513"/>
                    <a:pt x="2016" y="5356"/>
                    <a:pt x="2016" y="5135"/>
                  </a:cubicBezTo>
                  <a:lnTo>
                    <a:pt x="2016" y="4946"/>
                  </a:lnTo>
                  <a:cubicBezTo>
                    <a:pt x="2016" y="4285"/>
                    <a:pt x="2363" y="3655"/>
                    <a:pt x="2962" y="3214"/>
                  </a:cubicBezTo>
                  <a:cubicBezTo>
                    <a:pt x="3245" y="3025"/>
                    <a:pt x="3403" y="2710"/>
                    <a:pt x="3403" y="2394"/>
                  </a:cubicBezTo>
                  <a:cubicBezTo>
                    <a:pt x="3403" y="1827"/>
                    <a:pt x="2930" y="1355"/>
                    <a:pt x="2363" y="1355"/>
                  </a:cubicBezTo>
                  <a:cubicBezTo>
                    <a:pt x="1827" y="1355"/>
                    <a:pt x="1355" y="1827"/>
                    <a:pt x="1355" y="2394"/>
                  </a:cubicBezTo>
                  <a:cubicBezTo>
                    <a:pt x="1355" y="2583"/>
                    <a:pt x="1197" y="2741"/>
                    <a:pt x="1008" y="2741"/>
                  </a:cubicBezTo>
                  <a:cubicBezTo>
                    <a:pt x="788" y="2741"/>
                    <a:pt x="630" y="2583"/>
                    <a:pt x="630" y="2394"/>
                  </a:cubicBezTo>
                  <a:cubicBezTo>
                    <a:pt x="630" y="1449"/>
                    <a:pt x="1386" y="693"/>
                    <a:pt x="2331" y="693"/>
                  </a:cubicBezTo>
                  <a:close/>
                  <a:moveTo>
                    <a:pt x="2426" y="0"/>
                  </a:moveTo>
                  <a:cubicBezTo>
                    <a:pt x="1071" y="0"/>
                    <a:pt x="0" y="1040"/>
                    <a:pt x="0" y="2394"/>
                  </a:cubicBezTo>
                  <a:cubicBezTo>
                    <a:pt x="0" y="2930"/>
                    <a:pt x="473" y="3403"/>
                    <a:pt x="1040" y="3403"/>
                  </a:cubicBezTo>
                  <a:cubicBezTo>
                    <a:pt x="1575" y="3403"/>
                    <a:pt x="2048" y="2930"/>
                    <a:pt x="2048" y="2394"/>
                  </a:cubicBezTo>
                  <a:cubicBezTo>
                    <a:pt x="2048" y="2205"/>
                    <a:pt x="2205" y="2048"/>
                    <a:pt x="2426" y="2048"/>
                  </a:cubicBezTo>
                  <a:cubicBezTo>
                    <a:pt x="2615" y="2048"/>
                    <a:pt x="2772" y="2205"/>
                    <a:pt x="2772" y="2394"/>
                  </a:cubicBezTo>
                  <a:cubicBezTo>
                    <a:pt x="2772" y="2520"/>
                    <a:pt x="2741" y="2583"/>
                    <a:pt x="2615" y="2646"/>
                  </a:cubicBezTo>
                  <a:cubicBezTo>
                    <a:pt x="1827" y="3245"/>
                    <a:pt x="1386" y="4064"/>
                    <a:pt x="1386" y="4946"/>
                  </a:cubicBezTo>
                  <a:lnTo>
                    <a:pt x="1386" y="5135"/>
                  </a:lnTo>
                  <a:cubicBezTo>
                    <a:pt x="1386" y="5702"/>
                    <a:pt x="1859" y="6175"/>
                    <a:pt x="2426" y="6175"/>
                  </a:cubicBezTo>
                  <a:cubicBezTo>
                    <a:pt x="2962" y="6175"/>
                    <a:pt x="3434" y="5702"/>
                    <a:pt x="3434" y="5135"/>
                  </a:cubicBezTo>
                  <a:lnTo>
                    <a:pt x="3434" y="4946"/>
                  </a:lnTo>
                  <a:cubicBezTo>
                    <a:pt x="3434" y="4663"/>
                    <a:pt x="3686" y="4442"/>
                    <a:pt x="3844" y="4316"/>
                  </a:cubicBezTo>
                  <a:cubicBezTo>
                    <a:pt x="4474" y="3875"/>
                    <a:pt x="4820" y="3151"/>
                    <a:pt x="4820" y="2394"/>
                  </a:cubicBezTo>
                  <a:cubicBezTo>
                    <a:pt x="4789" y="1040"/>
                    <a:pt x="3718"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78"/>
            <p:cNvSpPr/>
            <p:nvPr/>
          </p:nvSpPr>
          <p:spPr>
            <a:xfrm>
              <a:off x="-34656775" y="2837400"/>
              <a:ext cx="51200" cy="51225"/>
            </a:xfrm>
            <a:custGeom>
              <a:avLst/>
              <a:gdLst/>
              <a:ahLst/>
              <a:cxnLst/>
              <a:rect l="l" t="t" r="r" b="b"/>
              <a:pathLst>
                <a:path w="2048" h="2049" extrusionOk="0">
                  <a:moveTo>
                    <a:pt x="1040" y="662"/>
                  </a:moveTo>
                  <a:cubicBezTo>
                    <a:pt x="1229" y="662"/>
                    <a:pt x="1386" y="820"/>
                    <a:pt x="1386" y="1040"/>
                  </a:cubicBezTo>
                  <a:cubicBezTo>
                    <a:pt x="1386" y="1229"/>
                    <a:pt x="1197" y="1387"/>
                    <a:pt x="1040" y="1387"/>
                  </a:cubicBezTo>
                  <a:cubicBezTo>
                    <a:pt x="819" y="1387"/>
                    <a:pt x="662" y="1229"/>
                    <a:pt x="662" y="1040"/>
                  </a:cubicBezTo>
                  <a:cubicBezTo>
                    <a:pt x="662" y="820"/>
                    <a:pt x="819" y="662"/>
                    <a:pt x="1040" y="662"/>
                  </a:cubicBezTo>
                  <a:close/>
                  <a:moveTo>
                    <a:pt x="1040" y="1"/>
                  </a:moveTo>
                  <a:cubicBezTo>
                    <a:pt x="473" y="1"/>
                    <a:pt x="0" y="473"/>
                    <a:pt x="0" y="1040"/>
                  </a:cubicBezTo>
                  <a:cubicBezTo>
                    <a:pt x="0" y="1576"/>
                    <a:pt x="473" y="2048"/>
                    <a:pt x="1040" y="2048"/>
                  </a:cubicBezTo>
                  <a:cubicBezTo>
                    <a:pt x="1576" y="2048"/>
                    <a:pt x="2048" y="1576"/>
                    <a:pt x="2048" y="1040"/>
                  </a:cubicBezTo>
                  <a:cubicBezTo>
                    <a:pt x="2048" y="473"/>
                    <a:pt x="1576"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78"/>
            <p:cNvSpPr/>
            <p:nvPr/>
          </p:nvSpPr>
          <p:spPr>
            <a:xfrm>
              <a:off x="-34776500" y="2631825"/>
              <a:ext cx="291450" cy="291450"/>
            </a:xfrm>
            <a:custGeom>
              <a:avLst/>
              <a:gdLst/>
              <a:ahLst/>
              <a:cxnLst/>
              <a:rect l="l" t="t" r="r" b="b"/>
              <a:pathLst>
                <a:path w="11658" h="11658" extrusionOk="0">
                  <a:moveTo>
                    <a:pt x="5829" y="662"/>
                  </a:moveTo>
                  <a:cubicBezTo>
                    <a:pt x="8664" y="662"/>
                    <a:pt x="10964" y="2994"/>
                    <a:pt x="10964" y="5829"/>
                  </a:cubicBezTo>
                  <a:cubicBezTo>
                    <a:pt x="10933" y="8665"/>
                    <a:pt x="8664" y="10996"/>
                    <a:pt x="5829" y="10996"/>
                  </a:cubicBezTo>
                  <a:cubicBezTo>
                    <a:pt x="2993" y="10996"/>
                    <a:pt x="662" y="8665"/>
                    <a:pt x="662" y="5829"/>
                  </a:cubicBezTo>
                  <a:cubicBezTo>
                    <a:pt x="662" y="2994"/>
                    <a:pt x="2993" y="662"/>
                    <a:pt x="5829" y="662"/>
                  </a:cubicBezTo>
                  <a:close/>
                  <a:moveTo>
                    <a:pt x="5829" y="1"/>
                  </a:moveTo>
                  <a:cubicBezTo>
                    <a:pt x="2584" y="1"/>
                    <a:pt x="0" y="2647"/>
                    <a:pt x="0" y="5829"/>
                  </a:cubicBezTo>
                  <a:cubicBezTo>
                    <a:pt x="0" y="9043"/>
                    <a:pt x="2615" y="11658"/>
                    <a:pt x="5829" y="11658"/>
                  </a:cubicBezTo>
                  <a:cubicBezTo>
                    <a:pt x="9042" y="11658"/>
                    <a:pt x="11657" y="9011"/>
                    <a:pt x="11657" y="5829"/>
                  </a:cubicBezTo>
                  <a:cubicBezTo>
                    <a:pt x="11657" y="2584"/>
                    <a:pt x="9011"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3" name="Google Shape;9993;p78"/>
          <p:cNvGrpSpPr/>
          <p:nvPr/>
        </p:nvGrpSpPr>
        <p:grpSpPr>
          <a:xfrm>
            <a:off x="853628" y="2912973"/>
            <a:ext cx="354527" cy="358349"/>
            <a:chOff x="-32956300" y="1915900"/>
            <a:chExt cx="292225" cy="295375"/>
          </a:xfrm>
        </p:grpSpPr>
        <p:sp>
          <p:nvSpPr>
            <p:cNvPr id="9994" name="Google Shape;9994;p78"/>
            <p:cNvSpPr/>
            <p:nvPr/>
          </p:nvSpPr>
          <p:spPr>
            <a:xfrm>
              <a:off x="-32956300" y="1915900"/>
              <a:ext cx="292225" cy="295375"/>
            </a:xfrm>
            <a:custGeom>
              <a:avLst/>
              <a:gdLst/>
              <a:ahLst/>
              <a:cxnLst/>
              <a:rect l="l" t="t" r="r" b="b"/>
              <a:pathLst>
                <a:path w="11689" h="11815" extrusionOk="0">
                  <a:moveTo>
                    <a:pt x="10996" y="2079"/>
                  </a:moveTo>
                  <a:lnTo>
                    <a:pt x="10996" y="3466"/>
                  </a:lnTo>
                  <a:lnTo>
                    <a:pt x="10334" y="3466"/>
                  </a:lnTo>
                  <a:lnTo>
                    <a:pt x="10334" y="2079"/>
                  </a:lnTo>
                  <a:close/>
                  <a:moveTo>
                    <a:pt x="10996" y="4127"/>
                  </a:moveTo>
                  <a:lnTo>
                    <a:pt x="10996" y="5513"/>
                  </a:lnTo>
                  <a:lnTo>
                    <a:pt x="10303" y="5513"/>
                  </a:lnTo>
                  <a:lnTo>
                    <a:pt x="10303" y="4127"/>
                  </a:lnTo>
                  <a:close/>
                  <a:moveTo>
                    <a:pt x="10996" y="6175"/>
                  </a:moveTo>
                  <a:lnTo>
                    <a:pt x="10996" y="7561"/>
                  </a:lnTo>
                  <a:lnTo>
                    <a:pt x="10334" y="7561"/>
                  </a:lnTo>
                  <a:lnTo>
                    <a:pt x="10334" y="6175"/>
                  </a:lnTo>
                  <a:close/>
                  <a:moveTo>
                    <a:pt x="2741" y="536"/>
                  </a:moveTo>
                  <a:lnTo>
                    <a:pt x="2741" y="10869"/>
                  </a:lnTo>
                  <a:lnTo>
                    <a:pt x="1733" y="10869"/>
                  </a:lnTo>
                  <a:cubicBezTo>
                    <a:pt x="1679" y="10914"/>
                    <a:pt x="1627" y="10934"/>
                    <a:pt x="1581" y="10934"/>
                  </a:cubicBezTo>
                  <a:cubicBezTo>
                    <a:pt x="1467" y="10934"/>
                    <a:pt x="1387" y="10815"/>
                    <a:pt x="1387" y="10680"/>
                  </a:cubicBezTo>
                  <a:lnTo>
                    <a:pt x="1387" y="10334"/>
                  </a:lnTo>
                  <a:lnTo>
                    <a:pt x="1733" y="10334"/>
                  </a:lnTo>
                  <a:cubicBezTo>
                    <a:pt x="1922" y="10334"/>
                    <a:pt x="2080" y="10145"/>
                    <a:pt x="2080" y="9956"/>
                  </a:cubicBezTo>
                  <a:cubicBezTo>
                    <a:pt x="2080" y="9767"/>
                    <a:pt x="1922" y="9609"/>
                    <a:pt x="1733" y="9609"/>
                  </a:cubicBezTo>
                  <a:lnTo>
                    <a:pt x="1387" y="9609"/>
                  </a:lnTo>
                  <a:lnTo>
                    <a:pt x="1387" y="8223"/>
                  </a:lnTo>
                  <a:lnTo>
                    <a:pt x="1733" y="8223"/>
                  </a:lnTo>
                  <a:cubicBezTo>
                    <a:pt x="1922" y="8223"/>
                    <a:pt x="2080" y="8065"/>
                    <a:pt x="2080" y="7876"/>
                  </a:cubicBezTo>
                  <a:cubicBezTo>
                    <a:pt x="2080" y="7687"/>
                    <a:pt x="1922" y="7530"/>
                    <a:pt x="1733" y="7530"/>
                  </a:cubicBezTo>
                  <a:lnTo>
                    <a:pt x="1387" y="7530"/>
                  </a:lnTo>
                  <a:lnTo>
                    <a:pt x="1387" y="6143"/>
                  </a:lnTo>
                  <a:lnTo>
                    <a:pt x="1733" y="6143"/>
                  </a:lnTo>
                  <a:cubicBezTo>
                    <a:pt x="1922" y="6143"/>
                    <a:pt x="2080" y="5986"/>
                    <a:pt x="2080" y="5797"/>
                  </a:cubicBezTo>
                  <a:cubicBezTo>
                    <a:pt x="2080" y="5576"/>
                    <a:pt x="1922" y="5419"/>
                    <a:pt x="1733" y="5419"/>
                  </a:cubicBezTo>
                  <a:lnTo>
                    <a:pt x="1387" y="5419"/>
                  </a:lnTo>
                  <a:lnTo>
                    <a:pt x="1387" y="4064"/>
                  </a:lnTo>
                  <a:lnTo>
                    <a:pt x="1733" y="4064"/>
                  </a:lnTo>
                  <a:cubicBezTo>
                    <a:pt x="1922" y="4064"/>
                    <a:pt x="2080" y="3907"/>
                    <a:pt x="2080" y="3686"/>
                  </a:cubicBezTo>
                  <a:cubicBezTo>
                    <a:pt x="2080" y="3497"/>
                    <a:pt x="1922" y="3340"/>
                    <a:pt x="1733" y="3340"/>
                  </a:cubicBezTo>
                  <a:lnTo>
                    <a:pt x="1387" y="3340"/>
                  </a:lnTo>
                  <a:lnTo>
                    <a:pt x="1387" y="1953"/>
                  </a:lnTo>
                  <a:lnTo>
                    <a:pt x="1733" y="1953"/>
                  </a:lnTo>
                  <a:cubicBezTo>
                    <a:pt x="1922" y="1953"/>
                    <a:pt x="2080" y="1796"/>
                    <a:pt x="2080" y="1607"/>
                  </a:cubicBezTo>
                  <a:cubicBezTo>
                    <a:pt x="2080" y="1418"/>
                    <a:pt x="1922" y="1260"/>
                    <a:pt x="1733" y="1260"/>
                  </a:cubicBezTo>
                  <a:lnTo>
                    <a:pt x="1387" y="1260"/>
                  </a:lnTo>
                  <a:lnTo>
                    <a:pt x="1387" y="914"/>
                  </a:lnTo>
                  <a:cubicBezTo>
                    <a:pt x="1387" y="693"/>
                    <a:pt x="1544" y="536"/>
                    <a:pt x="1733" y="536"/>
                  </a:cubicBezTo>
                  <a:close/>
                  <a:moveTo>
                    <a:pt x="9263" y="725"/>
                  </a:moveTo>
                  <a:cubicBezTo>
                    <a:pt x="9452" y="725"/>
                    <a:pt x="9609" y="882"/>
                    <a:pt x="9609" y="1071"/>
                  </a:cubicBezTo>
                  <a:lnTo>
                    <a:pt x="9609" y="10680"/>
                  </a:lnTo>
                  <a:cubicBezTo>
                    <a:pt x="9609" y="10869"/>
                    <a:pt x="9452" y="11027"/>
                    <a:pt x="9263" y="11027"/>
                  </a:cubicBezTo>
                  <a:lnTo>
                    <a:pt x="3371" y="11027"/>
                  </a:lnTo>
                  <a:lnTo>
                    <a:pt x="3371" y="725"/>
                  </a:lnTo>
                  <a:close/>
                  <a:moveTo>
                    <a:pt x="1733" y="0"/>
                  </a:moveTo>
                  <a:cubicBezTo>
                    <a:pt x="1166" y="0"/>
                    <a:pt x="694" y="473"/>
                    <a:pt x="694" y="1040"/>
                  </a:cubicBezTo>
                  <a:lnTo>
                    <a:pt x="694" y="1386"/>
                  </a:lnTo>
                  <a:lnTo>
                    <a:pt x="347" y="1386"/>
                  </a:lnTo>
                  <a:cubicBezTo>
                    <a:pt x="158" y="1386"/>
                    <a:pt x="0" y="1544"/>
                    <a:pt x="0" y="1733"/>
                  </a:cubicBezTo>
                  <a:cubicBezTo>
                    <a:pt x="0" y="1922"/>
                    <a:pt x="158" y="2079"/>
                    <a:pt x="347" y="2079"/>
                  </a:cubicBezTo>
                  <a:lnTo>
                    <a:pt x="694" y="2079"/>
                  </a:lnTo>
                  <a:lnTo>
                    <a:pt x="694" y="3466"/>
                  </a:lnTo>
                  <a:lnTo>
                    <a:pt x="347" y="3466"/>
                  </a:lnTo>
                  <a:cubicBezTo>
                    <a:pt x="158" y="3466"/>
                    <a:pt x="0" y="3623"/>
                    <a:pt x="0" y="3812"/>
                  </a:cubicBezTo>
                  <a:cubicBezTo>
                    <a:pt x="0" y="4033"/>
                    <a:pt x="158" y="4190"/>
                    <a:pt x="347" y="4190"/>
                  </a:cubicBezTo>
                  <a:lnTo>
                    <a:pt x="694" y="4190"/>
                  </a:lnTo>
                  <a:lnTo>
                    <a:pt x="694" y="5545"/>
                  </a:lnTo>
                  <a:lnTo>
                    <a:pt x="347" y="5545"/>
                  </a:lnTo>
                  <a:cubicBezTo>
                    <a:pt x="158" y="5545"/>
                    <a:pt x="0" y="5702"/>
                    <a:pt x="0" y="5923"/>
                  </a:cubicBezTo>
                  <a:cubicBezTo>
                    <a:pt x="0" y="6112"/>
                    <a:pt x="158" y="6269"/>
                    <a:pt x="347" y="6269"/>
                  </a:cubicBezTo>
                  <a:lnTo>
                    <a:pt x="694" y="6269"/>
                  </a:lnTo>
                  <a:lnTo>
                    <a:pt x="694" y="7656"/>
                  </a:lnTo>
                  <a:lnTo>
                    <a:pt x="347" y="7656"/>
                  </a:lnTo>
                  <a:cubicBezTo>
                    <a:pt x="158" y="7656"/>
                    <a:pt x="0" y="7813"/>
                    <a:pt x="0" y="8002"/>
                  </a:cubicBezTo>
                  <a:cubicBezTo>
                    <a:pt x="0" y="8191"/>
                    <a:pt x="158" y="8349"/>
                    <a:pt x="347" y="8349"/>
                  </a:cubicBezTo>
                  <a:lnTo>
                    <a:pt x="694" y="8349"/>
                  </a:lnTo>
                  <a:lnTo>
                    <a:pt x="694" y="9735"/>
                  </a:lnTo>
                  <a:lnTo>
                    <a:pt x="347" y="9735"/>
                  </a:lnTo>
                  <a:cubicBezTo>
                    <a:pt x="158" y="9735"/>
                    <a:pt x="0" y="9893"/>
                    <a:pt x="0" y="10082"/>
                  </a:cubicBezTo>
                  <a:cubicBezTo>
                    <a:pt x="0" y="10271"/>
                    <a:pt x="158" y="10428"/>
                    <a:pt x="347" y="10428"/>
                  </a:cubicBezTo>
                  <a:lnTo>
                    <a:pt x="694" y="10428"/>
                  </a:lnTo>
                  <a:lnTo>
                    <a:pt x="694" y="10806"/>
                  </a:lnTo>
                  <a:cubicBezTo>
                    <a:pt x="694" y="11342"/>
                    <a:pt x="1166" y="11814"/>
                    <a:pt x="1733" y="11814"/>
                  </a:cubicBezTo>
                  <a:lnTo>
                    <a:pt x="9294" y="11814"/>
                  </a:lnTo>
                  <a:cubicBezTo>
                    <a:pt x="9830" y="11814"/>
                    <a:pt x="10303" y="11342"/>
                    <a:pt x="10303" y="10806"/>
                  </a:cubicBezTo>
                  <a:lnTo>
                    <a:pt x="10303" y="8380"/>
                  </a:lnTo>
                  <a:lnTo>
                    <a:pt x="11342" y="8380"/>
                  </a:lnTo>
                  <a:cubicBezTo>
                    <a:pt x="11531" y="8380"/>
                    <a:pt x="11689" y="8223"/>
                    <a:pt x="11689" y="8034"/>
                  </a:cubicBezTo>
                  <a:lnTo>
                    <a:pt x="11689" y="1859"/>
                  </a:lnTo>
                  <a:cubicBezTo>
                    <a:pt x="11689" y="1544"/>
                    <a:pt x="11531" y="1386"/>
                    <a:pt x="11342" y="1386"/>
                  </a:cubicBezTo>
                  <a:lnTo>
                    <a:pt x="10303" y="1386"/>
                  </a:lnTo>
                  <a:lnTo>
                    <a:pt x="10303" y="1040"/>
                  </a:lnTo>
                  <a:cubicBezTo>
                    <a:pt x="10303" y="473"/>
                    <a:pt x="9830"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78"/>
            <p:cNvSpPr/>
            <p:nvPr/>
          </p:nvSpPr>
          <p:spPr>
            <a:xfrm>
              <a:off x="-32836575" y="1967875"/>
              <a:ext cx="85875" cy="188250"/>
            </a:xfrm>
            <a:custGeom>
              <a:avLst/>
              <a:gdLst/>
              <a:ahLst/>
              <a:cxnLst/>
              <a:rect l="l" t="t" r="r" b="b"/>
              <a:pathLst>
                <a:path w="3435" h="7530" extrusionOk="0">
                  <a:moveTo>
                    <a:pt x="2773" y="693"/>
                  </a:moveTo>
                  <a:lnTo>
                    <a:pt x="2773" y="2048"/>
                  </a:lnTo>
                  <a:lnTo>
                    <a:pt x="1733" y="2048"/>
                  </a:lnTo>
                  <a:cubicBezTo>
                    <a:pt x="1544" y="2048"/>
                    <a:pt x="1386" y="2206"/>
                    <a:pt x="1386" y="2426"/>
                  </a:cubicBezTo>
                  <a:lnTo>
                    <a:pt x="1386" y="5136"/>
                  </a:lnTo>
                  <a:cubicBezTo>
                    <a:pt x="1386" y="5325"/>
                    <a:pt x="1544" y="5482"/>
                    <a:pt x="1733" y="5482"/>
                  </a:cubicBezTo>
                  <a:lnTo>
                    <a:pt x="2773" y="5482"/>
                  </a:lnTo>
                  <a:lnTo>
                    <a:pt x="2773" y="6868"/>
                  </a:lnTo>
                  <a:lnTo>
                    <a:pt x="1733" y="6868"/>
                  </a:lnTo>
                  <a:cubicBezTo>
                    <a:pt x="1197" y="6868"/>
                    <a:pt x="725" y="6396"/>
                    <a:pt x="725" y="5829"/>
                  </a:cubicBezTo>
                  <a:lnTo>
                    <a:pt x="725" y="1733"/>
                  </a:lnTo>
                  <a:cubicBezTo>
                    <a:pt x="725" y="1198"/>
                    <a:pt x="1197" y="693"/>
                    <a:pt x="1733" y="693"/>
                  </a:cubicBezTo>
                  <a:close/>
                  <a:moveTo>
                    <a:pt x="1701" y="0"/>
                  </a:moveTo>
                  <a:cubicBezTo>
                    <a:pt x="756" y="0"/>
                    <a:pt x="0" y="788"/>
                    <a:pt x="0" y="1733"/>
                  </a:cubicBezTo>
                  <a:lnTo>
                    <a:pt x="0" y="5829"/>
                  </a:lnTo>
                  <a:cubicBezTo>
                    <a:pt x="0" y="6774"/>
                    <a:pt x="756" y="7530"/>
                    <a:pt x="1701" y="7530"/>
                  </a:cubicBezTo>
                  <a:lnTo>
                    <a:pt x="3088" y="7530"/>
                  </a:lnTo>
                  <a:cubicBezTo>
                    <a:pt x="3277" y="7530"/>
                    <a:pt x="3434" y="7372"/>
                    <a:pt x="3434" y="7183"/>
                  </a:cubicBezTo>
                  <a:lnTo>
                    <a:pt x="3434" y="5136"/>
                  </a:lnTo>
                  <a:cubicBezTo>
                    <a:pt x="3434" y="4947"/>
                    <a:pt x="3277" y="4789"/>
                    <a:pt x="3088" y="4789"/>
                  </a:cubicBezTo>
                  <a:lnTo>
                    <a:pt x="2048" y="4789"/>
                  </a:lnTo>
                  <a:lnTo>
                    <a:pt x="2048" y="2741"/>
                  </a:lnTo>
                  <a:lnTo>
                    <a:pt x="3088" y="2741"/>
                  </a:lnTo>
                  <a:cubicBezTo>
                    <a:pt x="3277" y="2741"/>
                    <a:pt x="3434" y="2552"/>
                    <a:pt x="3434" y="2363"/>
                  </a:cubicBezTo>
                  <a:lnTo>
                    <a:pt x="3434" y="284"/>
                  </a:lnTo>
                  <a:cubicBezTo>
                    <a:pt x="3434" y="158"/>
                    <a:pt x="3277"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96" name="Google Shape;9996;p78"/>
          <p:cNvSpPr/>
          <p:nvPr/>
        </p:nvSpPr>
        <p:spPr>
          <a:xfrm>
            <a:off x="850648" y="3383782"/>
            <a:ext cx="354527" cy="353557"/>
          </a:xfrm>
          <a:custGeom>
            <a:avLst/>
            <a:gdLst/>
            <a:ahLst/>
            <a:cxnLst/>
            <a:rect l="l" t="t" r="r" b="b"/>
            <a:pathLst>
              <a:path w="11689" h="11657" extrusionOk="0">
                <a:moveTo>
                  <a:pt x="5829" y="725"/>
                </a:moveTo>
                <a:cubicBezTo>
                  <a:pt x="6112" y="725"/>
                  <a:pt x="6333" y="882"/>
                  <a:pt x="6427" y="1134"/>
                </a:cubicBezTo>
                <a:lnTo>
                  <a:pt x="6774" y="2080"/>
                </a:lnTo>
                <a:lnTo>
                  <a:pt x="4915" y="2080"/>
                </a:lnTo>
                <a:lnTo>
                  <a:pt x="5262" y="1134"/>
                </a:lnTo>
                <a:cubicBezTo>
                  <a:pt x="5356" y="882"/>
                  <a:pt x="5577" y="725"/>
                  <a:pt x="5829" y="725"/>
                </a:cubicBezTo>
                <a:close/>
                <a:moveTo>
                  <a:pt x="7058" y="2773"/>
                </a:moveTo>
                <a:lnTo>
                  <a:pt x="7782" y="4852"/>
                </a:lnTo>
                <a:lnTo>
                  <a:pt x="3970" y="4852"/>
                </a:lnTo>
                <a:lnTo>
                  <a:pt x="4695" y="2773"/>
                </a:lnTo>
                <a:close/>
                <a:moveTo>
                  <a:pt x="8003" y="5514"/>
                </a:moveTo>
                <a:lnTo>
                  <a:pt x="8759" y="7624"/>
                </a:lnTo>
                <a:lnTo>
                  <a:pt x="2962" y="7624"/>
                </a:lnTo>
                <a:lnTo>
                  <a:pt x="3687" y="5514"/>
                </a:lnTo>
                <a:close/>
                <a:moveTo>
                  <a:pt x="8979" y="8286"/>
                </a:moveTo>
                <a:lnTo>
                  <a:pt x="9452" y="9672"/>
                </a:lnTo>
                <a:lnTo>
                  <a:pt x="2206" y="9672"/>
                </a:lnTo>
                <a:lnTo>
                  <a:pt x="2710" y="8286"/>
                </a:lnTo>
                <a:close/>
                <a:moveTo>
                  <a:pt x="10649" y="10334"/>
                </a:moveTo>
                <a:cubicBezTo>
                  <a:pt x="10838" y="10334"/>
                  <a:pt x="10996" y="10491"/>
                  <a:pt x="10996" y="10680"/>
                </a:cubicBezTo>
                <a:lnTo>
                  <a:pt x="10996" y="10995"/>
                </a:lnTo>
                <a:lnTo>
                  <a:pt x="662" y="10995"/>
                </a:lnTo>
                <a:lnTo>
                  <a:pt x="662" y="10680"/>
                </a:lnTo>
                <a:cubicBezTo>
                  <a:pt x="662" y="10491"/>
                  <a:pt x="820" y="10334"/>
                  <a:pt x="1040" y="10334"/>
                </a:cubicBezTo>
                <a:close/>
                <a:moveTo>
                  <a:pt x="5829" y="0"/>
                </a:moveTo>
                <a:cubicBezTo>
                  <a:pt x="5262" y="0"/>
                  <a:pt x="4758" y="378"/>
                  <a:pt x="4600" y="882"/>
                </a:cubicBezTo>
                <a:cubicBezTo>
                  <a:pt x="4474" y="1260"/>
                  <a:pt x="1670" y="9231"/>
                  <a:pt x="1481" y="9609"/>
                </a:cubicBezTo>
                <a:lnTo>
                  <a:pt x="1040" y="9609"/>
                </a:lnTo>
                <a:cubicBezTo>
                  <a:pt x="473" y="9609"/>
                  <a:pt x="0" y="10082"/>
                  <a:pt x="0" y="10649"/>
                </a:cubicBezTo>
                <a:lnTo>
                  <a:pt x="0" y="11310"/>
                </a:lnTo>
                <a:cubicBezTo>
                  <a:pt x="0" y="11499"/>
                  <a:pt x="158" y="11657"/>
                  <a:pt x="347" y="11657"/>
                </a:cubicBezTo>
                <a:lnTo>
                  <a:pt x="11342" y="11657"/>
                </a:lnTo>
                <a:cubicBezTo>
                  <a:pt x="11531" y="11657"/>
                  <a:pt x="11689" y="11499"/>
                  <a:pt x="11689" y="11310"/>
                </a:cubicBezTo>
                <a:lnTo>
                  <a:pt x="11689" y="10680"/>
                </a:lnTo>
                <a:cubicBezTo>
                  <a:pt x="11689" y="10082"/>
                  <a:pt x="11216" y="9609"/>
                  <a:pt x="10618" y="9609"/>
                </a:cubicBezTo>
                <a:lnTo>
                  <a:pt x="10145" y="9609"/>
                </a:lnTo>
                <a:cubicBezTo>
                  <a:pt x="9988" y="9231"/>
                  <a:pt x="7184" y="1229"/>
                  <a:pt x="7058" y="882"/>
                </a:cubicBezTo>
                <a:cubicBezTo>
                  <a:pt x="6837" y="378"/>
                  <a:pt x="6396"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78"/>
          <p:cNvSpPr/>
          <p:nvPr/>
        </p:nvSpPr>
        <p:spPr>
          <a:xfrm>
            <a:off x="850162" y="3843679"/>
            <a:ext cx="355498" cy="354558"/>
          </a:xfrm>
          <a:custGeom>
            <a:avLst/>
            <a:gdLst/>
            <a:ahLst/>
            <a:cxnLst/>
            <a:rect l="l" t="t" r="r" b="b"/>
            <a:pathLst>
              <a:path w="11721" h="11690" extrusionOk="0">
                <a:moveTo>
                  <a:pt x="8980" y="662"/>
                </a:moveTo>
                <a:lnTo>
                  <a:pt x="8980" y="2710"/>
                </a:lnTo>
                <a:lnTo>
                  <a:pt x="7594" y="2710"/>
                </a:lnTo>
                <a:lnTo>
                  <a:pt x="7594" y="1671"/>
                </a:lnTo>
                <a:cubicBezTo>
                  <a:pt x="7594" y="1135"/>
                  <a:pt x="8066" y="662"/>
                  <a:pt x="8602" y="662"/>
                </a:cubicBezTo>
                <a:close/>
                <a:moveTo>
                  <a:pt x="9988" y="662"/>
                </a:moveTo>
                <a:cubicBezTo>
                  <a:pt x="10177" y="662"/>
                  <a:pt x="10366" y="820"/>
                  <a:pt x="10366" y="1009"/>
                </a:cubicBezTo>
                <a:lnTo>
                  <a:pt x="10366" y="2395"/>
                </a:lnTo>
                <a:cubicBezTo>
                  <a:pt x="10366" y="2584"/>
                  <a:pt x="10177" y="2742"/>
                  <a:pt x="9988" y="2742"/>
                </a:cubicBezTo>
                <a:lnTo>
                  <a:pt x="9641" y="2742"/>
                </a:lnTo>
                <a:lnTo>
                  <a:pt x="9641" y="662"/>
                </a:lnTo>
                <a:close/>
                <a:moveTo>
                  <a:pt x="10650" y="4758"/>
                </a:moveTo>
                <a:cubicBezTo>
                  <a:pt x="10870" y="4758"/>
                  <a:pt x="11028" y="4916"/>
                  <a:pt x="11028" y="5105"/>
                </a:cubicBezTo>
                <a:cubicBezTo>
                  <a:pt x="11028" y="5294"/>
                  <a:pt x="10870" y="5451"/>
                  <a:pt x="10650" y="5451"/>
                </a:cubicBezTo>
                <a:lnTo>
                  <a:pt x="9295" y="5451"/>
                </a:lnTo>
                <a:cubicBezTo>
                  <a:pt x="9074" y="5451"/>
                  <a:pt x="8917" y="5294"/>
                  <a:pt x="8917" y="5105"/>
                </a:cubicBezTo>
                <a:cubicBezTo>
                  <a:pt x="8917" y="4916"/>
                  <a:pt x="9074" y="4758"/>
                  <a:pt x="9295" y="4758"/>
                </a:cubicBezTo>
                <a:close/>
                <a:moveTo>
                  <a:pt x="10650" y="6144"/>
                </a:moveTo>
                <a:cubicBezTo>
                  <a:pt x="10870" y="6144"/>
                  <a:pt x="11028" y="6302"/>
                  <a:pt x="11028" y="6491"/>
                </a:cubicBezTo>
                <a:cubicBezTo>
                  <a:pt x="11028" y="6680"/>
                  <a:pt x="10870" y="6837"/>
                  <a:pt x="10650" y="6837"/>
                </a:cubicBezTo>
                <a:lnTo>
                  <a:pt x="9295" y="6837"/>
                </a:lnTo>
                <a:cubicBezTo>
                  <a:pt x="9074" y="6837"/>
                  <a:pt x="8917" y="6680"/>
                  <a:pt x="8917" y="6491"/>
                </a:cubicBezTo>
                <a:cubicBezTo>
                  <a:pt x="8917" y="6302"/>
                  <a:pt x="9074" y="6144"/>
                  <a:pt x="9295" y="6144"/>
                </a:cubicBezTo>
                <a:close/>
                <a:moveTo>
                  <a:pt x="3088" y="3372"/>
                </a:moveTo>
                <a:cubicBezTo>
                  <a:pt x="3309" y="3372"/>
                  <a:pt x="3467" y="3529"/>
                  <a:pt x="3467" y="3718"/>
                </a:cubicBezTo>
                <a:lnTo>
                  <a:pt x="3467" y="7814"/>
                </a:lnTo>
                <a:cubicBezTo>
                  <a:pt x="3467" y="8035"/>
                  <a:pt x="3309" y="8192"/>
                  <a:pt x="3088" y="8192"/>
                </a:cubicBezTo>
                <a:lnTo>
                  <a:pt x="2742" y="8192"/>
                </a:lnTo>
                <a:lnTo>
                  <a:pt x="2742" y="3372"/>
                </a:lnTo>
                <a:close/>
                <a:moveTo>
                  <a:pt x="9988" y="7499"/>
                </a:moveTo>
                <a:cubicBezTo>
                  <a:pt x="10177" y="7499"/>
                  <a:pt x="10335" y="7657"/>
                  <a:pt x="10335" y="7877"/>
                </a:cubicBezTo>
                <a:cubicBezTo>
                  <a:pt x="10335" y="8066"/>
                  <a:pt x="10177" y="8224"/>
                  <a:pt x="9988" y="8224"/>
                </a:cubicBezTo>
                <a:lnTo>
                  <a:pt x="9326" y="8224"/>
                </a:lnTo>
                <a:cubicBezTo>
                  <a:pt x="9137" y="8224"/>
                  <a:pt x="8980" y="8066"/>
                  <a:pt x="8980" y="7877"/>
                </a:cubicBezTo>
                <a:cubicBezTo>
                  <a:pt x="8980" y="7657"/>
                  <a:pt x="9137" y="7499"/>
                  <a:pt x="9326" y="7499"/>
                </a:cubicBezTo>
                <a:close/>
                <a:moveTo>
                  <a:pt x="9988" y="3403"/>
                </a:moveTo>
                <a:cubicBezTo>
                  <a:pt x="10177" y="3403"/>
                  <a:pt x="10335" y="3561"/>
                  <a:pt x="10335" y="3781"/>
                </a:cubicBezTo>
                <a:cubicBezTo>
                  <a:pt x="10335" y="3971"/>
                  <a:pt x="10177" y="4128"/>
                  <a:pt x="9988" y="4128"/>
                </a:cubicBezTo>
                <a:lnTo>
                  <a:pt x="7279" y="4128"/>
                </a:lnTo>
                <a:cubicBezTo>
                  <a:pt x="7090" y="4128"/>
                  <a:pt x="6932" y="4286"/>
                  <a:pt x="6932" y="4475"/>
                </a:cubicBezTo>
                <a:cubicBezTo>
                  <a:pt x="6932" y="5042"/>
                  <a:pt x="6459" y="5514"/>
                  <a:pt x="5892" y="5514"/>
                </a:cubicBezTo>
                <a:cubicBezTo>
                  <a:pt x="5703" y="5514"/>
                  <a:pt x="5546" y="5672"/>
                  <a:pt x="5546" y="5861"/>
                </a:cubicBezTo>
                <a:cubicBezTo>
                  <a:pt x="5546" y="6050"/>
                  <a:pt x="5703" y="6207"/>
                  <a:pt x="5892" y="6207"/>
                </a:cubicBezTo>
                <a:cubicBezTo>
                  <a:pt x="6302" y="6207"/>
                  <a:pt x="6649" y="6081"/>
                  <a:pt x="6932" y="5861"/>
                </a:cubicBezTo>
                <a:lnTo>
                  <a:pt x="6932" y="8255"/>
                </a:lnTo>
                <a:lnTo>
                  <a:pt x="5546" y="8255"/>
                </a:lnTo>
                <a:lnTo>
                  <a:pt x="5546" y="8192"/>
                </a:lnTo>
                <a:cubicBezTo>
                  <a:pt x="5388" y="8192"/>
                  <a:pt x="5231" y="8129"/>
                  <a:pt x="5073" y="8066"/>
                </a:cubicBezTo>
                <a:lnTo>
                  <a:pt x="4128" y="7625"/>
                </a:lnTo>
                <a:lnTo>
                  <a:pt x="4128" y="4097"/>
                </a:lnTo>
                <a:lnTo>
                  <a:pt x="4727" y="4097"/>
                </a:lnTo>
                <a:cubicBezTo>
                  <a:pt x="5105" y="4097"/>
                  <a:pt x="5514" y="3907"/>
                  <a:pt x="5766" y="3655"/>
                </a:cubicBezTo>
                <a:cubicBezTo>
                  <a:pt x="5924" y="3498"/>
                  <a:pt x="6144" y="3403"/>
                  <a:pt x="6365" y="3403"/>
                </a:cubicBezTo>
                <a:close/>
                <a:moveTo>
                  <a:pt x="1734" y="662"/>
                </a:moveTo>
                <a:cubicBezTo>
                  <a:pt x="1923" y="662"/>
                  <a:pt x="2080" y="820"/>
                  <a:pt x="2080" y="1009"/>
                </a:cubicBezTo>
                <a:lnTo>
                  <a:pt x="2080" y="9200"/>
                </a:lnTo>
                <a:cubicBezTo>
                  <a:pt x="2080" y="9389"/>
                  <a:pt x="1923" y="9547"/>
                  <a:pt x="1734" y="9547"/>
                </a:cubicBezTo>
                <a:cubicBezTo>
                  <a:pt x="1513" y="9547"/>
                  <a:pt x="1356" y="9389"/>
                  <a:pt x="1356" y="9200"/>
                </a:cubicBezTo>
                <a:lnTo>
                  <a:pt x="1356" y="1009"/>
                </a:lnTo>
                <a:cubicBezTo>
                  <a:pt x="1356" y="820"/>
                  <a:pt x="1513" y="662"/>
                  <a:pt x="1734" y="662"/>
                </a:cubicBezTo>
                <a:close/>
                <a:moveTo>
                  <a:pt x="8350" y="4790"/>
                </a:moveTo>
                <a:cubicBezTo>
                  <a:pt x="8287" y="4916"/>
                  <a:pt x="8287" y="5042"/>
                  <a:pt x="8287" y="5136"/>
                </a:cubicBezTo>
                <a:cubicBezTo>
                  <a:pt x="8287" y="5420"/>
                  <a:pt x="8413" y="5672"/>
                  <a:pt x="8570" y="5829"/>
                </a:cubicBezTo>
                <a:cubicBezTo>
                  <a:pt x="8413" y="6018"/>
                  <a:pt x="8287" y="6239"/>
                  <a:pt x="8287" y="6491"/>
                </a:cubicBezTo>
                <a:cubicBezTo>
                  <a:pt x="8287" y="6743"/>
                  <a:pt x="8413" y="6995"/>
                  <a:pt x="8570" y="7152"/>
                </a:cubicBezTo>
                <a:cubicBezTo>
                  <a:pt x="8413" y="7342"/>
                  <a:pt x="8287" y="7594"/>
                  <a:pt x="8287" y="7814"/>
                </a:cubicBezTo>
                <a:cubicBezTo>
                  <a:pt x="8287" y="8255"/>
                  <a:pt x="8570" y="8633"/>
                  <a:pt x="8980" y="8791"/>
                </a:cubicBezTo>
                <a:lnTo>
                  <a:pt x="8980" y="10965"/>
                </a:lnTo>
                <a:lnTo>
                  <a:pt x="8602" y="10965"/>
                </a:lnTo>
                <a:cubicBezTo>
                  <a:pt x="8066" y="10965"/>
                  <a:pt x="7594" y="10460"/>
                  <a:pt x="7594" y="9925"/>
                </a:cubicBezTo>
                <a:lnTo>
                  <a:pt x="7594" y="4790"/>
                </a:lnTo>
                <a:close/>
                <a:moveTo>
                  <a:pt x="9988" y="8885"/>
                </a:moveTo>
                <a:cubicBezTo>
                  <a:pt x="10177" y="8885"/>
                  <a:pt x="10335" y="9043"/>
                  <a:pt x="10335" y="9232"/>
                </a:cubicBezTo>
                <a:lnTo>
                  <a:pt x="10335" y="10618"/>
                </a:lnTo>
                <a:cubicBezTo>
                  <a:pt x="10335" y="10807"/>
                  <a:pt x="10177" y="10965"/>
                  <a:pt x="9988" y="10965"/>
                </a:cubicBezTo>
                <a:lnTo>
                  <a:pt x="9641" y="10965"/>
                </a:lnTo>
                <a:lnTo>
                  <a:pt x="9641" y="8885"/>
                </a:lnTo>
                <a:close/>
                <a:moveTo>
                  <a:pt x="1734" y="1"/>
                </a:moveTo>
                <a:cubicBezTo>
                  <a:pt x="1167" y="1"/>
                  <a:pt x="694" y="473"/>
                  <a:pt x="694" y="1009"/>
                </a:cubicBezTo>
                <a:lnTo>
                  <a:pt x="694" y="9200"/>
                </a:lnTo>
                <a:cubicBezTo>
                  <a:pt x="694" y="9641"/>
                  <a:pt x="978" y="10019"/>
                  <a:pt x="1356" y="10177"/>
                </a:cubicBezTo>
                <a:lnTo>
                  <a:pt x="1356" y="10965"/>
                </a:lnTo>
                <a:lnTo>
                  <a:pt x="348" y="10965"/>
                </a:lnTo>
                <a:cubicBezTo>
                  <a:pt x="158" y="10965"/>
                  <a:pt x="1" y="11122"/>
                  <a:pt x="1" y="11343"/>
                </a:cubicBezTo>
                <a:cubicBezTo>
                  <a:pt x="1" y="11532"/>
                  <a:pt x="158" y="11689"/>
                  <a:pt x="348" y="11689"/>
                </a:cubicBezTo>
                <a:lnTo>
                  <a:pt x="3057" y="11689"/>
                </a:lnTo>
                <a:cubicBezTo>
                  <a:pt x="3246" y="11689"/>
                  <a:pt x="3403" y="11532"/>
                  <a:pt x="3403" y="11343"/>
                </a:cubicBezTo>
                <a:cubicBezTo>
                  <a:pt x="3403" y="11122"/>
                  <a:pt x="3246" y="10965"/>
                  <a:pt x="3057" y="10965"/>
                </a:cubicBezTo>
                <a:lnTo>
                  <a:pt x="2049" y="10965"/>
                </a:lnTo>
                <a:lnTo>
                  <a:pt x="2049" y="10177"/>
                </a:lnTo>
                <a:cubicBezTo>
                  <a:pt x="2427" y="10019"/>
                  <a:pt x="2710" y="9673"/>
                  <a:pt x="2710" y="9200"/>
                </a:cubicBezTo>
                <a:lnTo>
                  <a:pt x="2710" y="8885"/>
                </a:lnTo>
                <a:lnTo>
                  <a:pt x="3057" y="8885"/>
                </a:lnTo>
                <a:cubicBezTo>
                  <a:pt x="3467" y="8885"/>
                  <a:pt x="3813" y="8665"/>
                  <a:pt x="3971" y="8350"/>
                </a:cubicBezTo>
                <a:lnTo>
                  <a:pt x="4727" y="8696"/>
                </a:lnTo>
                <a:cubicBezTo>
                  <a:pt x="4947" y="8822"/>
                  <a:pt x="5231" y="8885"/>
                  <a:pt x="5451" y="8885"/>
                </a:cubicBezTo>
                <a:lnTo>
                  <a:pt x="6838" y="8885"/>
                </a:lnTo>
                <a:lnTo>
                  <a:pt x="6838" y="9925"/>
                </a:lnTo>
                <a:cubicBezTo>
                  <a:pt x="6838" y="10870"/>
                  <a:pt x="7594" y="11689"/>
                  <a:pt x="8539" y="11689"/>
                </a:cubicBezTo>
                <a:lnTo>
                  <a:pt x="9925" y="11689"/>
                </a:lnTo>
                <a:cubicBezTo>
                  <a:pt x="10461" y="11689"/>
                  <a:pt x="10933" y="11217"/>
                  <a:pt x="10933" y="10650"/>
                </a:cubicBezTo>
                <a:lnTo>
                  <a:pt x="10933" y="9232"/>
                </a:lnTo>
                <a:cubicBezTo>
                  <a:pt x="10933" y="8980"/>
                  <a:pt x="10807" y="8728"/>
                  <a:pt x="10681" y="8570"/>
                </a:cubicBezTo>
                <a:cubicBezTo>
                  <a:pt x="10839" y="8381"/>
                  <a:pt x="10933" y="8129"/>
                  <a:pt x="10933" y="7909"/>
                </a:cubicBezTo>
                <a:cubicBezTo>
                  <a:pt x="10933" y="7783"/>
                  <a:pt x="10902" y="7625"/>
                  <a:pt x="10870" y="7499"/>
                </a:cubicBezTo>
                <a:cubicBezTo>
                  <a:pt x="11311" y="7405"/>
                  <a:pt x="11626" y="6995"/>
                  <a:pt x="11626" y="6522"/>
                </a:cubicBezTo>
                <a:cubicBezTo>
                  <a:pt x="11626" y="6239"/>
                  <a:pt x="11500" y="6018"/>
                  <a:pt x="11343" y="5861"/>
                </a:cubicBezTo>
                <a:cubicBezTo>
                  <a:pt x="11500" y="5672"/>
                  <a:pt x="11626" y="5420"/>
                  <a:pt x="11626" y="5199"/>
                </a:cubicBezTo>
                <a:cubicBezTo>
                  <a:pt x="11721" y="4632"/>
                  <a:pt x="11374" y="4254"/>
                  <a:pt x="10933" y="4128"/>
                </a:cubicBezTo>
                <a:cubicBezTo>
                  <a:pt x="10965" y="4002"/>
                  <a:pt x="11028" y="3876"/>
                  <a:pt x="11028" y="3718"/>
                </a:cubicBezTo>
                <a:cubicBezTo>
                  <a:pt x="11028" y="3466"/>
                  <a:pt x="10902" y="3214"/>
                  <a:pt x="10744" y="3057"/>
                </a:cubicBezTo>
                <a:cubicBezTo>
                  <a:pt x="10902" y="2868"/>
                  <a:pt x="11028" y="2616"/>
                  <a:pt x="11028" y="2395"/>
                </a:cubicBezTo>
                <a:lnTo>
                  <a:pt x="11028" y="1009"/>
                </a:lnTo>
                <a:cubicBezTo>
                  <a:pt x="11028" y="473"/>
                  <a:pt x="10555" y="1"/>
                  <a:pt x="9988" y="1"/>
                </a:cubicBezTo>
                <a:lnTo>
                  <a:pt x="8602" y="1"/>
                </a:lnTo>
                <a:cubicBezTo>
                  <a:pt x="7657" y="1"/>
                  <a:pt x="6932" y="726"/>
                  <a:pt x="6932" y="1671"/>
                </a:cubicBezTo>
                <a:lnTo>
                  <a:pt x="6932" y="2710"/>
                </a:lnTo>
                <a:lnTo>
                  <a:pt x="6365" y="2710"/>
                </a:lnTo>
                <a:cubicBezTo>
                  <a:pt x="5987" y="2710"/>
                  <a:pt x="5577" y="2868"/>
                  <a:pt x="5294" y="3151"/>
                </a:cubicBezTo>
                <a:cubicBezTo>
                  <a:pt x="5136" y="3309"/>
                  <a:pt x="4947" y="3372"/>
                  <a:pt x="4727" y="3372"/>
                </a:cubicBezTo>
                <a:lnTo>
                  <a:pt x="4097" y="3372"/>
                </a:lnTo>
                <a:cubicBezTo>
                  <a:pt x="3939" y="2994"/>
                  <a:pt x="3561" y="2710"/>
                  <a:pt x="3088" y="2710"/>
                </a:cubicBezTo>
                <a:lnTo>
                  <a:pt x="2742" y="2710"/>
                </a:lnTo>
                <a:lnTo>
                  <a:pt x="2742" y="1009"/>
                </a:lnTo>
                <a:cubicBezTo>
                  <a:pt x="2742" y="473"/>
                  <a:pt x="2269"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98" name="Google Shape;9998;p78"/>
          <p:cNvGrpSpPr/>
          <p:nvPr/>
        </p:nvGrpSpPr>
        <p:grpSpPr>
          <a:xfrm>
            <a:off x="3081101" y="2915367"/>
            <a:ext cx="356438" cy="353557"/>
            <a:chOff x="-31166825" y="1939525"/>
            <a:chExt cx="293800" cy="291425"/>
          </a:xfrm>
        </p:grpSpPr>
        <p:sp>
          <p:nvSpPr>
            <p:cNvPr id="9999" name="Google Shape;9999;p78"/>
            <p:cNvSpPr/>
            <p:nvPr/>
          </p:nvSpPr>
          <p:spPr>
            <a:xfrm>
              <a:off x="-31166825" y="1939525"/>
              <a:ext cx="224500" cy="291425"/>
            </a:xfrm>
            <a:custGeom>
              <a:avLst/>
              <a:gdLst/>
              <a:ahLst/>
              <a:cxnLst/>
              <a:rect l="l" t="t" r="r" b="b"/>
              <a:pathLst>
                <a:path w="8980" h="11657" extrusionOk="0">
                  <a:moveTo>
                    <a:pt x="5892" y="662"/>
                  </a:moveTo>
                  <a:cubicBezTo>
                    <a:pt x="6081" y="662"/>
                    <a:pt x="6239" y="819"/>
                    <a:pt x="6239" y="1040"/>
                  </a:cubicBezTo>
                  <a:lnTo>
                    <a:pt x="6239" y="1386"/>
                  </a:lnTo>
                  <a:lnTo>
                    <a:pt x="2805" y="1386"/>
                  </a:lnTo>
                  <a:lnTo>
                    <a:pt x="2805" y="1040"/>
                  </a:lnTo>
                  <a:cubicBezTo>
                    <a:pt x="2805" y="819"/>
                    <a:pt x="2962" y="662"/>
                    <a:pt x="3120" y="662"/>
                  </a:cubicBezTo>
                  <a:close/>
                  <a:moveTo>
                    <a:pt x="8035" y="1323"/>
                  </a:moveTo>
                  <a:cubicBezTo>
                    <a:pt x="8255" y="1323"/>
                    <a:pt x="8413" y="1512"/>
                    <a:pt x="8413" y="1701"/>
                  </a:cubicBezTo>
                  <a:lnTo>
                    <a:pt x="8413" y="10617"/>
                  </a:lnTo>
                  <a:cubicBezTo>
                    <a:pt x="8413" y="10838"/>
                    <a:pt x="8255" y="10995"/>
                    <a:pt x="8035" y="10995"/>
                  </a:cubicBezTo>
                  <a:lnTo>
                    <a:pt x="1166" y="10995"/>
                  </a:lnTo>
                  <a:cubicBezTo>
                    <a:pt x="946" y="10995"/>
                    <a:pt x="788" y="10838"/>
                    <a:pt x="788" y="10617"/>
                  </a:cubicBezTo>
                  <a:lnTo>
                    <a:pt x="788" y="1701"/>
                  </a:lnTo>
                  <a:lnTo>
                    <a:pt x="757" y="1701"/>
                  </a:lnTo>
                  <a:cubicBezTo>
                    <a:pt x="757" y="1512"/>
                    <a:pt x="914" y="1323"/>
                    <a:pt x="1103" y="1323"/>
                  </a:cubicBezTo>
                  <a:lnTo>
                    <a:pt x="2143" y="1323"/>
                  </a:lnTo>
                  <a:lnTo>
                    <a:pt x="2143" y="1701"/>
                  </a:lnTo>
                  <a:cubicBezTo>
                    <a:pt x="2143" y="1890"/>
                    <a:pt x="2301" y="2048"/>
                    <a:pt x="2490" y="2048"/>
                  </a:cubicBezTo>
                  <a:lnTo>
                    <a:pt x="6617" y="2048"/>
                  </a:lnTo>
                  <a:cubicBezTo>
                    <a:pt x="6837" y="2048"/>
                    <a:pt x="6995" y="1890"/>
                    <a:pt x="6995" y="1701"/>
                  </a:cubicBezTo>
                  <a:lnTo>
                    <a:pt x="6995" y="1323"/>
                  </a:lnTo>
                  <a:close/>
                  <a:moveTo>
                    <a:pt x="3120" y="0"/>
                  </a:moveTo>
                  <a:cubicBezTo>
                    <a:pt x="2679" y="0"/>
                    <a:pt x="2301" y="284"/>
                    <a:pt x="2143" y="662"/>
                  </a:cubicBezTo>
                  <a:lnTo>
                    <a:pt x="1040" y="662"/>
                  </a:lnTo>
                  <a:cubicBezTo>
                    <a:pt x="473" y="662"/>
                    <a:pt x="1" y="1134"/>
                    <a:pt x="1" y="1701"/>
                  </a:cubicBezTo>
                  <a:lnTo>
                    <a:pt x="1" y="10649"/>
                  </a:lnTo>
                  <a:cubicBezTo>
                    <a:pt x="64" y="11216"/>
                    <a:pt x="536" y="11657"/>
                    <a:pt x="1072" y="11657"/>
                  </a:cubicBezTo>
                  <a:lnTo>
                    <a:pt x="7971" y="11657"/>
                  </a:lnTo>
                  <a:cubicBezTo>
                    <a:pt x="8507" y="11657"/>
                    <a:pt x="8980" y="11184"/>
                    <a:pt x="8980" y="10649"/>
                  </a:cubicBezTo>
                  <a:lnTo>
                    <a:pt x="8980" y="1701"/>
                  </a:lnTo>
                  <a:cubicBezTo>
                    <a:pt x="8980" y="1134"/>
                    <a:pt x="8507" y="662"/>
                    <a:pt x="7971" y="662"/>
                  </a:cubicBezTo>
                  <a:lnTo>
                    <a:pt x="6869" y="662"/>
                  </a:lnTo>
                  <a:cubicBezTo>
                    <a:pt x="6711" y="284"/>
                    <a:pt x="6365"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78"/>
            <p:cNvSpPr/>
            <p:nvPr/>
          </p:nvSpPr>
          <p:spPr>
            <a:xfrm>
              <a:off x="-31131375" y="2145075"/>
              <a:ext cx="52800" cy="52800"/>
            </a:xfrm>
            <a:custGeom>
              <a:avLst/>
              <a:gdLst/>
              <a:ahLst/>
              <a:cxnLst/>
              <a:rect l="l" t="t" r="r" b="b"/>
              <a:pathLst>
                <a:path w="2112" h="2112" extrusionOk="0">
                  <a:moveTo>
                    <a:pt x="1355" y="726"/>
                  </a:moveTo>
                  <a:lnTo>
                    <a:pt x="1355" y="1387"/>
                  </a:lnTo>
                  <a:lnTo>
                    <a:pt x="694" y="1387"/>
                  </a:lnTo>
                  <a:lnTo>
                    <a:pt x="694" y="726"/>
                  </a:lnTo>
                  <a:close/>
                  <a:moveTo>
                    <a:pt x="379" y="1"/>
                  </a:moveTo>
                  <a:cubicBezTo>
                    <a:pt x="158" y="1"/>
                    <a:pt x="0" y="158"/>
                    <a:pt x="0" y="379"/>
                  </a:cubicBezTo>
                  <a:lnTo>
                    <a:pt x="0" y="1734"/>
                  </a:lnTo>
                  <a:cubicBezTo>
                    <a:pt x="0" y="1954"/>
                    <a:pt x="158" y="2112"/>
                    <a:pt x="379" y="2112"/>
                  </a:cubicBezTo>
                  <a:lnTo>
                    <a:pt x="1733" y="2112"/>
                  </a:lnTo>
                  <a:cubicBezTo>
                    <a:pt x="1954" y="2112"/>
                    <a:pt x="2111" y="1954"/>
                    <a:pt x="2111" y="1734"/>
                  </a:cubicBezTo>
                  <a:lnTo>
                    <a:pt x="2111" y="379"/>
                  </a:ln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78"/>
            <p:cNvSpPr/>
            <p:nvPr/>
          </p:nvSpPr>
          <p:spPr>
            <a:xfrm>
              <a:off x="-31131375" y="2076550"/>
              <a:ext cx="52800" cy="52025"/>
            </a:xfrm>
            <a:custGeom>
              <a:avLst/>
              <a:gdLst/>
              <a:ahLst/>
              <a:cxnLst/>
              <a:rect l="l" t="t" r="r" b="b"/>
              <a:pathLst>
                <a:path w="2112" h="2081" extrusionOk="0">
                  <a:moveTo>
                    <a:pt x="1355" y="694"/>
                  </a:moveTo>
                  <a:lnTo>
                    <a:pt x="1355" y="1356"/>
                  </a:lnTo>
                  <a:lnTo>
                    <a:pt x="694" y="1356"/>
                  </a:lnTo>
                  <a:lnTo>
                    <a:pt x="694" y="694"/>
                  </a:lnTo>
                  <a:close/>
                  <a:moveTo>
                    <a:pt x="379" y="1"/>
                  </a:moveTo>
                  <a:cubicBezTo>
                    <a:pt x="158" y="1"/>
                    <a:pt x="0" y="159"/>
                    <a:pt x="0" y="348"/>
                  </a:cubicBezTo>
                  <a:lnTo>
                    <a:pt x="0" y="1734"/>
                  </a:lnTo>
                  <a:cubicBezTo>
                    <a:pt x="0" y="1923"/>
                    <a:pt x="158" y="2080"/>
                    <a:pt x="379" y="2080"/>
                  </a:cubicBezTo>
                  <a:lnTo>
                    <a:pt x="1733" y="2080"/>
                  </a:lnTo>
                  <a:cubicBezTo>
                    <a:pt x="1954" y="2080"/>
                    <a:pt x="2111" y="1923"/>
                    <a:pt x="2111" y="1734"/>
                  </a:cubicBezTo>
                  <a:lnTo>
                    <a:pt x="2111" y="348"/>
                  </a:lnTo>
                  <a:cubicBezTo>
                    <a:pt x="2111" y="159"/>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78"/>
            <p:cNvSpPr/>
            <p:nvPr/>
          </p:nvSpPr>
          <p:spPr>
            <a:xfrm>
              <a:off x="-31131375" y="2007250"/>
              <a:ext cx="52800" cy="52800"/>
            </a:xfrm>
            <a:custGeom>
              <a:avLst/>
              <a:gdLst/>
              <a:ahLst/>
              <a:cxnLst/>
              <a:rect l="l" t="t" r="r" b="b"/>
              <a:pathLst>
                <a:path w="2112" h="2112" extrusionOk="0">
                  <a:moveTo>
                    <a:pt x="1355" y="725"/>
                  </a:moveTo>
                  <a:lnTo>
                    <a:pt x="1355" y="1387"/>
                  </a:lnTo>
                  <a:lnTo>
                    <a:pt x="694" y="1387"/>
                  </a:lnTo>
                  <a:lnTo>
                    <a:pt x="694" y="725"/>
                  </a:lnTo>
                  <a:close/>
                  <a:moveTo>
                    <a:pt x="379" y="1"/>
                  </a:moveTo>
                  <a:cubicBezTo>
                    <a:pt x="158" y="1"/>
                    <a:pt x="0" y="158"/>
                    <a:pt x="0" y="379"/>
                  </a:cubicBezTo>
                  <a:lnTo>
                    <a:pt x="0" y="1733"/>
                  </a:lnTo>
                  <a:cubicBezTo>
                    <a:pt x="0" y="1954"/>
                    <a:pt x="158" y="2111"/>
                    <a:pt x="379" y="2111"/>
                  </a:cubicBezTo>
                  <a:lnTo>
                    <a:pt x="1733" y="2111"/>
                  </a:lnTo>
                  <a:cubicBezTo>
                    <a:pt x="1954" y="2111"/>
                    <a:pt x="2111" y="1954"/>
                    <a:pt x="2111" y="1733"/>
                  </a:cubicBezTo>
                  <a:lnTo>
                    <a:pt x="2111" y="379"/>
                  </a:ln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78"/>
            <p:cNvSpPr/>
            <p:nvPr/>
          </p:nvSpPr>
          <p:spPr>
            <a:xfrm>
              <a:off x="-31062075" y="2007250"/>
              <a:ext cx="85875" cy="18150"/>
            </a:xfrm>
            <a:custGeom>
              <a:avLst/>
              <a:gdLst/>
              <a:ahLst/>
              <a:cxnLst/>
              <a:rect l="l" t="t" r="r" b="b"/>
              <a:pathLst>
                <a:path w="3435" h="726" extrusionOk="0">
                  <a:moveTo>
                    <a:pt x="347" y="1"/>
                  </a:moveTo>
                  <a:cubicBezTo>
                    <a:pt x="158" y="1"/>
                    <a:pt x="1" y="158"/>
                    <a:pt x="1" y="379"/>
                  </a:cubicBezTo>
                  <a:cubicBezTo>
                    <a:pt x="1" y="568"/>
                    <a:pt x="158" y="725"/>
                    <a:pt x="347" y="725"/>
                  </a:cubicBezTo>
                  <a:lnTo>
                    <a:pt x="3057" y="725"/>
                  </a:lnTo>
                  <a:cubicBezTo>
                    <a:pt x="3277" y="725"/>
                    <a:pt x="3435" y="568"/>
                    <a:pt x="3435" y="379"/>
                  </a:cubicBezTo>
                  <a:cubicBezTo>
                    <a:pt x="3435" y="158"/>
                    <a:pt x="3277" y="1"/>
                    <a:pt x="30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78"/>
            <p:cNvSpPr/>
            <p:nvPr/>
          </p:nvSpPr>
          <p:spPr>
            <a:xfrm>
              <a:off x="-31062075" y="2041900"/>
              <a:ext cx="52025" cy="18150"/>
            </a:xfrm>
            <a:custGeom>
              <a:avLst/>
              <a:gdLst/>
              <a:ahLst/>
              <a:cxnLst/>
              <a:rect l="l" t="t" r="r" b="b"/>
              <a:pathLst>
                <a:path w="2081" h="726" extrusionOk="0">
                  <a:moveTo>
                    <a:pt x="347" y="1"/>
                  </a:moveTo>
                  <a:cubicBezTo>
                    <a:pt x="158" y="1"/>
                    <a:pt x="1" y="158"/>
                    <a:pt x="1" y="347"/>
                  </a:cubicBezTo>
                  <a:cubicBezTo>
                    <a:pt x="1" y="568"/>
                    <a:pt x="158" y="725"/>
                    <a:pt x="347" y="725"/>
                  </a:cubicBezTo>
                  <a:lnTo>
                    <a:pt x="1734" y="725"/>
                  </a:lnTo>
                  <a:cubicBezTo>
                    <a:pt x="1923" y="725"/>
                    <a:pt x="2080" y="568"/>
                    <a:pt x="2080" y="347"/>
                  </a:cubicBezTo>
                  <a:cubicBezTo>
                    <a:pt x="2080" y="158"/>
                    <a:pt x="1923"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78"/>
            <p:cNvSpPr/>
            <p:nvPr/>
          </p:nvSpPr>
          <p:spPr>
            <a:xfrm>
              <a:off x="-31062075" y="2076550"/>
              <a:ext cx="85875" cy="17375"/>
            </a:xfrm>
            <a:custGeom>
              <a:avLst/>
              <a:gdLst/>
              <a:ahLst/>
              <a:cxnLst/>
              <a:rect l="l" t="t" r="r" b="b"/>
              <a:pathLst>
                <a:path w="3435" h="695" extrusionOk="0">
                  <a:moveTo>
                    <a:pt x="347" y="1"/>
                  </a:moveTo>
                  <a:cubicBezTo>
                    <a:pt x="158" y="1"/>
                    <a:pt x="1" y="159"/>
                    <a:pt x="1" y="348"/>
                  </a:cubicBezTo>
                  <a:cubicBezTo>
                    <a:pt x="1" y="537"/>
                    <a:pt x="158" y="694"/>
                    <a:pt x="347" y="694"/>
                  </a:cubicBezTo>
                  <a:lnTo>
                    <a:pt x="3057" y="694"/>
                  </a:lnTo>
                  <a:cubicBezTo>
                    <a:pt x="3277" y="694"/>
                    <a:pt x="3435" y="537"/>
                    <a:pt x="3435" y="348"/>
                  </a:cubicBezTo>
                  <a:cubicBezTo>
                    <a:pt x="3435" y="159"/>
                    <a:pt x="3277" y="1"/>
                    <a:pt x="30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78"/>
            <p:cNvSpPr/>
            <p:nvPr/>
          </p:nvSpPr>
          <p:spPr>
            <a:xfrm>
              <a:off x="-31062075" y="2110425"/>
              <a:ext cx="52025" cy="18150"/>
            </a:xfrm>
            <a:custGeom>
              <a:avLst/>
              <a:gdLst/>
              <a:ahLst/>
              <a:cxnLst/>
              <a:rect l="l" t="t" r="r" b="b"/>
              <a:pathLst>
                <a:path w="2081" h="726" extrusionOk="0">
                  <a:moveTo>
                    <a:pt x="347" y="1"/>
                  </a:moveTo>
                  <a:cubicBezTo>
                    <a:pt x="158" y="1"/>
                    <a:pt x="1" y="190"/>
                    <a:pt x="1" y="379"/>
                  </a:cubicBezTo>
                  <a:cubicBezTo>
                    <a:pt x="1" y="568"/>
                    <a:pt x="158" y="725"/>
                    <a:pt x="347" y="725"/>
                  </a:cubicBezTo>
                  <a:lnTo>
                    <a:pt x="1734" y="725"/>
                  </a:lnTo>
                  <a:cubicBezTo>
                    <a:pt x="1923" y="725"/>
                    <a:pt x="2080" y="568"/>
                    <a:pt x="2080" y="379"/>
                  </a:cubicBezTo>
                  <a:cubicBezTo>
                    <a:pt x="2080" y="190"/>
                    <a:pt x="1923"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78"/>
            <p:cNvSpPr/>
            <p:nvPr/>
          </p:nvSpPr>
          <p:spPr>
            <a:xfrm>
              <a:off x="-31062075" y="2145075"/>
              <a:ext cx="85875" cy="18150"/>
            </a:xfrm>
            <a:custGeom>
              <a:avLst/>
              <a:gdLst/>
              <a:ahLst/>
              <a:cxnLst/>
              <a:rect l="l" t="t" r="r" b="b"/>
              <a:pathLst>
                <a:path w="3435" h="726" extrusionOk="0">
                  <a:moveTo>
                    <a:pt x="347" y="1"/>
                  </a:moveTo>
                  <a:cubicBezTo>
                    <a:pt x="158" y="1"/>
                    <a:pt x="1" y="158"/>
                    <a:pt x="1" y="379"/>
                  </a:cubicBezTo>
                  <a:cubicBezTo>
                    <a:pt x="1" y="568"/>
                    <a:pt x="158" y="726"/>
                    <a:pt x="347" y="726"/>
                  </a:cubicBezTo>
                  <a:lnTo>
                    <a:pt x="3057" y="726"/>
                  </a:lnTo>
                  <a:cubicBezTo>
                    <a:pt x="3277" y="726"/>
                    <a:pt x="3435" y="568"/>
                    <a:pt x="3435" y="379"/>
                  </a:cubicBezTo>
                  <a:cubicBezTo>
                    <a:pt x="3435" y="158"/>
                    <a:pt x="3277" y="1"/>
                    <a:pt x="30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78"/>
            <p:cNvSpPr/>
            <p:nvPr/>
          </p:nvSpPr>
          <p:spPr>
            <a:xfrm>
              <a:off x="-31062075" y="2179750"/>
              <a:ext cx="52025" cy="18125"/>
            </a:xfrm>
            <a:custGeom>
              <a:avLst/>
              <a:gdLst/>
              <a:ahLst/>
              <a:cxnLst/>
              <a:rect l="l" t="t" r="r" b="b"/>
              <a:pathLst>
                <a:path w="2081" h="725" extrusionOk="0">
                  <a:moveTo>
                    <a:pt x="347" y="0"/>
                  </a:moveTo>
                  <a:cubicBezTo>
                    <a:pt x="158" y="0"/>
                    <a:pt x="1" y="158"/>
                    <a:pt x="1" y="347"/>
                  </a:cubicBezTo>
                  <a:cubicBezTo>
                    <a:pt x="1" y="567"/>
                    <a:pt x="158" y="725"/>
                    <a:pt x="347" y="725"/>
                  </a:cubicBezTo>
                  <a:lnTo>
                    <a:pt x="1734" y="725"/>
                  </a:lnTo>
                  <a:cubicBezTo>
                    <a:pt x="1923" y="725"/>
                    <a:pt x="2080" y="567"/>
                    <a:pt x="2080" y="347"/>
                  </a:cubicBez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78"/>
            <p:cNvSpPr/>
            <p:nvPr/>
          </p:nvSpPr>
          <p:spPr>
            <a:xfrm>
              <a:off x="-30924225" y="1974175"/>
              <a:ext cx="51200" cy="240250"/>
            </a:xfrm>
            <a:custGeom>
              <a:avLst/>
              <a:gdLst/>
              <a:ahLst/>
              <a:cxnLst/>
              <a:rect l="l" t="t" r="r" b="b"/>
              <a:pathLst>
                <a:path w="2048" h="9610" extrusionOk="0">
                  <a:moveTo>
                    <a:pt x="1008" y="662"/>
                  </a:moveTo>
                  <a:cubicBezTo>
                    <a:pt x="1229" y="662"/>
                    <a:pt x="1386" y="819"/>
                    <a:pt x="1386" y="1009"/>
                  </a:cubicBezTo>
                  <a:lnTo>
                    <a:pt x="1386" y="2080"/>
                  </a:lnTo>
                  <a:lnTo>
                    <a:pt x="725" y="2080"/>
                  </a:lnTo>
                  <a:lnTo>
                    <a:pt x="725" y="1009"/>
                  </a:lnTo>
                  <a:lnTo>
                    <a:pt x="662" y="1009"/>
                  </a:lnTo>
                  <a:cubicBezTo>
                    <a:pt x="662" y="819"/>
                    <a:pt x="819" y="662"/>
                    <a:pt x="1008" y="662"/>
                  </a:cubicBezTo>
                  <a:close/>
                  <a:moveTo>
                    <a:pt x="1323" y="2741"/>
                  </a:moveTo>
                  <a:lnTo>
                    <a:pt x="1323" y="6900"/>
                  </a:lnTo>
                  <a:lnTo>
                    <a:pt x="662" y="6900"/>
                  </a:lnTo>
                  <a:lnTo>
                    <a:pt x="662" y="2741"/>
                  </a:lnTo>
                  <a:close/>
                  <a:moveTo>
                    <a:pt x="1260" y="7562"/>
                  </a:moveTo>
                  <a:lnTo>
                    <a:pt x="1008" y="8192"/>
                  </a:lnTo>
                  <a:lnTo>
                    <a:pt x="819" y="7562"/>
                  </a:lnTo>
                  <a:close/>
                  <a:moveTo>
                    <a:pt x="1008" y="0"/>
                  </a:moveTo>
                  <a:cubicBezTo>
                    <a:pt x="473" y="0"/>
                    <a:pt x="0" y="473"/>
                    <a:pt x="0" y="1009"/>
                  </a:cubicBezTo>
                  <a:lnTo>
                    <a:pt x="0" y="7215"/>
                  </a:lnTo>
                  <a:lnTo>
                    <a:pt x="0" y="7309"/>
                  </a:lnTo>
                  <a:lnTo>
                    <a:pt x="662" y="9357"/>
                  </a:lnTo>
                  <a:cubicBezTo>
                    <a:pt x="693" y="9515"/>
                    <a:pt x="819" y="9609"/>
                    <a:pt x="977" y="9609"/>
                  </a:cubicBezTo>
                  <a:cubicBezTo>
                    <a:pt x="1134" y="9609"/>
                    <a:pt x="1260" y="9515"/>
                    <a:pt x="1292" y="9357"/>
                  </a:cubicBezTo>
                  <a:lnTo>
                    <a:pt x="1954" y="7309"/>
                  </a:lnTo>
                  <a:lnTo>
                    <a:pt x="1954" y="7215"/>
                  </a:lnTo>
                  <a:lnTo>
                    <a:pt x="1954" y="1009"/>
                  </a:lnTo>
                  <a:cubicBezTo>
                    <a:pt x="2048" y="441"/>
                    <a:pt x="1576"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0" name="Google Shape;10010;p78"/>
          <p:cNvGrpSpPr/>
          <p:nvPr/>
        </p:nvGrpSpPr>
        <p:grpSpPr>
          <a:xfrm>
            <a:off x="3082057" y="3383295"/>
            <a:ext cx="354527" cy="354133"/>
            <a:chOff x="-31165250" y="2298675"/>
            <a:chExt cx="292225" cy="291900"/>
          </a:xfrm>
        </p:grpSpPr>
        <p:sp>
          <p:nvSpPr>
            <p:cNvPr id="10011" name="Google Shape;10011;p78"/>
            <p:cNvSpPr/>
            <p:nvPr/>
          </p:nvSpPr>
          <p:spPr>
            <a:xfrm>
              <a:off x="-31003000" y="2332550"/>
              <a:ext cx="86675" cy="103400"/>
            </a:xfrm>
            <a:custGeom>
              <a:avLst/>
              <a:gdLst/>
              <a:ahLst/>
              <a:cxnLst/>
              <a:rect l="l" t="t" r="r" b="b"/>
              <a:pathLst>
                <a:path w="3467" h="4136" extrusionOk="0">
                  <a:moveTo>
                    <a:pt x="2049" y="1386"/>
                  </a:moveTo>
                  <a:cubicBezTo>
                    <a:pt x="2017" y="1764"/>
                    <a:pt x="1923" y="2111"/>
                    <a:pt x="1734" y="2426"/>
                  </a:cubicBezTo>
                  <a:cubicBezTo>
                    <a:pt x="1576" y="2111"/>
                    <a:pt x="1450" y="1764"/>
                    <a:pt x="1418" y="1386"/>
                  </a:cubicBezTo>
                  <a:close/>
                  <a:moveTo>
                    <a:pt x="1734" y="0"/>
                  </a:moveTo>
                  <a:cubicBezTo>
                    <a:pt x="1545" y="0"/>
                    <a:pt x="1387" y="158"/>
                    <a:pt x="1387" y="347"/>
                  </a:cubicBezTo>
                  <a:lnTo>
                    <a:pt x="1387" y="693"/>
                  </a:lnTo>
                  <a:lnTo>
                    <a:pt x="347" y="693"/>
                  </a:lnTo>
                  <a:cubicBezTo>
                    <a:pt x="158" y="693"/>
                    <a:pt x="1" y="851"/>
                    <a:pt x="1" y="1071"/>
                  </a:cubicBezTo>
                  <a:cubicBezTo>
                    <a:pt x="1" y="1260"/>
                    <a:pt x="158" y="1418"/>
                    <a:pt x="347" y="1418"/>
                  </a:cubicBezTo>
                  <a:lnTo>
                    <a:pt x="694" y="1418"/>
                  </a:lnTo>
                  <a:cubicBezTo>
                    <a:pt x="757" y="2016"/>
                    <a:pt x="946" y="2552"/>
                    <a:pt x="1292" y="3056"/>
                  </a:cubicBezTo>
                  <a:lnTo>
                    <a:pt x="788" y="3592"/>
                  </a:lnTo>
                  <a:cubicBezTo>
                    <a:pt x="662" y="3686"/>
                    <a:pt x="662" y="3938"/>
                    <a:pt x="788" y="4064"/>
                  </a:cubicBezTo>
                  <a:cubicBezTo>
                    <a:pt x="851" y="4111"/>
                    <a:pt x="938" y="4135"/>
                    <a:pt x="1025" y="4135"/>
                  </a:cubicBezTo>
                  <a:cubicBezTo>
                    <a:pt x="1111" y="4135"/>
                    <a:pt x="1198" y="4111"/>
                    <a:pt x="1261" y="4064"/>
                  </a:cubicBezTo>
                  <a:lnTo>
                    <a:pt x="1702" y="3623"/>
                  </a:lnTo>
                  <a:lnTo>
                    <a:pt x="2112" y="4064"/>
                  </a:lnTo>
                  <a:cubicBezTo>
                    <a:pt x="2175" y="4111"/>
                    <a:pt x="2269" y="4135"/>
                    <a:pt x="2360" y="4135"/>
                  </a:cubicBezTo>
                  <a:cubicBezTo>
                    <a:pt x="2450" y="4135"/>
                    <a:pt x="2537" y="4111"/>
                    <a:pt x="2584" y="4064"/>
                  </a:cubicBezTo>
                  <a:cubicBezTo>
                    <a:pt x="2710" y="3938"/>
                    <a:pt x="2710" y="3686"/>
                    <a:pt x="2584" y="3592"/>
                  </a:cubicBezTo>
                  <a:lnTo>
                    <a:pt x="2080" y="3056"/>
                  </a:lnTo>
                  <a:cubicBezTo>
                    <a:pt x="2395" y="2552"/>
                    <a:pt x="2584" y="2016"/>
                    <a:pt x="2679" y="1418"/>
                  </a:cubicBezTo>
                  <a:lnTo>
                    <a:pt x="3025" y="1418"/>
                  </a:lnTo>
                  <a:cubicBezTo>
                    <a:pt x="3214" y="1418"/>
                    <a:pt x="3372" y="1260"/>
                    <a:pt x="3372" y="1071"/>
                  </a:cubicBezTo>
                  <a:cubicBezTo>
                    <a:pt x="3466" y="851"/>
                    <a:pt x="3309" y="693"/>
                    <a:pt x="3120" y="693"/>
                  </a:cubicBezTo>
                  <a:lnTo>
                    <a:pt x="2080" y="693"/>
                  </a:lnTo>
                  <a:lnTo>
                    <a:pt x="2080" y="347"/>
                  </a:ln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78"/>
            <p:cNvSpPr/>
            <p:nvPr/>
          </p:nvSpPr>
          <p:spPr>
            <a:xfrm>
              <a:off x="-31165250" y="2298675"/>
              <a:ext cx="292225" cy="291900"/>
            </a:xfrm>
            <a:custGeom>
              <a:avLst/>
              <a:gdLst/>
              <a:ahLst/>
              <a:cxnLst/>
              <a:rect l="l" t="t" r="r" b="b"/>
              <a:pathLst>
                <a:path w="11689" h="11676" extrusionOk="0">
                  <a:moveTo>
                    <a:pt x="8192" y="630"/>
                  </a:moveTo>
                  <a:cubicBezTo>
                    <a:pt x="9704" y="630"/>
                    <a:pt x="10933" y="1859"/>
                    <a:pt x="10933" y="3403"/>
                  </a:cubicBezTo>
                  <a:cubicBezTo>
                    <a:pt x="10964" y="4947"/>
                    <a:pt x="9767" y="6144"/>
                    <a:pt x="8224" y="6144"/>
                  </a:cubicBezTo>
                  <a:cubicBezTo>
                    <a:pt x="7656" y="6144"/>
                    <a:pt x="7152" y="5986"/>
                    <a:pt x="6711" y="5671"/>
                  </a:cubicBezTo>
                  <a:cubicBezTo>
                    <a:pt x="6674" y="5634"/>
                    <a:pt x="6616" y="5619"/>
                    <a:pt x="6548" y="5619"/>
                  </a:cubicBezTo>
                  <a:cubicBezTo>
                    <a:pt x="6501" y="5619"/>
                    <a:pt x="6448" y="5627"/>
                    <a:pt x="6396" y="5640"/>
                  </a:cubicBezTo>
                  <a:lnTo>
                    <a:pt x="5609" y="5923"/>
                  </a:lnTo>
                  <a:lnTo>
                    <a:pt x="5861" y="4947"/>
                  </a:lnTo>
                  <a:cubicBezTo>
                    <a:pt x="5861" y="4852"/>
                    <a:pt x="5861" y="4789"/>
                    <a:pt x="5829" y="4695"/>
                  </a:cubicBezTo>
                  <a:cubicBezTo>
                    <a:pt x="5577" y="4317"/>
                    <a:pt x="5451" y="3844"/>
                    <a:pt x="5451" y="3403"/>
                  </a:cubicBezTo>
                  <a:cubicBezTo>
                    <a:pt x="5451" y="1859"/>
                    <a:pt x="6680" y="630"/>
                    <a:pt x="8192" y="630"/>
                  </a:cubicBezTo>
                  <a:close/>
                  <a:moveTo>
                    <a:pt x="3403" y="5545"/>
                  </a:moveTo>
                  <a:cubicBezTo>
                    <a:pt x="3970" y="5545"/>
                    <a:pt x="4474" y="5703"/>
                    <a:pt x="4916" y="5986"/>
                  </a:cubicBezTo>
                  <a:lnTo>
                    <a:pt x="4790" y="6490"/>
                  </a:lnTo>
                  <a:cubicBezTo>
                    <a:pt x="4758" y="6616"/>
                    <a:pt x="4790" y="6742"/>
                    <a:pt x="4916" y="6868"/>
                  </a:cubicBezTo>
                  <a:cubicBezTo>
                    <a:pt x="4960" y="6913"/>
                    <a:pt x="5052" y="6958"/>
                    <a:pt x="5146" y="6958"/>
                  </a:cubicBezTo>
                  <a:cubicBezTo>
                    <a:pt x="5186" y="6958"/>
                    <a:pt x="5225" y="6950"/>
                    <a:pt x="5262" y="6931"/>
                  </a:cubicBezTo>
                  <a:lnTo>
                    <a:pt x="5703" y="6774"/>
                  </a:lnTo>
                  <a:cubicBezTo>
                    <a:pt x="6018" y="7152"/>
                    <a:pt x="6176" y="7656"/>
                    <a:pt x="6176" y="8255"/>
                  </a:cubicBezTo>
                  <a:cubicBezTo>
                    <a:pt x="6176" y="8696"/>
                    <a:pt x="6050" y="9137"/>
                    <a:pt x="5829" y="9546"/>
                  </a:cubicBezTo>
                  <a:cubicBezTo>
                    <a:pt x="5766" y="9609"/>
                    <a:pt x="5766" y="9704"/>
                    <a:pt x="5766" y="9767"/>
                  </a:cubicBezTo>
                  <a:lnTo>
                    <a:pt x="6018" y="10775"/>
                  </a:lnTo>
                  <a:lnTo>
                    <a:pt x="5231" y="10491"/>
                  </a:lnTo>
                  <a:cubicBezTo>
                    <a:pt x="5178" y="10478"/>
                    <a:pt x="5126" y="10471"/>
                    <a:pt x="5078" y="10471"/>
                  </a:cubicBezTo>
                  <a:cubicBezTo>
                    <a:pt x="5011" y="10471"/>
                    <a:pt x="4952" y="10486"/>
                    <a:pt x="4916" y="10523"/>
                  </a:cubicBezTo>
                  <a:cubicBezTo>
                    <a:pt x="4474" y="10838"/>
                    <a:pt x="3939" y="10996"/>
                    <a:pt x="3403" y="10996"/>
                  </a:cubicBezTo>
                  <a:cubicBezTo>
                    <a:pt x="1891" y="10996"/>
                    <a:pt x="662" y="9767"/>
                    <a:pt x="662" y="8286"/>
                  </a:cubicBezTo>
                  <a:cubicBezTo>
                    <a:pt x="662" y="6774"/>
                    <a:pt x="1891" y="5545"/>
                    <a:pt x="3403" y="5545"/>
                  </a:cubicBezTo>
                  <a:close/>
                  <a:moveTo>
                    <a:pt x="8224" y="0"/>
                  </a:moveTo>
                  <a:cubicBezTo>
                    <a:pt x="6333" y="0"/>
                    <a:pt x="4790" y="1544"/>
                    <a:pt x="4790" y="3434"/>
                  </a:cubicBezTo>
                  <a:cubicBezTo>
                    <a:pt x="4790" y="3938"/>
                    <a:pt x="4916" y="4506"/>
                    <a:pt x="5136" y="4978"/>
                  </a:cubicBezTo>
                  <a:lnTo>
                    <a:pt x="5073" y="5262"/>
                  </a:lnTo>
                  <a:cubicBezTo>
                    <a:pt x="4569" y="4978"/>
                    <a:pt x="4002" y="4821"/>
                    <a:pt x="3435" y="4821"/>
                  </a:cubicBezTo>
                  <a:cubicBezTo>
                    <a:pt x="1513" y="4821"/>
                    <a:pt x="1" y="6364"/>
                    <a:pt x="1" y="8255"/>
                  </a:cubicBezTo>
                  <a:cubicBezTo>
                    <a:pt x="1" y="10113"/>
                    <a:pt x="1544" y="11657"/>
                    <a:pt x="3435" y="11657"/>
                  </a:cubicBezTo>
                  <a:cubicBezTo>
                    <a:pt x="4065" y="11657"/>
                    <a:pt x="4632" y="11500"/>
                    <a:pt x="5168" y="11185"/>
                  </a:cubicBezTo>
                  <a:lnTo>
                    <a:pt x="6365" y="11657"/>
                  </a:lnTo>
                  <a:cubicBezTo>
                    <a:pt x="6411" y="11669"/>
                    <a:pt x="6457" y="11676"/>
                    <a:pt x="6503" y="11676"/>
                  </a:cubicBezTo>
                  <a:cubicBezTo>
                    <a:pt x="6583" y="11676"/>
                    <a:pt x="6663" y="11654"/>
                    <a:pt x="6743" y="11594"/>
                  </a:cubicBezTo>
                  <a:cubicBezTo>
                    <a:pt x="6806" y="11500"/>
                    <a:pt x="6837" y="11405"/>
                    <a:pt x="6837" y="11248"/>
                  </a:cubicBezTo>
                  <a:lnTo>
                    <a:pt x="6491" y="9767"/>
                  </a:lnTo>
                  <a:cubicBezTo>
                    <a:pt x="6743" y="9294"/>
                    <a:pt x="6837" y="8790"/>
                    <a:pt x="6837" y="8255"/>
                  </a:cubicBezTo>
                  <a:cubicBezTo>
                    <a:pt x="6837" y="7625"/>
                    <a:pt x="6648" y="6994"/>
                    <a:pt x="6333" y="6427"/>
                  </a:cubicBezTo>
                  <a:lnTo>
                    <a:pt x="6459" y="6396"/>
                  </a:lnTo>
                  <a:cubicBezTo>
                    <a:pt x="6963" y="6711"/>
                    <a:pt x="7593" y="6868"/>
                    <a:pt x="8192" y="6868"/>
                  </a:cubicBezTo>
                  <a:cubicBezTo>
                    <a:pt x="10082" y="6868"/>
                    <a:pt x="11626" y="5325"/>
                    <a:pt x="11626" y="3434"/>
                  </a:cubicBezTo>
                  <a:cubicBezTo>
                    <a:pt x="11689" y="1544"/>
                    <a:pt x="10114" y="0"/>
                    <a:pt x="82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3" name="Google Shape;10013;p78"/>
            <p:cNvSpPr/>
            <p:nvPr/>
          </p:nvSpPr>
          <p:spPr>
            <a:xfrm>
              <a:off x="-31115625" y="2452250"/>
              <a:ext cx="70900" cy="104150"/>
            </a:xfrm>
            <a:custGeom>
              <a:avLst/>
              <a:gdLst/>
              <a:ahLst/>
              <a:cxnLst/>
              <a:rect l="l" t="t" r="r" b="b"/>
              <a:pathLst>
                <a:path w="2836" h="4166" extrusionOk="0">
                  <a:moveTo>
                    <a:pt x="1481" y="1576"/>
                  </a:moveTo>
                  <a:lnTo>
                    <a:pt x="1639" y="2112"/>
                  </a:lnTo>
                  <a:lnTo>
                    <a:pt x="1324" y="2112"/>
                  </a:lnTo>
                  <a:lnTo>
                    <a:pt x="1481" y="1576"/>
                  </a:lnTo>
                  <a:close/>
                  <a:moveTo>
                    <a:pt x="1418" y="1"/>
                  </a:moveTo>
                  <a:cubicBezTo>
                    <a:pt x="1261" y="1"/>
                    <a:pt x="1166" y="127"/>
                    <a:pt x="1103" y="253"/>
                  </a:cubicBezTo>
                  <a:lnTo>
                    <a:pt x="568" y="2049"/>
                  </a:lnTo>
                  <a:lnTo>
                    <a:pt x="410" y="2049"/>
                  </a:lnTo>
                  <a:cubicBezTo>
                    <a:pt x="221" y="2049"/>
                    <a:pt x="64" y="2206"/>
                    <a:pt x="64" y="2427"/>
                  </a:cubicBezTo>
                  <a:cubicBezTo>
                    <a:pt x="64" y="2584"/>
                    <a:pt x="158" y="2742"/>
                    <a:pt x="316" y="2773"/>
                  </a:cubicBezTo>
                  <a:lnTo>
                    <a:pt x="64" y="3718"/>
                  </a:lnTo>
                  <a:cubicBezTo>
                    <a:pt x="1" y="3907"/>
                    <a:pt x="95" y="4065"/>
                    <a:pt x="284" y="4159"/>
                  </a:cubicBezTo>
                  <a:cubicBezTo>
                    <a:pt x="308" y="4163"/>
                    <a:pt x="332" y="4165"/>
                    <a:pt x="355" y="4165"/>
                  </a:cubicBezTo>
                  <a:cubicBezTo>
                    <a:pt x="512" y="4165"/>
                    <a:pt x="643" y="4072"/>
                    <a:pt x="725" y="3907"/>
                  </a:cubicBezTo>
                  <a:lnTo>
                    <a:pt x="1072" y="2773"/>
                  </a:lnTo>
                  <a:lnTo>
                    <a:pt x="1796" y="2773"/>
                  </a:lnTo>
                  <a:lnTo>
                    <a:pt x="2143" y="3907"/>
                  </a:lnTo>
                  <a:cubicBezTo>
                    <a:pt x="2170" y="4072"/>
                    <a:pt x="2318" y="4165"/>
                    <a:pt x="2502" y="4165"/>
                  </a:cubicBezTo>
                  <a:cubicBezTo>
                    <a:pt x="2528" y="4165"/>
                    <a:pt x="2556" y="4163"/>
                    <a:pt x="2584" y="4159"/>
                  </a:cubicBezTo>
                  <a:cubicBezTo>
                    <a:pt x="2773" y="4096"/>
                    <a:pt x="2836" y="3907"/>
                    <a:pt x="2805" y="3718"/>
                  </a:cubicBezTo>
                  <a:lnTo>
                    <a:pt x="2521" y="2773"/>
                  </a:lnTo>
                  <a:cubicBezTo>
                    <a:pt x="2678" y="2742"/>
                    <a:pt x="2805" y="2616"/>
                    <a:pt x="2805" y="2427"/>
                  </a:cubicBezTo>
                  <a:cubicBezTo>
                    <a:pt x="2805" y="2206"/>
                    <a:pt x="2647" y="2049"/>
                    <a:pt x="2458" y="2049"/>
                  </a:cubicBezTo>
                  <a:lnTo>
                    <a:pt x="2300" y="2049"/>
                  </a:lnTo>
                  <a:lnTo>
                    <a:pt x="1733" y="253"/>
                  </a:lnTo>
                  <a:cubicBezTo>
                    <a:pt x="1702" y="95"/>
                    <a:pt x="157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4" name="Google Shape;10014;p78"/>
          <p:cNvGrpSpPr/>
          <p:nvPr/>
        </p:nvGrpSpPr>
        <p:grpSpPr>
          <a:xfrm>
            <a:off x="3082542" y="3843949"/>
            <a:ext cx="353557" cy="353557"/>
            <a:chOff x="-31164450" y="2657050"/>
            <a:chExt cx="291425" cy="291425"/>
          </a:xfrm>
        </p:grpSpPr>
        <p:sp>
          <p:nvSpPr>
            <p:cNvPr id="10015" name="Google Shape;10015;p78"/>
            <p:cNvSpPr/>
            <p:nvPr/>
          </p:nvSpPr>
          <p:spPr>
            <a:xfrm>
              <a:off x="-31028975" y="2761000"/>
              <a:ext cx="18125" cy="17350"/>
            </a:xfrm>
            <a:custGeom>
              <a:avLst/>
              <a:gdLst/>
              <a:ahLst/>
              <a:cxnLst/>
              <a:rect l="l" t="t" r="r" b="b"/>
              <a:pathLst>
                <a:path w="725" h="694" extrusionOk="0">
                  <a:moveTo>
                    <a:pt x="378" y="1"/>
                  </a:moveTo>
                  <a:cubicBezTo>
                    <a:pt x="158" y="1"/>
                    <a:pt x="0" y="158"/>
                    <a:pt x="0" y="347"/>
                  </a:cubicBezTo>
                  <a:cubicBezTo>
                    <a:pt x="63" y="536"/>
                    <a:pt x="221"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78"/>
            <p:cNvSpPr/>
            <p:nvPr/>
          </p:nvSpPr>
          <p:spPr>
            <a:xfrm>
              <a:off x="-31028975" y="2794075"/>
              <a:ext cx="18125" cy="52025"/>
            </a:xfrm>
            <a:custGeom>
              <a:avLst/>
              <a:gdLst/>
              <a:ahLst/>
              <a:cxnLst/>
              <a:rect l="l" t="t" r="r" b="b"/>
              <a:pathLst>
                <a:path w="725" h="2081" extrusionOk="0">
                  <a:moveTo>
                    <a:pt x="378" y="1"/>
                  </a:moveTo>
                  <a:cubicBezTo>
                    <a:pt x="158" y="1"/>
                    <a:pt x="0" y="158"/>
                    <a:pt x="0" y="347"/>
                  </a:cubicBezTo>
                  <a:lnTo>
                    <a:pt x="0" y="1734"/>
                  </a:lnTo>
                  <a:cubicBezTo>
                    <a:pt x="63" y="1923"/>
                    <a:pt x="221" y="2080"/>
                    <a:pt x="378" y="2080"/>
                  </a:cubicBezTo>
                  <a:cubicBezTo>
                    <a:pt x="567" y="2080"/>
                    <a:pt x="725" y="1923"/>
                    <a:pt x="725" y="1734"/>
                  </a:cubicBezTo>
                  <a:lnTo>
                    <a:pt x="725" y="347"/>
                  </a:ln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78"/>
            <p:cNvSpPr/>
            <p:nvPr/>
          </p:nvSpPr>
          <p:spPr>
            <a:xfrm>
              <a:off x="-31164450" y="2657050"/>
              <a:ext cx="291425" cy="291425"/>
            </a:xfrm>
            <a:custGeom>
              <a:avLst/>
              <a:gdLst/>
              <a:ahLst/>
              <a:cxnLst/>
              <a:rect l="l" t="t" r="r" b="b"/>
              <a:pathLst>
                <a:path w="11657" h="11657" extrusionOk="0">
                  <a:moveTo>
                    <a:pt x="1323" y="4852"/>
                  </a:moveTo>
                  <a:lnTo>
                    <a:pt x="1323" y="8286"/>
                  </a:lnTo>
                  <a:lnTo>
                    <a:pt x="977" y="8286"/>
                  </a:lnTo>
                  <a:cubicBezTo>
                    <a:pt x="788" y="8286"/>
                    <a:pt x="630" y="8128"/>
                    <a:pt x="630" y="7939"/>
                  </a:cubicBezTo>
                  <a:lnTo>
                    <a:pt x="630" y="5198"/>
                  </a:lnTo>
                  <a:cubicBezTo>
                    <a:pt x="630" y="5009"/>
                    <a:pt x="788" y="4852"/>
                    <a:pt x="977" y="4852"/>
                  </a:cubicBezTo>
                  <a:close/>
                  <a:moveTo>
                    <a:pt x="10554" y="4852"/>
                  </a:moveTo>
                  <a:cubicBezTo>
                    <a:pt x="10743" y="4852"/>
                    <a:pt x="10901" y="5009"/>
                    <a:pt x="10901" y="5198"/>
                  </a:cubicBezTo>
                  <a:lnTo>
                    <a:pt x="10901" y="7939"/>
                  </a:lnTo>
                  <a:lnTo>
                    <a:pt x="10932" y="7939"/>
                  </a:lnTo>
                  <a:cubicBezTo>
                    <a:pt x="10932" y="8128"/>
                    <a:pt x="10775" y="8286"/>
                    <a:pt x="10586" y="8286"/>
                  </a:cubicBezTo>
                  <a:lnTo>
                    <a:pt x="10239" y="8286"/>
                  </a:lnTo>
                  <a:lnTo>
                    <a:pt x="10239" y="4852"/>
                  </a:lnTo>
                  <a:close/>
                  <a:moveTo>
                    <a:pt x="5797" y="10302"/>
                  </a:moveTo>
                  <a:cubicBezTo>
                    <a:pt x="5986" y="10302"/>
                    <a:pt x="6144" y="10460"/>
                    <a:pt x="6144" y="10649"/>
                  </a:cubicBezTo>
                  <a:cubicBezTo>
                    <a:pt x="6144" y="10838"/>
                    <a:pt x="5986" y="10995"/>
                    <a:pt x="5797" y="10995"/>
                  </a:cubicBezTo>
                  <a:cubicBezTo>
                    <a:pt x="5577" y="10995"/>
                    <a:pt x="5419" y="10838"/>
                    <a:pt x="5419" y="10649"/>
                  </a:cubicBezTo>
                  <a:cubicBezTo>
                    <a:pt x="5419" y="10460"/>
                    <a:pt x="5577" y="10302"/>
                    <a:pt x="5797" y="10302"/>
                  </a:cubicBezTo>
                  <a:close/>
                  <a:moveTo>
                    <a:pt x="5829" y="0"/>
                  </a:moveTo>
                  <a:cubicBezTo>
                    <a:pt x="3371" y="0"/>
                    <a:pt x="1260" y="1796"/>
                    <a:pt x="788" y="4190"/>
                  </a:cubicBezTo>
                  <a:cubicBezTo>
                    <a:pt x="347" y="4316"/>
                    <a:pt x="0" y="4694"/>
                    <a:pt x="0" y="5167"/>
                  </a:cubicBezTo>
                  <a:lnTo>
                    <a:pt x="0" y="7876"/>
                  </a:lnTo>
                  <a:cubicBezTo>
                    <a:pt x="0" y="8443"/>
                    <a:pt x="473" y="8916"/>
                    <a:pt x="1008" y="8916"/>
                  </a:cubicBezTo>
                  <a:lnTo>
                    <a:pt x="1702" y="8916"/>
                  </a:lnTo>
                  <a:cubicBezTo>
                    <a:pt x="1891" y="8916"/>
                    <a:pt x="2048" y="8758"/>
                    <a:pt x="2048" y="8569"/>
                  </a:cubicBezTo>
                  <a:lnTo>
                    <a:pt x="2048" y="4474"/>
                  </a:lnTo>
                  <a:cubicBezTo>
                    <a:pt x="2048" y="4253"/>
                    <a:pt x="1891" y="4096"/>
                    <a:pt x="1702" y="4096"/>
                  </a:cubicBezTo>
                  <a:lnTo>
                    <a:pt x="1449" y="4096"/>
                  </a:lnTo>
                  <a:cubicBezTo>
                    <a:pt x="1922" y="2111"/>
                    <a:pt x="3749" y="630"/>
                    <a:pt x="5797" y="630"/>
                  </a:cubicBezTo>
                  <a:cubicBezTo>
                    <a:pt x="7876" y="630"/>
                    <a:pt x="9641" y="2079"/>
                    <a:pt x="10113" y="4096"/>
                  </a:cubicBezTo>
                  <a:lnTo>
                    <a:pt x="9893" y="4096"/>
                  </a:lnTo>
                  <a:cubicBezTo>
                    <a:pt x="9672" y="4096"/>
                    <a:pt x="9515" y="4253"/>
                    <a:pt x="9515" y="4474"/>
                  </a:cubicBezTo>
                  <a:lnTo>
                    <a:pt x="9515" y="8569"/>
                  </a:lnTo>
                  <a:cubicBezTo>
                    <a:pt x="9515" y="8758"/>
                    <a:pt x="9672" y="8916"/>
                    <a:pt x="9893" y="8916"/>
                  </a:cubicBezTo>
                  <a:lnTo>
                    <a:pt x="10208" y="8916"/>
                  </a:lnTo>
                  <a:cubicBezTo>
                    <a:pt x="10050" y="9704"/>
                    <a:pt x="9326" y="10302"/>
                    <a:pt x="8507" y="10302"/>
                  </a:cubicBezTo>
                  <a:lnTo>
                    <a:pt x="6742" y="10302"/>
                  </a:lnTo>
                  <a:cubicBezTo>
                    <a:pt x="6585" y="9893"/>
                    <a:pt x="6207" y="9609"/>
                    <a:pt x="5734" y="9609"/>
                  </a:cubicBezTo>
                  <a:cubicBezTo>
                    <a:pt x="5199" y="9609"/>
                    <a:pt x="4726" y="10082"/>
                    <a:pt x="4726" y="10649"/>
                  </a:cubicBezTo>
                  <a:cubicBezTo>
                    <a:pt x="4726" y="11184"/>
                    <a:pt x="5199" y="11657"/>
                    <a:pt x="5734" y="11657"/>
                  </a:cubicBezTo>
                  <a:cubicBezTo>
                    <a:pt x="6175" y="11657"/>
                    <a:pt x="6585" y="11405"/>
                    <a:pt x="6742" y="10995"/>
                  </a:cubicBezTo>
                  <a:lnTo>
                    <a:pt x="8507" y="10995"/>
                  </a:lnTo>
                  <a:cubicBezTo>
                    <a:pt x="9735" y="10995"/>
                    <a:pt x="10743" y="10082"/>
                    <a:pt x="10869" y="8916"/>
                  </a:cubicBezTo>
                  <a:cubicBezTo>
                    <a:pt x="11248" y="8790"/>
                    <a:pt x="11563" y="8412"/>
                    <a:pt x="11563" y="7939"/>
                  </a:cubicBezTo>
                  <a:lnTo>
                    <a:pt x="11563" y="5198"/>
                  </a:lnTo>
                  <a:cubicBezTo>
                    <a:pt x="11657" y="4694"/>
                    <a:pt x="11311" y="4316"/>
                    <a:pt x="10869" y="4190"/>
                  </a:cubicBezTo>
                  <a:cubicBezTo>
                    <a:pt x="10397" y="1796"/>
                    <a:pt x="8255"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78"/>
            <p:cNvSpPr/>
            <p:nvPr/>
          </p:nvSpPr>
          <p:spPr>
            <a:xfrm>
              <a:off x="-31097500" y="2727125"/>
              <a:ext cx="156750" cy="153925"/>
            </a:xfrm>
            <a:custGeom>
              <a:avLst/>
              <a:gdLst/>
              <a:ahLst/>
              <a:cxnLst/>
              <a:rect l="l" t="t" r="r" b="b"/>
              <a:pathLst>
                <a:path w="6270" h="6157" extrusionOk="0">
                  <a:moveTo>
                    <a:pt x="3119" y="663"/>
                  </a:moveTo>
                  <a:cubicBezTo>
                    <a:pt x="4442" y="663"/>
                    <a:pt x="5514" y="1734"/>
                    <a:pt x="5514" y="3088"/>
                  </a:cubicBezTo>
                  <a:cubicBezTo>
                    <a:pt x="5514" y="4412"/>
                    <a:pt x="4411" y="5483"/>
                    <a:pt x="3119" y="5483"/>
                  </a:cubicBezTo>
                  <a:cubicBezTo>
                    <a:pt x="2647" y="5483"/>
                    <a:pt x="2206" y="5357"/>
                    <a:pt x="1796" y="5136"/>
                  </a:cubicBezTo>
                  <a:cubicBezTo>
                    <a:pt x="1750" y="5090"/>
                    <a:pt x="1670" y="5061"/>
                    <a:pt x="1606" y="5061"/>
                  </a:cubicBezTo>
                  <a:cubicBezTo>
                    <a:pt x="1582" y="5061"/>
                    <a:pt x="1561" y="5065"/>
                    <a:pt x="1544" y="5073"/>
                  </a:cubicBezTo>
                  <a:lnTo>
                    <a:pt x="914" y="5294"/>
                  </a:lnTo>
                  <a:lnTo>
                    <a:pt x="1103" y="4664"/>
                  </a:lnTo>
                  <a:cubicBezTo>
                    <a:pt x="1134" y="4569"/>
                    <a:pt x="1103" y="4443"/>
                    <a:pt x="1071" y="4380"/>
                  </a:cubicBezTo>
                  <a:cubicBezTo>
                    <a:pt x="819" y="3971"/>
                    <a:pt x="693" y="3561"/>
                    <a:pt x="693" y="3120"/>
                  </a:cubicBezTo>
                  <a:cubicBezTo>
                    <a:pt x="693" y="1734"/>
                    <a:pt x="1796" y="663"/>
                    <a:pt x="3119" y="663"/>
                  </a:cubicBezTo>
                  <a:close/>
                  <a:moveTo>
                    <a:pt x="3151" y="1"/>
                  </a:moveTo>
                  <a:cubicBezTo>
                    <a:pt x="1449" y="1"/>
                    <a:pt x="32" y="1387"/>
                    <a:pt x="32" y="3057"/>
                  </a:cubicBezTo>
                  <a:cubicBezTo>
                    <a:pt x="32" y="3593"/>
                    <a:pt x="158" y="4097"/>
                    <a:pt x="441" y="4569"/>
                  </a:cubicBezTo>
                  <a:lnTo>
                    <a:pt x="32" y="5703"/>
                  </a:lnTo>
                  <a:cubicBezTo>
                    <a:pt x="0" y="5829"/>
                    <a:pt x="32" y="5955"/>
                    <a:pt x="126" y="6081"/>
                  </a:cubicBezTo>
                  <a:cubicBezTo>
                    <a:pt x="172" y="6128"/>
                    <a:pt x="269" y="6157"/>
                    <a:pt x="367" y="6157"/>
                  </a:cubicBezTo>
                  <a:cubicBezTo>
                    <a:pt x="403" y="6157"/>
                    <a:pt x="439" y="6153"/>
                    <a:pt x="473" y="6144"/>
                  </a:cubicBezTo>
                  <a:lnTo>
                    <a:pt x="1607" y="5735"/>
                  </a:lnTo>
                  <a:cubicBezTo>
                    <a:pt x="2080" y="5987"/>
                    <a:pt x="2584" y="6144"/>
                    <a:pt x="3151" y="6144"/>
                  </a:cubicBezTo>
                  <a:cubicBezTo>
                    <a:pt x="4852" y="6144"/>
                    <a:pt x="6270" y="4758"/>
                    <a:pt x="6270" y="3057"/>
                  </a:cubicBezTo>
                  <a:cubicBezTo>
                    <a:pt x="6270" y="1387"/>
                    <a:pt x="4883"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19" name="Google Shape;10019;p78"/>
          <p:cNvSpPr/>
          <p:nvPr/>
        </p:nvSpPr>
        <p:spPr>
          <a:xfrm>
            <a:off x="2188967" y="4264670"/>
            <a:ext cx="355498" cy="352617"/>
          </a:xfrm>
          <a:custGeom>
            <a:avLst/>
            <a:gdLst/>
            <a:ahLst/>
            <a:cxnLst/>
            <a:rect l="l" t="t" r="r" b="b"/>
            <a:pathLst>
              <a:path w="11721" h="11626" extrusionOk="0">
                <a:moveTo>
                  <a:pt x="8570" y="694"/>
                </a:moveTo>
                <a:cubicBezTo>
                  <a:pt x="9106" y="694"/>
                  <a:pt x="9578" y="1166"/>
                  <a:pt x="9578" y="1702"/>
                </a:cubicBezTo>
                <a:cubicBezTo>
                  <a:pt x="9578" y="2269"/>
                  <a:pt x="9106" y="2773"/>
                  <a:pt x="8570" y="2773"/>
                </a:cubicBezTo>
                <a:cubicBezTo>
                  <a:pt x="8003" y="2773"/>
                  <a:pt x="7530" y="2269"/>
                  <a:pt x="7530" y="1702"/>
                </a:cubicBezTo>
                <a:cubicBezTo>
                  <a:pt x="7530" y="1166"/>
                  <a:pt x="8003" y="694"/>
                  <a:pt x="8570" y="694"/>
                </a:cubicBezTo>
                <a:close/>
                <a:moveTo>
                  <a:pt x="8570" y="3403"/>
                </a:moveTo>
                <a:cubicBezTo>
                  <a:pt x="9893" y="3403"/>
                  <a:pt x="10964" y="4474"/>
                  <a:pt x="10964" y="5798"/>
                </a:cubicBezTo>
                <a:lnTo>
                  <a:pt x="10964" y="6144"/>
                </a:lnTo>
                <a:lnTo>
                  <a:pt x="6144" y="6144"/>
                </a:lnTo>
                <a:lnTo>
                  <a:pt x="6144" y="5798"/>
                </a:lnTo>
                <a:cubicBezTo>
                  <a:pt x="6144" y="4443"/>
                  <a:pt x="7215" y="3403"/>
                  <a:pt x="8570" y="3403"/>
                </a:cubicBezTo>
                <a:close/>
                <a:moveTo>
                  <a:pt x="3057" y="5483"/>
                </a:moveTo>
                <a:cubicBezTo>
                  <a:pt x="3592" y="5483"/>
                  <a:pt x="4096" y="5955"/>
                  <a:pt x="4096" y="6491"/>
                </a:cubicBezTo>
                <a:cubicBezTo>
                  <a:pt x="4096" y="7058"/>
                  <a:pt x="3624" y="7530"/>
                  <a:pt x="3057" y="7530"/>
                </a:cubicBezTo>
                <a:cubicBezTo>
                  <a:pt x="2490" y="7530"/>
                  <a:pt x="2017" y="7089"/>
                  <a:pt x="2017" y="6491"/>
                </a:cubicBezTo>
                <a:cubicBezTo>
                  <a:pt x="2017" y="5955"/>
                  <a:pt x="2490" y="5483"/>
                  <a:pt x="3057" y="5483"/>
                </a:cubicBezTo>
                <a:close/>
                <a:moveTo>
                  <a:pt x="10964" y="6869"/>
                </a:moveTo>
                <a:lnTo>
                  <a:pt x="10964" y="7530"/>
                </a:lnTo>
                <a:lnTo>
                  <a:pt x="4411" y="7530"/>
                </a:lnTo>
                <a:cubicBezTo>
                  <a:pt x="4569" y="7341"/>
                  <a:pt x="4695" y="7089"/>
                  <a:pt x="4726" y="6869"/>
                </a:cubicBezTo>
                <a:close/>
                <a:moveTo>
                  <a:pt x="3088" y="8255"/>
                </a:moveTo>
                <a:cubicBezTo>
                  <a:pt x="4411" y="8255"/>
                  <a:pt x="5514" y="9295"/>
                  <a:pt x="5514" y="10649"/>
                </a:cubicBezTo>
                <a:lnTo>
                  <a:pt x="5514" y="10996"/>
                </a:lnTo>
                <a:lnTo>
                  <a:pt x="694" y="10996"/>
                </a:lnTo>
                <a:lnTo>
                  <a:pt x="694" y="10649"/>
                </a:lnTo>
                <a:cubicBezTo>
                  <a:pt x="694" y="9295"/>
                  <a:pt x="1733" y="8255"/>
                  <a:pt x="3088" y="8255"/>
                </a:cubicBezTo>
                <a:close/>
                <a:moveTo>
                  <a:pt x="10933" y="8286"/>
                </a:moveTo>
                <a:lnTo>
                  <a:pt x="10933" y="10996"/>
                </a:lnTo>
                <a:lnTo>
                  <a:pt x="6144" y="10996"/>
                </a:lnTo>
                <a:lnTo>
                  <a:pt x="6144" y="10649"/>
                </a:lnTo>
                <a:cubicBezTo>
                  <a:pt x="6144" y="9830"/>
                  <a:pt x="5829" y="9074"/>
                  <a:pt x="5199" y="8476"/>
                </a:cubicBezTo>
                <a:cubicBezTo>
                  <a:pt x="5136" y="8412"/>
                  <a:pt x="5041" y="8318"/>
                  <a:pt x="4978" y="8286"/>
                </a:cubicBezTo>
                <a:close/>
                <a:moveTo>
                  <a:pt x="8602" y="1"/>
                </a:moveTo>
                <a:cubicBezTo>
                  <a:pt x="7656" y="1"/>
                  <a:pt x="6900" y="757"/>
                  <a:pt x="6900" y="1702"/>
                </a:cubicBezTo>
                <a:cubicBezTo>
                  <a:pt x="6900" y="2175"/>
                  <a:pt x="7058" y="2616"/>
                  <a:pt x="7404" y="2931"/>
                </a:cubicBezTo>
                <a:lnTo>
                  <a:pt x="7467" y="2962"/>
                </a:lnTo>
                <a:cubicBezTo>
                  <a:pt x="6302" y="3435"/>
                  <a:pt x="5514" y="4537"/>
                  <a:pt x="5514" y="5798"/>
                </a:cubicBezTo>
                <a:lnTo>
                  <a:pt x="5514" y="6144"/>
                </a:lnTo>
                <a:lnTo>
                  <a:pt x="4789" y="6144"/>
                </a:lnTo>
                <a:cubicBezTo>
                  <a:pt x="4632" y="5420"/>
                  <a:pt x="3907" y="4789"/>
                  <a:pt x="3088" y="4789"/>
                </a:cubicBezTo>
                <a:cubicBezTo>
                  <a:pt x="2143" y="4789"/>
                  <a:pt x="1387" y="5514"/>
                  <a:pt x="1387" y="6459"/>
                </a:cubicBezTo>
                <a:cubicBezTo>
                  <a:pt x="1387" y="6995"/>
                  <a:pt x="1576" y="7404"/>
                  <a:pt x="1954" y="7719"/>
                </a:cubicBezTo>
                <a:cubicBezTo>
                  <a:pt x="788" y="8192"/>
                  <a:pt x="1" y="9295"/>
                  <a:pt x="1" y="10555"/>
                </a:cubicBezTo>
                <a:lnTo>
                  <a:pt x="1" y="11279"/>
                </a:lnTo>
                <a:cubicBezTo>
                  <a:pt x="1" y="11468"/>
                  <a:pt x="158" y="11626"/>
                  <a:pt x="379" y="11626"/>
                </a:cubicBezTo>
                <a:lnTo>
                  <a:pt x="11342" y="11626"/>
                </a:lnTo>
                <a:cubicBezTo>
                  <a:pt x="11563" y="11626"/>
                  <a:pt x="11721" y="11468"/>
                  <a:pt x="11721" y="11279"/>
                </a:cubicBezTo>
                <a:lnTo>
                  <a:pt x="11721" y="5798"/>
                </a:lnTo>
                <a:cubicBezTo>
                  <a:pt x="11626" y="4537"/>
                  <a:pt x="10838" y="3435"/>
                  <a:pt x="9736" y="2962"/>
                </a:cubicBezTo>
                <a:lnTo>
                  <a:pt x="9767" y="2931"/>
                </a:lnTo>
                <a:cubicBezTo>
                  <a:pt x="10082" y="2616"/>
                  <a:pt x="10303" y="2175"/>
                  <a:pt x="10303" y="1702"/>
                </a:cubicBezTo>
                <a:cubicBezTo>
                  <a:pt x="10303" y="757"/>
                  <a:pt x="9547" y="1"/>
                  <a:pt x="86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20" name="Google Shape;10020;p78"/>
          <p:cNvGrpSpPr/>
          <p:nvPr/>
        </p:nvGrpSpPr>
        <p:grpSpPr>
          <a:xfrm>
            <a:off x="2632987" y="1535178"/>
            <a:ext cx="358349" cy="354285"/>
            <a:chOff x="-34421275" y="1912725"/>
            <a:chExt cx="295375" cy="292025"/>
          </a:xfrm>
        </p:grpSpPr>
        <p:sp>
          <p:nvSpPr>
            <p:cNvPr id="10021" name="Google Shape;10021;p78"/>
            <p:cNvSpPr/>
            <p:nvPr/>
          </p:nvSpPr>
          <p:spPr>
            <a:xfrm>
              <a:off x="-34421275" y="1974375"/>
              <a:ext cx="236300" cy="230375"/>
            </a:xfrm>
            <a:custGeom>
              <a:avLst/>
              <a:gdLst/>
              <a:ahLst/>
              <a:cxnLst/>
              <a:rect l="l" t="t" r="r" b="b"/>
              <a:pathLst>
                <a:path w="9452" h="9215" extrusionOk="0">
                  <a:moveTo>
                    <a:pt x="2158" y="725"/>
                  </a:moveTo>
                  <a:cubicBezTo>
                    <a:pt x="2245" y="725"/>
                    <a:pt x="2332" y="764"/>
                    <a:pt x="2395" y="843"/>
                  </a:cubicBezTo>
                  <a:lnTo>
                    <a:pt x="3371" y="1851"/>
                  </a:lnTo>
                  <a:cubicBezTo>
                    <a:pt x="3497" y="1946"/>
                    <a:pt x="3497" y="2198"/>
                    <a:pt x="3371" y="2324"/>
                  </a:cubicBezTo>
                  <a:lnTo>
                    <a:pt x="3151" y="2544"/>
                  </a:lnTo>
                  <a:lnTo>
                    <a:pt x="1702" y="1095"/>
                  </a:lnTo>
                  <a:lnTo>
                    <a:pt x="1922" y="843"/>
                  </a:lnTo>
                  <a:cubicBezTo>
                    <a:pt x="1985" y="764"/>
                    <a:pt x="2072" y="725"/>
                    <a:pt x="2158" y="725"/>
                  </a:cubicBezTo>
                  <a:close/>
                  <a:moveTo>
                    <a:pt x="7345" y="5884"/>
                  </a:moveTo>
                  <a:cubicBezTo>
                    <a:pt x="7428" y="5884"/>
                    <a:pt x="7514" y="5915"/>
                    <a:pt x="7593" y="5978"/>
                  </a:cubicBezTo>
                  <a:lnTo>
                    <a:pt x="8570" y="6955"/>
                  </a:lnTo>
                  <a:cubicBezTo>
                    <a:pt x="8696" y="7081"/>
                    <a:pt x="8696" y="7301"/>
                    <a:pt x="8570" y="7428"/>
                  </a:cubicBezTo>
                  <a:lnTo>
                    <a:pt x="8349" y="7648"/>
                  </a:lnTo>
                  <a:lnTo>
                    <a:pt x="6900" y="6199"/>
                  </a:lnTo>
                  <a:lnTo>
                    <a:pt x="7120" y="5978"/>
                  </a:lnTo>
                  <a:cubicBezTo>
                    <a:pt x="7183" y="5915"/>
                    <a:pt x="7262" y="5884"/>
                    <a:pt x="7345" y="5884"/>
                  </a:cubicBezTo>
                  <a:close/>
                  <a:moveTo>
                    <a:pt x="1166" y="1568"/>
                  </a:moveTo>
                  <a:lnTo>
                    <a:pt x="2678" y="3048"/>
                  </a:lnTo>
                  <a:cubicBezTo>
                    <a:pt x="2521" y="3426"/>
                    <a:pt x="2584" y="3867"/>
                    <a:pt x="2867" y="4214"/>
                  </a:cubicBezTo>
                  <a:lnTo>
                    <a:pt x="5104" y="6451"/>
                  </a:lnTo>
                  <a:cubicBezTo>
                    <a:pt x="5301" y="6648"/>
                    <a:pt x="5559" y="6746"/>
                    <a:pt x="5826" y="6746"/>
                  </a:cubicBezTo>
                  <a:cubicBezTo>
                    <a:pt x="5985" y="6746"/>
                    <a:pt x="6148" y="6711"/>
                    <a:pt x="6301" y="6640"/>
                  </a:cubicBezTo>
                  <a:lnTo>
                    <a:pt x="7782" y="8152"/>
                  </a:lnTo>
                  <a:lnTo>
                    <a:pt x="7719" y="8215"/>
                  </a:lnTo>
                  <a:cubicBezTo>
                    <a:pt x="7522" y="8412"/>
                    <a:pt x="7264" y="8510"/>
                    <a:pt x="6997" y="8510"/>
                  </a:cubicBezTo>
                  <a:cubicBezTo>
                    <a:pt x="6838" y="8510"/>
                    <a:pt x="6675" y="8475"/>
                    <a:pt x="6522" y="8404"/>
                  </a:cubicBezTo>
                  <a:cubicBezTo>
                    <a:pt x="4348" y="7301"/>
                    <a:pt x="1891" y="4876"/>
                    <a:pt x="851" y="2796"/>
                  </a:cubicBezTo>
                  <a:cubicBezTo>
                    <a:pt x="693" y="2418"/>
                    <a:pt x="788" y="1946"/>
                    <a:pt x="1103" y="1631"/>
                  </a:cubicBezTo>
                  <a:lnTo>
                    <a:pt x="1166" y="1568"/>
                  </a:lnTo>
                  <a:close/>
                  <a:moveTo>
                    <a:pt x="2190" y="0"/>
                  </a:moveTo>
                  <a:cubicBezTo>
                    <a:pt x="1922" y="0"/>
                    <a:pt x="1654" y="103"/>
                    <a:pt x="1449" y="307"/>
                  </a:cubicBezTo>
                  <a:lnTo>
                    <a:pt x="662" y="1095"/>
                  </a:lnTo>
                  <a:cubicBezTo>
                    <a:pt x="158" y="1599"/>
                    <a:pt x="0" y="2387"/>
                    <a:pt x="315" y="3017"/>
                  </a:cubicBezTo>
                  <a:cubicBezTo>
                    <a:pt x="1386" y="5348"/>
                    <a:pt x="3907" y="7869"/>
                    <a:pt x="6270" y="9034"/>
                  </a:cubicBezTo>
                  <a:cubicBezTo>
                    <a:pt x="6521" y="9154"/>
                    <a:pt x="6789" y="9214"/>
                    <a:pt x="7054" y="9214"/>
                  </a:cubicBezTo>
                  <a:cubicBezTo>
                    <a:pt x="7488" y="9214"/>
                    <a:pt x="7910" y="9052"/>
                    <a:pt x="8223" y="8719"/>
                  </a:cubicBezTo>
                  <a:lnTo>
                    <a:pt x="9042" y="7900"/>
                  </a:lnTo>
                  <a:cubicBezTo>
                    <a:pt x="9452" y="7522"/>
                    <a:pt x="9452" y="6829"/>
                    <a:pt x="9042" y="6451"/>
                  </a:cubicBezTo>
                  <a:lnTo>
                    <a:pt x="8066" y="5474"/>
                  </a:lnTo>
                  <a:cubicBezTo>
                    <a:pt x="7876" y="5269"/>
                    <a:pt x="7609" y="5167"/>
                    <a:pt x="7341" y="5167"/>
                  </a:cubicBezTo>
                  <a:cubicBezTo>
                    <a:pt x="7073" y="5167"/>
                    <a:pt x="6805" y="5269"/>
                    <a:pt x="6616" y="5474"/>
                  </a:cubicBezTo>
                  <a:lnTo>
                    <a:pt x="6144" y="5947"/>
                  </a:lnTo>
                  <a:cubicBezTo>
                    <a:pt x="6081" y="5994"/>
                    <a:pt x="5994" y="6018"/>
                    <a:pt x="5907" y="6018"/>
                  </a:cubicBezTo>
                  <a:cubicBezTo>
                    <a:pt x="5821" y="6018"/>
                    <a:pt x="5734" y="5994"/>
                    <a:pt x="5671" y="5947"/>
                  </a:cubicBezTo>
                  <a:lnTo>
                    <a:pt x="3434" y="3678"/>
                  </a:lnTo>
                  <a:cubicBezTo>
                    <a:pt x="3308" y="3584"/>
                    <a:pt x="3308" y="3332"/>
                    <a:pt x="3434" y="3206"/>
                  </a:cubicBezTo>
                  <a:lnTo>
                    <a:pt x="3907" y="2733"/>
                  </a:lnTo>
                  <a:cubicBezTo>
                    <a:pt x="4285" y="2355"/>
                    <a:pt x="4285" y="1694"/>
                    <a:pt x="3907" y="1284"/>
                  </a:cubicBezTo>
                  <a:lnTo>
                    <a:pt x="2930" y="307"/>
                  </a:lnTo>
                  <a:cubicBezTo>
                    <a:pt x="2725" y="103"/>
                    <a:pt x="2458" y="0"/>
                    <a:pt x="21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78"/>
            <p:cNvSpPr/>
            <p:nvPr/>
          </p:nvSpPr>
          <p:spPr>
            <a:xfrm>
              <a:off x="-34288175" y="1912725"/>
              <a:ext cx="162275" cy="163075"/>
            </a:xfrm>
            <a:custGeom>
              <a:avLst/>
              <a:gdLst/>
              <a:ahLst/>
              <a:cxnLst/>
              <a:rect l="l" t="t" r="r" b="b"/>
              <a:pathLst>
                <a:path w="6491" h="6523" extrusionOk="0">
                  <a:moveTo>
                    <a:pt x="5766" y="726"/>
                  </a:moveTo>
                  <a:lnTo>
                    <a:pt x="5766" y="2458"/>
                  </a:lnTo>
                  <a:lnTo>
                    <a:pt x="5388" y="2049"/>
                  </a:lnTo>
                  <a:cubicBezTo>
                    <a:pt x="5325" y="2002"/>
                    <a:pt x="5238" y="1978"/>
                    <a:pt x="5152" y="1978"/>
                  </a:cubicBezTo>
                  <a:cubicBezTo>
                    <a:pt x="5065" y="1978"/>
                    <a:pt x="4978" y="2002"/>
                    <a:pt x="4915" y="2049"/>
                  </a:cubicBezTo>
                  <a:lnTo>
                    <a:pt x="1985" y="4979"/>
                  </a:lnTo>
                  <a:cubicBezTo>
                    <a:pt x="1922" y="5042"/>
                    <a:pt x="1891" y="5136"/>
                    <a:pt x="1891" y="5199"/>
                  </a:cubicBezTo>
                  <a:cubicBezTo>
                    <a:pt x="1891" y="5294"/>
                    <a:pt x="1922" y="5420"/>
                    <a:pt x="1985" y="5451"/>
                  </a:cubicBezTo>
                  <a:lnTo>
                    <a:pt x="2395" y="5829"/>
                  </a:lnTo>
                  <a:lnTo>
                    <a:pt x="662" y="5829"/>
                  </a:lnTo>
                  <a:lnTo>
                    <a:pt x="662" y="4097"/>
                  </a:lnTo>
                  <a:lnTo>
                    <a:pt x="1040" y="4506"/>
                  </a:lnTo>
                  <a:cubicBezTo>
                    <a:pt x="1103" y="4553"/>
                    <a:pt x="1198" y="4577"/>
                    <a:pt x="1288" y="4577"/>
                  </a:cubicBezTo>
                  <a:cubicBezTo>
                    <a:pt x="1379" y="4577"/>
                    <a:pt x="1466" y="4553"/>
                    <a:pt x="1513" y="4506"/>
                  </a:cubicBezTo>
                  <a:lnTo>
                    <a:pt x="4443" y="1576"/>
                  </a:lnTo>
                  <a:cubicBezTo>
                    <a:pt x="4506" y="1513"/>
                    <a:pt x="4569" y="1419"/>
                    <a:pt x="4569" y="1356"/>
                  </a:cubicBezTo>
                  <a:cubicBezTo>
                    <a:pt x="4569" y="1261"/>
                    <a:pt x="4537" y="1135"/>
                    <a:pt x="4443" y="1104"/>
                  </a:cubicBezTo>
                  <a:lnTo>
                    <a:pt x="4033" y="726"/>
                  </a:lnTo>
                  <a:close/>
                  <a:moveTo>
                    <a:pt x="3214" y="1"/>
                  </a:moveTo>
                  <a:cubicBezTo>
                    <a:pt x="3057" y="1"/>
                    <a:pt x="2931" y="96"/>
                    <a:pt x="2899" y="222"/>
                  </a:cubicBezTo>
                  <a:cubicBezTo>
                    <a:pt x="2868" y="316"/>
                    <a:pt x="2868" y="474"/>
                    <a:pt x="2994" y="568"/>
                  </a:cubicBezTo>
                  <a:lnTo>
                    <a:pt x="3687" y="1261"/>
                  </a:lnTo>
                  <a:lnTo>
                    <a:pt x="1261" y="3719"/>
                  </a:lnTo>
                  <a:lnTo>
                    <a:pt x="536" y="2994"/>
                  </a:lnTo>
                  <a:cubicBezTo>
                    <a:pt x="490" y="2948"/>
                    <a:pt x="393" y="2919"/>
                    <a:pt x="295" y="2919"/>
                  </a:cubicBezTo>
                  <a:cubicBezTo>
                    <a:pt x="259" y="2919"/>
                    <a:pt x="223" y="2922"/>
                    <a:pt x="190" y="2931"/>
                  </a:cubicBezTo>
                  <a:cubicBezTo>
                    <a:pt x="64" y="2962"/>
                    <a:pt x="1" y="3120"/>
                    <a:pt x="1" y="3246"/>
                  </a:cubicBezTo>
                  <a:lnTo>
                    <a:pt x="1" y="6144"/>
                  </a:lnTo>
                  <a:cubicBezTo>
                    <a:pt x="1" y="6365"/>
                    <a:pt x="158" y="6522"/>
                    <a:pt x="347" y="6522"/>
                  </a:cubicBezTo>
                  <a:lnTo>
                    <a:pt x="3246" y="6522"/>
                  </a:lnTo>
                  <a:cubicBezTo>
                    <a:pt x="3403" y="6522"/>
                    <a:pt x="3529" y="6428"/>
                    <a:pt x="3561" y="6302"/>
                  </a:cubicBezTo>
                  <a:cubicBezTo>
                    <a:pt x="3624" y="6207"/>
                    <a:pt x="3624" y="6050"/>
                    <a:pt x="3498" y="5955"/>
                  </a:cubicBezTo>
                  <a:lnTo>
                    <a:pt x="2773" y="5262"/>
                  </a:lnTo>
                  <a:lnTo>
                    <a:pt x="5230" y="2805"/>
                  </a:lnTo>
                  <a:lnTo>
                    <a:pt x="5924" y="3530"/>
                  </a:lnTo>
                  <a:cubicBezTo>
                    <a:pt x="5993" y="3576"/>
                    <a:pt x="6096" y="3605"/>
                    <a:pt x="6195" y="3605"/>
                  </a:cubicBezTo>
                  <a:cubicBezTo>
                    <a:pt x="6232" y="3605"/>
                    <a:pt x="6268" y="3601"/>
                    <a:pt x="6302" y="3593"/>
                  </a:cubicBezTo>
                  <a:cubicBezTo>
                    <a:pt x="6396" y="3561"/>
                    <a:pt x="6491" y="3404"/>
                    <a:pt x="6491" y="3277"/>
                  </a:cubicBezTo>
                  <a:lnTo>
                    <a:pt x="6491" y="379"/>
                  </a:lnTo>
                  <a:cubicBezTo>
                    <a:pt x="6459" y="159"/>
                    <a:pt x="6333" y="1"/>
                    <a:pt x="61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78"/>
          <p:cNvGrpSpPr/>
          <p:nvPr/>
        </p:nvGrpSpPr>
        <p:grpSpPr>
          <a:xfrm>
            <a:off x="2632032" y="1993093"/>
            <a:ext cx="360260" cy="355498"/>
            <a:chOff x="-34418125" y="2271100"/>
            <a:chExt cx="296950" cy="293025"/>
          </a:xfrm>
        </p:grpSpPr>
        <p:sp>
          <p:nvSpPr>
            <p:cNvPr id="10024" name="Google Shape;10024;p78"/>
            <p:cNvSpPr/>
            <p:nvPr/>
          </p:nvSpPr>
          <p:spPr>
            <a:xfrm>
              <a:off x="-34418125" y="2271100"/>
              <a:ext cx="296950" cy="293025"/>
            </a:xfrm>
            <a:custGeom>
              <a:avLst/>
              <a:gdLst/>
              <a:ahLst/>
              <a:cxnLst/>
              <a:rect l="l" t="t" r="r" b="b"/>
              <a:pathLst>
                <a:path w="11878" h="11721" extrusionOk="0">
                  <a:moveTo>
                    <a:pt x="6207" y="1229"/>
                  </a:moveTo>
                  <a:lnTo>
                    <a:pt x="7089" y="2080"/>
                  </a:lnTo>
                  <a:lnTo>
                    <a:pt x="6207" y="2080"/>
                  </a:lnTo>
                  <a:lnTo>
                    <a:pt x="6207" y="1229"/>
                  </a:lnTo>
                  <a:close/>
                  <a:moveTo>
                    <a:pt x="7561" y="9074"/>
                  </a:moveTo>
                  <a:lnTo>
                    <a:pt x="7561" y="10366"/>
                  </a:lnTo>
                  <a:lnTo>
                    <a:pt x="6238" y="10366"/>
                  </a:lnTo>
                  <a:lnTo>
                    <a:pt x="7561" y="9074"/>
                  </a:lnTo>
                  <a:close/>
                  <a:moveTo>
                    <a:pt x="5514" y="725"/>
                  </a:moveTo>
                  <a:lnTo>
                    <a:pt x="5514" y="2427"/>
                  </a:lnTo>
                  <a:cubicBezTo>
                    <a:pt x="5514" y="2616"/>
                    <a:pt x="5671" y="2773"/>
                    <a:pt x="5860" y="2773"/>
                  </a:cubicBezTo>
                  <a:lnTo>
                    <a:pt x="7561" y="2773"/>
                  </a:lnTo>
                  <a:lnTo>
                    <a:pt x="7561" y="4222"/>
                  </a:lnTo>
                  <a:cubicBezTo>
                    <a:pt x="6837" y="4947"/>
                    <a:pt x="6742" y="5924"/>
                    <a:pt x="6994" y="6711"/>
                  </a:cubicBezTo>
                  <a:lnTo>
                    <a:pt x="4726" y="8980"/>
                  </a:lnTo>
                  <a:lnTo>
                    <a:pt x="1670" y="8980"/>
                  </a:lnTo>
                  <a:cubicBezTo>
                    <a:pt x="1481" y="8980"/>
                    <a:pt x="1323" y="9137"/>
                    <a:pt x="1323" y="9358"/>
                  </a:cubicBezTo>
                  <a:cubicBezTo>
                    <a:pt x="1323" y="9547"/>
                    <a:pt x="1481" y="9704"/>
                    <a:pt x="1670" y="9704"/>
                  </a:cubicBezTo>
                  <a:lnTo>
                    <a:pt x="4033" y="9704"/>
                  </a:lnTo>
                  <a:lnTo>
                    <a:pt x="3718" y="10019"/>
                  </a:lnTo>
                  <a:cubicBezTo>
                    <a:pt x="3623" y="10145"/>
                    <a:pt x="3529" y="10240"/>
                    <a:pt x="3497" y="10397"/>
                  </a:cubicBezTo>
                  <a:lnTo>
                    <a:pt x="662" y="10397"/>
                  </a:lnTo>
                  <a:lnTo>
                    <a:pt x="662" y="725"/>
                  </a:lnTo>
                  <a:close/>
                  <a:moveTo>
                    <a:pt x="9295" y="4211"/>
                  </a:moveTo>
                  <a:cubicBezTo>
                    <a:pt x="9367" y="4211"/>
                    <a:pt x="9441" y="4215"/>
                    <a:pt x="9515" y="4222"/>
                  </a:cubicBezTo>
                  <a:lnTo>
                    <a:pt x="9042" y="4695"/>
                  </a:lnTo>
                  <a:cubicBezTo>
                    <a:pt x="8664" y="5073"/>
                    <a:pt x="8664" y="5766"/>
                    <a:pt x="9042" y="6144"/>
                  </a:cubicBezTo>
                  <a:cubicBezTo>
                    <a:pt x="9247" y="6349"/>
                    <a:pt x="9515" y="6451"/>
                    <a:pt x="9779" y="6451"/>
                  </a:cubicBezTo>
                  <a:cubicBezTo>
                    <a:pt x="10042" y="6451"/>
                    <a:pt x="10302" y="6349"/>
                    <a:pt x="10491" y="6144"/>
                  </a:cubicBezTo>
                  <a:lnTo>
                    <a:pt x="10964" y="5672"/>
                  </a:lnTo>
                  <a:lnTo>
                    <a:pt x="10964" y="5672"/>
                  </a:lnTo>
                  <a:cubicBezTo>
                    <a:pt x="11058" y="6239"/>
                    <a:pt x="10869" y="6743"/>
                    <a:pt x="10491" y="7089"/>
                  </a:cubicBezTo>
                  <a:cubicBezTo>
                    <a:pt x="10183" y="7418"/>
                    <a:pt x="9741" y="7626"/>
                    <a:pt x="9278" y="7626"/>
                  </a:cubicBezTo>
                  <a:cubicBezTo>
                    <a:pt x="9031" y="7626"/>
                    <a:pt x="8779" y="7567"/>
                    <a:pt x="8538" y="7436"/>
                  </a:cubicBezTo>
                  <a:cubicBezTo>
                    <a:pt x="8496" y="7415"/>
                    <a:pt x="8451" y="7404"/>
                    <a:pt x="8404" y="7404"/>
                  </a:cubicBezTo>
                  <a:cubicBezTo>
                    <a:pt x="8311" y="7404"/>
                    <a:pt x="8213" y="7446"/>
                    <a:pt x="8129" y="7530"/>
                  </a:cubicBezTo>
                  <a:lnTo>
                    <a:pt x="4726" y="10964"/>
                  </a:lnTo>
                  <a:cubicBezTo>
                    <a:pt x="4663" y="11012"/>
                    <a:pt x="4568" y="11035"/>
                    <a:pt x="4478" y="11035"/>
                  </a:cubicBezTo>
                  <a:cubicBezTo>
                    <a:pt x="4387" y="11035"/>
                    <a:pt x="4301" y="11012"/>
                    <a:pt x="4253" y="10964"/>
                  </a:cubicBezTo>
                  <a:cubicBezTo>
                    <a:pt x="4127" y="10838"/>
                    <a:pt x="4127" y="10586"/>
                    <a:pt x="4253" y="10492"/>
                  </a:cubicBezTo>
                  <a:lnTo>
                    <a:pt x="7656" y="7058"/>
                  </a:lnTo>
                  <a:cubicBezTo>
                    <a:pt x="7782" y="6932"/>
                    <a:pt x="7782" y="6774"/>
                    <a:pt x="7750" y="6648"/>
                  </a:cubicBezTo>
                  <a:cubicBezTo>
                    <a:pt x="7467" y="6113"/>
                    <a:pt x="7498" y="5356"/>
                    <a:pt x="7971" y="4821"/>
                  </a:cubicBezTo>
                  <a:cubicBezTo>
                    <a:pt x="8330" y="4407"/>
                    <a:pt x="8785" y="4211"/>
                    <a:pt x="9295" y="4211"/>
                  </a:cubicBezTo>
                  <a:close/>
                  <a:moveTo>
                    <a:pt x="378" y="1"/>
                  </a:moveTo>
                  <a:cubicBezTo>
                    <a:pt x="189" y="1"/>
                    <a:pt x="32" y="158"/>
                    <a:pt x="32" y="347"/>
                  </a:cubicBezTo>
                  <a:lnTo>
                    <a:pt x="32" y="10681"/>
                  </a:lnTo>
                  <a:cubicBezTo>
                    <a:pt x="0" y="10870"/>
                    <a:pt x="158" y="11027"/>
                    <a:pt x="347" y="11027"/>
                  </a:cubicBezTo>
                  <a:lnTo>
                    <a:pt x="3529" y="11027"/>
                  </a:lnTo>
                  <a:cubicBezTo>
                    <a:pt x="3560" y="11185"/>
                    <a:pt x="3655" y="11311"/>
                    <a:pt x="3781" y="11437"/>
                  </a:cubicBezTo>
                  <a:cubicBezTo>
                    <a:pt x="3970" y="11626"/>
                    <a:pt x="4230" y="11720"/>
                    <a:pt x="4494" y="11720"/>
                  </a:cubicBezTo>
                  <a:cubicBezTo>
                    <a:pt x="4758" y="11720"/>
                    <a:pt x="5025" y="11626"/>
                    <a:pt x="5230" y="11437"/>
                  </a:cubicBezTo>
                  <a:lnTo>
                    <a:pt x="5608" y="11027"/>
                  </a:lnTo>
                  <a:lnTo>
                    <a:pt x="7940" y="11027"/>
                  </a:lnTo>
                  <a:cubicBezTo>
                    <a:pt x="8129" y="11027"/>
                    <a:pt x="8286" y="10870"/>
                    <a:pt x="8286" y="10681"/>
                  </a:cubicBezTo>
                  <a:lnTo>
                    <a:pt x="8286" y="8349"/>
                  </a:lnTo>
                  <a:lnTo>
                    <a:pt x="8538" y="8129"/>
                  </a:lnTo>
                  <a:cubicBezTo>
                    <a:pt x="8792" y="8220"/>
                    <a:pt x="9065" y="8269"/>
                    <a:pt x="9344" y="8269"/>
                  </a:cubicBezTo>
                  <a:cubicBezTo>
                    <a:pt x="9929" y="8269"/>
                    <a:pt x="10536" y="8053"/>
                    <a:pt x="11027" y="7562"/>
                  </a:cubicBezTo>
                  <a:cubicBezTo>
                    <a:pt x="11752" y="6806"/>
                    <a:pt x="11878" y="5735"/>
                    <a:pt x="11500" y="4852"/>
                  </a:cubicBezTo>
                  <a:cubicBezTo>
                    <a:pt x="11437" y="4726"/>
                    <a:pt x="11342" y="4695"/>
                    <a:pt x="11248" y="4663"/>
                  </a:cubicBezTo>
                  <a:cubicBezTo>
                    <a:pt x="11122" y="4663"/>
                    <a:pt x="11027" y="4663"/>
                    <a:pt x="10932" y="4726"/>
                  </a:cubicBezTo>
                  <a:lnTo>
                    <a:pt x="10082" y="5609"/>
                  </a:lnTo>
                  <a:cubicBezTo>
                    <a:pt x="10019" y="5656"/>
                    <a:pt x="9924" y="5679"/>
                    <a:pt x="9834" y="5679"/>
                  </a:cubicBezTo>
                  <a:cubicBezTo>
                    <a:pt x="9743" y="5679"/>
                    <a:pt x="9657" y="5656"/>
                    <a:pt x="9609" y="5609"/>
                  </a:cubicBezTo>
                  <a:cubicBezTo>
                    <a:pt x="9483" y="5483"/>
                    <a:pt x="9483" y="5230"/>
                    <a:pt x="9609" y="5136"/>
                  </a:cubicBezTo>
                  <a:lnTo>
                    <a:pt x="10460" y="4254"/>
                  </a:lnTo>
                  <a:cubicBezTo>
                    <a:pt x="10554" y="4191"/>
                    <a:pt x="10586" y="4065"/>
                    <a:pt x="10554" y="3939"/>
                  </a:cubicBezTo>
                  <a:cubicBezTo>
                    <a:pt x="10554" y="3813"/>
                    <a:pt x="10460" y="3750"/>
                    <a:pt x="10334" y="3718"/>
                  </a:cubicBezTo>
                  <a:cubicBezTo>
                    <a:pt x="10003" y="3561"/>
                    <a:pt x="9649" y="3482"/>
                    <a:pt x="9298" y="3482"/>
                  </a:cubicBezTo>
                  <a:cubicBezTo>
                    <a:pt x="8948" y="3482"/>
                    <a:pt x="8601" y="3561"/>
                    <a:pt x="8286" y="3718"/>
                  </a:cubicBezTo>
                  <a:lnTo>
                    <a:pt x="8286" y="2395"/>
                  </a:lnTo>
                  <a:cubicBezTo>
                    <a:pt x="8286" y="2332"/>
                    <a:pt x="8255" y="2206"/>
                    <a:pt x="8192" y="2175"/>
                  </a:cubicBezTo>
                  <a:lnTo>
                    <a:pt x="6144" y="127"/>
                  </a:lnTo>
                  <a:cubicBezTo>
                    <a:pt x="6049" y="64"/>
                    <a:pt x="5986"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78"/>
            <p:cNvSpPr/>
            <p:nvPr/>
          </p:nvSpPr>
          <p:spPr>
            <a:xfrm>
              <a:off x="-34331500" y="23057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78"/>
            <p:cNvSpPr/>
            <p:nvPr/>
          </p:nvSpPr>
          <p:spPr>
            <a:xfrm>
              <a:off x="-34331500" y="2341200"/>
              <a:ext cx="17350" cy="69350"/>
            </a:xfrm>
            <a:custGeom>
              <a:avLst/>
              <a:gdLst/>
              <a:ahLst/>
              <a:cxnLst/>
              <a:rect l="l" t="t" r="r" b="b"/>
              <a:pathLst>
                <a:path w="694" h="2774" extrusionOk="0">
                  <a:moveTo>
                    <a:pt x="347" y="1"/>
                  </a:moveTo>
                  <a:cubicBezTo>
                    <a:pt x="158" y="1"/>
                    <a:pt x="1" y="158"/>
                    <a:pt x="1" y="347"/>
                  </a:cubicBezTo>
                  <a:lnTo>
                    <a:pt x="1" y="2395"/>
                  </a:lnTo>
                  <a:cubicBezTo>
                    <a:pt x="1" y="2584"/>
                    <a:pt x="158" y="2773"/>
                    <a:pt x="347" y="2773"/>
                  </a:cubicBezTo>
                  <a:cubicBezTo>
                    <a:pt x="536" y="2773"/>
                    <a:pt x="694" y="2584"/>
                    <a:pt x="694" y="2395"/>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78"/>
            <p:cNvSpPr/>
            <p:nvPr/>
          </p:nvSpPr>
          <p:spPr>
            <a:xfrm>
              <a:off x="-34384275" y="2427050"/>
              <a:ext cx="121325" cy="17350"/>
            </a:xfrm>
            <a:custGeom>
              <a:avLst/>
              <a:gdLst/>
              <a:ahLst/>
              <a:cxnLst/>
              <a:rect l="l" t="t" r="r" b="b"/>
              <a:pathLst>
                <a:path w="4853" h="694" extrusionOk="0">
                  <a:moveTo>
                    <a:pt x="379" y="1"/>
                  </a:moveTo>
                  <a:cubicBezTo>
                    <a:pt x="158" y="1"/>
                    <a:pt x="1" y="158"/>
                    <a:pt x="1" y="347"/>
                  </a:cubicBezTo>
                  <a:cubicBezTo>
                    <a:pt x="1" y="536"/>
                    <a:pt x="158" y="694"/>
                    <a:pt x="379" y="694"/>
                  </a:cubicBezTo>
                  <a:lnTo>
                    <a:pt x="4506" y="694"/>
                  </a:lnTo>
                  <a:cubicBezTo>
                    <a:pt x="4695" y="694"/>
                    <a:pt x="4853" y="536"/>
                    <a:pt x="4853" y="347"/>
                  </a:cubicBezTo>
                  <a:cubicBezTo>
                    <a:pt x="4853"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78"/>
            <p:cNvSpPr/>
            <p:nvPr/>
          </p:nvSpPr>
          <p:spPr>
            <a:xfrm>
              <a:off x="-34384275" y="2460125"/>
              <a:ext cx="88250" cy="18150"/>
            </a:xfrm>
            <a:custGeom>
              <a:avLst/>
              <a:gdLst/>
              <a:ahLst/>
              <a:cxnLst/>
              <a:rect l="l" t="t" r="r" b="b"/>
              <a:pathLst>
                <a:path w="3530" h="726" extrusionOk="0">
                  <a:moveTo>
                    <a:pt x="379" y="1"/>
                  </a:moveTo>
                  <a:cubicBezTo>
                    <a:pt x="158" y="1"/>
                    <a:pt x="1" y="158"/>
                    <a:pt x="1" y="379"/>
                  </a:cubicBezTo>
                  <a:cubicBezTo>
                    <a:pt x="1" y="599"/>
                    <a:pt x="158" y="725"/>
                    <a:pt x="379" y="725"/>
                  </a:cubicBezTo>
                  <a:lnTo>
                    <a:pt x="3151" y="725"/>
                  </a:lnTo>
                  <a:cubicBezTo>
                    <a:pt x="3372" y="725"/>
                    <a:pt x="3530" y="568"/>
                    <a:pt x="3530" y="379"/>
                  </a:cubicBezTo>
                  <a:cubicBezTo>
                    <a:pt x="3530" y="158"/>
                    <a:pt x="3372"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9" name="Google Shape;10029;p78"/>
          <p:cNvGrpSpPr/>
          <p:nvPr/>
        </p:nvGrpSpPr>
        <p:grpSpPr>
          <a:xfrm>
            <a:off x="2632987" y="2449119"/>
            <a:ext cx="358349" cy="353587"/>
            <a:chOff x="-34421275" y="2631050"/>
            <a:chExt cx="295375" cy="291450"/>
          </a:xfrm>
        </p:grpSpPr>
        <p:sp>
          <p:nvSpPr>
            <p:cNvPr id="10030" name="Google Shape;10030;p78"/>
            <p:cNvSpPr/>
            <p:nvPr/>
          </p:nvSpPr>
          <p:spPr>
            <a:xfrm>
              <a:off x="-34421275" y="2639125"/>
              <a:ext cx="288275" cy="283375"/>
            </a:xfrm>
            <a:custGeom>
              <a:avLst/>
              <a:gdLst/>
              <a:ahLst/>
              <a:cxnLst/>
              <a:rect l="l" t="t" r="r" b="b"/>
              <a:pathLst>
                <a:path w="11531" h="11335" extrusionOk="0">
                  <a:moveTo>
                    <a:pt x="5592" y="717"/>
                  </a:moveTo>
                  <a:cubicBezTo>
                    <a:pt x="5679" y="717"/>
                    <a:pt x="5766" y="749"/>
                    <a:pt x="5829" y="812"/>
                  </a:cubicBezTo>
                  <a:lnTo>
                    <a:pt x="10680" y="5663"/>
                  </a:lnTo>
                  <a:cubicBezTo>
                    <a:pt x="10775" y="5758"/>
                    <a:pt x="10775" y="6010"/>
                    <a:pt x="10680" y="6136"/>
                  </a:cubicBezTo>
                  <a:cubicBezTo>
                    <a:pt x="10617" y="6183"/>
                    <a:pt x="10523" y="6207"/>
                    <a:pt x="10432" y="6207"/>
                  </a:cubicBezTo>
                  <a:cubicBezTo>
                    <a:pt x="10342" y="6207"/>
                    <a:pt x="10255" y="6183"/>
                    <a:pt x="10208" y="6136"/>
                  </a:cubicBezTo>
                  <a:lnTo>
                    <a:pt x="5356" y="1284"/>
                  </a:lnTo>
                  <a:cubicBezTo>
                    <a:pt x="5230" y="1158"/>
                    <a:pt x="5230" y="938"/>
                    <a:pt x="5356" y="812"/>
                  </a:cubicBezTo>
                  <a:cubicBezTo>
                    <a:pt x="5419" y="749"/>
                    <a:pt x="5506" y="717"/>
                    <a:pt x="5592" y="717"/>
                  </a:cubicBezTo>
                  <a:close/>
                  <a:moveTo>
                    <a:pt x="8444" y="7239"/>
                  </a:moveTo>
                  <a:lnTo>
                    <a:pt x="8538" y="7396"/>
                  </a:lnTo>
                  <a:cubicBezTo>
                    <a:pt x="8696" y="7554"/>
                    <a:pt x="8664" y="7806"/>
                    <a:pt x="8475" y="7932"/>
                  </a:cubicBezTo>
                  <a:lnTo>
                    <a:pt x="5923" y="9223"/>
                  </a:lnTo>
                  <a:cubicBezTo>
                    <a:pt x="5873" y="9261"/>
                    <a:pt x="5819" y="9278"/>
                    <a:pt x="5763" y="9278"/>
                  </a:cubicBezTo>
                  <a:cubicBezTo>
                    <a:pt x="5678" y="9278"/>
                    <a:pt x="5590" y="9237"/>
                    <a:pt x="5514" y="9160"/>
                  </a:cubicBezTo>
                  <a:lnTo>
                    <a:pt x="5230" y="8877"/>
                  </a:lnTo>
                  <a:cubicBezTo>
                    <a:pt x="6301" y="8089"/>
                    <a:pt x="7341" y="7617"/>
                    <a:pt x="8444" y="7239"/>
                  </a:cubicBezTo>
                  <a:close/>
                  <a:moveTo>
                    <a:pt x="5230" y="2198"/>
                  </a:moveTo>
                  <a:lnTo>
                    <a:pt x="9294" y="6230"/>
                  </a:lnTo>
                  <a:cubicBezTo>
                    <a:pt x="7908" y="6703"/>
                    <a:pt x="5797" y="7270"/>
                    <a:pt x="3560" y="9381"/>
                  </a:cubicBezTo>
                  <a:lnTo>
                    <a:pt x="2080" y="7932"/>
                  </a:lnTo>
                  <a:cubicBezTo>
                    <a:pt x="3340" y="6608"/>
                    <a:pt x="4285" y="5033"/>
                    <a:pt x="4852" y="3395"/>
                  </a:cubicBezTo>
                  <a:lnTo>
                    <a:pt x="5230" y="2198"/>
                  </a:lnTo>
                  <a:close/>
                  <a:moveTo>
                    <a:pt x="1138" y="8089"/>
                  </a:moveTo>
                  <a:cubicBezTo>
                    <a:pt x="1229" y="8089"/>
                    <a:pt x="1323" y="8121"/>
                    <a:pt x="1386" y="8184"/>
                  </a:cubicBezTo>
                  <a:lnTo>
                    <a:pt x="3308" y="10105"/>
                  </a:lnTo>
                  <a:cubicBezTo>
                    <a:pt x="3434" y="10231"/>
                    <a:pt x="3434" y="10452"/>
                    <a:pt x="3308" y="10578"/>
                  </a:cubicBezTo>
                  <a:cubicBezTo>
                    <a:pt x="3245" y="10641"/>
                    <a:pt x="3159" y="10673"/>
                    <a:pt x="3072" y="10673"/>
                  </a:cubicBezTo>
                  <a:cubicBezTo>
                    <a:pt x="2985" y="10673"/>
                    <a:pt x="2899" y="10641"/>
                    <a:pt x="2836" y="10578"/>
                  </a:cubicBezTo>
                  <a:lnTo>
                    <a:pt x="914" y="8656"/>
                  </a:lnTo>
                  <a:cubicBezTo>
                    <a:pt x="788" y="8530"/>
                    <a:pt x="788" y="8278"/>
                    <a:pt x="914" y="8184"/>
                  </a:cubicBezTo>
                  <a:cubicBezTo>
                    <a:pt x="961" y="8121"/>
                    <a:pt x="1048" y="8089"/>
                    <a:pt x="1138" y="8089"/>
                  </a:cubicBezTo>
                  <a:close/>
                  <a:moveTo>
                    <a:pt x="5565" y="0"/>
                  </a:moveTo>
                  <a:cubicBezTo>
                    <a:pt x="5301" y="0"/>
                    <a:pt x="5041" y="103"/>
                    <a:pt x="4852" y="307"/>
                  </a:cubicBezTo>
                  <a:cubicBezTo>
                    <a:pt x="4474" y="654"/>
                    <a:pt x="4442" y="1158"/>
                    <a:pt x="4694" y="1568"/>
                  </a:cubicBezTo>
                  <a:lnTo>
                    <a:pt x="4159" y="3143"/>
                  </a:lnTo>
                  <a:cubicBezTo>
                    <a:pt x="3655" y="4655"/>
                    <a:pt x="2710" y="6199"/>
                    <a:pt x="1575" y="7428"/>
                  </a:cubicBezTo>
                  <a:cubicBezTo>
                    <a:pt x="1422" y="7357"/>
                    <a:pt x="1259" y="7321"/>
                    <a:pt x="1100" y="7321"/>
                  </a:cubicBezTo>
                  <a:cubicBezTo>
                    <a:pt x="834" y="7321"/>
                    <a:pt x="575" y="7420"/>
                    <a:pt x="378" y="7617"/>
                  </a:cubicBezTo>
                  <a:cubicBezTo>
                    <a:pt x="0" y="8026"/>
                    <a:pt x="0" y="8688"/>
                    <a:pt x="378" y="9066"/>
                  </a:cubicBezTo>
                  <a:lnTo>
                    <a:pt x="2363" y="11051"/>
                  </a:lnTo>
                  <a:cubicBezTo>
                    <a:pt x="2552" y="11240"/>
                    <a:pt x="2820" y="11334"/>
                    <a:pt x="3088" y="11334"/>
                  </a:cubicBezTo>
                  <a:cubicBezTo>
                    <a:pt x="3356" y="11334"/>
                    <a:pt x="3623" y="11240"/>
                    <a:pt x="3812" y="11051"/>
                  </a:cubicBezTo>
                  <a:cubicBezTo>
                    <a:pt x="4127" y="10736"/>
                    <a:pt x="4222" y="10263"/>
                    <a:pt x="4001" y="9853"/>
                  </a:cubicBezTo>
                  <a:cubicBezTo>
                    <a:pt x="4222" y="9664"/>
                    <a:pt x="4442" y="9475"/>
                    <a:pt x="4694" y="9286"/>
                  </a:cubicBezTo>
                  <a:lnTo>
                    <a:pt x="5041" y="9633"/>
                  </a:lnTo>
                  <a:cubicBezTo>
                    <a:pt x="5238" y="9830"/>
                    <a:pt x="5496" y="9928"/>
                    <a:pt x="5755" y="9928"/>
                  </a:cubicBezTo>
                  <a:cubicBezTo>
                    <a:pt x="5910" y="9928"/>
                    <a:pt x="6065" y="9893"/>
                    <a:pt x="6207" y="9822"/>
                  </a:cubicBezTo>
                  <a:lnTo>
                    <a:pt x="8790" y="8530"/>
                  </a:lnTo>
                  <a:cubicBezTo>
                    <a:pt x="9357" y="8215"/>
                    <a:pt x="9515" y="7459"/>
                    <a:pt x="9137" y="6986"/>
                  </a:cubicBezTo>
                  <a:lnTo>
                    <a:pt x="9893" y="6766"/>
                  </a:lnTo>
                  <a:cubicBezTo>
                    <a:pt x="10050" y="6858"/>
                    <a:pt x="10229" y="6906"/>
                    <a:pt x="10412" y="6906"/>
                  </a:cubicBezTo>
                  <a:cubicBezTo>
                    <a:pt x="10668" y="6906"/>
                    <a:pt x="10932" y="6811"/>
                    <a:pt x="11153" y="6608"/>
                  </a:cubicBezTo>
                  <a:cubicBezTo>
                    <a:pt x="11531" y="6199"/>
                    <a:pt x="11531" y="5537"/>
                    <a:pt x="11153" y="5128"/>
                  </a:cubicBezTo>
                  <a:lnTo>
                    <a:pt x="6301" y="307"/>
                  </a:lnTo>
                  <a:cubicBezTo>
                    <a:pt x="6096" y="103"/>
                    <a:pt x="5829" y="0"/>
                    <a:pt x="55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1" name="Google Shape;10031;p78"/>
            <p:cNvSpPr/>
            <p:nvPr/>
          </p:nvSpPr>
          <p:spPr>
            <a:xfrm>
              <a:off x="-34181850" y="2644625"/>
              <a:ext cx="41775" cy="41575"/>
            </a:xfrm>
            <a:custGeom>
              <a:avLst/>
              <a:gdLst/>
              <a:ahLst/>
              <a:cxnLst/>
              <a:rect l="l" t="t" r="r" b="b"/>
              <a:pathLst>
                <a:path w="1671" h="1663" extrusionOk="0">
                  <a:moveTo>
                    <a:pt x="1328" y="1"/>
                  </a:moveTo>
                  <a:cubicBezTo>
                    <a:pt x="1237" y="1"/>
                    <a:pt x="1151" y="40"/>
                    <a:pt x="1103" y="119"/>
                  </a:cubicBezTo>
                  <a:lnTo>
                    <a:pt x="95" y="1096"/>
                  </a:lnTo>
                  <a:cubicBezTo>
                    <a:pt x="1" y="1222"/>
                    <a:pt x="1" y="1442"/>
                    <a:pt x="95" y="1568"/>
                  </a:cubicBezTo>
                  <a:cubicBezTo>
                    <a:pt x="158" y="1631"/>
                    <a:pt x="253" y="1663"/>
                    <a:pt x="343" y="1663"/>
                  </a:cubicBezTo>
                  <a:cubicBezTo>
                    <a:pt x="434" y="1663"/>
                    <a:pt x="521" y="1631"/>
                    <a:pt x="568" y="1568"/>
                  </a:cubicBezTo>
                  <a:lnTo>
                    <a:pt x="1576" y="592"/>
                  </a:lnTo>
                  <a:cubicBezTo>
                    <a:pt x="1671" y="466"/>
                    <a:pt x="1671" y="213"/>
                    <a:pt x="1576" y="119"/>
                  </a:cubicBezTo>
                  <a:cubicBezTo>
                    <a:pt x="1513" y="40"/>
                    <a:pt x="1418" y="1"/>
                    <a:pt x="13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2" name="Google Shape;10032;p78"/>
            <p:cNvSpPr/>
            <p:nvPr/>
          </p:nvSpPr>
          <p:spPr>
            <a:xfrm>
              <a:off x="-34217275" y="2631050"/>
              <a:ext cx="17350" cy="41775"/>
            </a:xfrm>
            <a:custGeom>
              <a:avLst/>
              <a:gdLst/>
              <a:ahLst/>
              <a:cxnLst/>
              <a:rect l="l" t="t" r="r" b="b"/>
              <a:pathLst>
                <a:path w="694" h="1671" extrusionOk="0">
                  <a:moveTo>
                    <a:pt x="347" y="0"/>
                  </a:moveTo>
                  <a:cubicBezTo>
                    <a:pt x="158" y="0"/>
                    <a:pt x="0" y="158"/>
                    <a:pt x="0" y="347"/>
                  </a:cubicBezTo>
                  <a:lnTo>
                    <a:pt x="0" y="1324"/>
                  </a:lnTo>
                  <a:cubicBezTo>
                    <a:pt x="0" y="1513"/>
                    <a:pt x="158" y="1670"/>
                    <a:pt x="347" y="1670"/>
                  </a:cubicBezTo>
                  <a:cubicBezTo>
                    <a:pt x="536" y="1670"/>
                    <a:pt x="693" y="1513"/>
                    <a:pt x="693" y="1324"/>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78"/>
            <p:cNvSpPr/>
            <p:nvPr/>
          </p:nvSpPr>
          <p:spPr>
            <a:xfrm>
              <a:off x="-34168450" y="2704300"/>
              <a:ext cx="42550" cy="18125"/>
            </a:xfrm>
            <a:custGeom>
              <a:avLst/>
              <a:gdLst/>
              <a:ahLst/>
              <a:cxnLst/>
              <a:rect l="l" t="t" r="r" b="b"/>
              <a:pathLst>
                <a:path w="1702" h="725" extrusionOk="0">
                  <a:moveTo>
                    <a:pt x="347" y="0"/>
                  </a:moveTo>
                  <a:cubicBezTo>
                    <a:pt x="158" y="0"/>
                    <a:pt x="0" y="158"/>
                    <a:pt x="0" y="378"/>
                  </a:cubicBezTo>
                  <a:cubicBezTo>
                    <a:pt x="0" y="567"/>
                    <a:pt x="158" y="725"/>
                    <a:pt x="347" y="725"/>
                  </a:cubicBezTo>
                  <a:lnTo>
                    <a:pt x="1355" y="725"/>
                  </a:lnTo>
                  <a:cubicBezTo>
                    <a:pt x="1544" y="725"/>
                    <a:pt x="1702" y="567"/>
                    <a:pt x="1702" y="378"/>
                  </a:cubicBezTo>
                  <a:cubicBezTo>
                    <a:pt x="1670" y="158"/>
                    <a:pt x="1544"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4" name="Google Shape;10034;p78"/>
          <p:cNvSpPr/>
          <p:nvPr/>
        </p:nvSpPr>
        <p:spPr>
          <a:xfrm>
            <a:off x="1299154" y="2915050"/>
            <a:ext cx="353587" cy="354527"/>
          </a:xfrm>
          <a:custGeom>
            <a:avLst/>
            <a:gdLst/>
            <a:ahLst/>
            <a:cxnLst/>
            <a:rect l="l" t="t" r="r" b="b"/>
            <a:pathLst>
              <a:path w="11658" h="11689" extrusionOk="0">
                <a:moveTo>
                  <a:pt x="2868" y="8538"/>
                </a:moveTo>
                <a:cubicBezTo>
                  <a:pt x="3025" y="8948"/>
                  <a:pt x="3340" y="9263"/>
                  <a:pt x="3781" y="9452"/>
                </a:cubicBezTo>
                <a:cubicBezTo>
                  <a:pt x="3403" y="9389"/>
                  <a:pt x="2364" y="9231"/>
                  <a:pt x="2080" y="8916"/>
                </a:cubicBezTo>
                <a:cubicBezTo>
                  <a:pt x="2143" y="8885"/>
                  <a:pt x="2332" y="8727"/>
                  <a:pt x="2868" y="8538"/>
                </a:cubicBezTo>
                <a:close/>
                <a:moveTo>
                  <a:pt x="8791" y="8538"/>
                </a:moveTo>
                <a:cubicBezTo>
                  <a:pt x="9326" y="8727"/>
                  <a:pt x="9547" y="8885"/>
                  <a:pt x="9578" y="8916"/>
                </a:cubicBezTo>
                <a:cubicBezTo>
                  <a:pt x="9295" y="9231"/>
                  <a:pt x="8287" y="9389"/>
                  <a:pt x="7877" y="9452"/>
                </a:cubicBezTo>
                <a:cubicBezTo>
                  <a:pt x="8287" y="9294"/>
                  <a:pt x="8602" y="8948"/>
                  <a:pt x="8791" y="8538"/>
                </a:cubicBezTo>
                <a:close/>
                <a:moveTo>
                  <a:pt x="5829" y="725"/>
                </a:moveTo>
                <a:cubicBezTo>
                  <a:pt x="6018" y="725"/>
                  <a:pt x="6176" y="883"/>
                  <a:pt x="6176" y="1072"/>
                </a:cubicBezTo>
                <a:lnTo>
                  <a:pt x="6176" y="4537"/>
                </a:lnTo>
                <a:cubicBezTo>
                  <a:pt x="6176" y="4695"/>
                  <a:pt x="6302" y="4821"/>
                  <a:pt x="6428" y="4852"/>
                </a:cubicBezTo>
                <a:cubicBezTo>
                  <a:pt x="6455" y="4858"/>
                  <a:pt x="6482" y="4860"/>
                  <a:pt x="6508" y="4860"/>
                </a:cubicBezTo>
                <a:cubicBezTo>
                  <a:pt x="6637" y="4860"/>
                  <a:pt x="6754" y="4799"/>
                  <a:pt x="6806" y="4695"/>
                </a:cubicBezTo>
                <a:lnTo>
                  <a:pt x="8287" y="2237"/>
                </a:lnTo>
                <a:cubicBezTo>
                  <a:pt x="8326" y="2139"/>
                  <a:pt x="8415" y="2090"/>
                  <a:pt x="8514" y="2090"/>
                </a:cubicBezTo>
                <a:cubicBezTo>
                  <a:pt x="8574" y="2090"/>
                  <a:pt x="8637" y="2107"/>
                  <a:pt x="8696" y="2143"/>
                </a:cubicBezTo>
                <a:cubicBezTo>
                  <a:pt x="8854" y="2206"/>
                  <a:pt x="8948" y="2426"/>
                  <a:pt x="8854" y="2615"/>
                </a:cubicBezTo>
                <a:lnTo>
                  <a:pt x="7656" y="5041"/>
                </a:lnTo>
                <a:cubicBezTo>
                  <a:pt x="7562" y="5262"/>
                  <a:pt x="7656" y="5451"/>
                  <a:pt x="7814" y="5514"/>
                </a:cubicBezTo>
                <a:cubicBezTo>
                  <a:pt x="7851" y="5551"/>
                  <a:pt x="7898" y="5569"/>
                  <a:pt x="7949" y="5569"/>
                </a:cubicBezTo>
                <a:cubicBezTo>
                  <a:pt x="8028" y="5569"/>
                  <a:pt x="8116" y="5527"/>
                  <a:pt x="8192" y="5451"/>
                </a:cubicBezTo>
                <a:cubicBezTo>
                  <a:pt x="9630" y="4282"/>
                  <a:pt x="9701" y="4254"/>
                  <a:pt x="9704" y="4254"/>
                </a:cubicBezTo>
                <a:cubicBezTo>
                  <a:pt x="9704" y="4254"/>
                  <a:pt x="9704" y="4254"/>
                  <a:pt x="9704" y="4254"/>
                </a:cubicBezTo>
                <a:cubicBezTo>
                  <a:pt x="9752" y="4206"/>
                  <a:pt x="9838" y="4183"/>
                  <a:pt x="9929" y="4183"/>
                </a:cubicBezTo>
                <a:cubicBezTo>
                  <a:pt x="10019" y="4183"/>
                  <a:pt x="10114" y="4206"/>
                  <a:pt x="10177" y="4254"/>
                </a:cubicBezTo>
                <a:cubicBezTo>
                  <a:pt x="10271" y="4380"/>
                  <a:pt x="10271" y="4632"/>
                  <a:pt x="10177" y="4726"/>
                </a:cubicBezTo>
                <a:lnTo>
                  <a:pt x="8318" y="6585"/>
                </a:lnTo>
                <a:cubicBezTo>
                  <a:pt x="8224" y="6680"/>
                  <a:pt x="8192" y="6743"/>
                  <a:pt x="8192" y="6837"/>
                </a:cubicBezTo>
                <a:lnTo>
                  <a:pt x="8192" y="7940"/>
                </a:lnTo>
                <a:cubicBezTo>
                  <a:pt x="8192" y="8349"/>
                  <a:pt x="7908" y="8759"/>
                  <a:pt x="7499" y="8916"/>
                </a:cubicBezTo>
                <a:cubicBezTo>
                  <a:pt x="7184" y="9042"/>
                  <a:pt x="6932" y="9263"/>
                  <a:pt x="6869" y="9609"/>
                </a:cubicBezTo>
                <a:cubicBezTo>
                  <a:pt x="6491" y="9672"/>
                  <a:pt x="6144" y="9672"/>
                  <a:pt x="5798" y="9672"/>
                </a:cubicBezTo>
                <a:cubicBezTo>
                  <a:pt x="5451" y="9672"/>
                  <a:pt x="5073" y="9672"/>
                  <a:pt x="4726" y="9609"/>
                </a:cubicBezTo>
                <a:cubicBezTo>
                  <a:pt x="4663" y="9294"/>
                  <a:pt x="4411" y="9042"/>
                  <a:pt x="4096" y="8916"/>
                </a:cubicBezTo>
                <a:cubicBezTo>
                  <a:pt x="3655" y="8759"/>
                  <a:pt x="3403" y="8381"/>
                  <a:pt x="3403" y="7940"/>
                </a:cubicBezTo>
                <a:cubicBezTo>
                  <a:pt x="3403" y="7562"/>
                  <a:pt x="3277" y="7247"/>
                  <a:pt x="2994" y="6963"/>
                </a:cubicBezTo>
                <a:lnTo>
                  <a:pt x="1418" y="5388"/>
                </a:lnTo>
                <a:cubicBezTo>
                  <a:pt x="1355" y="5293"/>
                  <a:pt x="1355" y="5041"/>
                  <a:pt x="1513" y="4947"/>
                </a:cubicBezTo>
                <a:cubicBezTo>
                  <a:pt x="1568" y="4873"/>
                  <a:pt x="1667" y="4842"/>
                  <a:pt x="1758" y="4842"/>
                </a:cubicBezTo>
                <a:cubicBezTo>
                  <a:pt x="1823" y="4842"/>
                  <a:pt x="1883" y="4858"/>
                  <a:pt x="1923" y="4884"/>
                </a:cubicBezTo>
                <a:cubicBezTo>
                  <a:pt x="3718" y="6238"/>
                  <a:pt x="3592" y="6144"/>
                  <a:pt x="3750" y="6207"/>
                </a:cubicBezTo>
                <a:cubicBezTo>
                  <a:pt x="3834" y="6207"/>
                  <a:pt x="3876" y="6221"/>
                  <a:pt x="3913" y="6221"/>
                </a:cubicBezTo>
                <a:cubicBezTo>
                  <a:pt x="3932" y="6221"/>
                  <a:pt x="3949" y="6217"/>
                  <a:pt x="3970" y="6207"/>
                </a:cubicBezTo>
                <a:cubicBezTo>
                  <a:pt x="5231" y="6238"/>
                  <a:pt x="5483" y="6617"/>
                  <a:pt x="5483" y="7215"/>
                </a:cubicBezTo>
                <a:cubicBezTo>
                  <a:pt x="5483" y="7404"/>
                  <a:pt x="5640" y="7562"/>
                  <a:pt x="5829" y="7562"/>
                </a:cubicBezTo>
                <a:cubicBezTo>
                  <a:pt x="6018" y="7562"/>
                  <a:pt x="6176" y="7404"/>
                  <a:pt x="6176" y="7215"/>
                </a:cubicBezTo>
                <a:cubicBezTo>
                  <a:pt x="6176" y="6554"/>
                  <a:pt x="5924" y="6081"/>
                  <a:pt x="5388" y="5797"/>
                </a:cubicBezTo>
                <a:cubicBezTo>
                  <a:pt x="5073" y="5640"/>
                  <a:pt x="4663" y="5514"/>
                  <a:pt x="4128" y="5514"/>
                </a:cubicBezTo>
                <a:cubicBezTo>
                  <a:pt x="3624" y="4348"/>
                  <a:pt x="2836" y="2647"/>
                  <a:pt x="2805" y="2615"/>
                </a:cubicBezTo>
                <a:cubicBezTo>
                  <a:pt x="2710" y="2458"/>
                  <a:pt x="2805" y="2206"/>
                  <a:pt x="2962" y="2143"/>
                </a:cubicBezTo>
                <a:cubicBezTo>
                  <a:pt x="3015" y="2111"/>
                  <a:pt x="3071" y="2097"/>
                  <a:pt x="3126" y="2097"/>
                </a:cubicBezTo>
                <a:cubicBezTo>
                  <a:pt x="3235" y="2097"/>
                  <a:pt x="3340" y="2153"/>
                  <a:pt x="3403" y="2237"/>
                </a:cubicBezTo>
                <a:lnTo>
                  <a:pt x="4852" y="4695"/>
                </a:lnTo>
                <a:cubicBezTo>
                  <a:pt x="4905" y="4799"/>
                  <a:pt x="5022" y="4860"/>
                  <a:pt x="5150" y="4860"/>
                </a:cubicBezTo>
                <a:cubicBezTo>
                  <a:pt x="5176" y="4860"/>
                  <a:pt x="5204" y="4858"/>
                  <a:pt x="5231" y="4852"/>
                </a:cubicBezTo>
                <a:cubicBezTo>
                  <a:pt x="5388" y="4821"/>
                  <a:pt x="5483" y="4695"/>
                  <a:pt x="5483" y="4537"/>
                </a:cubicBezTo>
                <a:lnTo>
                  <a:pt x="5483" y="1072"/>
                </a:lnTo>
                <a:cubicBezTo>
                  <a:pt x="5483" y="883"/>
                  <a:pt x="5640" y="725"/>
                  <a:pt x="5829" y="725"/>
                </a:cubicBezTo>
                <a:close/>
                <a:moveTo>
                  <a:pt x="8822" y="7310"/>
                </a:moveTo>
                <a:cubicBezTo>
                  <a:pt x="10082" y="7688"/>
                  <a:pt x="10901" y="8318"/>
                  <a:pt x="10901" y="8916"/>
                </a:cubicBezTo>
                <a:cubicBezTo>
                  <a:pt x="10996" y="9925"/>
                  <a:pt x="8791" y="10996"/>
                  <a:pt x="5829" y="10996"/>
                </a:cubicBezTo>
                <a:cubicBezTo>
                  <a:pt x="2868" y="10996"/>
                  <a:pt x="662" y="9988"/>
                  <a:pt x="662" y="8948"/>
                </a:cubicBezTo>
                <a:cubicBezTo>
                  <a:pt x="662" y="8412"/>
                  <a:pt x="1387" y="7814"/>
                  <a:pt x="2490" y="7404"/>
                </a:cubicBezTo>
                <a:lnTo>
                  <a:pt x="2553" y="7499"/>
                </a:lnTo>
                <a:cubicBezTo>
                  <a:pt x="2679" y="7625"/>
                  <a:pt x="2773" y="7782"/>
                  <a:pt x="2773" y="7940"/>
                </a:cubicBezTo>
                <a:cubicBezTo>
                  <a:pt x="2206" y="8097"/>
                  <a:pt x="1387" y="8349"/>
                  <a:pt x="1387" y="8948"/>
                </a:cubicBezTo>
                <a:cubicBezTo>
                  <a:pt x="1387" y="9231"/>
                  <a:pt x="1544" y="9452"/>
                  <a:pt x="1860" y="9672"/>
                </a:cubicBezTo>
                <a:cubicBezTo>
                  <a:pt x="2773" y="10208"/>
                  <a:pt x="4726" y="10334"/>
                  <a:pt x="5798" y="10334"/>
                </a:cubicBezTo>
                <a:cubicBezTo>
                  <a:pt x="6869" y="10334"/>
                  <a:pt x="8822" y="10208"/>
                  <a:pt x="9736" y="9672"/>
                </a:cubicBezTo>
                <a:cubicBezTo>
                  <a:pt x="10051" y="9452"/>
                  <a:pt x="10208" y="9231"/>
                  <a:pt x="10208" y="8948"/>
                </a:cubicBezTo>
                <a:cubicBezTo>
                  <a:pt x="10208" y="8349"/>
                  <a:pt x="9421" y="8097"/>
                  <a:pt x="8822" y="7940"/>
                </a:cubicBezTo>
                <a:lnTo>
                  <a:pt x="8822" y="7310"/>
                </a:lnTo>
                <a:close/>
                <a:moveTo>
                  <a:pt x="5829" y="1"/>
                </a:moveTo>
                <a:cubicBezTo>
                  <a:pt x="5294" y="1"/>
                  <a:pt x="4821" y="473"/>
                  <a:pt x="4821" y="1072"/>
                </a:cubicBezTo>
                <a:lnTo>
                  <a:pt x="4821" y="3309"/>
                </a:lnTo>
                <a:lnTo>
                  <a:pt x="4002" y="1954"/>
                </a:lnTo>
                <a:cubicBezTo>
                  <a:pt x="3807" y="1608"/>
                  <a:pt x="3464" y="1440"/>
                  <a:pt x="3115" y="1440"/>
                </a:cubicBezTo>
                <a:cubicBezTo>
                  <a:pt x="2956" y="1440"/>
                  <a:pt x="2795" y="1475"/>
                  <a:pt x="2647" y="1544"/>
                </a:cubicBezTo>
                <a:cubicBezTo>
                  <a:pt x="2143" y="1765"/>
                  <a:pt x="1923" y="2426"/>
                  <a:pt x="2175" y="2930"/>
                </a:cubicBezTo>
                <a:cubicBezTo>
                  <a:pt x="2206" y="2993"/>
                  <a:pt x="2679" y="4033"/>
                  <a:pt x="3088" y="4915"/>
                </a:cubicBezTo>
                <a:lnTo>
                  <a:pt x="2332" y="4380"/>
                </a:lnTo>
                <a:cubicBezTo>
                  <a:pt x="2157" y="4233"/>
                  <a:pt x="1933" y="4162"/>
                  <a:pt x="1710" y="4162"/>
                </a:cubicBezTo>
                <a:cubicBezTo>
                  <a:pt x="1452" y="4162"/>
                  <a:pt x="1195" y="4257"/>
                  <a:pt x="1009" y="4443"/>
                </a:cubicBezTo>
                <a:cubicBezTo>
                  <a:pt x="599" y="4852"/>
                  <a:pt x="599" y="5514"/>
                  <a:pt x="1009" y="5923"/>
                </a:cubicBezTo>
                <a:lnTo>
                  <a:pt x="1986" y="6900"/>
                </a:lnTo>
                <a:cubicBezTo>
                  <a:pt x="725" y="7404"/>
                  <a:pt x="1" y="8160"/>
                  <a:pt x="1" y="8948"/>
                </a:cubicBezTo>
                <a:cubicBezTo>
                  <a:pt x="1" y="9736"/>
                  <a:pt x="631" y="10460"/>
                  <a:pt x="1828" y="10964"/>
                </a:cubicBezTo>
                <a:cubicBezTo>
                  <a:pt x="2868" y="11437"/>
                  <a:pt x="4348" y="11689"/>
                  <a:pt x="5829" y="11689"/>
                </a:cubicBezTo>
                <a:cubicBezTo>
                  <a:pt x="8948" y="11689"/>
                  <a:pt x="11658" y="10586"/>
                  <a:pt x="11658" y="8979"/>
                </a:cubicBezTo>
                <a:cubicBezTo>
                  <a:pt x="11658" y="8003"/>
                  <a:pt x="10744" y="7184"/>
                  <a:pt x="9169" y="6680"/>
                </a:cubicBezTo>
                <a:lnTo>
                  <a:pt x="10649" y="5199"/>
                </a:lnTo>
                <a:cubicBezTo>
                  <a:pt x="11027" y="4821"/>
                  <a:pt x="11027" y="4159"/>
                  <a:pt x="10649" y="3750"/>
                </a:cubicBezTo>
                <a:cubicBezTo>
                  <a:pt x="10445" y="3561"/>
                  <a:pt x="10185" y="3466"/>
                  <a:pt x="9929" y="3466"/>
                </a:cubicBezTo>
                <a:cubicBezTo>
                  <a:pt x="9673" y="3466"/>
                  <a:pt x="9421" y="3561"/>
                  <a:pt x="9232" y="3750"/>
                </a:cubicBezTo>
                <a:cubicBezTo>
                  <a:pt x="9137" y="3844"/>
                  <a:pt x="9074" y="3876"/>
                  <a:pt x="8948" y="4002"/>
                </a:cubicBezTo>
                <a:cubicBezTo>
                  <a:pt x="8980" y="3876"/>
                  <a:pt x="9421" y="3025"/>
                  <a:pt x="9484" y="2930"/>
                </a:cubicBezTo>
                <a:cubicBezTo>
                  <a:pt x="9736" y="2426"/>
                  <a:pt x="9547" y="1765"/>
                  <a:pt x="9011" y="1544"/>
                </a:cubicBezTo>
                <a:cubicBezTo>
                  <a:pt x="8873" y="1475"/>
                  <a:pt x="8719" y="1440"/>
                  <a:pt x="8564" y="1440"/>
                </a:cubicBezTo>
                <a:cubicBezTo>
                  <a:pt x="8226" y="1440"/>
                  <a:pt x="7883" y="1608"/>
                  <a:pt x="7688" y="1954"/>
                </a:cubicBezTo>
                <a:lnTo>
                  <a:pt x="6869" y="3309"/>
                </a:lnTo>
                <a:lnTo>
                  <a:pt x="6869" y="1072"/>
                </a:lnTo>
                <a:cubicBezTo>
                  <a:pt x="6869" y="505"/>
                  <a:pt x="6396"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5" name="Google Shape;10035;p78"/>
          <p:cNvSpPr/>
          <p:nvPr/>
        </p:nvSpPr>
        <p:spPr>
          <a:xfrm>
            <a:off x="1299154" y="3383782"/>
            <a:ext cx="353587" cy="353557"/>
          </a:xfrm>
          <a:custGeom>
            <a:avLst/>
            <a:gdLst/>
            <a:ahLst/>
            <a:cxnLst/>
            <a:rect l="l" t="t" r="r" b="b"/>
            <a:pathLst>
              <a:path w="11658" h="11657" extrusionOk="0">
                <a:moveTo>
                  <a:pt x="5829" y="662"/>
                </a:moveTo>
                <a:cubicBezTo>
                  <a:pt x="6396" y="662"/>
                  <a:pt x="6869" y="1134"/>
                  <a:pt x="6869" y="1670"/>
                </a:cubicBezTo>
                <a:cubicBezTo>
                  <a:pt x="6869" y="2237"/>
                  <a:pt x="6396" y="2741"/>
                  <a:pt x="5829" y="2741"/>
                </a:cubicBezTo>
                <a:cubicBezTo>
                  <a:pt x="5294" y="2710"/>
                  <a:pt x="4821" y="2237"/>
                  <a:pt x="4821" y="1670"/>
                </a:cubicBezTo>
                <a:cubicBezTo>
                  <a:pt x="4821" y="1134"/>
                  <a:pt x="5294" y="662"/>
                  <a:pt x="5829" y="662"/>
                </a:cubicBezTo>
                <a:close/>
                <a:moveTo>
                  <a:pt x="5829" y="3403"/>
                </a:moveTo>
                <a:cubicBezTo>
                  <a:pt x="7058" y="3403"/>
                  <a:pt x="8034" y="4316"/>
                  <a:pt x="8192" y="5451"/>
                </a:cubicBezTo>
                <a:lnTo>
                  <a:pt x="3466" y="5451"/>
                </a:lnTo>
                <a:cubicBezTo>
                  <a:pt x="3624" y="4285"/>
                  <a:pt x="4600" y="3403"/>
                  <a:pt x="5829" y="3403"/>
                </a:cubicBezTo>
                <a:close/>
                <a:moveTo>
                  <a:pt x="1702" y="8885"/>
                </a:moveTo>
                <a:cubicBezTo>
                  <a:pt x="2269" y="8885"/>
                  <a:pt x="2710" y="9357"/>
                  <a:pt x="2710" y="9924"/>
                </a:cubicBezTo>
                <a:cubicBezTo>
                  <a:pt x="2710" y="10460"/>
                  <a:pt x="2269" y="10932"/>
                  <a:pt x="1702" y="10932"/>
                </a:cubicBezTo>
                <a:cubicBezTo>
                  <a:pt x="1135" y="10932"/>
                  <a:pt x="694" y="10460"/>
                  <a:pt x="694" y="9924"/>
                </a:cubicBezTo>
                <a:cubicBezTo>
                  <a:pt x="694" y="9357"/>
                  <a:pt x="1135" y="8885"/>
                  <a:pt x="1702" y="8885"/>
                </a:cubicBezTo>
                <a:close/>
                <a:moveTo>
                  <a:pt x="5829" y="8885"/>
                </a:moveTo>
                <a:cubicBezTo>
                  <a:pt x="6396" y="8885"/>
                  <a:pt x="6869" y="9357"/>
                  <a:pt x="6869" y="9924"/>
                </a:cubicBezTo>
                <a:cubicBezTo>
                  <a:pt x="6869" y="10460"/>
                  <a:pt x="6396" y="10932"/>
                  <a:pt x="5829" y="10932"/>
                </a:cubicBezTo>
                <a:cubicBezTo>
                  <a:pt x="5294" y="10932"/>
                  <a:pt x="4821" y="10460"/>
                  <a:pt x="4821" y="9924"/>
                </a:cubicBezTo>
                <a:cubicBezTo>
                  <a:pt x="4821" y="9357"/>
                  <a:pt x="5294" y="8885"/>
                  <a:pt x="5829" y="8885"/>
                </a:cubicBezTo>
                <a:close/>
                <a:moveTo>
                  <a:pt x="9956" y="8885"/>
                </a:moveTo>
                <a:cubicBezTo>
                  <a:pt x="10523" y="8885"/>
                  <a:pt x="10996" y="9357"/>
                  <a:pt x="10996" y="9924"/>
                </a:cubicBezTo>
                <a:cubicBezTo>
                  <a:pt x="10996" y="10460"/>
                  <a:pt x="10523" y="10932"/>
                  <a:pt x="9956" y="10932"/>
                </a:cubicBezTo>
                <a:cubicBezTo>
                  <a:pt x="9421" y="10932"/>
                  <a:pt x="8948" y="10460"/>
                  <a:pt x="8948" y="9924"/>
                </a:cubicBezTo>
                <a:cubicBezTo>
                  <a:pt x="8948" y="9357"/>
                  <a:pt x="9421" y="8885"/>
                  <a:pt x="9956" y="8885"/>
                </a:cubicBezTo>
                <a:close/>
                <a:moveTo>
                  <a:pt x="5829" y="0"/>
                </a:moveTo>
                <a:cubicBezTo>
                  <a:pt x="4884" y="0"/>
                  <a:pt x="4128" y="725"/>
                  <a:pt x="4128" y="1670"/>
                </a:cubicBezTo>
                <a:cubicBezTo>
                  <a:pt x="4128" y="2143"/>
                  <a:pt x="4285" y="2584"/>
                  <a:pt x="4663" y="2899"/>
                </a:cubicBezTo>
                <a:lnTo>
                  <a:pt x="4695" y="2930"/>
                </a:lnTo>
                <a:cubicBezTo>
                  <a:pt x="3561" y="3403"/>
                  <a:pt x="2773" y="4505"/>
                  <a:pt x="2773" y="5766"/>
                </a:cubicBezTo>
                <a:cubicBezTo>
                  <a:pt x="2773" y="5955"/>
                  <a:pt x="2931" y="6144"/>
                  <a:pt x="3120" y="6144"/>
                </a:cubicBezTo>
                <a:lnTo>
                  <a:pt x="5514" y="6144"/>
                </a:lnTo>
                <a:lnTo>
                  <a:pt x="5514" y="6837"/>
                </a:lnTo>
                <a:lnTo>
                  <a:pt x="2395" y="6837"/>
                </a:lnTo>
                <a:cubicBezTo>
                  <a:pt x="1860" y="6837"/>
                  <a:pt x="1387" y="7309"/>
                  <a:pt x="1387" y="7876"/>
                </a:cubicBezTo>
                <a:lnTo>
                  <a:pt x="1387" y="8254"/>
                </a:lnTo>
                <a:cubicBezTo>
                  <a:pt x="599" y="8412"/>
                  <a:pt x="1" y="9137"/>
                  <a:pt x="1" y="9956"/>
                </a:cubicBezTo>
                <a:cubicBezTo>
                  <a:pt x="1" y="10901"/>
                  <a:pt x="757" y="11657"/>
                  <a:pt x="1702" y="11657"/>
                </a:cubicBezTo>
                <a:cubicBezTo>
                  <a:pt x="2647" y="11657"/>
                  <a:pt x="3403" y="10901"/>
                  <a:pt x="3403" y="9956"/>
                </a:cubicBezTo>
                <a:cubicBezTo>
                  <a:pt x="3403" y="9137"/>
                  <a:pt x="2805" y="8412"/>
                  <a:pt x="2017" y="8254"/>
                </a:cubicBezTo>
                <a:lnTo>
                  <a:pt x="2017" y="7876"/>
                </a:lnTo>
                <a:cubicBezTo>
                  <a:pt x="2017" y="7656"/>
                  <a:pt x="2175" y="7498"/>
                  <a:pt x="2364" y="7498"/>
                </a:cubicBezTo>
                <a:lnTo>
                  <a:pt x="5483" y="7498"/>
                </a:lnTo>
                <a:lnTo>
                  <a:pt x="5483" y="8223"/>
                </a:lnTo>
                <a:cubicBezTo>
                  <a:pt x="4695" y="8380"/>
                  <a:pt x="4096" y="9074"/>
                  <a:pt x="4096" y="9924"/>
                </a:cubicBezTo>
                <a:cubicBezTo>
                  <a:pt x="4096" y="10869"/>
                  <a:pt x="4852" y="11594"/>
                  <a:pt x="5798" y="11594"/>
                </a:cubicBezTo>
                <a:cubicBezTo>
                  <a:pt x="6743" y="11594"/>
                  <a:pt x="7499" y="10869"/>
                  <a:pt x="7499" y="9924"/>
                </a:cubicBezTo>
                <a:cubicBezTo>
                  <a:pt x="7499" y="9074"/>
                  <a:pt x="6900" y="8380"/>
                  <a:pt x="6113" y="8223"/>
                </a:cubicBezTo>
                <a:lnTo>
                  <a:pt x="6113" y="7498"/>
                </a:lnTo>
                <a:lnTo>
                  <a:pt x="9232" y="7498"/>
                </a:lnTo>
                <a:cubicBezTo>
                  <a:pt x="9421" y="7498"/>
                  <a:pt x="9578" y="7656"/>
                  <a:pt x="9578" y="7876"/>
                </a:cubicBezTo>
                <a:lnTo>
                  <a:pt x="9578" y="8254"/>
                </a:lnTo>
                <a:cubicBezTo>
                  <a:pt x="8791" y="8412"/>
                  <a:pt x="8192" y="9137"/>
                  <a:pt x="8192" y="9956"/>
                </a:cubicBezTo>
                <a:cubicBezTo>
                  <a:pt x="8192" y="10901"/>
                  <a:pt x="8948" y="11657"/>
                  <a:pt x="9893" y="11657"/>
                </a:cubicBezTo>
                <a:cubicBezTo>
                  <a:pt x="10838" y="11657"/>
                  <a:pt x="11595" y="10901"/>
                  <a:pt x="11595" y="9956"/>
                </a:cubicBezTo>
                <a:cubicBezTo>
                  <a:pt x="11658" y="9074"/>
                  <a:pt x="11059" y="8412"/>
                  <a:pt x="10271" y="8254"/>
                </a:cubicBezTo>
                <a:lnTo>
                  <a:pt x="10271" y="7876"/>
                </a:lnTo>
                <a:cubicBezTo>
                  <a:pt x="10271" y="7309"/>
                  <a:pt x="9799" y="6837"/>
                  <a:pt x="9263" y="6837"/>
                </a:cubicBezTo>
                <a:lnTo>
                  <a:pt x="6144" y="6837"/>
                </a:lnTo>
                <a:lnTo>
                  <a:pt x="6144" y="6144"/>
                </a:lnTo>
                <a:lnTo>
                  <a:pt x="8539" y="6144"/>
                </a:lnTo>
                <a:cubicBezTo>
                  <a:pt x="8759" y="6144"/>
                  <a:pt x="8917" y="5955"/>
                  <a:pt x="8917" y="5766"/>
                </a:cubicBezTo>
                <a:cubicBezTo>
                  <a:pt x="8917" y="4474"/>
                  <a:pt x="8129" y="3371"/>
                  <a:pt x="6963" y="2930"/>
                </a:cubicBezTo>
                <a:lnTo>
                  <a:pt x="7026" y="2899"/>
                </a:lnTo>
                <a:cubicBezTo>
                  <a:pt x="7341" y="2584"/>
                  <a:pt x="7530" y="2143"/>
                  <a:pt x="7530" y="1670"/>
                </a:cubicBezTo>
                <a:cubicBezTo>
                  <a:pt x="7530" y="725"/>
                  <a:pt x="677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78"/>
          <p:cNvSpPr/>
          <p:nvPr/>
        </p:nvSpPr>
        <p:spPr>
          <a:xfrm>
            <a:off x="1290085" y="3843815"/>
            <a:ext cx="371724" cy="354285"/>
          </a:xfrm>
          <a:custGeom>
            <a:avLst/>
            <a:gdLst/>
            <a:ahLst/>
            <a:cxnLst/>
            <a:rect l="l" t="t" r="r" b="b"/>
            <a:pathLst>
              <a:path w="12256" h="11681" extrusionOk="0">
                <a:moveTo>
                  <a:pt x="8853" y="2072"/>
                </a:moveTo>
                <a:cubicBezTo>
                  <a:pt x="9121" y="2072"/>
                  <a:pt x="9389" y="2174"/>
                  <a:pt x="9578" y="2379"/>
                </a:cubicBezTo>
                <a:cubicBezTo>
                  <a:pt x="9987" y="2757"/>
                  <a:pt x="9987" y="3418"/>
                  <a:pt x="9578" y="3828"/>
                </a:cubicBezTo>
                <a:lnTo>
                  <a:pt x="8601" y="4805"/>
                </a:lnTo>
                <a:cubicBezTo>
                  <a:pt x="8444" y="4490"/>
                  <a:pt x="8254" y="4206"/>
                  <a:pt x="8002" y="3954"/>
                </a:cubicBezTo>
                <a:cubicBezTo>
                  <a:pt x="7782" y="3702"/>
                  <a:pt x="7467" y="3481"/>
                  <a:pt x="7152" y="3355"/>
                </a:cubicBezTo>
                <a:lnTo>
                  <a:pt x="8128" y="2379"/>
                </a:lnTo>
                <a:cubicBezTo>
                  <a:pt x="8317" y="2174"/>
                  <a:pt x="8585" y="2072"/>
                  <a:pt x="8853" y="2072"/>
                </a:cubicBezTo>
                <a:close/>
                <a:moveTo>
                  <a:pt x="5794" y="5110"/>
                </a:moveTo>
                <a:cubicBezTo>
                  <a:pt x="6066" y="5110"/>
                  <a:pt x="6350" y="5200"/>
                  <a:pt x="6553" y="5403"/>
                </a:cubicBezTo>
                <a:cubicBezTo>
                  <a:pt x="6837" y="5687"/>
                  <a:pt x="6900" y="6096"/>
                  <a:pt x="6774" y="6474"/>
                </a:cubicBezTo>
                <a:cubicBezTo>
                  <a:pt x="6675" y="6501"/>
                  <a:pt x="6569" y="6515"/>
                  <a:pt x="6462" y="6515"/>
                </a:cubicBezTo>
                <a:cubicBezTo>
                  <a:pt x="6192" y="6515"/>
                  <a:pt x="5915" y="6425"/>
                  <a:pt x="5734" y="6222"/>
                </a:cubicBezTo>
                <a:cubicBezTo>
                  <a:pt x="5451" y="5939"/>
                  <a:pt x="5356" y="5529"/>
                  <a:pt x="5482" y="5151"/>
                </a:cubicBezTo>
                <a:cubicBezTo>
                  <a:pt x="5580" y="5124"/>
                  <a:pt x="5686" y="5110"/>
                  <a:pt x="5794" y="5110"/>
                </a:cubicBezTo>
                <a:close/>
                <a:moveTo>
                  <a:pt x="8869" y="662"/>
                </a:moveTo>
                <a:cubicBezTo>
                  <a:pt x="9475" y="662"/>
                  <a:pt x="10082" y="898"/>
                  <a:pt x="10554" y="1371"/>
                </a:cubicBezTo>
                <a:cubicBezTo>
                  <a:pt x="11499" y="2316"/>
                  <a:pt x="11499" y="3828"/>
                  <a:pt x="10554" y="4773"/>
                </a:cubicBezTo>
                <a:lnTo>
                  <a:pt x="8160" y="7167"/>
                </a:lnTo>
                <a:cubicBezTo>
                  <a:pt x="7687" y="7640"/>
                  <a:pt x="7081" y="7876"/>
                  <a:pt x="6474" y="7876"/>
                </a:cubicBezTo>
                <a:cubicBezTo>
                  <a:pt x="5868" y="7876"/>
                  <a:pt x="5262" y="7640"/>
                  <a:pt x="4789" y="7167"/>
                </a:cubicBezTo>
                <a:cubicBezTo>
                  <a:pt x="4537" y="6947"/>
                  <a:pt x="4348" y="6632"/>
                  <a:pt x="4222" y="6254"/>
                </a:cubicBezTo>
                <a:lnTo>
                  <a:pt x="4789" y="5718"/>
                </a:lnTo>
                <a:cubicBezTo>
                  <a:pt x="4820" y="6065"/>
                  <a:pt x="4978" y="6411"/>
                  <a:pt x="5262" y="6695"/>
                </a:cubicBezTo>
                <a:cubicBezTo>
                  <a:pt x="5592" y="7026"/>
                  <a:pt x="6026" y="7191"/>
                  <a:pt x="6459" y="7191"/>
                </a:cubicBezTo>
                <a:cubicBezTo>
                  <a:pt x="6892" y="7191"/>
                  <a:pt x="7325" y="7026"/>
                  <a:pt x="7656" y="6695"/>
                </a:cubicBezTo>
                <a:lnTo>
                  <a:pt x="10050" y="4301"/>
                </a:lnTo>
                <a:cubicBezTo>
                  <a:pt x="10712" y="3639"/>
                  <a:pt x="10712" y="2568"/>
                  <a:pt x="10050" y="1906"/>
                </a:cubicBezTo>
                <a:cubicBezTo>
                  <a:pt x="9719" y="1560"/>
                  <a:pt x="9286" y="1386"/>
                  <a:pt x="8853" y="1386"/>
                </a:cubicBezTo>
                <a:cubicBezTo>
                  <a:pt x="8420" y="1386"/>
                  <a:pt x="7987" y="1560"/>
                  <a:pt x="7656" y="1906"/>
                </a:cubicBezTo>
                <a:lnTo>
                  <a:pt x="6427" y="3103"/>
                </a:lnTo>
                <a:cubicBezTo>
                  <a:pt x="6243" y="3066"/>
                  <a:pt x="6058" y="3051"/>
                  <a:pt x="5874" y="3051"/>
                </a:cubicBezTo>
                <a:cubicBezTo>
                  <a:pt x="5743" y="3051"/>
                  <a:pt x="5613" y="3059"/>
                  <a:pt x="5482" y="3072"/>
                </a:cubicBezTo>
                <a:lnTo>
                  <a:pt x="7183" y="1371"/>
                </a:lnTo>
                <a:cubicBezTo>
                  <a:pt x="7656" y="898"/>
                  <a:pt x="8262" y="662"/>
                  <a:pt x="8869" y="662"/>
                </a:cubicBezTo>
                <a:close/>
                <a:moveTo>
                  <a:pt x="3686" y="6821"/>
                </a:moveTo>
                <a:cubicBezTo>
                  <a:pt x="3844" y="7136"/>
                  <a:pt x="4033" y="7420"/>
                  <a:pt x="4253" y="7672"/>
                </a:cubicBezTo>
                <a:cubicBezTo>
                  <a:pt x="4505" y="7924"/>
                  <a:pt x="4820" y="8144"/>
                  <a:pt x="5135" y="8270"/>
                </a:cubicBezTo>
                <a:lnTo>
                  <a:pt x="4096" y="9278"/>
                </a:lnTo>
                <a:cubicBezTo>
                  <a:pt x="3907" y="9483"/>
                  <a:pt x="3647" y="9585"/>
                  <a:pt x="3383" y="9585"/>
                </a:cubicBezTo>
                <a:cubicBezTo>
                  <a:pt x="3119" y="9585"/>
                  <a:pt x="2851" y="9483"/>
                  <a:pt x="2647" y="9278"/>
                </a:cubicBezTo>
                <a:cubicBezTo>
                  <a:pt x="2269" y="8900"/>
                  <a:pt x="2269" y="8239"/>
                  <a:pt x="2647" y="7829"/>
                </a:cubicBezTo>
                <a:lnTo>
                  <a:pt x="3686" y="6821"/>
                </a:lnTo>
                <a:close/>
                <a:moveTo>
                  <a:pt x="5844" y="3718"/>
                </a:moveTo>
                <a:cubicBezTo>
                  <a:pt x="6451" y="3718"/>
                  <a:pt x="7057" y="3954"/>
                  <a:pt x="7530" y="4427"/>
                </a:cubicBezTo>
                <a:cubicBezTo>
                  <a:pt x="7782" y="4647"/>
                  <a:pt x="7971" y="4962"/>
                  <a:pt x="8097" y="5309"/>
                </a:cubicBezTo>
                <a:lnTo>
                  <a:pt x="7530" y="5876"/>
                </a:lnTo>
                <a:cubicBezTo>
                  <a:pt x="7498" y="5529"/>
                  <a:pt x="7341" y="5151"/>
                  <a:pt x="7057" y="4899"/>
                </a:cubicBezTo>
                <a:cubicBezTo>
                  <a:pt x="6726" y="4553"/>
                  <a:pt x="6293" y="4379"/>
                  <a:pt x="5860" y="4379"/>
                </a:cubicBezTo>
                <a:cubicBezTo>
                  <a:pt x="5427" y="4379"/>
                  <a:pt x="4994" y="4553"/>
                  <a:pt x="4663" y="4899"/>
                </a:cubicBezTo>
                <a:lnTo>
                  <a:pt x="2174" y="7357"/>
                </a:lnTo>
                <a:cubicBezTo>
                  <a:pt x="1512" y="8050"/>
                  <a:pt x="1512" y="9089"/>
                  <a:pt x="2174" y="9782"/>
                </a:cubicBezTo>
                <a:cubicBezTo>
                  <a:pt x="2505" y="10113"/>
                  <a:pt x="2938" y="10279"/>
                  <a:pt x="3371" y="10279"/>
                </a:cubicBezTo>
                <a:cubicBezTo>
                  <a:pt x="3804" y="10279"/>
                  <a:pt x="4238" y="10113"/>
                  <a:pt x="4568" y="9782"/>
                </a:cubicBezTo>
                <a:lnTo>
                  <a:pt x="5892" y="8459"/>
                </a:lnTo>
                <a:cubicBezTo>
                  <a:pt x="6122" y="8505"/>
                  <a:pt x="6336" y="8535"/>
                  <a:pt x="6570" y="8535"/>
                </a:cubicBezTo>
                <a:cubicBezTo>
                  <a:pt x="6656" y="8535"/>
                  <a:pt x="6744" y="8531"/>
                  <a:pt x="6837" y="8522"/>
                </a:cubicBezTo>
                <a:lnTo>
                  <a:pt x="6837" y="8522"/>
                </a:lnTo>
                <a:lnTo>
                  <a:pt x="5041" y="10286"/>
                </a:lnTo>
                <a:cubicBezTo>
                  <a:pt x="4568" y="10759"/>
                  <a:pt x="3962" y="10995"/>
                  <a:pt x="3355" y="10995"/>
                </a:cubicBezTo>
                <a:cubicBezTo>
                  <a:pt x="2749" y="10995"/>
                  <a:pt x="2143" y="10759"/>
                  <a:pt x="1670" y="10286"/>
                </a:cubicBezTo>
                <a:cubicBezTo>
                  <a:pt x="725" y="9341"/>
                  <a:pt x="725" y="7829"/>
                  <a:pt x="1670" y="6884"/>
                </a:cubicBezTo>
                <a:lnTo>
                  <a:pt x="4159" y="4427"/>
                </a:lnTo>
                <a:cubicBezTo>
                  <a:pt x="4631" y="3954"/>
                  <a:pt x="5238" y="3718"/>
                  <a:pt x="5844" y="3718"/>
                </a:cubicBezTo>
                <a:close/>
                <a:moveTo>
                  <a:pt x="8869" y="0"/>
                </a:moveTo>
                <a:cubicBezTo>
                  <a:pt x="8081" y="0"/>
                  <a:pt x="7294" y="299"/>
                  <a:pt x="6711" y="898"/>
                </a:cubicBezTo>
                <a:lnTo>
                  <a:pt x="1197" y="6411"/>
                </a:lnTo>
                <a:cubicBezTo>
                  <a:pt x="0" y="7609"/>
                  <a:pt x="0" y="9562"/>
                  <a:pt x="1197" y="10759"/>
                </a:cubicBezTo>
                <a:cubicBezTo>
                  <a:pt x="1812" y="11373"/>
                  <a:pt x="2599" y="11681"/>
                  <a:pt x="3379" y="11681"/>
                </a:cubicBezTo>
                <a:cubicBezTo>
                  <a:pt x="4159" y="11681"/>
                  <a:pt x="4931" y="11373"/>
                  <a:pt x="5514" y="10759"/>
                </a:cubicBezTo>
                <a:lnTo>
                  <a:pt x="11027" y="5246"/>
                </a:lnTo>
                <a:cubicBezTo>
                  <a:pt x="12256" y="4017"/>
                  <a:pt x="12256" y="2095"/>
                  <a:pt x="11027" y="898"/>
                </a:cubicBezTo>
                <a:cubicBezTo>
                  <a:pt x="10444" y="299"/>
                  <a:pt x="9656" y="0"/>
                  <a:pt x="88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7" name="Google Shape;10037;p78"/>
          <p:cNvGrpSpPr/>
          <p:nvPr/>
        </p:nvGrpSpPr>
        <p:grpSpPr>
          <a:xfrm>
            <a:off x="3537620" y="2915837"/>
            <a:ext cx="353587" cy="352617"/>
            <a:chOff x="-30805300" y="1938725"/>
            <a:chExt cx="291450" cy="290650"/>
          </a:xfrm>
        </p:grpSpPr>
        <p:sp>
          <p:nvSpPr>
            <p:cNvPr id="10038" name="Google Shape;10038;p78"/>
            <p:cNvSpPr/>
            <p:nvPr/>
          </p:nvSpPr>
          <p:spPr>
            <a:xfrm>
              <a:off x="-30805300" y="1938725"/>
              <a:ext cx="291450" cy="290650"/>
            </a:xfrm>
            <a:custGeom>
              <a:avLst/>
              <a:gdLst/>
              <a:ahLst/>
              <a:cxnLst/>
              <a:rect l="l" t="t" r="r" b="b"/>
              <a:pathLst>
                <a:path w="11658" h="11626" extrusionOk="0">
                  <a:moveTo>
                    <a:pt x="6806" y="694"/>
                  </a:moveTo>
                  <a:lnTo>
                    <a:pt x="6806" y="1450"/>
                  </a:lnTo>
                  <a:lnTo>
                    <a:pt x="6112" y="1450"/>
                  </a:lnTo>
                  <a:lnTo>
                    <a:pt x="6112" y="694"/>
                  </a:lnTo>
                  <a:close/>
                  <a:moveTo>
                    <a:pt x="10586" y="4821"/>
                  </a:moveTo>
                  <a:cubicBezTo>
                    <a:pt x="10807" y="4821"/>
                    <a:pt x="10964" y="5010"/>
                    <a:pt x="10964" y="5199"/>
                  </a:cubicBezTo>
                  <a:cubicBezTo>
                    <a:pt x="10964" y="5388"/>
                    <a:pt x="10807" y="5545"/>
                    <a:pt x="10586" y="5545"/>
                  </a:cubicBezTo>
                  <a:lnTo>
                    <a:pt x="8570" y="5545"/>
                  </a:lnTo>
                  <a:cubicBezTo>
                    <a:pt x="8349" y="5545"/>
                    <a:pt x="8192" y="5388"/>
                    <a:pt x="8192" y="5199"/>
                  </a:cubicBezTo>
                  <a:cubicBezTo>
                    <a:pt x="8192" y="5010"/>
                    <a:pt x="8349" y="4821"/>
                    <a:pt x="8570" y="4821"/>
                  </a:cubicBezTo>
                  <a:close/>
                  <a:moveTo>
                    <a:pt x="6459" y="3529"/>
                  </a:moveTo>
                  <a:cubicBezTo>
                    <a:pt x="7089" y="3529"/>
                    <a:pt x="7656" y="3844"/>
                    <a:pt x="7971" y="4411"/>
                  </a:cubicBezTo>
                  <a:cubicBezTo>
                    <a:pt x="7688" y="4600"/>
                    <a:pt x="7499" y="4915"/>
                    <a:pt x="7499" y="5262"/>
                  </a:cubicBezTo>
                  <a:cubicBezTo>
                    <a:pt x="7499" y="5388"/>
                    <a:pt x="7530" y="5545"/>
                    <a:pt x="7562" y="5672"/>
                  </a:cubicBezTo>
                  <a:cubicBezTo>
                    <a:pt x="7121" y="5703"/>
                    <a:pt x="6806" y="6113"/>
                    <a:pt x="6806" y="6585"/>
                  </a:cubicBezTo>
                  <a:cubicBezTo>
                    <a:pt x="6806" y="6680"/>
                    <a:pt x="6806" y="6774"/>
                    <a:pt x="6869" y="6900"/>
                  </a:cubicBezTo>
                  <a:cubicBezTo>
                    <a:pt x="6743" y="6932"/>
                    <a:pt x="6617" y="6932"/>
                    <a:pt x="6459" y="6932"/>
                  </a:cubicBezTo>
                  <a:cubicBezTo>
                    <a:pt x="5514" y="6932"/>
                    <a:pt x="4758" y="6176"/>
                    <a:pt x="4758" y="5230"/>
                  </a:cubicBezTo>
                  <a:cubicBezTo>
                    <a:pt x="4758" y="4285"/>
                    <a:pt x="5514" y="3529"/>
                    <a:pt x="6459" y="3529"/>
                  </a:cubicBezTo>
                  <a:close/>
                  <a:moveTo>
                    <a:pt x="9893" y="6207"/>
                  </a:moveTo>
                  <a:cubicBezTo>
                    <a:pt x="10082" y="6207"/>
                    <a:pt x="10240" y="6365"/>
                    <a:pt x="10240" y="6585"/>
                  </a:cubicBezTo>
                  <a:cubicBezTo>
                    <a:pt x="10240" y="6774"/>
                    <a:pt x="10082" y="6932"/>
                    <a:pt x="9893" y="6932"/>
                  </a:cubicBezTo>
                  <a:lnTo>
                    <a:pt x="7845" y="6932"/>
                  </a:lnTo>
                  <a:cubicBezTo>
                    <a:pt x="7656" y="6932"/>
                    <a:pt x="7499" y="6774"/>
                    <a:pt x="7499" y="6585"/>
                  </a:cubicBezTo>
                  <a:cubicBezTo>
                    <a:pt x="7499" y="6365"/>
                    <a:pt x="7656" y="6207"/>
                    <a:pt x="7845" y="6207"/>
                  </a:cubicBezTo>
                  <a:close/>
                  <a:moveTo>
                    <a:pt x="9231" y="7562"/>
                  </a:moveTo>
                  <a:cubicBezTo>
                    <a:pt x="9420" y="7562"/>
                    <a:pt x="9578" y="7719"/>
                    <a:pt x="9578" y="7908"/>
                  </a:cubicBezTo>
                  <a:cubicBezTo>
                    <a:pt x="9578" y="8097"/>
                    <a:pt x="9420" y="8255"/>
                    <a:pt x="9231" y="8255"/>
                  </a:cubicBezTo>
                  <a:lnTo>
                    <a:pt x="7845" y="8255"/>
                  </a:lnTo>
                  <a:cubicBezTo>
                    <a:pt x="7656" y="8255"/>
                    <a:pt x="7499" y="8097"/>
                    <a:pt x="7499" y="7908"/>
                  </a:cubicBezTo>
                  <a:cubicBezTo>
                    <a:pt x="7499" y="7719"/>
                    <a:pt x="7656" y="7562"/>
                    <a:pt x="7845" y="7562"/>
                  </a:cubicBezTo>
                  <a:close/>
                  <a:moveTo>
                    <a:pt x="6595" y="2171"/>
                  </a:moveTo>
                  <a:cubicBezTo>
                    <a:pt x="7889" y="2171"/>
                    <a:pt x="8963" y="3033"/>
                    <a:pt x="9389" y="4159"/>
                  </a:cubicBezTo>
                  <a:lnTo>
                    <a:pt x="8633" y="4159"/>
                  </a:lnTo>
                  <a:cubicBezTo>
                    <a:pt x="8223" y="3340"/>
                    <a:pt x="7404" y="2805"/>
                    <a:pt x="6459" y="2805"/>
                  </a:cubicBezTo>
                  <a:cubicBezTo>
                    <a:pt x="5136" y="2805"/>
                    <a:pt x="4065" y="3844"/>
                    <a:pt x="4065" y="5199"/>
                  </a:cubicBezTo>
                  <a:cubicBezTo>
                    <a:pt x="4065" y="6522"/>
                    <a:pt x="5136" y="7593"/>
                    <a:pt x="6459" y="7593"/>
                  </a:cubicBezTo>
                  <a:cubicBezTo>
                    <a:pt x="6617" y="7593"/>
                    <a:pt x="6743" y="7593"/>
                    <a:pt x="6900" y="7562"/>
                  </a:cubicBezTo>
                  <a:lnTo>
                    <a:pt x="6900" y="7562"/>
                  </a:lnTo>
                  <a:cubicBezTo>
                    <a:pt x="6869" y="7688"/>
                    <a:pt x="6806" y="7782"/>
                    <a:pt x="6806" y="7940"/>
                  </a:cubicBezTo>
                  <a:cubicBezTo>
                    <a:pt x="6806" y="8066"/>
                    <a:pt x="6806" y="8192"/>
                    <a:pt x="6869" y="8255"/>
                  </a:cubicBezTo>
                  <a:cubicBezTo>
                    <a:pt x="6743" y="8255"/>
                    <a:pt x="6585" y="8318"/>
                    <a:pt x="6459" y="8318"/>
                  </a:cubicBezTo>
                  <a:cubicBezTo>
                    <a:pt x="4758" y="8318"/>
                    <a:pt x="3403" y="6932"/>
                    <a:pt x="3403" y="5230"/>
                  </a:cubicBezTo>
                  <a:cubicBezTo>
                    <a:pt x="3403" y="3529"/>
                    <a:pt x="4758" y="2174"/>
                    <a:pt x="6459" y="2174"/>
                  </a:cubicBezTo>
                  <a:cubicBezTo>
                    <a:pt x="6505" y="2172"/>
                    <a:pt x="6550" y="2171"/>
                    <a:pt x="6595" y="2171"/>
                  </a:cubicBezTo>
                  <a:close/>
                  <a:moveTo>
                    <a:pt x="8538" y="8917"/>
                  </a:moveTo>
                  <a:cubicBezTo>
                    <a:pt x="8759" y="8917"/>
                    <a:pt x="8916" y="9074"/>
                    <a:pt x="8916" y="9295"/>
                  </a:cubicBezTo>
                  <a:cubicBezTo>
                    <a:pt x="8853" y="9484"/>
                    <a:pt x="8696" y="9641"/>
                    <a:pt x="8538" y="9641"/>
                  </a:cubicBezTo>
                  <a:lnTo>
                    <a:pt x="7877" y="9641"/>
                  </a:lnTo>
                  <a:cubicBezTo>
                    <a:pt x="7688" y="9641"/>
                    <a:pt x="7530" y="9484"/>
                    <a:pt x="7530" y="9295"/>
                  </a:cubicBezTo>
                  <a:cubicBezTo>
                    <a:pt x="7530" y="9074"/>
                    <a:pt x="7688" y="8917"/>
                    <a:pt x="7877" y="8917"/>
                  </a:cubicBezTo>
                  <a:close/>
                  <a:moveTo>
                    <a:pt x="3592" y="1765"/>
                  </a:moveTo>
                  <a:cubicBezTo>
                    <a:pt x="3655" y="2111"/>
                    <a:pt x="3655" y="2427"/>
                    <a:pt x="3592" y="2805"/>
                  </a:cubicBezTo>
                  <a:cubicBezTo>
                    <a:pt x="3025" y="3466"/>
                    <a:pt x="2710" y="4285"/>
                    <a:pt x="2710" y="5199"/>
                  </a:cubicBezTo>
                  <a:cubicBezTo>
                    <a:pt x="2710" y="7278"/>
                    <a:pt x="4411" y="8917"/>
                    <a:pt x="6459" y="8917"/>
                  </a:cubicBezTo>
                  <a:cubicBezTo>
                    <a:pt x="6585" y="8917"/>
                    <a:pt x="6743" y="8917"/>
                    <a:pt x="6869" y="8885"/>
                  </a:cubicBezTo>
                  <a:lnTo>
                    <a:pt x="6869" y="8885"/>
                  </a:lnTo>
                  <a:cubicBezTo>
                    <a:pt x="6806" y="9011"/>
                    <a:pt x="6774" y="9137"/>
                    <a:pt x="6774" y="9232"/>
                  </a:cubicBezTo>
                  <a:cubicBezTo>
                    <a:pt x="6774" y="9358"/>
                    <a:pt x="6806" y="9484"/>
                    <a:pt x="6806" y="9610"/>
                  </a:cubicBezTo>
                  <a:lnTo>
                    <a:pt x="4915" y="9610"/>
                  </a:lnTo>
                  <a:cubicBezTo>
                    <a:pt x="4537" y="9641"/>
                    <a:pt x="4096" y="9830"/>
                    <a:pt x="3781" y="10145"/>
                  </a:cubicBezTo>
                  <a:lnTo>
                    <a:pt x="3088" y="10870"/>
                  </a:lnTo>
                  <a:lnTo>
                    <a:pt x="788" y="8633"/>
                  </a:lnTo>
                  <a:lnTo>
                    <a:pt x="1544" y="7908"/>
                  </a:lnTo>
                  <a:cubicBezTo>
                    <a:pt x="1859" y="7593"/>
                    <a:pt x="2048" y="7152"/>
                    <a:pt x="2048" y="6680"/>
                  </a:cubicBezTo>
                  <a:lnTo>
                    <a:pt x="2048" y="3655"/>
                  </a:lnTo>
                  <a:cubicBezTo>
                    <a:pt x="2048" y="3592"/>
                    <a:pt x="2080" y="3498"/>
                    <a:pt x="2143" y="3435"/>
                  </a:cubicBezTo>
                  <a:lnTo>
                    <a:pt x="3592" y="1765"/>
                  </a:lnTo>
                  <a:close/>
                  <a:moveTo>
                    <a:pt x="5167" y="1"/>
                  </a:moveTo>
                  <a:cubicBezTo>
                    <a:pt x="4978" y="1"/>
                    <a:pt x="4821" y="158"/>
                    <a:pt x="4821" y="347"/>
                  </a:cubicBezTo>
                  <a:cubicBezTo>
                    <a:pt x="4821" y="536"/>
                    <a:pt x="4978" y="694"/>
                    <a:pt x="5167" y="694"/>
                  </a:cubicBezTo>
                  <a:lnTo>
                    <a:pt x="5514" y="694"/>
                  </a:lnTo>
                  <a:lnTo>
                    <a:pt x="5514" y="1576"/>
                  </a:lnTo>
                  <a:cubicBezTo>
                    <a:pt x="5136" y="1702"/>
                    <a:pt x="4726" y="1891"/>
                    <a:pt x="4380" y="2111"/>
                  </a:cubicBezTo>
                  <a:cubicBezTo>
                    <a:pt x="4380" y="1796"/>
                    <a:pt x="4317" y="1481"/>
                    <a:pt x="4222" y="1229"/>
                  </a:cubicBezTo>
                  <a:lnTo>
                    <a:pt x="4159" y="977"/>
                  </a:lnTo>
                  <a:cubicBezTo>
                    <a:pt x="4096" y="851"/>
                    <a:pt x="4033" y="788"/>
                    <a:pt x="3907" y="757"/>
                  </a:cubicBezTo>
                  <a:cubicBezTo>
                    <a:pt x="3872" y="739"/>
                    <a:pt x="3839" y="731"/>
                    <a:pt x="3808" y="731"/>
                  </a:cubicBezTo>
                  <a:cubicBezTo>
                    <a:pt x="3728" y="731"/>
                    <a:pt x="3660" y="783"/>
                    <a:pt x="3592" y="851"/>
                  </a:cubicBezTo>
                  <a:lnTo>
                    <a:pt x="1702" y="2962"/>
                  </a:lnTo>
                  <a:cubicBezTo>
                    <a:pt x="1544" y="3151"/>
                    <a:pt x="1418" y="3372"/>
                    <a:pt x="1418" y="3624"/>
                  </a:cubicBezTo>
                  <a:lnTo>
                    <a:pt x="1418" y="6648"/>
                  </a:lnTo>
                  <a:cubicBezTo>
                    <a:pt x="1418" y="6932"/>
                    <a:pt x="1292" y="7152"/>
                    <a:pt x="1103" y="7373"/>
                  </a:cubicBezTo>
                  <a:lnTo>
                    <a:pt x="127" y="8349"/>
                  </a:lnTo>
                  <a:cubicBezTo>
                    <a:pt x="64" y="8412"/>
                    <a:pt x="1" y="8507"/>
                    <a:pt x="1" y="8570"/>
                  </a:cubicBezTo>
                  <a:cubicBezTo>
                    <a:pt x="1" y="8664"/>
                    <a:pt x="32" y="8790"/>
                    <a:pt x="127" y="8822"/>
                  </a:cubicBezTo>
                  <a:lnTo>
                    <a:pt x="2867" y="11531"/>
                  </a:lnTo>
                  <a:cubicBezTo>
                    <a:pt x="2930" y="11594"/>
                    <a:pt x="3025" y="11626"/>
                    <a:pt x="3116" y="11626"/>
                  </a:cubicBezTo>
                  <a:cubicBezTo>
                    <a:pt x="3206" y="11626"/>
                    <a:pt x="3293" y="11594"/>
                    <a:pt x="3340" y="11531"/>
                  </a:cubicBezTo>
                  <a:lnTo>
                    <a:pt x="4348" y="10555"/>
                  </a:lnTo>
                  <a:cubicBezTo>
                    <a:pt x="4537" y="10366"/>
                    <a:pt x="4758" y="10240"/>
                    <a:pt x="5041" y="10240"/>
                  </a:cubicBezTo>
                  <a:lnTo>
                    <a:pt x="8601" y="10240"/>
                  </a:lnTo>
                  <a:cubicBezTo>
                    <a:pt x="9137" y="10240"/>
                    <a:pt x="9610" y="9767"/>
                    <a:pt x="9610" y="9200"/>
                  </a:cubicBezTo>
                  <a:cubicBezTo>
                    <a:pt x="9610" y="9106"/>
                    <a:pt x="9578" y="8948"/>
                    <a:pt x="9547" y="8822"/>
                  </a:cubicBezTo>
                  <a:cubicBezTo>
                    <a:pt x="9956" y="8696"/>
                    <a:pt x="10303" y="8318"/>
                    <a:pt x="10303" y="7845"/>
                  </a:cubicBezTo>
                  <a:cubicBezTo>
                    <a:pt x="10303" y="7719"/>
                    <a:pt x="10240" y="7562"/>
                    <a:pt x="10208" y="7436"/>
                  </a:cubicBezTo>
                  <a:cubicBezTo>
                    <a:pt x="10649" y="7310"/>
                    <a:pt x="10964" y="6932"/>
                    <a:pt x="10964" y="6459"/>
                  </a:cubicBezTo>
                  <a:cubicBezTo>
                    <a:pt x="10964" y="6333"/>
                    <a:pt x="10933" y="6176"/>
                    <a:pt x="10870" y="6050"/>
                  </a:cubicBezTo>
                  <a:cubicBezTo>
                    <a:pt x="11027" y="6018"/>
                    <a:pt x="11185" y="5955"/>
                    <a:pt x="11342" y="5798"/>
                  </a:cubicBezTo>
                  <a:cubicBezTo>
                    <a:pt x="11563" y="5577"/>
                    <a:pt x="11657" y="5325"/>
                    <a:pt x="11657" y="5041"/>
                  </a:cubicBezTo>
                  <a:cubicBezTo>
                    <a:pt x="11657" y="4758"/>
                    <a:pt x="11563" y="4474"/>
                    <a:pt x="11342" y="4285"/>
                  </a:cubicBezTo>
                  <a:cubicBezTo>
                    <a:pt x="11122" y="4285"/>
                    <a:pt x="10870" y="4159"/>
                    <a:pt x="10586" y="4159"/>
                  </a:cubicBezTo>
                  <a:lnTo>
                    <a:pt x="10145" y="4159"/>
                  </a:lnTo>
                  <a:cubicBezTo>
                    <a:pt x="9767" y="2899"/>
                    <a:pt x="8790" y="1922"/>
                    <a:pt x="7530" y="1576"/>
                  </a:cubicBezTo>
                  <a:lnTo>
                    <a:pt x="7530" y="694"/>
                  </a:lnTo>
                  <a:lnTo>
                    <a:pt x="7877" y="694"/>
                  </a:lnTo>
                  <a:cubicBezTo>
                    <a:pt x="8097" y="694"/>
                    <a:pt x="8255" y="536"/>
                    <a:pt x="8255" y="347"/>
                  </a:cubicBezTo>
                  <a:cubicBezTo>
                    <a:pt x="8255" y="158"/>
                    <a:pt x="8097"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9" name="Google Shape;10039;p78"/>
            <p:cNvSpPr/>
            <p:nvPr/>
          </p:nvSpPr>
          <p:spPr>
            <a:xfrm>
              <a:off x="-30670625" y="2042700"/>
              <a:ext cx="35475" cy="35450"/>
            </a:xfrm>
            <a:custGeom>
              <a:avLst/>
              <a:gdLst/>
              <a:ahLst/>
              <a:cxnLst/>
              <a:rect l="l" t="t" r="r" b="b"/>
              <a:pathLst>
                <a:path w="1419" h="1418" extrusionOk="0">
                  <a:moveTo>
                    <a:pt x="1072" y="0"/>
                  </a:moveTo>
                  <a:cubicBezTo>
                    <a:pt x="883" y="0"/>
                    <a:pt x="725" y="158"/>
                    <a:pt x="725" y="378"/>
                  </a:cubicBezTo>
                  <a:lnTo>
                    <a:pt x="725" y="725"/>
                  </a:lnTo>
                  <a:lnTo>
                    <a:pt x="379" y="725"/>
                  </a:lnTo>
                  <a:cubicBezTo>
                    <a:pt x="158" y="725"/>
                    <a:pt x="1" y="882"/>
                    <a:pt x="1" y="1071"/>
                  </a:cubicBezTo>
                  <a:cubicBezTo>
                    <a:pt x="1" y="1260"/>
                    <a:pt x="158" y="1418"/>
                    <a:pt x="379" y="1418"/>
                  </a:cubicBezTo>
                  <a:lnTo>
                    <a:pt x="1041" y="1418"/>
                  </a:lnTo>
                  <a:cubicBezTo>
                    <a:pt x="1230" y="1418"/>
                    <a:pt x="1387" y="1260"/>
                    <a:pt x="1387" y="1071"/>
                  </a:cubicBezTo>
                  <a:lnTo>
                    <a:pt x="1387" y="410"/>
                  </a:lnTo>
                  <a:cubicBezTo>
                    <a:pt x="1419"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0" name="Google Shape;10040;p78"/>
          <p:cNvGrpSpPr/>
          <p:nvPr/>
        </p:nvGrpSpPr>
        <p:grpSpPr>
          <a:xfrm>
            <a:off x="3538105" y="3383765"/>
            <a:ext cx="352617" cy="353193"/>
            <a:chOff x="-30805300" y="2298675"/>
            <a:chExt cx="290650" cy="291125"/>
          </a:xfrm>
        </p:grpSpPr>
        <p:sp>
          <p:nvSpPr>
            <p:cNvPr id="10041" name="Google Shape;10041;p78"/>
            <p:cNvSpPr/>
            <p:nvPr/>
          </p:nvSpPr>
          <p:spPr>
            <a:xfrm>
              <a:off x="-30720225" y="24191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78"/>
            <p:cNvSpPr/>
            <p:nvPr/>
          </p:nvSpPr>
          <p:spPr>
            <a:xfrm>
              <a:off x="-30635175" y="2453250"/>
              <a:ext cx="87450" cy="69125"/>
            </a:xfrm>
            <a:custGeom>
              <a:avLst/>
              <a:gdLst/>
              <a:ahLst/>
              <a:cxnLst/>
              <a:rect l="l" t="t" r="r" b="b"/>
              <a:pathLst>
                <a:path w="3498" h="2765" extrusionOk="0">
                  <a:moveTo>
                    <a:pt x="3124" y="0"/>
                  </a:moveTo>
                  <a:cubicBezTo>
                    <a:pt x="3033" y="0"/>
                    <a:pt x="2946" y="40"/>
                    <a:pt x="2899" y="118"/>
                  </a:cubicBezTo>
                  <a:lnTo>
                    <a:pt x="1040" y="1946"/>
                  </a:lnTo>
                  <a:lnTo>
                    <a:pt x="599" y="1505"/>
                  </a:lnTo>
                  <a:cubicBezTo>
                    <a:pt x="536" y="1442"/>
                    <a:pt x="450" y="1410"/>
                    <a:pt x="363" y="1410"/>
                  </a:cubicBezTo>
                  <a:cubicBezTo>
                    <a:pt x="276" y="1410"/>
                    <a:pt x="190" y="1442"/>
                    <a:pt x="127" y="1505"/>
                  </a:cubicBezTo>
                  <a:cubicBezTo>
                    <a:pt x="1" y="1631"/>
                    <a:pt x="1" y="1851"/>
                    <a:pt x="127" y="1977"/>
                  </a:cubicBezTo>
                  <a:lnTo>
                    <a:pt x="788" y="2639"/>
                  </a:lnTo>
                  <a:cubicBezTo>
                    <a:pt x="883" y="2733"/>
                    <a:pt x="977" y="2765"/>
                    <a:pt x="1040" y="2765"/>
                  </a:cubicBezTo>
                  <a:cubicBezTo>
                    <a:pt x="1103" y="2765"/>
                    <a:pt x="1198" y="2733"/>
                    <a:pt x="1261" y="2639"/>
                  </a:cubicBezTo>
                  <a:lnTo>
                    <a:pt x="3372" y="591"/>
                  </a:lnTo>
                  <a:cubicBezTo>
                    <a:pt x="3498" y="496"/>
                    <a:pt x="3498" y="244"/>
                    <a:pt x="3372" y="118"/>
                  </a:cubicBezTo>
                  <a:cubicBezTo>
                    <a:pt x="3309" y="40"/>
                    <a:pt x="3214" y="0"/>
                    <a:pt x="31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78"/>
            <p:cNvSpPr/>
            <p:nvPr/>
          </p:nvSpPr>
          <p:spPr>
            <a:xfrm>
              <a:off x="-30805300" y="2298675"/>
              <a:ext cx="290650" cy="291125"/>
            </a:xfrm>
            <a:custGeom>
              <a:avLst/>
              <a:gdLst/>
              <a:ahLst/>
              <a:cxnLst/>
              <a:rect l="l" t="t" r="r" b="b"/>
              <a:pathLst>
                <a:path w="11626" h="11645" extrusionOk="0">
                  <a:moveTo>
                    <a:pt x="5797" y="630"/>
                  </a:moveTo>
                  <a:cubicBezTo>
                    <a:pt x="6333" y="630"/>
                    <a:pt x="6806" y="1103"/>
                    <a:pt x="6806" y="1670"/>
                  </a:cubicBezTo>
                  <a:lnTo>
                    <a:pt x="6806" y="4096"/>
                  </a:lnTo>
                  <a:lnTo>
                    <a:pt x="6459" y="4096"/>
                  </a:lnTo>
                  <a:cubicBezTo>
                    <a:pt x="5514" y="4096"/>
                    <a:pt x="4758" y="4852"/>
                    <a:pt x="4758" y="5797"/>
                  </a:cubicBezTo>
                  <a:lnTo>
                    <a:pt x="4758" y="6144"/>
                  </a:lnTo>
                  <a:lnTo>
                    <a:pt x="3088" y="6144"/>
                  </a:lnTo>
                  <a:lnTo>
                    <a:pt x="3088" y="6207"/>
                  </a:lnTo>
                  <a:cubicBezTo>
                    <a:pt x="2993" y="6207"/>
                    <a:pt x="2930" y="6238"/>
                    <a:pt x="2836" y="6270"/>
                  </a:cubicBezTo>
                  <a:lnTo>
                    <a:pt x="2017" y="7057"/>
                  </a:lnTo>
                  <a:lnTo>
                    <a:pt x="2017" y="6490"/>
                  </a:lnTo>
                  <a:cubicBezTo>
                    <a:pt x="2017" y="6301"/>
                    <a:pt x="1859" y="6144"/>
                    <a:pt x="1670" y="6144"/>
                  </a:cubicBezTo>
                  <a:cubicBezTo>
                    <a:pt x="1103" y="6144"/>
                    <a:pt x="631" y="5671"/>
                    <a:pt x="631" y="5136"/>
                  </a:cubicBezTo>
                  <a:lnTo>
                    <a:pt x="631" y="1670"/>
                  </a:lnTo>
                  <a:cubicBezTo>
                    <a:pt x="631" y="1103"/>
                    <a:pt x="1103" y="630"/>
                    <a:pt x="1670" y="630"/>
                  </a:cubicBezTo>
                  <a:close/>
                  <a:moveTo>
                    <a:pt x="9925" y="4852"/>
                  </a:moveTo>
                  <a:cubicBezTo>
                    <a:pt x="10492" y="4852"/>
                    <a:pt x="10964" y="5325"/>
                    <a:pt x="10964" y="5860"/>
                  </a:cubicBezTo>
                  <a:lnTo>
                    <a:pt x="10964" y="8601"/>
                  </a:lnTo>
                  <a:cubicBezTo>
                    <a:pt x="10964" y="9137"/>
                    <a:pt x="10492" y="9609"/>
                    <a:pt x="9925" y="9609"/>
                  </a:cubicBezTo>
                  <a:lnTo>
                    <a:pt x="8538" y="9609"/>
                  </a:lnTo>
                  <a:cubicBezTo>
                    <a:pt x="8475" y="9609"/>
                    <a:pt x="8349" y="9672"/>
                    <a:pt x="8318" y="9735"/>
                  </a:cubicBezTo>
                  <a:lnTo>
                    <a:pt x="7530" y="10523"/>
                  </a:lnTo>
                  <a:lnTo>
                    <a:pt x="7530" y="9987"/>
                  </a:lnTo>
                  <a:cubicBezTo>
                    <a:pt x="7530" y="9767"/>
                    <a:pt x="7373" y="9609"/>
                    <a:pt x="7184" y="9609"/>
                  </a:cubicBezTo>
                  <a:lnTo>
                    <a:pt x="6491" y="9609"/>
                  </a:lnTo>
                  <a:cubicBezTo>
                    <a:pt x="5955" y="9609"/>
                    <a:pt x="5482" y="9137"/>
                    <a:pt x="5482" y="8601"/>
                  </a:cubicBezTo>
                  <a:lnTo>
                    <a:pt x="5482" y="5860"/>
                  </a:lnTo>
                  <a:cubicBezTo>
                    <a:pt x="5482" y="5325"/>
                    <a:pt x="5955" y="4852"/>
                    <a:pt x="6491" y="4852"/>
                  </a:cubicBezTo>
                  <a:close/>
                  <a:moveTo>
                    <a:pt x="1702" y="0"/>
                  </a:moveTo>
                  <a:cubicBezTo>
                    <a:pt x="757" y="0"/>
                    <a:pt x="1" y="756"/>
                    <a:pt x="1" y="1702"/>
                  </a:cubicBezTo>
                  <a:lnTo>
                    <a:pt x="1" y="5167"/>
                  </a:lnTo>
                  <a:cubicBezTo>
                    <a:pt x="1" y="5986"/>
                    <a:pt x="599" y="6711"/>
                    <a:pt x="1387" y="6868"/>
                  </a:cubicBezTo>
                  <a:lnTo>
                    <a:pt x="1387" y="7940"/>
                  </a:lnTo>
                  <a:cubicBezTo>
                    <a:pt x="1387" y="8034"/>
                    <a:pt x="1450" y="8192"/>
                    <a:pt x="1576" y="8255"/>
                  </a:cubicBezTo>
                  <a:cubicBezTo>
                    <a:pt x="1618" y="8265"/>
                    <a:pt x="1663" y="8272"/>
                    <a:pt x="1708" y="8272"/>
                  </a:cubicBezTo>
                  <a:cubicBezTo>
                    <a:pt x="1796" y="8272"/>
                    <a:pt x="1880" y="8244"/>
                    <a:pt x="1922" y="8160"/>
                  </a:cubicBezTo>
                  <a:lnTo>
                    <a:pt x="3246" y="6900"/>
                  </a:lnTo>
                  <a:lnTo>
                    <a:pt x="4821" y="6900"/>
                  </a:lnTo>
                  <a:lnTo>
                    <a:pt x="4821" y="8601"/>
                  </a:lnTo>
                  <a:cubicBezTo>
                    <a:pt x="4821" y="9546"/>
                    <a:pt x="5545" y="10302"/>
                    <a:pt x="6491" y="10302"/>
                  </a:cubicBezTo>
                  <a:lnTo>
                    <a:pt x="6869" y="10302"/>
                  </a:lnTo>
                  <a:lnTo>
                    <a:pt x="6869" y="11311"/>
                  </a:lnTo>
                  <a:cubicBezTo>
                    <a:pt x="6869" y="11468"/>
                    <a:pt x="6932" y="11594"/>
                    <a:pt x="7058" y="11626"/>
                  </a:cubicBezTo>
                  <a:cubicBezTo>
                    <a:pt x="7104" y="11637"/>
                    <a:pt x="7154" y="11644"/>
                    <a:pt x="7202" y="11644"/>
                  </a:cubicBezTo>
                  <a:cubicBezTo>
                    <a:pt x="7286" y="11644"/>
                    <a:pt x="7364" y="11623"/>
                    <a:pt x="7404" y="11563"/>
                  </a:cubicBezTo>
                  <a:lnTo>
                    <a:pt x="8664" y="10302"/>
                  </a:lnTo>
                  <a:lnTo>
                    <a:pt x="9925" y="10302"/>
                  </a:lnTo>
                  <a:cubicBezTo>
                    <a:pt x="10870" y="10302"/>
                    <a:pt x="11626" y="9546"/>
                    <a:pt x="11626" y="8601"/>
                  </a:cubicBezTo>
                  <a:lnTo>
                    <a:pt x="11626" y="5892"/>
                  </a:lnTo>
                  <a:cubicBezTo>
                    <a:pt x="11626" y="4884"/>
                    <a:pt x="10870" y="4159"/>
                    <a:pt x="9925" y="4159"/>
                  </a:cubicBezTo>
                  <a:lnTo>
                    <a:pt x="7530" y="4159"/>
                  </a:lnTo>
                  <a:lnTo>
                    <a:pt x="7530" y="1702"/>
                  </a:lnTo>
                  <a:cubicBezTo>
                    <a:pt x="7530" y="756"/>
                    <a:pt x="677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78"/>
            <p:cNvSpPr/>
            <p:nvPr/>
          </p:nvSpPr>
          <p:spPr>
            <a:xfrm>
              <a:off x="-30737575" y="2332550"/>
              <a:ext cx="53600" cy="69325"/>
            </a:xfrm>
            <a:custGeom>
              <a:avLst/>
              <a:gdLst/>
              <a:ahLst/>
              <a:cxnLst/>
              <a:rect l="l" t="t" r="r" b="b"/>
              <a:pathLst>
                <a:path w="2144" h="2773" extrusionOk="0">
                  <a:moveTo>
                    <a:pt x="1041" y="0"/>
                  </a:moveTo>
                  <a:cubicBezTo>
                    <a:pt x="474" y="0"/>
                    <a:pt x="1" y="473"/>
                    <a:pt x="1" y="1008"/>
                  </a:cubicBezTo>
                  <a:cubicBezTo>
                    <a:pt x="1" y="1197"/>
                    <a:pt x="158" y="1355"/>
                    <a:pt x="379" y="1355"/>
                  </a:cubicBezTo>
                  <a:cubicBezTo>
                    <a:pt x="568" y="1355"/>
                    <a:pt x="726" y="1197"/>
                    <a:pt x="726" y="1008"/>
                  </a:cubicBezTo>
                  <a:cubicBezTo>
                    <a:pt x="726" y="819"/>
                    <a:pt x="883" y="662"/>
                    <a:pt x="1072" y="662"/>
                  </a:cubicBezTo>
                  <a:cubicBezTo>
                    <a:pt x="1293" y="662"/>
                    <a:pt x="1450" y="819"/>
                    <a:pt x="1450" y="1008"/>
                  </a:cubicBezTo>
                  <a:cubicBezTo>
                    <a:pt x="1450" y="1103"/>
                    <a:pt x="1324" y="1292"/>
                    <a:pt x="1198" y="1323"/>
                  </a:cubicBezTo>
                  <a:cubicBezTo>
                    <a:pt x="915" y="1449"/>
                    <a:pt x="757" y="1701"/>
                    <a:pt x="757" y="1953"/>
                  </a:cubicBezTo>
                  <a:lnTo>
                    <a:pt x="757" y="2426"/>
                  </a:lnTo>
                  <a:cubicBezTo>
                    <a:pt x="757" y="2615"/>
                    <a:pt x="915" y="2772"/>
                    <a:pt x="1135" y="2772"/>
                  </a:cubicBezTo>
                  <a:cubicBezTo>
                    <a:pt x="1324" y="2772"/>
                    <a:pt x="1482" y="2615"/>
                    <a:pt x="1482" y="2426"/>
                  </a:cubicBezTo>
                  <a:lnTo>
                    <a:pt x="1482" y="1953"/>
                  </a:lnTo>
                  <a:cubicBezTo>
                    <a:pt x="1860" y="1796"/>
                    <a:pt x="2143" y="1418"/>
                    <a:pt x="2143" y="1008"/>
                  </a:cubicBezTo>
                  <a:cubicBezTo>
                    <a:pt x="2049" y="473"/>
                    <a:pt x="1576"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5" name="Google Shape;10045;p78"/>
          <p:cNvGrpSpPr/>
          <p:nvPr/>
        </p:nvGrpSpPr>
        <p:grpSpPr>
          <a:xfrm>
            <a:off x="3537635" y="3843949"/>
            <a:ext cx="353557" cy="353557"/>
            <a:chOff x="-30806075" y="2657050"/>
            <a:chExt cx="291425" cy="291425"/>
          </a:xfrm>
        </p:grpSpPr>
        <p:sp>
          <p:nvSpPr>
            <p:cNvPr id="10046" name="Google Shape;10046;p78"/>
            <p:cNvSpPr/>
            <p:nvPr/>
          </p:nvSpPr>
          <p:spPr>
            <a:xfrm>
              <a:off x="-30806075" y="2657050"/>
              <a:ext cx="291425" cy="291425"/>
            </a:xfrm>
            <a:custGeom>
              <a:avLst/>
              <a:gdLst/>
              <a:ahLst/>
              <a:cxnLst/>
              <a:rect l="l" t="t" r="r" b="b"/>
              <a:pathLst>
                <a:path w="11657" h="11657" extrusionOk="0">
                  <a:moveTo>
                    <a:pt x="5828" y="693"/>
                  </a:moveTo>
                  <a:cubicBezTo>
                    <a:pt x="8664" y="693"/>
                    <a:pt x="10995" y="2993"/>
                    <a:pt x="10995" y="5828"/>
                  </a:cubicBezTo>
                  <a:cubicBezTo>
                    <a:pt x="10995" y="8664"/>
                    <a:pt x="8664" y="10995"/>
                    <a:pt x="5828" y="10995"/>
                  </a:cubicBezTo>
                  <a:cubicBezTo>
                    <a:pt x="2993" y="10995"/>
                    <a:pt x="662" y="8664"/>
                    <a:pt x="662" y="5828"/>
                  </a:cubicBezTo>
                  <a:cubicBezTo>
                    <a:pt x="662" y="2993"/>
                    <a:pt x="2993" y="693"/>
                    <a:pt x="5828" y="693"/>
                  </a:cubicBezTo>
                  <a:close/>
                  <a:moveTo>
                    <a:pt x="5828" y="0"/>
                  </a:moveTo>
                  <a:cubicBezTo>
                    <a:pt x="2583" y="0"/>
                    <a:pt x="0" y="2646"/>
                    <a:pt x="0" y="5828"/>
                  </a:cubicBezTo>
                  <a:cubicBezTo>
                    <a:pt x="0" y="9073"/>
                    <a:pt x="2646" y="11657"/>
                    <a:pt x="5828" y="11657"/>
                  </a:cubicBezTo>
                  <a:cubicBezTo>
                    <a:pt x="9042" y="11657"/>
                    <a:pt x="11657" y="9042"/>
                    <a:pt x="11657" y="5828"/>
                  </a:cubicBezTo>
                  <a:cubicBezTo>
                    <a:pt x="11657" y="2646"/>
                    <a:pt x="9042" y="0"/>
                    <a:pt x="5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7" name="Google Shape;10047;p78"/>
            <p:cNvSpPr/>
            <p:nvPr/>
          </p:nvSpPr>
          <p:spPr>
            <a:xfrm>
              <a:off x="-30771425" y="2692475"/>
              <a:ext cx="222125" cy="222925"/>
            </a:xfrm>
            <a:custGeom>
              <a:avLst/>
              <a:gdLst/>
              <a:ahLst/>
              <a:cxnLst/>
              <a:rect l="l" t="t" r="r" b="b"/>
              <a:pathLst>
                <a:path w="8885" h="8917" extrusionOk="0">
                  <a:moveTo>
                    <a:pt x="4442" y="725"/>
                  </a:moveTo>
                  <a:cubicBezTo>
                    <a:pt x="6522" y="725"/>
                    <a:pt x="8192" y="2427"/>
                    <a:pt x="8192" y="4474"/>
                  </a:cubicBezTo>
                  <a:cubicBezTo>
                    <a:pt x="8192" y="6522"/>
                    <a:pt x="6522" y="8192"/>
                    <a:pt x="4442" y="8192"/>
                  </a:cubicBezTo>
                  <a:cubicBezTo>
                    <a:pt x="2363" y="8192"/>
                    <a:pt x="693" y="6522"/>
                    <a:pt x="693" y="4474"/>
                  </a:cubicBezTo>
                  <a:cubicBezTo>
                    <a:pt x="693" y="2427"/>
                    <a:pt x="2395" y="725"/>
                    <a:pt x="4442" y="725"/>
                  </a:cubicBezTo>
                  <a:close/>
                  <a:moveTo>
                    <a:pt x="4442" y="1"/>
                  </a:moveTo>
                  <a:cubicBezTo>
                    <a:pt x="1985" y="1"/>
                    <a:pt x="0" y="2017"/>
                    <a:pt x="0" y="4474"/>
                  </a:cubicBezTo>
                  <a:cubicBezTo>
                    <a:pt x="0" y="6900"/>
                    <a:pt x="1985" y="8917"/>
                    <a:pt x="4442" y="8917"/>
                  </a:cubicBezTo>
                  <a:cubicBezTo>
                    <a:pt x="6868" y="8917"/>
                    <a:pt x="8885" y="6900"/>
                    <a:pt x="8885" y="4474"/>
                  </a:cubicBezTo>
                  <a:cubicBezTo>
                    <a:pt x="8885" y="2017"/>
                    <a:pt x="6868" y="1"/>
                    <a:pt x="4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78"/>
            <p:cNvSpPr/>
            <p:nvPr/>
          </p:nvSpPr>
          <p:spPr>
            <a:xfrm>
              <a:off x="-30669050" y="2726350"/>
              <a:ext cx="52025" cy="119150"/>
            </a:xfrm>
            <a:custGeom>
              <a:avLst/>
              <a:gdLst/>
              <a:ahLst/>
              <a:cxnLst/>
              <a:rect l="l" t="t" r="r" b="b"/>
              <a:pathLst>
                <a:path w="2081" h="4766" extrusionOk="0">
                  <a:moveTo>
                    <a:pt x="347" y="0"/>
                  </a:moveTo>
                  <a:cubicBezTo>
                    <a:pt x="158" y="0"/>
                    <a:pt x="1" y="158"/>
                    <a:pt x="1" y="347"/>
                  </a:cubicBezTo>
                  <a:lnTo>
                    <a:pt x="1" y="3056"/>
                  </a:lnTo>
                  <a:cubicBezTo>
                    <a:pt x="1" y="3151"/>
                    <a:pt x="32" y="3277"/>
                    <a:pt x="95" y="3308"/>
                  </a:cubicBezTo>
                  <a:lnTo>
                    <a:pt x="1482" y="4695"/>
                  </a:lnTo>
                  <a:cubicBezTo>
                    <a:pt x="1545" y="4742"/>
                    <a:pt x="1631" y="4766"/>
                    <a:pt x="1718" y="4766"/>
                  </a:cubicBezTo>
                  <a:cubicBezTo>
                    <a:pt x="1805" y="4766"/>
                    <a:pt x="1891" y="4742"/>
                    <a:pt x="1954" y="4695"/>
                  </a:cubicBezTo>
                  <a:cubicBezTo>
                    <a:pt x="2080" y="4569"/>
                    <a:pt x="2080" y="4317"/>
                    <a:pt x="1954" y="4222"/>
                  </a:cubicBezTo>
                  <a:lnTo>
                    <a:pt x="694" y="2962"/>
                  </a:ln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9" name="Google Shape;10049;p78"/>
          <p:cNvGrpSpPr/>
          <p:nvPr/>
        </p:nvGrpSpPr>
        <p:grpSpPr>
          <a:xfrm>
            <a:off x="2639681" y="4301756"/>
            <a:ext cx="353557" cy="353557"/>
            <a:chOff x="-30064925" y="2332550"/>
            <a:chExt cx="291425" cy="291425"/>
          </a:xfrm>
        </p:grpSpPr>
        <p:sp>
          <p:nvSpPr>
            <p:cNvPr id="10050" name="Google Shape;10050;p78"/>
            <p:cNvSpPr/>
            <p:nvPr/>
          </p:nvSpPr>
          <p:spPr>
            <a:xfrm>
              <a:off x="-30064925" y="2332550"/>
              <a:ext cx="291425" cy="291425"/>
            </a:xfrm>
            <a:custGeom>
              <a:avLst/>
              <a:gdLst/>
              <a:ahLst/>
              <a:cxnLst/>
              <a:rect l="l" t="t" r="r" b="b"/>
              <a:pathLst>
                <a:path w="11657" h="11657" extrusionOk="0">
                  <a:moveTo>
                    <a:pt x="5829" y="662"/>
                  </a:moveTo>
                  <a:cubicBezTo>
                    <a:pt x="8664" y="662"/>
                    <a:pt x="10995" y="2993"/>
                    <a:pt x="10995" y="5828"/>
                  </a:cubicBezTo>
                  <a:cubicBezTo>
                    <a:pt x="10995" y="8695"/>
                    <a:pt x="8664" y="10995"/>
                    <a:pt x="5829" y="10995"/>
                  </a:cubicBezTo>
                  <a:cubicBezTo>
                    <a:pt x="2993" y="10995"/>
                    <a:pt x="662" y="8664"/>
                    <a:pt x="662" y="5828"/>
                  </a:cubicBezTo>
                  <a:cubicBezTo>
                    <a:pt x="662" y="2993"/>
                    <a:pt x="2993" y="662"/>
                    <a:pt x="5829" y="662"/>
                  </a:cubicBezTo>
                  <a:close/>
                  <a:moveTo>
                    <a:pt x="5829" y="0"/>
                  </a:moveTo>
                  <a:cubicBezTo>
                    <a:pt x="2615" y="0"/>
                    <a:pt x="0" y="2615"/>
                    <a:pt x="0" y="5828"/>
                  </a:cubicBezTo>
                  <a:cubicBezTo>
                    <a:pt x="0" y="9042"/>
                    <a:pt x="2647" y="11657"/>
                    <a:pt x="5829" y="11657"/>
                  </a:cubicBezTo>
                  <a:cubicBezTo>
                    <a:pt x="9074" y="11657"/>
                    <a:pt x="11657" y="9010"/>
                    <a:pt x="11657" y="5828"/>
                  </a:cubicBezTo>
                  <a:cubicBezTo>
                    <a:pt x="11657" y="2646"/>
                    <a:pt x="907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1" name="Google Shape;10051;p78"/>
            <p:cNvSpPr/>
            <p:nvPr/>
          </p:nvSpPr>
          <p:spPr>
            <a:xfrm>
              <a:off x="-29944425" y="2384525"/>
              <a:ext cx="51225" cy="51225"/>
            </a:xfrm>
            <a:custGeom>
              <a:avLst/>
              <a:gdLst/>
              <a:ahLst/>
              <a:cxnLst/>
              <a:rect l="l" t="t" r="r" b="b"/>
              <a:pathLst>
                <a:path w="2049" h="2049" extrusionOk="0">
                  <a:moveTo>
                    <a:pt x="1009" y="662"/>
                  </a:moveTo>
                  <a:cubicBezTo>
                    <a:pt x="1198" y="662"/>
                    <a:pt x="1355" y="819"/>
                    <a:pt x="1355" y="1040"/>
                  </a:cubicBezTo>
                  <a:cubicBezTo>
                    <a:pt x="1355" y="1229"/>
                    <a:pt x="1198" y="1387"/>
                    <a:pt x="1009" y="1387"/>
                  </a:cubicBezTo>
                  <a:cubicBezTo>
                    <a:pt x="820" y="1387"/>
                    <a:pt x="662" y="1229"/>
                    <a:pt x="662" y="1040"/>
                  </a:cubicBezTo>
                  <a:cubicBezTo>
                    <a:pt x="662" y="819"/>
                    <a:pt x="820" y="662"/>
                    <a:pt x="1009" y="662"/>
                  </a:cubicBezTo>
                  <a:close/>
                  <a:moveTo>
                    <a:pt x="1009" y="0"/>
                  </a:moveTo>
                  <a:cubicBezTo>
                    <a:pt x="473" y="0"/>
                    <a:pt x="0" y="473"/>
                    <a:pt x="0" y="1040"/>
                  </a:cubicBezTo>
                  <a:cubicBezTo>
                    <a:pt x="0" y="1576"/>
                    <a:pt x="473" y="2048"/>
                    <a:pt x="1009" y="2048"/>
                  </a:cubicBezTo>
                  <a:cubicBezTo>
                    <a:pt x="1576" y="2048"/>
                    <a:pt x="2048" y="1576"/>
                    <a:pt x="2048" y="1040"/>
                  </a:cubicBezTo>
                  <a:cubicBezTo>
                    <a:pt x="2048" y="473"/>
                    <a:pt x="160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78"/>
            <p:cNvSpPr/>
            <p:nvPr/>
          </p:nvSpPr>
          <p:spPr>
            <a:xfrm>
              <a:off x="-29944425" y="2452250"/>
              <a:ext cx="51225" cy="119750"/>
            </a:xfrm>
            <a:custGeom>
              <a:avLst/>
              <a:gdLst/>
              <a:ahLst/>
              <a:cxnLst/>
              <a:rect l="l" t="t" r="r" b="b"/>
              <a:pathLst>
                <a:path w="2049" h="4790" extrusionOk="0">
                  <a:moveTo>
                    <a:pt x="1009" y="725"/>
                  </a:moveTo>
                  <a:cubicBezTo>
                    <a:pt x="1198" y="725"/>
                    <a:pt x="1355" y="883"/>
                    <a:pt x="1355" y="1072"/>
                  </a:cubicBezTo>
                  <a:lnTo>
                    <a:pt x="1355" y="3781"/>
                  </a:lnTo>
                  <a:cubicBezTo>
                    <a:pt x="1355" y="4002"/>
                    <a:pt x="1198" y="4159"/>
                    <a:pt x="1009" y="4159"/>
                  </a:cubicBezTo>
                  <a:cubicBezTo>
                    <a:pt x="820" y="4159"/>
                    <a:pt x="662" y="4002"/>
                    <a:pt x="662" y="3781"/>
                  </a:cubicBezTo>
                  <a:lnTo>
                    <a:pt x="662" y="1072"/>
                  </a:lnTo>
                  <a:cubicBezTo>
                    <a:pt x="662" y="883"/>
                    <a:pt x="820" y="725"/>
                    <a:pt x="1009" y="725"/>
                  </a:cubicBezTo>
                  <a:close/>
                  <a:moveTo>
                    <a:pt x="1009" y="1"/>
                  </a:moveTo>
                  <a:cubicBezTo>
                    <a:pt x="473" y="1"/>
                    <a:pt x="0" y="473"/>
                    <a:pt x="0" y="1040"/>
                  </a:cubicBezTo>
                  <a:lnTo>
                    <a:pt x="0" y="3750"/>
                  </a:lnTo>
                  <a:cubicBezTo>
                    <a:pt x="0" y="4317"/>
                    <a:pt x="473" y="4790"/>
                    <a:pt x="1009" y="4790"/>
                  </a:cubicBezTo>
                  <a:cubicBezTo>
                    <a:pt x="1576" y="4790"/>
                    <a:pt x="2048" y="4317"/>
                    <a:pt x="2048" y="3750"/>
                  </a:cubicBezTo>
                  <a:lnTo>
                    <a:pt x="2048" y="1040"/>
                  </a:lnTo>
                  <a:cubicBezTo>
                    <a:pt x="2048" y="473"/>
                    <a:pt x="1607"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78"/>
          <p:cNvGrpSpPr/>
          <p:nvPr/>
        </p:nvGrpSpPr>
        <p:grpSpPr>
          <a:xfrm>
            <a:off x="3983068" y="2911245"/>
            <a:ext cx="348855" cy="347878"/>
            <a:chOff x="2821450" y="2957850"/>
            <a:chExt cx="259275" cy="258550"/>
          </a:xfrm>
        </p:grpSpPr>
        <p:sp>
          <p:nvSpPr>
            <p:cNvPr id="10054" name="Google Shape;10054;p78"/>
            <p:cNvSpPr/>
            <p:nvPr/>
          </p:nvSpPr>
          <p:spPr>
            <a:xfrm>
              <a:off x="2821450" y="3080500"/>
              <a:ext cx="259275" cy="135900"/>
            </a:xfrm>
            <a:custGeom>
              <a:avLst/>
              <a:gdLst/>
              <a:ahLst/>
              <a:cxnLst/>
              <a:rect l="l" t="t" r="r" b="b"/>
              <a:pathLst>
                <a:path w="10371" h="5436" extrusionOk="0">
                  <a:moveTo>
                    <a:pt x="2677" y="585"/>
                  </a:moveTo>
                  <a:cubicBezTo>
                    <a:pt x="3151" y="585"/>
                    <a:pt x="3569" y="1004"/>
                    <a:pt x="3569" y="1505"/>
                  </a:cubicBezTo>
                  <a:cubicBezTo>
                    <a:pt x="3569" y="1979"/>
                    <a:pt x="3151" y="2397"/>
                    <a:pt x="2677" y="2397"/>
                  </a:cubicBezTo>
                  <a:cubicBezTo>
                    <a:pt x="2147" y="2397"/>
                    <a:pt x="1757" y="1979"/>
                    <a:pt x="1757" y="1505"/>
                  </a:cubicBezTo>
                  <a:cubicBezTo>
                    <a:pt x="1757" y="1004"/>
                    <a:pt x="2175" y="585"/>
                    <a:pt x="2677" y="585"/>
                  </a:cubicBezTo>
                  <a:close/>
                  <a:moveTo>
                    <a:pt x="7555" y="585"/>
                  </a:moveTo>
                  <a:cubicBezTo>
                    <a:pt x="8029" y="585"/>
                    <a:pt x="8447" y="1004"/>
                    <a:pt x="8447" y="1505"/>
                  </a:cubicBezTo>
                  <a:cubicBezTo>
                    <a:pt x="8447" y="1979"/>
                    <a:pt x="8029" y="2397"/>
                    <a:pt x="7555" y="2397"/>
                  </a:cubicBezTo>
                  <a:cubicBezTo>
                    <a:pt x="7025" y="2397"/>
                    <a:pt x="6635" y="1979"/>
                    <a:pt x="6635" y="1505"/>
                  </a:cubicBezTo>
                  <a:cubicBezTo>
                    <a:pt x="6635" y="1004"/>
                    <a:pt x="7053" y="585"/>
                    <a:pt x="7555" y="585"/>
                  </a:cubicBezTo>
                  <a:close/>
                  <a:moveTo>
                    <a:pt x="2677" y="2983"/>
                  </a:moveTo>
                  <a:cubicBezTo>
                    <a:pt x="3736" y="2983"/>
                    <a:pt x="4628" y="3791"/>
                    <a:pt x="4795" y="4795"/>
                  </a:cubicBezTo>
                  <a:lnTo>
                    <a:pt x="586" y="4795"/>
                  </a:lnTo>
                  <a:cubicBezTo>
                    <a:pt x="698" y="3791"/>
                    <a:pt x="1618" y="2983"/>
                    <a:pt x="2677" y="2983"/>
                  </a:cubicBezTo>
                  <a:close/>
                  <a:moveTo>
                    <a:pt x="7555" y="2983"/>
                  </a:moveTo>
                  <a:cubicBezTo>
                    <a:pt x="8614" y="2983"/>
                    <a:pt x="9506" y="3791"/>
                    <a:pt x="9646" y="4795"/>
                  </a:cubicBezTo>
                  <a:lnTo>
                    <a:pt x="5409" y="4795"/>
                  </a:lnTo>
                  <a:cubicBezTo>
                    <a:pt x="5548" y="3791"/>
                    <a:pt x="6468" y="2983"/>
                    <a:pt x="7555" y="2983"/>
                  </a:cubicBezTo>
                  <a:close/>
                  <a:moveTo>
                    <a:pt x="2733" y="0"/>
                  </a:moveTo>
                  <a:cubicBezTo>
                    <a:pt x="1896" y="0"/>
                    <a:pt x="1227" y="669"/>
                    <a:pt x="1227" y="1505"/>
                  </a:cubicBezTo>
                  <a:cubicBezTo>
                    <a:pt x="1227" y="1951"/>
                    <a:pt x="1395" y="2342"/>
                    <a:pt x="1729" y="2620"/>
                  </a:cubicBezTo>
                  <a:cubicBezTo>
                    <a:pt x="698" y="3039"/>
                    <a:pt x="1" y="4014"/>
                    <a:pt x="1" y="5129"/>
                  </a:cubicBezTo>
                  <a:cubicBezTo>
                    <a:pt x="1" y="5296"/>
                    <a:pt x="140" y="5436"/>
                    <a:pt x="335" y="5436"/>
                  </a:cubicBezTo>
                  <a:lnTo>
                    <a:pt x="10036" y="5436"/>
                  </a:lnTo>
                  <a:cubicBezTo>
                    <a:pt x="10231" y="5436"/>
                    <a:pt x="10370" y="5296"/>
                    <a:pt x="10370" y="5129"/>
                  </a:cubicBezTo>
                  <a:cubicBezTo>
                    <a:pt x="10259" y="3958"/>
                    <a:pt x="9562" y="2983"/>
                    <a:pt x="8559" y="2620"/>
                  </a:cubicBezTo>
                  <a:cubicBezTo>
                    <a:pt x="8865" y="2342"/>
                    <a:pt x="9032" y="1951"/>
                    <a:pt x="9032" y="1505"/>
                  </a:cubicBezTo>
                  <a:cubicBezTo>
                    <a:pt x="9032" y="669"/>
                    <a:pt x="8391" y="0"/>
                    <a:pt x="7555" y="0"/>
                  </a:cubicBezTo>
                  <a:cubicBezTo>
                    <a:pt x="6719" y="0"/>
                    <a:pt x="6050" y="669"/>
                    <a:pt x="6050" y="1505"/>
                  </a:cubicBezTo>
                  <a:cubicBezTo>
                    <a:pt x="6050" y="1951"/>
                    <a:pt x="6217" y="2342"/>
                    <a:pt x="6524" y="2620"/>
                  </a:cubicBezTo>
                  <a:cubicBezTo>
                    <a:pt x="5910" y="2843"/>
                    <a:pt x="5409" y="3317"/>
                    <a:pt x="5130" y="3903"/>
                  </a:cubicBezTo>
                  <a:cubicBezTo>
                    <a:pt x="4823" y="3317"/>
                    <a:pt x="4322" y="2843"/>
                    <a:pt x="3736" y="2620"/>
                  </a:cubicBezTo>
                  <a:cubicBezTo>
                    <a:pt x="4043" y="2342"/>
                    <a:pt x="4238" y="1951"/>
                    <a:pt x="4238" y="1505"/>
                  </a:cubicBezTo>
                  <a:cubicBezTo>
                    <a:pt x="4238" y="669"/>
                    <a:pt x="3569" y="0"/>
                    <a:pt x="2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78"/>
            <p:cNvSpPr/>
            <p:nvPr/>
          </p:nvSpPr>
          <p:spPr>
            <a:xfrm>
              <a:off x="2831900" y="2957850"/>
              <a:ext cx="228625" cy="106350"/>
            </a:xfrm>
            <a:custGeom>
              <a:avLst/>
              <a:gdLst/>
              <a:ahLst/>
              <a:cxnLst/>
              <a:rect l="l" t="t" r="r" b="b"/>
              <a:pathLst>
                <a:path w="9145" h="4254" extrusionOk="0">
                  <a:moveTo>
                    <a:pt x="8336" y="585"/>
                  </a:moveTo>
                  <a:cubicBezTo>
                    <a:pt x="8531" y="585"/>
                    <a:pt x="8642" y="725"/>
                    <a:pt x="8642" y="892"/>
                  </a:cubicBezTo>
                  <a:lnTo>
                    <a:pt x="8642" y="2119"/>
                  </a:lnTo>
                  <a:cubicBezTo>
                    <a:pt x="8642" y="2286"/>
                    <a:pt x="8531" y="2425"/>
                    <a:pt x="8336" y="2425"/>
                  </a:cubicBezTo>
                  <a:lnTo>
                    <a:pt x="7137" y="2425"/>
                  </a:lnTo>
                  <a:cubicBezTo>
                    <a:pt x="6942" y="2425"/>
                    <a:pt x="6803" y="2565"/>
                    <a:pt x="6803" y="2732"/>
                  </a:cubicBezTo>
                  <a:lnTo>
                    <a:pt x="6803" y="3234"/>
                  </a:lnTo>
                  <a:lnTo>
                    <a:pt x="6106" y="2537"/>
                  </a:lnTo>
                  <a:cubicBezTo>
                    <a:pt x="6050" y="2453"/>
                    <a:pt x="5966" y="2425"/>
                    <a:pt x="5911" y="2425"/>
                  </a:cubicBezTo>
                  <a:lnTo>
                    <a:pt x="3430" y="2425"/>
                  </a:lnTo>
                  <a:cubicBezTo>
                    <a:pt x="3346" y="2425"/>
                    <a:pt x="3262" y="2453"/>
                    <a:pt x="3207" y="2537"/>
                  </a:cubicBezTo>
                  <a:lnTo>
                    <a:pt x="2510" y="3234"/>
                  </a:lnTo>
                  <a:lnTo>
                    <a:pt x="2510" y="2732"/>
                  </a:lnTo>
                  <a:cubicBezTo>
                    <a:pt x="2510" y="2565"/>
                    <a:pt x="2370" y="2425"/>
                    <a:pt x="2203" y="2425"/>
                  </a:cubicBezTo>
                  <a:lnTo>
                    <a:pt x="1032" y="2425"/>
                  </a:lnTo>
                  <a:cubicBezTo>
                    <a:pt x="865" y="2425"/>
                    <a:pt x="726" y="2286"/>
                    <a:pt x="726" y="2119"/>
                  </a:cubicBezTo>
                  <a:lnTo>
                    <a:pt x="726" y="892"/>
                  </a:lnTo>
                  <a:cubicBezTo>
                    <a:pt x="726" y="725"/>
                    <a:pt x="865" y="585"/>
                    <a:pt x="1032" y="585"/>
                  </a:cubicBezTo>
                  <a:close/>
                  <a:moveTo>
                    <a:pt x="921" y="0"/>
                  </a:moveTo>
                  <a:cubicBezTo>
                    <a:pt x="447" y="0"/>
                    <a:pt x="1" y="418"/>
                    <a:pt x="1" y="892"/>
                  </a:cubicBezTo>
                  <a:lnTo>
                    <a:pt x="1" y="2119"/>
                  </a:lnTo>
                  <a:cubicBezTo>
                    <a:pt x="1" y="2592"/>
                    <a:pt x="419" y="3011"/>
                    <a:pt x="921" y="3011"/>
                  </a:cubicBezTo>
                  <a:lnTo>
                    <a:pt x="1841" y="3011"/>
                  </a:lnTo>
                  <a:lnTo>
                    <a:pt x="1841" y="3958"/>
                  </a:lnTo>
                  <a:cubicBezTo>
                    <a:pt x="1924" y="4098"/>
                    <a:pt x="2008" y="4209"/>
                    <a:pt x="2120" y="4237"/>
                  </a:cubicBezTo>
                  <a:cubicBezTo>
                    <a:pt x="2150" y="4247"/>
                    <a:pt x="2188" y="4254"/>
                    <a:pt x="2228" y="4254"/>
                  </a:cubicBezTo>
                  <a:cubicBezTo>
                    <a:pt x="2298" y="4254"/>
                    <a:pt x="2373" y="4234"/>
                    <a:pt x="2426" y="4181"/>
                  </a:cubicBezTo>
                  <a:lnTo>
                    <a:pt x="3541" y="3011"/>
                  </a:lnTo>
                  <a:lnTo>
                    <a:pt x="5743" y="3011"/>
                  </a:lnTo>
                  <a:lnTo>
                    <a:pt x="6830" y="4181"/>
                  </a:lnTo>
                  <a:cubicBezTo>
                    <a:pt x="6883" y="4234"/>
                    <a:pt x="6959" y="4254"/>
                    <a:pt x="7035" y="4254"/>
                  </a:cubicBezTo>
                  <a:cubicBezTo>
                    <a:pt x="7080" y="4254"/>
                    <a:pt x="7124" y="4247"/>
                    <a:pt x="7165" y="4237"/>
                  </a:cubicBezTo>
                  <a:cubicBezTo>
                    <a:pt x="7249" y="4209"/>
                    <a:pt x="7332" y="4070"/>
                    <a:pt x="7332" y="3958"/>
                  </a:cubicBezTo>
                  <a:lnTo>
                    <a:pt x="7332" y="3011"/>
                  </a:lnTo>
                  <a:lnTo>
                    <a:pt x="8224" y="3011"/>
                  </a:lnTo>
                  <a:cubicBezTo>
                    <a:pt x="8726" y="3011"/>
                    <a:pt x="9144" y="2592"/>
                    <a:pt x="9144" y="2119"/>
                  </a:cubicBezTo>
                  <a:lnTo>
                    <a:pt x="9144" y="892"/>
                  </a:lnTo>
                  <a:cubicBezTo>
                    <a:pt x="9144" y="418"/>
                    <a:pt x="8726" y="0"/>
                    <a:pt x="82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78"/>
            <p:cNvSpPr/>
            <p:nvPr/>
          </p:nvSpPr>
          <p:spPr>
            <a:xfrm>
              <a:off x="3024600" y="2966925"/>
              <a:ext cx="29875" cy="58497"/>
            </a:xfrm>
            <a:custGeom>
              <a:avLst/>
              <a:gdLst/>
              <a:ahLst/>
              <a:cxnLst/>
              <a:rect l="l" t="t" r="r" b="b"/>
              <a:pathLst>
                <a:path w="1195" h="2376" extrusionOk="0">
                  <a:moveTo>
                    <a:pt x="159" y="2269"/>
                  </a:moveTo>
                  <a:cubicBezTo>
                    <a:pt x="131" y="2225"/>
                    <a:pt x="349" y="2178"/>
                    <a:pt x="444" y="2102"/>
                  </a:cubicBezTo>
                  <a:cubicBezTo>
                    <a:pt x="539" y="2027"/>
                    <a:pt x="682" y="2090"/>
                    <a:pt x="730" y="1816"/>
                  </a:cubicBezTo>
                  <a:cubicBezTo>
                    <a:pt x="778" y="1542"/>
                    <a:pt x="774" y="725"/>
                    <a:pt x="730" y="459"/>
                  </a:cubicBezTo>
                  <a:cubicBezTo>
                    <a:pt x="686" y="193"/>
                    <a:pt x="587" y="273"/>
                    <a:pt x="468" y="221"/>
                  </a:cubicBezTo>
                  <a:cubicBezTo>
                    <a:pt x="349" y="169"/>
                    <a:pt x="-16" y="185"/>
                    <a:pt x="16" y="149"/>
                  </a:cubicBezTo>
                  <a:cubicBezTo>
                    <a:pt x="48" y="113"/>
                    <a:pt x="473" y="-21"/>
                    <a:pt x="659" y="7"/>
                  </a:cubicBezTo>
                  <a:cubicBezTo>
                    <a:pt x="846" y="35"/>
                    <a:pt x="1048" y="54"/>
                    <a:pt x="1135" y="316"/>
                  </a:cubicBezTo>
                  <a:cubicBezTo>
                    <a:pt x="1222" y="578"/>
                    <a:pt x="1183" y="1276"/>
                    <a:pt x="1183" y="1578"/>
                  </a:cubicBezTo>
                  <a:cubicBezTo>
                    <a:pt x="1183" y="1880"/>
                    <a:pt x="1230" y="1995"/>
                    <a:pt x="1135" y="2126"/>
                  </a:cubicBezTo>
                  <a:cubicBezTo>
                    <a:pt x="1040" y="2257"/>
                    <a:pt x="774" y="2340"/>
                    <a:pt x="611" y="2364"/>
                  </a:cubicBezTo>
                  <a:cubicBezTo>
                    <a:pt x="448" y="2388"/>
                    <a:pt x="187" y="2313"/>
                    <a:pt x="159" y="2269"/>
                  </a:cubicBezTo>
                  <a:close/>
                </a:path>
              </a:pathLst>
            </a:custGeom>
            <a:solidFill>
              <a:srgbClr val="5F7D95"/>
            </a:solidFill>
            <a:ln>
              <a:noFill/>
            </a:ln>
          </p:spPr>
          <p:txBody>
            <a:bodyPr/>
            <a:lstStyle/>
            <a:p>
              <a:endParaRPr lang="de-DE"/>
            </a:p>
          </p:txBody>
        </p:sp>
      </p:grpSp>
      <p:grpSp>
        <p:nvGrpSpPr>
          <p:cNvPr id="10057" name="Google Shape;10057;p78"/>
          <p:cNvGrpSpPr/>
          <p:nvPr/>
        </p:nvGrpSpPr>
        <p:grpSpPr>
          <a:xfrm>
            <a:off x="4858100" y="1532274"/>
            <a:ext cx="361090" cy="361090"/>
            <a:chOff x="-57970450" y="1903275"/>
            <a:chExt cx="318225" cy="318225"/>
          </a:xfrm>
        </p:grpSpPr>
        <p:sp>
          <p:nvSpPr>
            <p:cNvPr id="10058" name="Google Shape;10058;p78"/>
            <p:cNvSpPr/>
            <p:nvPr/>
          </p:nvSpPr>
          <p:spPr>
            <a:xfrm>
              <a:off x="-57847575" y="2135825"/>
              <a:ext cx="73250" cy="28975"/>
            </a:xfrm>
            <a:custGeom>
              <a:avLst/>
              <a:gdLst/>
              <a:ahLst/>
              <a:cxnLst/>
              <a:rect l="l" t="t" r="r" b="b"/>
              <a:pathLst>
                <a:path w="2930" h="1159" extrusionOk="0">
                  <a:moveTo>
                    <a:pt x="414" y="1"/>
                  </a:moveTo>
                  <a:cubicBezTo>
                    <a:pt x="315" y="1"/>
                    <a:pt x="221" y="40"/>
                    <a:pt x="158" y="119"/>
                  </a:cubicBezTo>
                  <a:cubicBezTo>
                    <a:pt x="0" y="276"/>
                    <a:pt x="0" y="497"/>
                    <a:pt x="158" y="623"/>
                  </a:cubicBezTo>
                  <a:cubicBezTo>
                    <a:pt x="536" y="970"/>
                    <a:pt x="1008" y="1159"/>
                    <a:pt x="1481" y="1159"/>
                  </a:cubicBezTo>
                  <a:cubicBezTo>
                    <a:pt x="1954" y="1159"/>
                    <a:pt x="2458" y="970"/>
                    <a:pt x="2773" y="623"/>
                  </a:cubicBezTo>
                  <a:cubicBezTo>
                    <a:pt x="2930" y="465"/>
                    <a:pt x="2930" y="213"/>
                    <a:pt x="2773" y="119"/>
                  </a:cubicBezTo>
                  <a:cubicBezTo>
                    <a:pt x="2694" y="40"/>
                    <a:pt x="2592" y="1"/>
                    <a:pt x="2497" y="1"/>
                  </a:cubicBezTo>
                  <a:cubicBezTo>
                    <a:pt x="2402" y="1"/>
                    <a:pt x="2316" y="40"/>
                    <a:pt x="2269" y="119"/>
                  </a:cubicBezTo>
                  <a:cubicBezTo>
                    <a:pt x="2048" y="308"/>
                    <a:pt x="1733" y="434"/>
                    <a:pt x="1481" y="434"/>
                  </a:cubicBezTo>
                  <a:cubicBezTo>
                    <a:pt x="1197" y="434"/>
                    <a:pt x="882" y="339"/>
                    <a:pt x="693" y="119"/>
                  </a:cubicBezTo>
                  <a:cubicBezTo>
                    <a:pt x="615" y="40"/>
                    <a:pt x="512"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9" name="Google Shape;10059;p78"/>
            <p:cNvSpPr/>
            <p:nvPr/>
          </p:nvSpPr>
          <p:spPr>
            <a:xfrm>
              <a:off x="-57857025"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0" name="Google Shape;10060;p78"/>
            <p:cNvSpPr/>
            <p:nvPr/>
          </p:nvSpPr>
          <p:spPr>
            <a:xfrm>
              <a:off x="-57782200"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78"/>
            <p:cNvSpPr/>
            <p:nvPr/>
          </p:nvSpPr>
          <p:spPr>
            <a:xfrm>
              <a:off x="-57970450" y="1903275"/>
              <a:ext cx="318225" cy="318225"/>
            </a:xfrm>
            <a:custGeom>
              <a:avLst/>
              <a:gdLst/>
              <a:ahLst/>
              <a:cxnLst/>
              <a:rect l="l" t="t" r="r" b="b"/>
              <a:pathLst>
                <a:path w="12729" h="12729" extrusionOk="0">
                  <a:moveTo>
                    <a:pt x="6396" y="757"/>
                  </a:moveTo>
                  <a:cubicBezTo>
                    <a:pt x="6774" y="757"/>
                    <a:pt x="7121" y="915"/>
                    <a:pt x="7404" y="1167"/>
                  </a:cubicBezTo>
                  <a:lnTo>
                    <a:pt x="8507" y="2269"/>
                  </a:lnTo>
                  <a:lnTo>
                    <a:pt x="4348" y="2269"/>
                  </a:lnTo>
                  <a:lnTo>
                    <a:pt x="5356" y="1167"/>
                  </a:lnTo>
                  <a:cubicBezTo>
                    <a:pt x="5640" y="915"/>
                    <a:pt x="5986" y="757"/>
                    <a:pt x="6396" y="757"/>
                  </a:cubicBezTo>
                  <a:close/>
                  <a:moveTo>
                    <a:pt x="11783" y="2994"/>
                  </a:moveTo>
                  <a:cubicBezTo>
                    <a:pt x="11626" y="3845"/>
                    <a:pt x="10838" y="4475"/>
                    <a:pt x="9925" y="4475"/>
                  </a:cubicBezTo>
                  <a:lnTo>
                    <a:pt x="2489" y="4475"/>
                  </a:lnTo>
                  <a:cubicBezTo>
                    <a:pt x="2454" y="4478"/>
                    <a:pt x="2420" y="4479"/>
                    <a:pt x="2385" y="4479"/>
                  </a:cubicBezTo>
                  <a:cubicBezTo>
                    <a:pt x="1665" y="4479"/>
                    <a:pt x="968" y="3867"/>
                    <a:pt x="788" y="3025"/>
                  </a:cubicBezTo>
                  <a:lnTo>
                    <a:pt x="2300" y="3025"/>
                  </a:lnTo>
                  <a:lnTo>
                    <a:pt x="2300" y="3372"/>
                  </a:lnTo>
                  <a:cubicBezTo>
                    <a:pt x="2300" y="3592"/>
                    <a:pt x="2458" y="3750"/>
                    <a:pt x="2647" y="3750"/>
                  </a:cubicBezTo>
                  <a:cubicBezTo>
                    <a:pt x="2836" y="3750"/>
                    <a:pt x="2993" y="3592"/>
                    <a:pt x="2993" y="3372"/>
                  </a:cubicBezTo>
                  <a:lnTo>
                    <a:pt x="2993" y="3025"/>
                  </a:lnTo>
                  <a:lnTo>
                    <a:pt x="3750" y="3025"/>
                  </a:lnTo>
                  <a:lnTo>
                    <a:pt x="3750" y="3372"/>
                  </a:lnTo>
                  <a:cubicBezTo>
                    <a:pt x="3750" y="3592"/>
                    <a:pt x="3907" y="3750"/>
                    <a:pt x="4096" y="3750"/>
                  </a:cubicBezTo>
                  <a:cubicBezTo>
                    <a:pt x="4285" y="3750"/>
                    <a:pt x="4443" y="3592"/>
                    <a:pt x="4443" y="3372"/>
                  </a:cubicBezTo>
                  <a:lnTo>
                    <a:pt x="4443" y="3025"/>
                  </a:lnTo>
                  <a:lnTo>
                    <a:pt x="5199" y="3025"/>
                  </a:lnTo>
                  <a:lnTo>
                    <a:pt x="5199" y="3372"/>
                  </a:lnTo>
                  <a:cubicBezTo>
                    <a:pt x="5199" y="3592"/>
                    <a:pt x="5356" y="3750"/>
                    <a:pt x="5545" y="3750"/>
                  </a:cubicBezTo>
                  <a:cubicBezTo>
                    <a:pt x="5766" y="3750"/>
                    <a:pt x="5923" y="3592"/>
                    <a:pt x="5923" y="3372"/>
                  </a:cubicBezTo>
                  <a:lnTo>
                    <a:pt x="5923" y="3025"/>
                  </a:lnTo>
                  <a:lnTo>
                    <a:pt x="6648" y="3025"/>
                  </a:lnTo>
                  <a:lnTo>
                    <a:pt x="6648" y="3372"/>
                  </a:lnTo>
                  <a:cubicBezTo>
                    <a:pt x="6648" y="3592"/>
                    <a:pt x="6806" y="3750"/>
                    <a:pt x="7026" y="3750"/>
                  </a:cubicBezTo>
                  <a:cubicBezTo>
                    <a:pt x="7215" y="3750"/>
                    <a:pt x="7373" y="3592"/>
                    <a:pt x="7373" y="3372"/>
                  </a:cubicBezTo>
                  <a:lnTo>
                    <a:pt x="7373" y="3025"/>
                  </a:lnTo>
                  <a:lnTo>
                    <a:pt x="8129" y="3025"/>
                  </a:lnTo>
                  <a:lnTo>
                    <a:pt x="8129" y="3372"/>
                  </a:lnTo>
                  <a:cubicBezTo>
                    <a:pt x="8129" y="3592"/>
                    <a:pt x="8286" y="3750"/>
                    <a:pt x="8475" y="3750"/>
                  </a:cubicBezTo>
                  <a:cubicBezTo>
                    <a:pt x="8664" y="3750"/>
                    <a:pt x="8822" y="3592"/>
                    <a:pt x="8822" y="3372"/>
                  </a:cubicBezTo>
                  <a:lnTo>
                    <a:pt x="8822" y="2994"/>
                  </a:lnTo>
                  <a:lnTo>
                    <a:pt x="9578" y="2994"/>
                  </a:lnTo>
                  <a:lnTo>
                    <a:pt x="9578" y="3372"/>
                  </a:lnTo>
                  <a:cubicBezTo>
                    <a:pt x="9578" y="3592"/>
                    <a:pt x="9735" y="3750"/>
                    <a:pt x="9925" y="3750"/>
                  </a:cubicBezTo>
                  <a:cubicBezTo>
                    <a:pt x="10114" y="3750"/>
                    <a:pt x="10271" y="3592"/>
                    <a:pt x="10271" y="3372"/>
                  </a:cubicBezTo>
                  <a:lnTo>
                    <a:pt x="10271" y="2994"/>
                  </a:lnTo>
                  <a:close/>
                  <a:moveTo>
                    <a:pt x="2300" y="6774"/>
                  </a:moveTo>
                  <a:lnTo>
                    <a:pt x="2300" y="8255"/>
                  </a:lnTo>
                  <a:cubicBezTo>
                    <a:pt x="1859" y="8255"/>
                    <a:pt x="1544" y="7909"/>
                    <a:pt x="1544" y="7531"/>
                  </a:cubicBezTo>
                  <a:cubicBezTo>
                    <a:pt x="1544" y="7121"/>
                    <a:pt x="1891" y="6774"/>
                    <a:pt x="2300" y="6774"/>
                  </a:cubicBezTo>
                  <a:close/>
                  <a:moveTo>
                    <a:pt x="10492" y="6774"/>
                  </a:moveTo>
                  <a:cubicBezTo>
                    <a:pt x="10870" y="6774"/>
                    <a:pt x="11216" y="7090"/>
                    <a:pt x="11216" y="7531"/>
                  </a:cubicBezTo>
                  <a:cubicBezTo>
                    <a:pt x="11216" y="7940"/>
                    <a:pt x="10901" y="8255"/>
                    <a:pt x="10492" y="8255"/>
                  </a:cubicBezTo>
                  <a:lnTo>
                    <a:pt x="10492" y="6774"/>
                  </a:lnTo>
                  <a:close/>
                  <a:moveTo>
                    <a:pt x="9767" y="5262"/>
                  </a:moveTo>
                  <a:cubicBezTo>
                    <a:pt x="9735" y="5388"/>
                    <a:pt x="9735" y="8507"/>
                    <a:pt x="9735" y="8633"/>
                  </a:cubicBezTo>
                  <a:cubicBezTo>
                    <a:pt x="9735" y="9421"/>
                    <a:pt x="9452" y="10145"/>
                    <a:pt x="8979" y="10744"/>
                  </a:cubicBezTo>
                  <a:lnTo>
                    <a:pt x="8979" y="9358"/>
                  </a:lnTo>
                  <a:cubicBezTo>
                    <a:pt x="8979" y="8350"/>
                    <a:pt x="8160" y="7531"/>
                    <a:pt x="7121" y="7531"/>
                  </a:cubicBezTo>
                  <a:cubicBezTo>
                    <a:pt x="6932" y="7531"/>
                    <a:pt x="6774" y="7688"/>
                    <a:pt x="6774" y="7877"/>
                  </a:cubicBezTo>
                  <a:cubicBezTo>
                    <a:pt x="6774" y="8066"/>
                    <a:pt x="6932" y="8224"/>
                    <a:pt x="7121" y="8224"/>
                  </a:cubicBezTo>
                  <a:cubicBezTo>
                    <a:pt x="7751" y="8224"/>
                    <a:pt x="8223" y="8728"/>
                    <a:pt x="8223" y="9326"/>
                  </a:cubicBezTo>
                  <a:lnTo>
                    <a:pt x="8223" y="11374"/>
                  </a:lnTo>
                  <a:cubicBezTo>
                    <a:pt x="7688" y="11721"/>
                    <a:pt x="7058" y="11973"/>
                    <a:pt x="6396" y="11973"/>
                  </a:cubicBezTo>
                  <a:cubicBezTo>
                    <a:pt x="5734" y="11973"/>
                    <a:pt x="5041" y="11784"/>
                    <a:pt x="4537" y="11374"/>
                  </a:cubicBezTo>
                  <a:lnTo>
                    <a:pt x="4537" y="9326"/>
                  </a:lnTo>
                  <a:cubicBezTo>
                    <a:pt x="4537" y="8696"/>
                    <a:pt x="5041" y="8224"/>
                    <a:pt x="5640" y="8224"/>
                  </a:cubicBezTo>
                  <a:cubicBezTo>
                    <a:pt x="5829" y="8224"/>
                    <a:pt x="5986" y="8066"/>
                    <a:pt x="5986" y="7877"/>
                  </a:cubicBezTo>
                  <a:cubicBezTo>
                    <a:pt x="5986" y="7688"/>
                    <a:pt x="5829" y="7499"/>
                    <a:pt x="5640" y="7499"/>
                  </a:cubicBezTo>
                  <a:cubicBezTo>
                    <a:pt x="4600" y="7499"/>
                    <a:pt x="3781" y="8350"/>
                    <a:pt x="3781" y="9358"/>
                  </a:cubicBezTo>
                  <a:lnTo>
                    <a:pt x="3781" y="10744"/>
                  </a:lnTo>
                  <a:cubicBezTo>
                    <a:pt x="3308" y="10145"/>
                    <a:pt x="3056" y="9389"/>
                    <a:pt x="3056" y="8602"/>
                  </a:cubicBezTo>
                  <a:lnTo>
                    <a:pt x="3056" y="5262"/>
                  </a:lnTo>
                  <a:close/>
                  <a:moveTo>
                    <a:pt x="6333" y="1"/>
                  </a:moveTo>
                  <a:cubicBezTo>
                    <a:pt x="5766" y="1"/>
                    <a:pt x="5199" y="221"/>
                    <a:pt x="4821" y="631"/>
                  </a:cubicBezTo>
                  <a:lnTo>
                    <a:pt x="3182" y="2238"/>
                  </a:lnTo>
                  <a:lnTo>
                    <a:pt x="347" y="2238"/>
                  </a:lnTo>
                  <a:cubicBezTo>
                    <a:pt x="158" y="2238"/>
                    <a:pt x="0" y="2395"/>
                    <a:pt x="0" y="2584"/>
                  </a:cubicBezTo>
                  <a:cubicBezTo>
                    <a:pt x="0" y="3908"/>
                    <a:pt x="1009" y="5010"/>
                    <a:pt x="2237" y="5199"/>
                  </a:cubicBezTo>
                  <a:lnTo>
                    <a:pt x="2237" y="5987"/>
                  </a:lnTo>
                  <a:cubicBezTo>
                    <a:pt x="1418" y="5987"/>
                    <a:pt x="757" y="6648"/>
                    <a:pt x="757" y="7468"/>
                  </a:cubicBezTo>
                  <a:cubicBezTo>
                    <a:pt x="757" y="8318"/>
                    <a:pt x="1418" y="8980"/>
                    <a:pt x="2237" y="8980"/>
                  </a:cubicBezTo>
                  <a:cubicBezTo>
                    <a:pt x="2363" y="10114"/>
                    <a:pt x="2930" y="11091"/>
                    <a:pt x="3718" y="11784"/>
                  </a:cubicBezTo>
                  <a:lnTo>
                    <a:pt x="3718" y="12351"/>
                  </a:lnTo>
                  <a:cubicBezTo>
                    <a:pt x="3718" y="12571"/>
                    <a:pt x="3876" y="12729"/>
                    <a:pt x="4065" y="12729"/>
                  </a:cubicBezTo>
                  <a:cubicBezTo>
                    <a:pt x="4254" y="12729"/>
                    <a:pt x="4411" y="12571"/>
                    <a:pt x="4411" y="12351"/>
                  </a:cubicBezTo>
                  <a:lnTo>
                    <a:pt x="4411" y="12288"/>
                  </a:lnTo>
                  <a:cubicBezTo>
                    <a:pt x="4978" y="12571"/>
                    <a:pt x="5608" y="12729"/>
                    <a:pt x="6270" y="12729"/>
                  </a:cubicBezTo>
                  <a:cubicBezTo>
                    <a:pt x="6932" y="12729"/>
                    <a:pt x="7562" y="12571"/>
                    <a:pt x="8129" y="12288"/>
                  </a:cubicBezTo>
                  <a:lnTo>
                    <a:pt x="8129" y="12351"/>
                  </a:lnTo>
                  <a:cubicBezTo>
                    <a:pt x="8129" y="12571"/>
                    <a:pt x="8286" y="12729"/>
                    <a:pt x="8475" y="12729"/>
                  </a:cubicBezTo>
                  <a:cubicBezTo>
                    <a:pt x="8664" y="12729"/>
                    <a:pt x="8822" y="12571"/>
                    <a:pt x="8822" y="12351"/>
                  </a:cubicBezTo>
                  <a:lnTo>
                    <a:pt x="8822" y="11784"/>
                  </a:lnTo>
                  <a:cubicBezTo>
                    <a:pt x="9641" y="11091"/>
                    <a:pt x="10208" y="10082"/>
                    <a:pt x="10271" y="8980"/>
                  </a:cubicBezTo>
                  <a:cubicBezTo>
                    <a:pt x="11122" y="8980"/>
                    <a:pt x="11783" y="8318"/>
                    <a:pt x="11783" y="7468"/>
                  </a:cubicBezTo>
                  <a:cubicBezTo>
                    <a:pt x="11972" y="6680"/>
                    <a:pt x="11311" y="6018"/>
                    <a:pt x="10492" y="6018"/>
                  </a:cubicBezTo>
                  <a:lnTo>
                    <a:pt x="10492" y="5231"/>
                  </a:lnTo>
                  <a:cubicBezTo>
                    <a:pt x="11752" y="5042"/>
                    <a:pt x="12728" y="3971"/>
                    <a:pt x="12728" y="2647"/>
                  </a:cubicBezTo>
                  <a:cubicBezTo>
                    <a:pt x="12728" y="2521"/>
                    <a:pt x="12697" y="2427"/>
                    <a:pt x="12602" y="2364"/>
                  </a:cubicBezTo>
                  <a:cubicBezTo>
                    <a:pt x="12539" y="2269"/>
                    <a:pt x="12445" y="2238"/>
                    <a:pt x="12319" y="2238"/>
                  </a:cubicBezTo>
                  <a:lnTo>
                    <a:pt x="9483" y="2238"/>
                  </a:lnTo>
                  <a:lnTo>
                    <a:pt x="7877" y="631"/>
                  </a:lnTo>
                  <a:cubicBezTo>
                    <a:pt x="7499" y="221"/>
                    <a:pt x="6932"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62" name="Google Shape;10062;p78"/>
          <p:cNvGrpSpPr/>
          <p:nvPr/>
        </p:nvGrpSpPr>
        <p:grpSpPr>
          <a:xfrm>
            <a:off x="4880000" y="2008231"/>
            <a:ext cx="317290" cy="359303"/>
            <a:chOff x="-57950750" y="2296300"/>
            <a:chExt cx="279625" cy="316650"/>
          </a:xfrm>
        </p:grpSpPr>
        <p:sp>
          <p:nvSpPr>
            <p:cNvPr id="10063" name="Google Shape;10063;p78"/>
            <p:cNvSpPr/>
            <p:nvPr/>
          </p:nvSpPr>
          <p:spPr>
            <a:xfrm>
              <a:off x="-57847575" y="2528075"/>
              <a:ext cx="73250" cy="29750"/>
            </a:xfrm>
            <a:custGeom>
              <a:avLst/>
              <a:gdLst/>
              <a:ahLst/>
              <a:cxnLst/>
              <a:rect l="l" t="t" r="r" b="b"/>
              <a:pathLst>
                <a:path w="2930" h="1190" extrusionOk="0">
                  <a:moveTo>
                    <a:pt x="414" y="0"/>
                  </a:moveTo>
                  <a:cubicBezTo>
                    <a:pt x="315" y="0"/>
                    <a:pt x="221" y="40"/>
                    <a:pt x="158" y="118"/>
                  </a:cubicBezTo>
                  <a:cubicBezTo>
                    <a:pt x="0" y="276"/>
                    <a:pt x="0" y="528"/>
                    <a:pt x="158" y="654"/>
                  </a:cubicBezTo>
                  <a:cubicBezTo>
                    <a:pt x="536" y="1000"/>
                    <a:pt x="1008" y="1189"/>
                    <a:pt x="1481" y="1189"/>
                  </a:cubicBezTo>
                  <a:cubicBezTo>
                    <a:pt x="1954" y="1189"/>
                    <a:pt x="2458" y="1000"/>
                    <a:pt x="2773" y="654"/>
                  </a:cubicBezTo>
                  <a:cubicBezTo>
                    <a:pt x="2930" y="496"/>
                    <a:pt x="2930" y="244"/>
                    <a:pt x="2773" y="118"/>
                  </a:cubicBezTo>
                  <a:cubicBezTo>
                    <a:pt x="2710" y="40"/>
                    <a:pt x="2623" y="0"/>
                    <a:pt x="2532" y="0"/>
                  </a:cubicBezTo>
                  <a:cubicBezTo>
                    <a:pt x="2442" y="0"/>
                    <a:pt x="2347" y="40"/>
                    <a:pt x="2269" y="118"/>
                  </a:cubicBezTo>
                  <a:cubicBezTo>
                    <a:pt x="2048" y="339"/>
                    <a:pt x="1733" y="433"/>
                    <a:pt x="1481" y="433"/>
                  </a:cubicBezTo>
                  <a:cubicBezTo>
                    <a:pt x="1197" y="433"/>
                    <a:pt x="882" y="339"/>
                    <a:pt x="693" y="118"/>
                  </a:cubicBezTo>
                  <a:cubicBezTo>
                    <a:pt x="615" y="40"/>
                    <a:pt x="512" y="0"/>
                    <a:pt x="4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78"/>
            <p:cNvSpPr/>
            <p:nvPr/>
          </p:nvSpPr>
          <p:spPr>
            <a:xfrm>
              <a:off x="-57857025"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5" name="Google Shape;10065;p78"/>
            <p:cNvSpPr/>
            <p:nvPr/>
          </p:nvSpPr>
          <p:spPr>
            <a:xfrm>
              <a:off x="-57782200"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6" name="Google Shape;10066;p78"/>
            <p:cNvSpPr/>
            <p:nvPr/>
          </p:nvSpPr>
          <p:spPr>
            <a:xfrm>
              <a:off x="-57950750" y="2296300"/>
              <a:ext cx="279625" cy="316650"/>
            </a:xfrm>
            <a:custGeom>
              <a:avLst/>
              <a:gdLst/>
              <a:ahLst/>
              <a:cxnLst/>
              <a:rect l="l" t="t" r="r" b="b"/>
              <a:pathLst>
                <a:path w="11185" h="12666" extrusionOk="0">
                  <a:moveTo>
                    <a:pt x="5639" y="694"/>
                  </a:moveTo>
                  <a:cubicBezTo>
                    <a:pt x="5955" y="694"/>
                    <a:pt x="6270" y="914"/>
                    <a:pt x="6333" y="1230"/>
                  </a:cubicBezTo>
                  <a:cubicBezTo>
                    <a:pt x="6381" y="1399"/>
                    <a:pt x="6523" y="1513"/>
                    <a:pt x="6701" y="1513"/>
                  </a:cubicBezTo>
                  <a:cubicBezTo>
                    <a:pt x="6754" y="1513"/>
                    <a:pt x="6810" y="1503"/>
                    <a:pt x="6868" y="1482"/>
                  </a:cubicBezTo>
                  <a:cubicBezTo>
                    <a:pt x="6931" y="1450"/>
                    <a:pt x="7057" y="1450"/>
                    <a:pt x="7120" y="1450"/>
                  </a:cubicBezTo>
                  <a:cubicBezTo>
                    <a:pt x="7435" y="1450"/>
                    <a:pt x="7719" y="1639"/>
                    <a:pt x="7845" y="1954"/>
                  </a:cubicBezTo>
                  <a:cubicBezTo>
                    <a:pt x="7876" y="2112"/>
                    <a:pt x="8034" y="2206"/>
                    <a:pt x="8191" y="2206"/>
                  </a:cubicBezTo>
                  <a:cubicBezTo>
                    <a:pt x="8632" y="2206"/>
                    <a:pt x="9010" y="2553"/>
                    <a:pt x="9010" y="3025"/>
                  </a:cubicBezTo>
                  <a:lnTo>
                    <a:pt x="9010" y="3970"/>
                  </a:lnTo>
                  <a:lnTo>
                    <a:pt x="8160" y="3088"/>
                  </a:lnTo>
                  <a:cubicBezTo>
                    <a:pt x="8084" y="3032"/>
                    <a:pt x="7986" y="2986"/>
                    <a:pt x="7885" y="2986"/>
                  </a:cubicBezTo>
                  <a:cubicBezTo>
                    <a:pt x="7818" y="2986"/>
                    <a:pt x="7750" y="3006"/>
                    <a:pt x="7687" y="3057"/>
                  </a:cubicBezTo>
                  <a:cubicBezTo>
                    <a:pt x="7073" y="3466"/>
                    <a:pt x="6364" y="3671"/>
                    <a:pt x="5655" y="3671"/>
                  </a:cubicBezTo>
                  <a:cubicBezTo>
                    <a:pt x="4946" y="3671"/>
                    <a:pt x="4237" y="3466"/>
                    <a:pt x="3623" y="3057"/>
                  </a:cubicBezTo>
                  <a:cubicBezTo>
                    <a:pt x="3560" y="3006"/>
                    <a:pt x="3492" y="2986"/>
                    <a:pt x="3425" y="2986"/>
                  </a:cubicBezTo>
                  <a:cubicBezTo>
                    <a:pt x="3324" y="2986"/>
                    <a:pt x="3226" y="3032"/>
                    <a:pt x="3151" y="3088"/>
                  </a:cubicBezTo>
                  <a:lnTo>
                    <a:pt x="2300" y="3970"/>
                  </a:lnTo>
                  <a:cubicBezTo>
                    <a:pt x="2268" y="3293"/>
                    <a:pt x="2253" y="3191"/>
                    <a:pt x="2245" y="3191"/>
                  </a:cubicBezTo>
                  <a:cubicBezTo>
                    <a:pt x="2241" y="3191"/>
                    <a:pt x="2239" y="3210"/>
                    <a:pt x="2238" y="3210"/>
                  </a:cubicBezTo>
                  <a:cubicBezTo>
                    <a:pt x="2237" y="3210"/>
                    <a:pt x="2237" y="3177"/>
                    <a:pt x="2237" y="3025"/>
                  </a:cubicBezTo>
                  <a:cubicBezTo>
                    <a:pt x="2237" y="2584"/>
                    <a:pt x="2615" y="2206"/>
                    <a:pt x="3088" y="2206"/>
                  </a:cubicBezTo>
                  <a:cubicBezTo>
                    <a:pt x="3245" y="2206"/>
                    <a:pt x="3403" y="2080"/>
                    <a:pt x="3434" y="1954"/>
                  </a:cubicBezTo>
                  <a:cubicBezTo>
                    <a:pt x="3560" y="1639"/>
                    <a:pt x="3812" y="1450"/>
                    <a:pt x="4127" y="1450"/>
                  </a:cubicBezTo>
                  <a:cubicBezTo>
                    <a:pt x="4222" y="1450"/>
                    <a:pt x="4348" y="1450"/>
                    <a:pt x="4411" y="1482"/>
                  </a:cubicBezTo>
                  <a:cubicBezTo>
                    <a:pt x="4449" y="1494"/>
                    <a:pt x="4491" y="1501"/>
                    <a:pt x="4532" y="1501"/>
                  </a:cubicBezTo>
                  <a:cubicBezTo>
                    <a:pt x="4695" y="1501"/>
                    <a:pt x="4865" y="1405"/>
                    <a:pt x="4915" y="1230"/>
                  </a:cubicBezTo>
                  <a:cubicBezTo>
                    <a:pt x="5009" y="914"/>
                    <a:pt x="5324" y="694"/>
                    <a:pt x="5639" y="694"/>
                  </a:cubicBezTo>
                  <a:close/>
                  <a:moveTo>
                    <a:pt x="1512" y="5955"/>
                  </a:moveTo>
                  <a:lnTo>
                    <a:pt x="1512" y="7467"/>
                  </a:lnTo>
                  <a:cubicBezTo>
                    <a:pt x="1071" y="7467"/>
                    <a:pt x="756" y="7152"/>
                    <a:pt x="756" y="6711"/>
                  </a:cubicBezTo>
                  <a:cubicBezTo>
                    <a:pt x="756" y="6333"/>
                    <a:pt x="1103" y="5955"/>
                    <a:pt x="1512" y="5955"/>
                  </a:cubicBezTo>
                  <a:close/>
                  <a:moveTo>
                    <a:pt x="9704" y="5955"/>
                  </a:moveTo>
                  <a:cubicBezTo>
                    <a:pt x="10082" y="5955"/>
                    <a:pt x="10428" y="6302"/>
                    <a:pt x="10428" y="6711"/>
                  </a:cubicBezTo>
                  <a:cubicBezTo>
                    <a:pt x="10428" y="7152"/>
                    <a:pt x="10113" y="7467"/>
                    <a:pt x="9704" y="7467"/>
                  </a:cubicBezTo>
                  <a:lnTo>
                    <a:pt x="9704" y="5955"/>
                  </a:lnTo>
                  <a:close/>
                  <a:moveTo>
                    <a:pt x="7813" y="3813"/>
                  </a:moveTo>
                  <a:lnTo>
                    <a:pt x="8979" y="5042"/>
                  </a:lnTo>
                  <a:lnTo>
                    <a:pt x="8979" y="8224"/>
                  </a:lnTo>
                  <a:lnTo>
                    <a:pt x="7971" y="8224"/>
                  </a:lnTo>
                  <a:cubicBezTo>
                    <a:pt x="7230" y="7767"/>
                    <a:pt x="6411" y="7538"/>
                    <a:pt x="5600" y="7538"/>
                  </a:cubicBezTo>
                  <a:cubicBezTo>
                    <a:pt x="4789" y="7538"/>
                    <a:pt x="3985" y="7767"/>
                    <a:pt x="3277" y="8224"/>
                  </a:cubicBezTo>
                  <a:lnTo>
                    <a:pt x="2237" y="8224"/>
                  </a:lnTo>
                  <a:lnTo>
                    <a:pt x="2237" y="5042"/>
                  </a:lnTo>
                  <a:lnTo>
                    <a:pt x="3434" y="3813"/>
                  </a:lnTo>
                  <a:cubicBezTo>
                    <a:pt x="4096" y="4207"/>
                    <a:pt x="4844" y="4404"/>
                    <a:pt x="5600" y="4404"/>
                  </a:cubicBezTo>
                  <a:cubicBezTo>
                    <a:pt x="6356" y="4404"/>
                    <a:pt x="7120" y="4207"/>
                    <a:pt x="7813" y="3813"/>
                  </a:cubicBezTo>
                  <a:close/>
                  <a:moveTo>
                    <a:pt x="5576" y="8302"/>
                  </a:moveTo>
                  <a:cubicBezTo>
                    <a:pt x="6285" y="8302"/>
                    <a:pt x="6994" y="8507"/>
                    <a:pt x="7593" y="8917"/>
                  </a:cubicBezTo>
                  <a:cubicBezTo>
                    <a:pt x="7687" y="8980"/>
                    <a:pt x="7719" y="8980"/>
                    <a:pt x="7813" y="8980"/>
                  </a:cubicBezTo>
                  <a:lnTo>
                    <a:pt x="8916" y="8980"/>
                  </a:lnTo>
                  <a:cubicBezTo>
                    <a:pt x="8758" y="10649"/>
                    <a:pt x="7341" y="11973"/>
                    <a:pt x="5608" y="11973"/>
                  </a:cubicBezTo>
                  <a:cubicBezTo>
                    <a:pt x="3875" y="11973"/>
                    <a:pt x="2457" y="10649"/>
                    <a:pt x="2237" y="8980"/>
                  </a:cubicBezTo>
                  <a:lnTo>
                    <a:pt x="3340" y="8980"/>
                  </a:lnTo>
                  <a:cubicBezTo>
                    <a:pt x="3434" y="8980"/>
                    <a:pt x="3466" y="8980"/>
                    <a:pt x="3560" y="8917"/>
                  </a:cubicBezTo>
                  <a:cubicBezTo>
                    <a:pt x="4159" y="8507"/>
                    <a:pt x="4868" y="8302"/>
                    <a:pt x="5576" y="8302"/>
                  </a:cubicBezTo>
                  <a:close/>
                  <a:moveTo>
                    <a:pt x="5608" y="1"/>
                  </a:moveTo>
                  <a:cubicBezTo>
                    <a:pt x="5041" y="1"/>
                    <a:pt x="4568" y="316"/>
                    <a:pt x="4285" y="725"/>
                  </a:cubicBezTo>
                  <a:cubicBezTo>
                    <a:pt x="4231" y="720"/>
                    <a:pt x="4178" y="717"/>
                    <a:pt x="4125" y="717"/>
                  </a:cubicBezTo>
                  <a:cubicBezTo>
                    <a:pt x="3560" y="717"/>
                    <a:pt x="3063" y="1020"/>
                    <a:pt x="2804" y="1482"/>
                  </a:cubicBezTo>
                  <a:cubicBezTo>
                    <a:pt x="2048" y="1608"/>
                    <a:pt x="1512" y="2238"/>
                    <a:pt x="1512" y="3025"/>
                  </a:cubicBezTo>
                  <a:lnTo>
                    <a:pt x="1512" y="5231"/>
                  </a:lnTo>
                  <a:cubicBezTo>
                    <a:pt x="662" y="5231"/>
                    <a:pt x="0" y="5892"/>
                    <a:pt x="0" y="6711"/>
                  </a:cubicBezTo>
                  <a:cubicBezTo>
                    <a:pt x="0" y="7562"/>
                    <a:pt x="662" y="8224"/>
                    <a:pt x="1512" y="8224"/>
                  </a:cubicBezTo>
                  <a:lnTo>
                    <a:pt x="1512" y="8570"/>
                  </a:lnTo>
                  <a:cubicBezTo>
                    <a:pt x="1512" y="10807"/>
                    <a:pt x="3340" y="12666"/>
                    <a:pt x="5608" y="12666"/>
                  </a:cubicBezTo>
                  <a:cubicBezTo>
                    <a:pt x="7845" y="12666"/>
                    <a:pt x="9704" y="10807"/>
                    <a:pt x="9704" y="8570"/>
                  </a:cubicBezTo>
                  <a:lnTo>
                    <a:pt x="9704" y="8224"/>
                  </a:lnTo>
                  <a:cubicBezTo>
                    <a:pt x="10523" y="8224"/>
                    <a:pt x="11184" y="7562"/>
                    <a:pt x="11184" y="6711"/>
                  </a:cubicBezTo>
                  <a:cubicBezTo>
                    <a:pt x="11184" y="5892"/>
                    <a:pt x="10523" y="5231"/>
                    <a:pt x="9704" y="5231"/>
                  </a:cubicBezTo>
                  <a:lnTo>
                    <a:pt x="9704" y="3025"/>
                  </a:lnTo>
                  <a:cubicBezTo>
                    <a:pt x="9704" y="2238"/>
                    <a:pt x="9137" y="1608"/>
                    <a:pt x="8380" y="1482"/>
                  </a:cubicBezTo>
                  <a:cubicBezTo>
                    <a:pt x="8150" y="1020"/>
                    <a:pt x="7629" y="717"/>
                    <a:pt x="7060" y="717"/>
                  </a:cubicBezTo>
                  <a:cubicBezTo>
                    <a:pt x="7007" y="717"/>
                    <a:pt x="6953" y="720"/>
                    <a:pt x="6900" y="725"/>
                  </a:cubicBezTo>
                  <a:cubicBezTo>
                    <a:pt x="6616" y="253"/>
                    <a:pt x="6144" y="1"/>
                    <a:pt x="56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67" name="Google Shape;10067;p78"/>
          <p:cNvGrpSpPr/>
          <p:nvPr/>
        </p:nvGrpSpPr>
        <p:grpSpPr>
          <a:xfrm>
            <a:off x="4858214" y="2459907"/>
            <a:ext cx="360863" cy="360211"/>
            <a:chOff x="-57969675" y="2687750"/>
            <a:chExt cx="318025" cy="317450"/>
          </a:xfrm>
        </p:grpSpPr>
        <p:sp>
          <p:nvSpPr>
            <p:cNvPr id="10068" name="Google Shape;10068;p78"/>
            <p:cNvSpPr/>
            <p:nvPr/>
          </p:nvSpPr>
          <p:spPr>
            <a:xfrm>
              <a:off x="-57856250" y="285630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78"/>
            <p:cNvSpPr/>
            <p:nvPr/>
          </p:nvSpPr>
          <p:spPr>
            <a:xfrm>
              <a:off x="-578460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78"/>
            <p:cNvSpPr/>
            <p:nvPr/>
          </p:nvSpPr>
          <p:spPr>
            <a:xfrm>
              <a:off x="-57969675" y="2687750"/>
              <a:ext cx="318025" cy="317450"/>
            </a:xfrm>
            <a:custGeom>
              <a:avLst/>
              <a:gdLst/>
              <a:ahLst/>
              <a:cxnLst/>
              <a:rect l="l" t="t" r="r" b="b"/>
              <a:pathLst>
                <a:path w="12721" h="12698" extrusionOk="0">
                  <a:moveTo>
                    <a:pt x="6365" y="757"/>
                  </a:moveTo>
                  <a:cubicBezTo>
                    <a:pt x="7090" y="757"/>
                    <a:pt x="7783" y="1072"/>
                    <a:pt x="8255" y="1576"/>
                  </a:cubicBezTo>
                  <a:cubicBezTo>
                    <a:pt x="8888" y="2274"/>
                    <a:pt x="9792" y="2670"/>
                    <a:pt x="10717" y="2670"/>
                  </a:cubicBezTo>
                  <a:cubicBezTo>
                    <a:pt x="11128" y="2670"/>
                    <a:pt x="11544" y="2591"/>
                    <a:pt x="11941" y="2427"/>
                  </a:cubicBezTo>
                  <a:lnTo>
                    <a:pt x="11941" y="3183"/>
                  </a:lnTo>
                  <a:lnTo>
                    <a:pt x="11973" y="3183"/>
                  </a:lnTo>
                  <a:cubicBezTo>
                    <a:pt x="11973" y="4348"/>
                    <a:pt x="11028" y="5231"/>
                    <a:pt x="9925" y="5231"/>
                  </a:cubicBezTo>
                  <a:cubicBezTo>
                    <a:pt x="9358" y="5231"/>
                    <a:pt x="9043" y="5041"/>
                    <a:pt x="8192" y="4600"/>
                  </a:cubicBezTo>
                  <a:cubicBezTo>
                    <a:pt x="8066" y="4537"/>
                    <a:pt x="7877" y="4506"/>
                    <a:pt x="7688" y="4506"/>
                  </a:cubicBezTo>
                  <a:lnTo>
                    <a:pt x="5042" y="4506"/>
                  </a:lnTo>
                  <a:cubicBezTo>
                    <a:pt x="4916" y="4506"/>
                    <a:pt x="4695" y="4537"/>
                    <a:pt x="4538" y="4600"/>
                  </a:cubicBezTo>
                  <a:cubicBezTo>
                    <a:pt x="3687" y="5041"/>
                    <a:pt x="3403" y="5231"/>
                    <a:pt x="2805" y="5231"/>
                  </a:cubicBezTo>
                  <a:cubicBezTo>
                    <a:pt x="1671" y="5231"/>
                    <a:pt x="757" y="4348"/>
                    <a:pt x="757" y="3183"/>
                  </a:cubicBezTo>
                  <a:lnTo>
                    <a:pt x="757" y="2490"/>
                  </a:lnTo>
                  <a:cubicBezTo>
                    <a:pt x="1150" y="2639"/>
                    <a:pt x="1556" y="2711"/>
                    <a:pt x="1958" y="2711"/>
                  </a:cubicBezTo>
                  <a:cubicBezTo>
                    <a:pt x="2909" y="2711"/>
                    <a:pt x="3832" y="2307"/>
                    <a:pt x="4475" y="1576"/>
                  </a:cubicBezTo>
                  <a:cubicBezTo>
                    <a:pt x="4947" y="1072"/>
                    <a:pt x="5640" y="757"/>
                    <a:pt x="6365" y="757"/>
                  </a:cubicBezTo>
                  <a:close/>
                  <a:moveTo>
                    <a:pt x="7846" y="6743"/>
                  </a:moveTo>
                  <a:cubicBezTo>
                    <a:pt x="8035" y="6743"/>
                    <a:pt x="8192" y="6900"/>
                    <a:pt x="8192" y="7089"/>
                  </a:cubicBezTo>
                  <a:cubicBezTo>
                    <a:pt x="8192" y="7278"/>
                    <a:pt x="8035" y="7436"/>
                    <a:pt x="7846" y="7436"/>
                  </a:cubicBezTo>
                  <a:cubicBezTo>
                    <a:pt x="7657" y="7436"/>
                    <a:pt x="7499" y="7278"/>
                    <a:pt x="7499" y="7089"/>
                  </a:cubicBezTo>
                  <a:cubicBezTo>
                    <a:pt x="7499" y="6900"/>
                    <a:pt x="7657" y="6743"/>
                    <a:pt x="7846" y="6743"/>
                  </a:cubicBezTo>
                  <a:close/>
                  <a:moveTo>
                    <a:pt x="7720" y="5231"/>
                  </a:moveTo>
                  <a:cubicBezTo>
                    <a:pt x="7783" y="5231"/>
                    <a:pt x="7846" y="5231"/>
                    <a:pt x="7877" y="5294"/>
                  </a:cubicBezTo>
                  <a:cubicBezTo>
                    <a:pt x="8759" y="5703"/>
                    <a:pt x="9074" y="5955"/>
                    <a:pt x="9767" y="5987"/>
                  </a:cubicBezTo>
                  <a:lnTo>
                    <a:pt x="9767" y="7656"/>
                  </a:lnTo>
                  <a:lnTo>
                    <a:pt x="9736" y="7656"/>
                  </a:lnTo>
                  <a:lnTo>
                    <a:pt x="8980" y="7278"/>
                  </a:lnTo>
                  <a:cubicBezTo>
                    <a:pt x="9106" y="6617"/>
                    <a:pt x="8570" y="5987"/>
                    <a:pt x="7877" y="5987"/>
                  </a:cubicBezTo>
                  <a:cubicBezTo>
                    <a:pt x="7562" y="5987"/>
                    <a:pt x="7247" y="6144"/>
                    <a:pt x="7058" y="6333"/>
                  </a:cubicBezTo>
                  <a:lnTo>
                    <a:pt x="4884" y="5294"/>
                  </a:lnTo>
                  <a:lnTo>
                    <a:pt x="4947" y="5294"/>
                  </a:lnTo>
                  <a:cubicBezTo>
                    <a:pt x="4979" y="5231"/>
                    <a:pt x="5042" y="5231"/>
                    <a:pt x="5105" y="5231"/>
                  </a:cubicBezTo>
                  <a:close/>
                  <a:moveTo>
                    <a:pt x="4065" y="5672"/>
                  </a:moveTo>
                  <a:cubicBezTo>
                    <a:pt x="4065" y="5672"/>
                    <a:pt x="4128" y="5672"/>
                    <a:pt x="4128" y="5703"/>
                  </a:cubicBezTo>
                  <a:lnTo>
                    <a:pt x="6806" y="7026"/>
                  </a:lnTo>
                  <a:cubicBezTo>
                    <a:pt x="6743" y="7656"/>
                    <a:pt x="7279" y="8192"/>
                    <a:pt x="7909" y="8192"/>
                  </a:cubicBezTo>
                  <a:cubicBezTo>
                    <a:pt x="8161" y="8192"/>
                    <a:pt x="8444" y="8066"/>
                    <a:pt x="8633" y="7908"/>
                  </a:cubicBezTo>
                  <a:lnTo>
                    <a:pt x="9767" y="8476"/>
                  </a:lnTo>
                  <a:lnTo>
                    <a:pt x="9767" y="8602"/>
                  </a:lnTo>
                  <a:lnTo>
                    <a:pt x="9736" y="8602"/>
                  </a:lnTo>
                  <a:cubicBezTo>
                    <a:pt x="9736" y="10429"/>
                    <a:pt x="8255" y="11973"/>
                    <a:pt x="6396" y="11973"/>
                  </a:cubicBezTo>
                  <a:cubicBezTo>
                    <a:pt x="4538" y="11973"/>
                    <a:pt x="3057" y="10429"/>
                    <a:pt x="3057" y="8602"/>
                  </a:cubicBezTo>
                  <a:lnTo>
                    <a:pt x="3057" y="5955"/>
                  </a:lnTo>
                  <a:cubicBezTo>
                    <a:pt x="3403" y="5924"/>
                    <a:pt x="3750" y="5829"/>
                    <a:pt x="4065" y="5672"/>
                  </a:cubicBezTo>
                  <a:close/>
                  <a:moveTo>
                    <a:pt x="6365" y="1"/>
                  </a:moveTo>
                  <a:cubicBezTo>
                    <a:pt x="5420" y="1"/>
                    <a:pt x="4506" y="410"/>
                    <a:pt x="3908" y="1072"/>
                  </a:cubicBezTo>
                  <a:cubicBezTo>
                    <a:pt x="3408" y="1648"/>
                    <a:pt x="2687" y="1943"/>
                    <a:pt x="1957" y="1943"/>
                  </a:cubicBezTo>
                  <a:cubicBezTo>
                    <a:pt x="1489" y="1943"/>
                    <a:pt x="1018" y="1822"/>
                    <a:pt x="600" y="1576"/>
                  </a:cubicBezTo>
                  <a:lnTo>
                    <a:pt x="568" y="1544"/>
                  </a:lnTo>
                  <a:cubicBezTo>
                    <a:pt x="505" y="1505"/>
                    <a:pt x="438" y="1487"/>
                    <a:pt x="373" y="1487"/>
                  </a:cubicBezTo>
                  <a:cubicBezTo>
                    <a:pt x="178" y="1487"/>
                    <a:pt x="1" y="1647"/>
                    <a:pt x="1" y="1860"/>
                  </a:cubicBezTo>
                  <a:lnTo>
                    <a:pt x="1" y="3151"/>
                  </a:lnTo>
                  <a:cubicBezTo>
                    <a:pt x="1" y="4506"/>
                    <a:pt x="1009" y="5640"/>
                    <a:pt x="2269" y="5861"/>
                  </a:cubicBezTo>
                  <a:lnTo>
                    <a:pt x="2269" y="8539"/>
                  </a:lnTo>
                  <a:cubicBezTo>
                    <a:pt x="2269" y="10838"/>
                    <a:pt x="4097" y="12697"/>
                    <a:pt x="6365" y="12697"/>
                  </a:cubicBezTo>
                  <a:cubicBezTo>
                    <a:pt x="8602" y="12697"/>
                    <a:pt x="10461" y="10838"/>
                    <a:pt x="10461" y="8539"/>
                  </a:cubicBezTo>
                  <a:lnTo>
                    <a:pt x="10461" y="5861"/>
                  </a:lnTo>
                  <a:cubicBezTo>
                    <a:pt x="11752" y="5640"/>
                    <a:pt x="12697" y="4506"/>
                    <a:pt x="12697" y="3151"/>
                  </a:cubicBezTo>
                  <a:lnTo>
                    <a:pt x="12697" y="1860"/>
                  </a:lnTo>
                  <a:cubicBezTo>
                    <a:pt x="12721" y="1647"/>
                    <a:pt x="12550" y="1487"/>
                    <a:pt x="12370" y="1487"/>
                  </a:cubicBezTo>
                  <a:cubicBezTo>
                    <a:pt x="12310" y="1487"/>
                    <a:pt x="12249" y="1505"/>
                    <a:pt x="12193" y="1544"/>
                  </a:cubicBezTo>
                  <a:lnTo>
                    <a:pt x="12130" y="1576"/>
                  </a:lnTo>
                  <a:cubicBezTo>
                    <a:pt x="11721" y="1824"/>
                    <a:pt x="11253" y="1945"/>
                    <a:pt x="10785" y="1945"/>
                  </a:cubicBezTo>
                  <a:cubicBezTo>
                    <a:pt x="10063" y="1945"/>
                    <a:pt x="9338" y="1657"/>
                    <a:pt x="8822" y="1103"/>
                  </a:cubicBezTo>
                  <a:cubicBezTo>
                    <a:pt x="8192" y="442"/>
                    <a:pt x="7342" y="1"/>
                    <a:pt x="6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78"/>
            <p:cNvSpPr/>
            <p:nvPr/>
          </p:nvSpPr>
          <p:spPr>
            <a:xfrm>
              <a:off x="-57838125" y="2724975"/>
              <a:ext cx="56725" cy="55550"/>
            </a:xfrm>
            <a:custGeom>
              <a:avLst/>
              <a:gdLst/>
              <a:ahLst/>
              <a:cxnLst/>
              <a:rect l="l" t="t" r="r" b="b"/>
              <a:pathLst>
                <a:path w="2269" h="2222" extrusionOk="0">
                  <a:moveTo>
                    <a:pt x="386" y="0"/>
                  </a:moveTo>
                  <a:cubicBezTo>
                    <a:pt x="292" y="0"/>
                    <a:pt x="205" y="40"/>
                    <a:pt x="158" y="118"/>
                  </a:cubicBezTo>
                  <a:cubicBezTo>
                    <a:pt x="0" y="276"/>
                    <a:pt x="0" y="528"/>
                    <a:pt x="158" y="654"/>
                  </a:cubicBezTo>
                  <a:lnTo>
                    <a:pt x="630" y="1127"/>
                  </a:lnTo>
                  <a:lnTo>
                    <a:pt x="158" y="1599"/>
                  </a:lnTo>
                  <a:cubicBezTo>
                    <a:pt x="0" y="1757"/>
                    <a:pt x="0" y="1977"/>
                    <a:pt x="158" y="2103"/>
                  </a:cubicBezTo>
                  <a:cubicBezTo>
                    <a:pt x="237" y="2182"/>
                    <a:pt x="331" y="2221"/>
                    <a:pt x="422" y="2221"/>
                  </a:cubicBezTo>
                  <a:cubicBezTo>
                    <a:pt x="512" y="2221"/>
                    <a:pt x="599" y="2182"/>
                    <a:pt x="662" y="2103"/>
                  </a:cubicBezTo>
                  <a:lnTo>
                    <a:pt x="1134" y="1631"/>
                  </a:lnTo>
                  <a:lnTo>
                    <a:pt x="1607" y="2103"/>
                  </a:lnTo>
                  <a:cubicBezTo>
                    <a:pt x="1686" y="2182"/>
                    <a:pt x="1780" y="2221"/>
                    <a:pt x="1871" y="2221"/>
                  </a:cubicBezTo>
                  <a:cubicBezTo>
                    <a:pt x="1961" y="2221"/>
                    <a:pt x="2048" y="2182"/>
                    <a:pt x="2111" y="2103"/>
                  </a:cubicBezTo>
                  <a:cubicBezTo>
                    <a:pt x="2269" y="1946"/>
                    <a:pt x="2269" y="1694"/>
                    <a:pt x="2111" y="1599"/>
                  </a:cubicBezTo>
                  <a:lnTo>
                    <a:pt x="1639" y="1127"/>
                  </a:lnTo>
                  <a:lnTo>
                    <a:pt x="2111" y="654"/>
                  </a:lnTo>
                  <a:cubicBezTo>
                    <a:pt x="2269" y="497"/>
                    <a:pt x="2269" y="244"/>
                    <a:pt x="2111" y="118"/>
                  </a:cubicBezTo>
                  <a:cubicBezTo>
                    <a:pt x="2032" y="40"/>
                    <a:pt x="1938" y="0"/>
                    <a:pt x="1847" y="0"/>
                  </a:cubicBezTo>
                  <a:cubicBezTo>
                    <a:pt x="1757" y="0"/>
                    <a:pt x="1670" y="40"/>
                    <a:pt x="1607" y="118"/>
                  </a:cubicBezTo>
                  <a:lnTo>
                    <a:pt x="1134" y="591"/>
                  </a:lnTo>
                  <a:lnTo>
                    <a:pt x="662" y="118"/>
                  </a:lnTo>
                  <a:cubicBezTo>
                    <a:pt x="583" y="40"/>
                    <a:pt x="481" y="0"/>
                    <a:pt x="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78"/>
          <p:cNvGrpSpPr/>
          <p:nvPr/>
        </p:nvGrpSpPr>
        <p:grpSpPr>
          <a:xfrm>
            <a:off x="7067397" y="1532274"/>
            <a:ext cx="363785" cy="361090"/>
            <a:chOff x="-56012425" y="1903275"/>
            <a:chExt cx="320600" cy="318225"/>
          </a:xfrm>
        </p:grpSpPr>
        <p:sp>
          <p:nvSpPr>
            <p:cNvPr id="10073" name="Google Shape;10073;p78"/>
            <p:cNvSpPr/>
            <p:nvPr/>
          </p:nvSpPr>
          <p:spPr>
            <a:xfrm>
              <a:off x="-55897425" y="2015125"/>
              <a:ext cx="17350" cy="18150"/>
            </a:xfrm>
            <a:custGeom>
              <a:avLst/>
              <a:gdLst/>
              <a:ahLst/>
              <a:cxnLst/>
              <a:rect l="l" t="t" r="r" b="b"/>
              <a:pathLst>
                <a:path w="694" h="726" extrusionOk="0">
                  <a:moveTo>
                    <a:pt x="347" y="1"/>
                  </a:moveTo>
                  <a:cubicBezTo>
                    <a:pt x="158" y="1"/>
                    <a:pt x="1" y="158"/>
                    <a:pt x="1" y="379"/>
                  </a:cubicBezTo>
                  <a:cubicBezTo>
                    <a:pt x="1"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78"/>
            <p:cNvSpPr/>
            <p:nvPr/>
          </p:nvSpPr>
          <p:spPr>
            <a:xfrm>
              <a:off x="-56012425" y="1903275"/>
              <a:ext cx="320600" cy="318225"/>
            </a:xfrm>
            <a:custGeom>
              <a:avLst/>
              <a:gdLst/>
              <a:ahLst/>
              <a:cxnLst/>
              <a:rect l="l" t="t" r="r" b="b"/>
              <a:pathLst>
                <a:path w="12824" h="12729" extrusionOk="0">
                  <a:moveTo>
                    <a:pt x="5262" y="946"/>
                  </a:moveTo>
                  <a:lnTo>
                    <a:pt x="5262" y="946"/>
                  </a:lnTo>
                  <a:cubicBezTo>
                    <a:pt x="5010" y="1923"/>
                    <a:pt x="4254" y="2679"/>
                    <a:pt x="3277" y="2899"/>
                  </a:cubicBezTo>
                  <a:cubicBezTo>
                    <a:pt x="3592" y="2017"/>
                    <a:pt x="4348" y="1293"/>
                    <a:pt x="5262" y="946"/>
                  </a:cubicBezTo>
                  <a:close/>
                  <a:moveTo>
                    <a:pt x="2301" y="5231"/>
                  </a:moveTo>
                  <a:lnTo>
                    <a:pt x="2301" y="6333"/>
                  </a:lnTo>
                  <a:lnTo>
                    <a:pt x="2301" y="6680"/>
                  </a:lnTo>
                  <a:cubicBezTo>
                    <a:pt x="1891" y="6680"/>
                    <a:pt x="1545" y="6365"/>
                    <a:pt x="1545" y="5955"/>
                  </a:cubicBezTo>
                  <a:cubicBezTo>
                    <a:pt x="1545" y="5514"/>
                    <a:pt x="1891" y="5231"/>
                    <a:pt x="2301" y="5231"/>
                  </a:cubicBezTo>
                  <a:close/>
                  <a:moveTo>
                    <a:pt x="10555" y="5231"/>
                  </a:moveTo>
                  <a:cubicBezTo>
                    <a:pt x="10965" y="5231"/>
                    <a:pt x="11311" y="5546"/>
                    <a:pt x="11311" y="5987"/>
                  </a:cubicBezTo>
                  <a:cubicBezTo>
                    <a:pt x="11311" y="6365"/>
                    <a:pt x="10965" y="6743"/>
                    <a:pt x="10555" y="6743"/>
                  </a:cubicBezTo>
                  <a:lnTo>
                    <a:pt x="10555" y="5231"/>
                  </a:lnTo>
                  <a:close/>
                  <a:moveTo>
                    <a:pt x="1103" y="6837"/>
                  </a:moveTo>
                  <a:cubicBezTo>
                    <a:pt x="1387" y="7216"/>
                    <a:pt x="1828" y="7436"/>
                    <a:pt x="2301" y="7436"/>
                  </a:cubicBezTo>
                  <a:cubicBezTo>
                    <a:pt x="2301" y="7877"/>
                    <a:pt x="1986" y="8192"/>
                    <a:pt x="1545" y="8192"/>
                  </a:cubicBezTo>
                  <a:cubicBezTo>
                    <a:pt x="1166" y="8192"/>
                    <a:pt x="788" y="7877"/>
                    <a:pt x="788" y="7436"/>
                  </a:cubicBezTo>
                  <a:cubicBezTo>
                    <a:pt x="788" y="7216"/>
                    <a:pt x="914" y="6963"/>
                    <a:pt x="1103" y="6837"/>
                  </a:cubicBezTo>
                  <a:close/>
                  <a:moveTo>
                    <a:pt x="11752" y="6837"/>
                  </a:moveTo>
                  <a:cubicBezTo>
                    <a:pt x="11941" y="6995"/>
                    <a:pt x="12067" y="7216"/>
                    <a:pt x="12067" y="7436"/>
                  </a:cubicBezTo>
                  <a:cubicBezTo>
                    <a:pt x="12067" y="7877"/>
                    <a:pt x="11721" y="8192"/>
                    <a:pt x="11311" y="8192"/>
                  </a:cubicBezTo>
                  <a:cubicBezTo>
                    <a:pt x="10933" y="8192"/>
                    <a:pt x="10555" y="7877"/>
                    <a:pt x="10555" y="7436"/>
                  </a:cubicBezTo>
                  <a:cubicBezTo>
                    <a:pt x="11028" y="7436"/>
                    <a:pt x="11469" y="7216"/>
                    <a:pt x="11752" y="6837"/>
                  </a:cubicBezTo>
                  <a:close/>
                  <a:moveTo>
                    <a:pt x="5325" y="2490"/>
                  </a:moveTo>
                  <a:lnTo>
                    <a:pt x="5325" y="2647"/>
                  </a:lnTo>
                  <a:cubicBezTo>
                    <a:pt x="5325" y="3529"/>
                    <a:pt x="5955" y="4286"/>
                    <a:pt x="6837" y="4443"/>
                  </a:cubicBezTo>
                  <a:lnTo>
                    <a:pt x="6837" y="7405"/>
                  </a:lnTo>
                  <a:cubicBezTo>
                    <a:pt x="6711" y="7436"/>
                    <a:pt x="6585" y="7468"/>
                    <a:pt x="6491" y="7468"/>
                  </a:cubicBezTo>
                  <a:cubicBezTo>
                    <a:pt x="6176" y="7468"/>
                    <a:pt x="5892" y="7373"/>
                    <a:pt x="5703" y="7153"/>
                  </a:cubicBezTo>
                  <a:cubicBezTo>
                    <a:pt x="5624" y="7074"/>
                    <a:pt x="5522" y="7034"/>
                    <a:pt x="5424" y="7034"/>
                  </a:cubicBezTo>
                  <a:cubicBezTo>
                    <a:pt x="5325" y="7034"/>
                    <a:pt x="5231" y="7074"/>
                    <a:pt x="5168" y="7153"/>
                  </a:cubicBezTo>
                  <a:cubicBezTo>
                    <a:pt x="5010" y="7310"/>
                    <a:pt x="5010" y="7562"/>
                    <a:pt x="5168" y="7688"/>
                  </a:cubicBezTo>
                  <a:cubicBezTo>
                    <a:pt x="5514" y="8035"/>
                    <a:pt x="6018" y="8224"/>
                    <a:pt x="6491" y="8224"/>
                  </a:cubicBezTo>
                  <a:cubicBezTo>
                    <a:pt x="6585" y="8224"/>
                    <a:pt x="6711" y="8224"/>
                    <a:pt x="6837" y="8192"/>
                  </a:cubicBezTo>
                  <a:lnTo>
                    <a:pt x="6837" y="9326"/>
                  </a:lnTo>
                  <a:lnTo>
                    <a:pt x="6837" y="9673"/>
                  </a:lnTo>
                  <a:cubicBezTo>
                    <a:pt x="6711" y="9673"/>
                    <a:pt x="6554" y="9736"/>
                    <a:pt x="6428" y="9736"/>
                  </a:cubicBezTo>
                  <a:cubicBezTo>
                    <a:pt x="4569" y="9673"/>
                    <a:pt x="3057" y="8192"/>
                    <a:pt x="3057" y="6333"/>
                  </a:cubicBezTo>
                  <a:cubicBezTo>
                    <a:pt x="3057" y="3908"/>
                    <a:pt x="3057" y="3971"/>
                    <a:pt x="3088" y="3687"/>
                  </a:cubicBezTo>
                  <a:cubicBezTo>
                    <a:pt x="3939" y="3592"/>
                    <a:pt x="4790" y="3151"/>
                    <a:pt x="5325" y="2490"/>
                  </a:cubicBezTo>
                  <a:close/>
                  <a:moveTo>
                    <a:pt x="6459" y="694"/>
                  </a:moveTo>
                  <a:cubicBezTo>
                    <a:pt x="8287" y="757"/>
                    <a:pt x="9830" y="2238"/>
                    <a:pt x="9830" y="4097"/>
                  </a:cubicBezTo>
                  <a:lnTo>
                    <a:pt x="9830" y="11941"/>
                  </a:lnTo>
                  <a:cubicBezTo>
                    <a:pt x="8570" y="11721"/>
                    <a:pt x="7562" y="10618"/>
                    <a:pt x="7562" y="9295"/>
                  </a:cubicBezTo>
                  <a:lnTo>
                    <a:pt x="7562" y="4065"/>
                  </a:lnTo>
                  <a:cubicBezTo>
                    <a:pt x="7562" y="3845"/>
                    <a:pt x="7404" y="3687"/>
                    <a:pt x="7215" y="3687"/>
                  </a:cubicBezTo>
                  <a:cubicBezTo>
                    <a:pt x="6585" y="3687"/>
                    <a:pt x="6113" y="3183"/>
                    <a:pt x="6113" y="2584"/>
                  </a:cubicBezTo>
                  <a:lnTo>
                    <a:pt x="6113" y="757"/>
                  </a:lnTo>
                  <a:cubicBezTo>
                    <a:pt x="6239" y="757"/>
                    <a:pt x="6365" y="694"/>
                    <a:pt x="6459" y="694"/>
                  </a:cubicBezTo>
                  <a:close/>
                  <a:moveTo>
                    <a:pt x="3057" y="8665"/>
                  </a:moveTo>
                  <a:cubicBezTo>
                    <a:pt x="3781" y="9704"/>
                    <a:pt x="5010" y="10429"/>
                    <a:pt x="6428" y="10429"/>
                  </a:cubicBezTo>
                  <a:cubicBezTo>
                    <a:pt x="6617" y="10429"/>
                    <a:pt x="6774" y="10429"/>
                    <a:pt x="6995" y="10398"/>
                  </a:cubicBezTo>
                  <a:cubicBezTo>
                    <a:pt x="7184" y="11028"/>
                    <a:pt x="7562" y="11563"/>
                    <a:pt x="8098" y="11973"/>
                  </a:cubicBezTo>
                  <a:lnTo>
                    <a:pt x="3057" y="11973"/>
                  </a:lnTo>
                  <a:lnTo>
                    <a:pt x="3057" y="8665"/>
                  </a:lnTo>
                  <a:close/>
                  <a:moveTo>
                    <a:pt x="6396" y="1"/>
                  </a:moveTo>
                  <a:cubicBezTo>
                    <a:pt x="4096" y="1"/>
                    <a:pt x="2269" y="1860"/>
                    <a:pt x="2269" y="4097"/>
                  </a:cubicBezTo>
                  <a:lnTo>
                    <a:pt x="2269" y="4443"/>
                  </a:lnTo>
                  <a:cubicBezTo>
                    <a:pt x="1356" y="4443"/>
                    <a:pt x="631" y="5231"/>
                    <a:pt x="757" y="6144"/>
                  </a:cubicBezTo>
                  <a:cubicBezTo>
                    <a:pt x="284" y="6428"/>
                    <a:pt x="1" y="6900"/>
                    <a:pt x="1" y="7436"/>
                  </a:cubicBezTo>
                  <a:cubicBezTo>
                    <a:pt x="1" y="8255"/>
                    <a:pt x="694" y="8948"/>
                    <a:pt x="1513" y="8948"/>
                  </a:cubicBezTo>
                  <a:cubicBezTo>
                    <a:pt x="1797" y="8948"/>
                    <a:pt x="2017" y="8854"/>
                    <a:pt x="2269" y="8728"/>
                  </a:cubicBezTo>
                  <a:lnTo>
                    <a:pt x="2269" y="12351"/>
                  </a:lnTo>
                  <a:cubicBezTo>
                    <a:pt x="2269" y="12571"/>
                    <a:pt x="2427" y="12729"/>
                    <a:pt x="2616" y="12729"/>
                  </a:cubicBezTo>
                  <a:lnTo>
                    <a:pt x="10145" y="12729"/>
                  </a:lnTo>
                  <a:cubicBezTo>
                    <a:pt x="10334" y="12729"/>
                    <a:pt x="10492" y="12571"/>
                    <a:pt x="10492" y="12351"/>
                  </a:cubicBezTo>
                  <a:lnTo>
                    <a:pt x="10492" y="8728"/>
                  </a:lnTo>
                  <a:cubicBezTo>
                    <a:pt x="10712" y="8854"/>
                    <a:pt x="10965" y="8948"/>
                    <a:pt x="11248" y="8948"/>
                  </a:cubicBezTo>
                  <a:cubicBezTo>
                    <a:pt x="12067" y="8948"/>
                    <a:pt x="12729" y="8255"/>
                    <a:pt x="12729" y="7436"/>
                  </a:cubicBezTo>
                  <a:cubicBezTo>
                    <a:pt x="12823" y="6932"/>
                    <a:pt x="12508" y="6428"/>
                    <a:pt x="12036" y="6144"/>
                  </a:cubicBezTo>
                  <a:cubicBezTo>
                    <a:pt x="12130" y="5231"/>
                    <a:pt x="11437" y="4443"/>
                    <a:pt x="10523" y="4443"/>
                  </a:cubicBezTo>
                  <a:lnTo>
                    <a:pt x="10523" y="4097"/>
                  </a:lnTo>
                  <a:cubicBezTo>
                    <a:pt x="10523" y="1860"/>
                    <a:pt x="8665" y="1"/>
                    <a:pt x="6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5" name="Google Shape;10075;p78"/>
          <p:cNvGrpSpPr/>
          <p:nvPr/>
        </p:nvGrpSpPr>
        <p:grpSpPr>
          <a:xfrm>
            <a:off x="7068290" y="2006443"/>
            <a:ext cx="361998" cy="361998"/>
            <a:chOff x="-56010850" y="2294725"/>
            <a:chExt cx="319025" cy="319025"/>
          </a:xfrm>
        </p:grpSpPr>
        <p:sp>
          <p:nvSpPr>
            <p:cNvPr id="10076" name="Google Shape;10076;p78"/>
            <p:cNvSpPr/>
            <p:nvPr/>
          </p:nvSpPr>
          <p:spPr>
            <a:xfrm>
              <a:off x="-55906875" y="2527275"/>
              <a:ext cx="73275" cy="29750"/>
            </a:xfrm>
            <a:custGeom>
              <a:avLst/>
              <a:gdLst/>
              <a:ahLst/>
              <a:cxnLst/>
              <a:rect l="l" t="t" r="r" b="b"/>
              <a:pathLst>
                <a:path w="2931" h="1190" extrusionOk="0">
                  <a:moveTo>
                    <a:pt x="398" y="1"/>
                  </a:moveTo>
                  <a:cubicBezTo>
                    <a:pt x="308" y="1"/>
                    <a:pt x="221" y="40"/>
                    <a:pt x="158" y="119"/>
                  </a:cubicBezTo>
                  <a:cubicBezTo>
                    <a:pt x="0" y="276"/>
                    <a:pt x="0" y="528"/>
                    <a:pt x="158" y="623"/>
                  </a:cubicBezTo>
                  <a:cubicBezTo>
                    <a:pt x="505" y="1001"/>
                    <a:pt x="977" y="1190"/>
                    <a:pt x="1450" y="1190"/>
                  </a:cubicBezTo>
                  <a:cubicBezTo>
                    <a:pt x="1922" y="1190"/>
                    <a:pt x="2458" y="1001"/>
                    <a:pt x="2773" y="623"/>
                  </a:cubicBezTo>
                  <a:cubicBezTo>
                    <a:pt x="2930" y="465"/>
                    <a:pt x="2930" y="245"/>
                    <a:pt x="2773" y="119"/>
                  </a:cubicBezTo>
                  <a:cubicBezTo>
                    <a:pt x="2694" y="40"/>
                    <a:pt x="2592" y="1"/>
                    <a:pt x="2493" y="1"/>
                  </a:cubicBezTo>
                  <a:cubicBezTo>
                    <a:pt x="2395" y="1"/>
                    <a:pt x="2300" y="40"/>
                    <a:pt x="2237" y="119"/>
                  </a:cubicBezTo>
                  <a:cubicBezTo>
                    <a:pt x="2048" y="308"/>
                    <a:pt x="1733" y="434"/>
                    <a:pt x="1450" y="434"/>
                  </a:cubicBezTo>
                  <a:cubicBezTo>
                    <a:pt x="1135" y="434"/>
                    <a:pt x="883" y="308"/>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78"/>
            <p:cNvSpPr/>
            <p:nvPr/>
          </p:nvSpPr>
          <p:spPr>
            <a:xfrm>
              <a:off x="-5591632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8" name="Google Shape;10078;p78"/>
            <p:cNvSpPr/>
            <p:nvPr/>
          </p:nvSpPr>
          <p:spPr>
            <a:xfrm>
              <a:off x="-55842300"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9" name="Google Shape;10079;p78"/>
            <p:cNvSpPr/>
            <p:nvPr/>
          </p:nvSpPr>
          <p:spPr>
            <a:xfrm>
              <a:off x="-56010850" y="2294725"/>
              <a:ext cx="319025" cy="319025"/>
            </a:xfrm>
            <a:custGeom>
              <a:avLst/>
              <a:gdLst/>
              <a:ahLst/>
              <a:cxnLst/>
              <a:rect l="l" t="t" r="r" b="b"/>
              <a:pathLst>
                <a:path w="12761" h="12761" extrusionOk="0">
                  <a:moveTo>
                    <a:pt x="6333" y="4506"/>
                  </a:moveTo>
                  <a:cubicBezTo>
                    <a:pt x="6522" y="4506"/>
                    <a:pt x="6680" y="4664"/>
                    <a:pt x="6680" y="4853"/>
                  </a:cubicBezTo>
                  <a:lnTo>
                    <a:pt x="6680" y="5199"/>
                  </a:lnTo>
                  <a:lnTo>
                    <a:pt x="4475" y="5199"/>
                  </a:lnTo>
                  <a:lnTo>
                    <a:pt x="4475" y="4853"/>
                  </a:lnTo>
                  <a:cubicBezTo>
                    <a:pt x="4475" y="4664"/>
                    <a:pt x="4632" y="4506"/>
                    <a:pt x="4821" y="4506"/>
                  </a:cubicBezTo>
                  <a:close/>
                  <a:moveTo>
                    <a:pt x="5577" y="757"/>
                  </a:moveTo>
                  <a:cubicBezTo>
                    <a:pt x="7814" y="757"/>
                    <a:pt x="9673" y="2616"/>
                    <a:pt x="9673" y="4853"/>
                  </a:cubicBezTo>
                  <a:lnTo>
                    <a:pt x="9673" y="5199"/>
                  </a:lnTo>
                  <a:lnTo>
                    <a:pt x="7436" y="5199"/>
                  </a:lnTo>
                  <a:lnTo>
                    <a:pt x="7436" y="4853"/>
                  </a:lnTo>
                  <a:cubicBezTo>
                    <a:pt x="7436" y="4222"/>
                    <a:pt x="6932" y="3750"/>
                    <a:pt x="6333" y="3750"/>
                  </a:cubicBezTo>
                  <a:lnTo>
                    <a:pt x="4821" y="3750"/>
                  </a:lnTo>
                  <a:cubicBezTo>
                    <a:pt x="4191" y="3750"/>
                    <a:pt x="3718" y="4254"/>
                    <a:pt x="3718" y="4853"/>
                  </a:cubicBezTo>
                  <a:lnTo>
                    <a:pt x="3718" y="5199"/>
                  </a:lnTo>
                  <a:lnTo>
                    <a:pt x="1482" y="5199"/>
                  </a:lnTo>
                  <a:lnTo>
                    <a:pt x="1482" y="4853"/>
                  </a:lnTo>
                  <a:cubicBezTo>
                    <a:pt x="1482" y="2616"/>
                    <a:pt x="3340" y="757"/>
                    <a:pt x="5577" y="757"/>
                  </a:cubicBezTo>
                  <a:close/>
                  <a:moveTo>
                    <a:pt x="1482" y="5955"/>
                  </a:moveTo>
                  <a:lnTo>
                    <a:pt x="1482" y="7467"/>
                  </a:lnTo>
                  <a:cubicBezTo>
                    <a:pt x="1103" y="7467"/>
                    <a:pt x="725" y="7152"/>
                    <a:pt x="725" y="6711"/>
                  </a:cubicBezTo>
                  <a:cubicBezTo>
                    <a:pt x="725" y="6302"/>
                    <a:pt x="1103" y="5955"/>
                    <a:pt x="1482" y="5955"/>
                  </a:cubicBezTo>
                  <a:close/>
                  <a:moveTo>
                    <a:pt x="9704" y="5955"/>
                  </a:moveTo>
                  <a:cubicBezTo>
                    <a:pt x="10114" y="5955"/>
                    <a:pt x="10460" y="6302"/>
                    <a:pt x="10460" y="6711"/>
                  </a:cubicBezTo>
                  <a:cubicBezTo>
                    <a:pt x="10460" y="7089"/>
                    <a:pt x="10145" y="7467"/>
                    <a:pt x="9704" y="7467"/>
                  </a:cubicBezTo>
                  <a:lnTo>
                    <a:pt x="9704" y="5955"/>
                  </a:lnTo>
                  <a:close/>
                  <a:moveTo>
                    <a:pt x="9011" y="5955"/>
                  </a:moveTo>
                  <a:cubicBezTo>
                    <a:pt x="8980" y="6270"/>
                    <a:pt x="8980" y="8318"/>
                    <a:pt x="8980" y="8633"/>
                  </a:cubicBezTo>
                  <a:cubicBezTo>
                    <a:pt x="8980" y="10492"/>
                    <a:pt x="7467" y="11973"/>
                    <a:pt x="5609" y="11973"/>
                  </a:cubicBezTo>
                  <a:cubicBezTo>
                    <a:pt x="3781" y="11973"/>
                    <a:pt x="2269" y="10492"/>
                    <a:pt x="2269" y="8633"/>
                  </a:cubicBezTo>
                  <a:lnTo>
                    <a:pt x="2269" y="5955"/>
                  </a:lnTo>
                  <a:close/>
                  <a:moveTo>
                    <a:pt x="5577" y="1"/>
                  </a:moveTo>
                  <a:cubicBezTo>
                    <a:pt x="2899" y="1"/>
                    <a:pt x="725" y="2175"/>
                    <a:pt x="725" y="4853"/>
                  </a:cubicBezTo>
                  <a:lnTo>
                    <a:pt x="725" y="5451"/>
                  </a:lnTo>
                  <a:cubicBezTo>
                    <a:pt x="316" y="5703"/>
                    <a:pt x="1" y="6207"/>
                    <a:pt x="1" y="6743"/>
                  </a:cubicBezTo>
                  <a:cubicBezTo>
                    <a:pt x="1" y="7562"/>
                    <a:pt x="662" y="8255"/>
                    <a:pt x="1482" y="8255"/>
                  </a:cubicBezTo>
                  <a:lnTo>
                    <a:pt x="1482" y="8665"/>
                  </a:lnTo>
                  <a:cubicBezTo>
                    <a:pt x="1482" y="10933"/>
                    <a:pt x="3340" y="12760"/>
                    <a:pt x="5577" y="12760"/>
                  </a:cubicBezTo>
                  <a:cubicBezTo>
                    <a:pt x="7814" y="12760"/>
                    <a:pt x="9673" y="10933"/>
                    <a:pt x="9673" y="8665"/>
                  </a:cubicBezTo>
                  <a:lnTo>
                    <a:pt x="9673" y="8255"/>
                  </a:lnTo>
                  <a:cubicBezTo>
                    <a:pt x="10492" y="8255"/>
                    <a:pt x="11185" y="7562"/>
                    <a:pt x="11185" y="6743"/>
                  </a:cubicBezTo>
                  <a:cubicBezTo>
                    <a:pt x="11185" y="6459"/>
                    <a:pt x="11091" y="6239"/>
                    <a:pt x="10965" y="5987"/>
                  </a:cubicBezTo>
                  <a:lnTo>
                    <a:pt x="12351" y="5987"/>
                  </a:lnTo>
                  <a:cubicBezTo>
                    <a:pt x="12540" y="5987"/>
                    <a:pt x="12697" y="5829"/>
                    <a:pt x="12697" y="5640"/>
                  </a:cubicBezTo>
                  <a:cubicBezTo>
                    <a:pt x="12760" y="5420"/>
                    <a:pt x="12540" y="5199"/>
                    <a:pt x="12351" y="5199"/>
                  </a:cubicBezTo>
                  <a:lnTo>
                    <a:pt x="10429" y="5199"/>
                  </a:lnTo>
                  <a:lnTo>
                    <a:pt x="10429" y="4853"/>
                  </a:lnTo>
                  <a:cubicBezTo>
                    <a:pt x="10429" y="2175"/>
                    <a:pt x="8255"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0" name="Google Shape;10080;p78"/>
          <p:cNvGrpSpPr/>
          <p:nvPr/>
        </p:nvGrpSpPr>
        <p:grpSpPr>
          <a:xfrm>
            <a:off x="7068305" y="2459027"/>
            <a:ext cx="361969" cy="361090"/>
            <a:chOff x="-56010050" y="2686975"/>
            <a:chExt cx="319000" cy="318225"/>
          </a:xfrm>
        </p:grpSpPr>
        <p:sp>
          <p:nvSpPr>
            <p:cNvPr id="10081" name="Google Shape;10081;p78"/>
            <p:cNvSpPr/>
            <p:nvPr/>
          </p:nvSpPr>
          <p:spPr>
            <a:xfrm>
              <a:off x="-55887975" y="2917925"/>
              <a:ext cx="72475" cy="29775"/>
            </a:xfrm>
            <a:custGeom>
              <a:avLst/>
              <a:gdLst/>
              <a:ahLst/>
              <a:cxnLst/>
              <a:rect l="l" t="t" r="r" b="b"/>
              <a:pathLst>
                <a:path w="2899" h="1191" extrusionOk="0">
                  <a:moveTo>
                    <a:pt x="398" y="1"/>
                  </a:moveTo>
                  <a:cubicBezTo>
                    <a:pt x="308" y="1"/>
                    <a:pt x="221" y="40"/>
                    <a:pt x="158" y="119"/>
                  </a:cubicBezTo>
                  <a:cubicBezTo>
                    <a:pt x="1" y="277"/>
                    <a:pt x="1" y="529"/>
                    <a:pt x="158" y="655"/>
                  </a:cubicBezTo>
                  <a:cubicBezTo>
                    <a:pt x="505" y="1001"/>
                    <a:pt x="977" y="1190"/>
                    <a:pt x="1450" y="1190"/>
                  </a:cubicBezTo>
                  <a:cubicBezTo>
                    <a:pt x="1922" y="1190"/>
                    <a:pt x="2426" y="1001"/>
                    <a:pt x="2742" y="655"/>
                  </a:cubicBezTo>
                  <a:cubicBezTo>
                    <a:pt x="2899" y="497"/>
                    <a:pt x="2899" y="245"/>
                    <a:pt x="2742" y="119"/>
                  </a:cubicBezTo>
                  <a:cubicBezTo>
                    <a:pt x="2694" y="72"/>
                    <a:pt x="2608" y="48"/>
                    <a:pt x="2513" y="48"/>
                  </a:cubicBezTo>
                  <a:cubicBezTo>
                    <a:pt x="2419" y="48"/>
                    <a:pt x="2316" y="72"/>
                    <a:pt x="2237" y="119"/>
                  </a:cubicBezTo>
                  <a:cubicBezTo>
                    <a:pt x="2048" y="340"/>
                    <a:pt x="1733" y="434"/>
                    <a:pt x="1450" y="434"/>
                  </a:cubicBezTo>
                  <a:cubicBezTo>
                    <a:pt x="1135" y="434"/>
                    <a:pt x="851" y="340"/>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78"/>
            <p:cNvSpPr/>
            <p:nvPr/>
          </p:nvSpPr>
          <p:spPr>
            <a:xfrm>
              <a:off x="-5589742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78"/>
            <p:cNvSpPr/>
            <p:nvPr/>
          </p:nvSpPr>
          <p:spPr>
            <a:xfrm>
              <a:off x="-55822600" y="2854725"/>
              <a:ext cx="17350" cy="18150"/>
            </a:xfrm>
            <a:custGeom>
              <a:avLst/>
              <a:gdLst/>
              <a:ahLst/>
              <a:cxnLst/>
              <a:rect l="l" t="t" r="r" b="b"/>
              <a:pathLst>
                <a:path w="694" h="726" extrusionOk="0">
                  <a:moveTo>
                    <a:pt x="347" y="1"/>
                  </a:moveTo>
                  <a:cubicBezTo>
                    <a:pt x="158" y="1"/>
                    <a:pt x="0" y="190"/>
                    <a:pt x="0" y="379"/>
                  </a:cubicBezTo>
                  <a:cubicBezTo>
                    <a:pt x="0"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4" name="Google Shape;10084;p78"/>
            <p:cNvSpPr/>
            <p:nvPr/>
          </p:nvSpPr>
          <p:spPr>
            <a:xfrm>
              <a:off x="-56010050" y="2686975"/>
              <a:ext cx="319000" cy="318225"/>
            </a:xfrm>
            <a:custGeom>
              <a:avLst/>
              <a:gdLst/>
              <a:ahLst/>
              <a:cxnLst/>
              <a:rect l="l" t="t" r="r" b="b"/>
              <a:pathLst>
                <a:path w="12760" h="12729" extrusionOk="0">
                  <a:moveTo>
                    <a:pt x="2962" y="756"/>
                  </a:moveTo>
                  <a:cubicBezTo>
                    <a:pt x="3686" y="756"/>
                    <a:pt x="4285" y="1260"/>
                    <a:pt x="4443" y="1954"/>
                  </a:cubicBezTo>
                  <a:cubicBezTo>
                    <a:pt x="4096" y="2174"/>
                    <a:pt x="3749" y="2395"/>
                    <a:pt x="3434" y="2710"/>
                  </a:cubicBezTo>
                  <a:cubicBezTo>
                    <a:pt x="3119" y="3025"/>
                    <a:pt x="2867" y="3340"/>
                    <a:pt x="2678" y="3686"/>
                  </a:cubicBezTo>
                  <a:cubicBezTo>
                    <a:pt x="1954" y="3592"/>
                    <a:pt x="1450" y="2962"/>
                    <a:pt x="1450" y="2237"/>
                  </a:cubicBezTo>
                  <a:cubicBezTo>
                    <a:pt x="1450" y="1418"/>
                    <a:pt x="2111" y="756"/>
                    <a:pt x="2962" y="756"/>
                  </a:cubicBezTo>
                  <a:close/>
                  <a:moveTo>
                    <a:pt x="9735" y="756"/>
                  </a:moveTo>
                  <a:cubicBezTo>
                    <a:pt x="10554" y="756"/>
                    <a:pt x="11216" y="1418"/>
                    <a:pt x="11216" y="2237"/>
                  </a:cubicBezTo>
                  <a:cubicBezTo>
                    <a:pt x="11216" y="2993"/>
                    <a:pt x="10712" y="3592"/>
                    <a:pt x="9987" y="3686"/>
                  </a:cubicBezTo>
                  <a:cubicBezTo>
                    <a:pt x="9798" y="3340"/>
                    <a:pt x="9578" y="2993"/>
                    <a:pt x="9263" y="2710"/>
                  </a:cubicBezTo>
                  <a:cubicBezTo>
                    <a:pt x="8948" y="2395"/>
                    <a:pt x="8570" y="2174"/>
                    <a:pt x="8223" y="1954"/>
                  </a:cubicBezTo>
                  <a:cubicBezTo>
                    <a:pt x="8381" y="1260"/>
                    <a:pt x="8979" y="756"/>
                    <a:pt x="9735" y="756"/>
                  </a:cubicBezTo>
                  <a:close/>
                  <a:moveTo>
                    <a:pt x="5986" y="2237"/>
                  </a:moveTo>
                  <a:lnTo>
                    <a:pt x="5986" y="2584"/>
                  </a:lnTo>
                  <a:cubicBezTo>
                    <a:pt x="5986" y="4064"/>
                    <a:pt x="4789" y="5230"/>
                    <a:pt x="3340" y="5230"/>
                  </a:cubicBezTo>
                  <a:lnTo>
                    <a:pt x="2993" y="5230"/>
                  </a:lnTo>
                  <a:cubicBezTo>
                    <a:pt x="3151" y="3655"/>
                    <a:pt x="4411" y="2395"/>
                    <a:pt x="5986" y="2237"/>
                  </a:cubicBezTo>
                  <a:close/>
                  <a:moveTo>
                    <a:pt x="6742" y="2237"/>
                  </a:moveTo>
                  <a:cubicBezTo>
                    <a:pt x="8318" y="2395"/>
                    <a:pt x="9578" y="3655"/>
                    <a:pt x="9735" y="5230"/>
                  </a:cubicBezTo>
                  <a:lnTo>
                    <a:pt x="9357" y="5230"/>
                  </a:lnTo>
                  <a:cubicBezTo>
                    <a:pt x="7908" y="5230"/>
                    <a:pt x="6742" y="4064"/>
                    <a:pt x="6742" y="2584"/>
                  </a:cubicBezTo>
                  <a:lnTo>
                    <a:pt x="6742" y="2237"/>
                  </a:lnTo>
                  <a:close/>
                  <a:moveTo>
                    <a:pt x="2206" y="5986"/>
                  </a:moveTo>
                  <a:lnTo>
                    <a:pt x="2206" y="7467"/>
                  </a:lnTo>
                  <a:cubicBezTo>
                    <a:pt x="1796" y="7467"/>
                    <a:pt x="1450" y="7152"/>
                    <a:pt x="1450" y="6742"/>
                  </a:cubicBezTo>
                  <a:cubicBezTo>
                    <a:pt x="1450" y="6301"/>
                    <a:pt x="1796" y="5986"/>
                    <a:pt x="2206" y="5986"/>
                  </a:cubicBezTo>
                  <a:close/>
                  <a:moveTo>
                    <a:pt x="10460" y="5986"/>
                  </a:moveTo>
                  <a:cubicBezTo>
                    <a:pt x="10870" y="5986"/>
                    <a:pt x="11216" y="6301"/>
                    <a:pt x="11216" y="6742"/>
                  </a:cubicBezTo>
                  <a:cubicBezTo>
                    <a:pt x="11216" y="7120"/>
                    <a:pt x="10870" y="7467"/>
                    <a:pt x="10460" y="7467"/>
                  </a:cubicBezTo>
                  <a:lnTo>
                    <a:pt x="10460" y="5986"/>
                  </a:lnTo>
                  <a:close/>
                  <a:moveTo>
                    <a:pt x="1008" y="7624"/>
                  </a:moveTo>
                  <a:cubicBezTo>
                    <a:pt x="1292" y="8002"/>
                    <a:pt x="1733" y="8223"/>
                    <a:pt x="2206" y="8223"/>
                  </a:cubicBezTo>
                  <a:cubicBezTo>
                    <a:pt x="2206" y="8633"/>
                    <a:pt x="1891" y="8979"/>
                    <a:pt x="1450" y="8979"/>
                  </a:cubicBezTo>
                  <a:cubicBezTo>
                    <a:pt x="1071" y="8979"/>
                    <a:pt x="693" y="8664"/>
                    <a:pt x="693" y="8223"/>
                  </a:cubicBezTo>
                  <a:cubicBezTo>
                    <a:pt x="693" y="8002"/>
                    <a:pt x="819" y="7750"/>
                    <a:pt x="1008" y="7624"/>
                  </a:cubicBezTo>
                  <a:close/>
                  <a:moveTo>
                    <a:pt x="11657" y="7624"/>
                  </a:moveTo>
                  <a:cubicBezTo>
                    <a:pt x="11846" y="7782"/>
                    <a:pt x="11972" y="8002"/>
                    <a:pt x="11972" y="8223"/>
                  </a:cubicBezTo>
                  <a:cubicBezTo>
                    <a:pt x="11972" y="8633"/>
                    <a:pt x="11626" y="8979"/>
                    <a:pt x="11216" y="8979"/>
                  </a:cubicBezTo>
                  <a:cubicBezTo>
                    <a:pt x="10838" y="8979"/>
                    <a:pt x="10460" y="8664"/>
                    <a:pt x="10460" y="8223"/>
                  </a:cubicBezTo>
                  <a:cubicBezTo>
                    <a:pt x="10933" y="8223"/>
                    <a:pt x="11374" y="8002"/>
                    <a:pt x="11657" y="7624"/>
                  </a:cubicBezTo>
                  <a:close/>
                  <a:moveTo>
                    <a:pt x="6333" y="4127"/>
                  </a:moveTo>
                  <a:cubicBezTo>
                    <a:pt x="6490" y="4442"/>
                    <a:pt x="6679" y="4726"/>
                    <a:pt x="6963" y="5009"/>
                  </a:cubicBezTo>
                  <a:cubicBezTo>
                    <a:pt x="7593" y="5640"/>
                    <a:pt x="8475" y="5986"/>
                    <a:pt x="9357" y="5986"/>
                  </a:cubicBezTo>
                  <a:lnTo>
                    <a:pt x="9735" y="5986"/>
                  </a:lnTo>
                  <a:lnTo>
                    <a:pt x="9735" y="8570"/>
                  </a:lnTo>
                  <a:cubicBezTo>
                    <a:pt x="9735" y="10428"/>
                    <a:pt x="8192" y="11972"/>
                    <a:pt x="6333" y="11972"/>
                  </a:cubicBezTo>
                  <a:cubicBezTo>
                    <a:pt x="4474" y="11972"/>
                    <a:pt x="2962" y="10428"/>
                    <a:pt x="2962" y="8570"/>
                  </a:cubicBezTo>
                  <a:lnTo>
                    <a:pt x="2962" y="5986"/>
                  </a:lnTo>
                  <a:lnTo>
                    <a:pt x="3308" y="5986"/>
                  </a:lnTo>
                  <a:cubicBezTo>
                    <a:pt x="4222" y="5986"/>
                    <a:pt x="5041" y="5640"/>
                    <a:pt x="5703" y="5009"/>
                  </a:cubicBezTo>
                  <a:cubicBezTo>
                    <a:pt x="5955" y="4757"/>
                    <a:pt x="6175" y="4442"/>
                    <a:pt x="6333" y="4127"/>
                  </a:cubicBezTo>
                  <a:close/>
                  <a:moveTo>
                    <a:pt x="2962" y="0"/>
                  </a:moveTo>
                  <a:cubicBezTo>
                    <a:pt x="1733" y="0"/>
                    <a:pt x="693" y="977"/>
                    <a:pt x="693" y="2237"/>
                  </a:cubicBezTo>
                  <a:cubicBezTo>
                    <a:pt x="693" y="3277"/>
                    <a:pt x="1418" y="4159"/>
                    <a:pt x="2395" y="4411"/>
                  </a:cubicBezTo>
                  <a:cubicBezTo>
                    <a:pt x="2332" y="4694"/>
                    <a:pt x="2237" y="4946"/>
                    <a:pt x="2237" y="5230"/>
                  </a:cubicBezTo>
                  <a:cubicBezTo>
                    <a:pt x="1355" y="5230"/>
                    <a:pt x="630" y="6018"/>
                    <a:pt x="756" y="6931"/>
                  </a:cubicBezTo>
                  <a:cubicBezTo>
                    <a:pt x="284" y="7215"/>
                    <a:pt x="0" y="7687"/>
                    <a:pt x="0" y="8223"/>
                  </a:cubicBezTo>
                  <a:cubicBezTo>
                    <a:pt x="0" y="9042"/>
                    <a:pt x="662" y="9735"/>
                    <a:pt x="1513" y="9735"/>
                  </a:cubicBezTo>
                  <a:cubicBezTo>
                    <a:pt x="1828" y="9735"/>
                    <a:pt x="2080" y="9641"/>
                    <a:pt x="2332" y="9452"/>
                  </a:cubicBezTo>
                  <a:cubicBezTo>
                    <a:pt x="2710" y="11310"/>
                    <a:pt x="4379" y="12728"/>
                    <a:pt x="6396" y="12728"/>
                  </a:cubicBezTo>
                  <a:cubicBezTo>
                    <a:pt x="8381" y="12728"/>
                    <a:pt x="10050" y="11310"/>
                    <a:pt x="10428" y="9452"/>
                  </a:cubicBezTo>
                  <a:cubicBezTo>
                    <a:pt x="10680" y="9609"/>
                    <a:pt x="10964" y="9735"/>
                    <a:pt x="11279" y="9735"/>
                  </a:cubicBezTo>
                  <a:cubicBezTo>
                    <a:pt x="12098" y="9735"/>
                    <a:pt x="12760" y="9042"/>
                    <a:pt x="12760" y="8223"/>
                  </a:cubicBezTo>
                  <a:cubicBezTo>
                    <a:pt x="12728" y="7687"/>
                    <a:pt x="12413" y="7152"/>
                    <a:pt x="11941" y="6931"/>
                  </a:cubicBezTo>
                  <a:cubicBezTo>
                    <a:pt x="12035" y="6018"/>
                    <a:pt x="11342" y="5230"/>
                    <a:pt x="10428" y="5230"/>
                  </a:cubicBezTo>
                  <a:cubicBezTo>
                    <a:pt x="10397" y="4946"/>
                    <a:pt x="10365" y="4694"/>
                    <a:pt x="10271" y="4411"/>
                  </a:cubicBezTo>
                  <a:cubicBezTo>
                    <a:pt x="11248" y="4159"/>
                    <a:pt x="11972" y="3277"/>
                    <a:pt x="11972" y="2237"/>
                  </a:cubicBezTo>
                  <a:cubicBezTo>
                    <a:pt x="11972" y="1008"/>
                    <a:pt x="10996" y="0"/>
                    <a:pt x="9735" y="0"/>
                  </a:cubicBezTo>
                  <a:cubicBezTo>
                    <a:pt x="8664" y="0"/>
                    <a:pt x="7814" y="693"/>
                    <a:pt x="7530" y="1638"/>
                  </a:cubicBezTo>
                  <a:cubicBezTo>
                    <a:pt x="7120" y="1544"/>
                    <a:pt x="6742" y="1481"/>
                    <a:pt x="6333" y="1481"/>
                  </a:cubicBezTo>
                  <a:cubicBezTo>
                    <a:pt x="5955" y="1481"/>
                    <a:pt x="5514" y="1575"/>
                    <a:pt x="5167" y="1638"/>
                  </a:cubicBezTo>
                  <a:cubicBezTo>
                    <a:pt x="4915" y="693"/>
                    <a:pt x="4033" y="0"/>
                    <a:pt x="29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5" name="Google Shape;10085;p78"/>
          <p:cNvGrpSpPr/>
          <p:nvPr/>
        </p:nvGrpSpPr>
        <p:grpSpPr>
          <a:xfrm>
            <a:off x="5753801" y="2911936"/>
            <a:ext cx="361998" cy="361090"/>
            <a:chOff x="-54081175" y="1903275"/>
            <a:chExt cx="319025" cy="318225"/>
          </a:xfrm>
        </p:grpSpPr>
        <p:sp>
          <p:nvSpPr>
            <p:cNvPr id="10086" name="Google Shape;10086;p78"/>
            <p:cNvSpPr/>
            <p:nvPr/>
          </p:nvSpPr>
          <p:spPr>
            <a:xfrm>
              <a:off x="-53959075" y="2135825"/>
              <a:ext cx="72475" cy="28975"/>
            </a:xfrm>
            <a:custGeom>
              <a:avLst/>
              <a:gdLst/>
              <a:ahLst/>
              <a:cxnLst/>
              <a:rect l="l" t="t" r="r" b="b"/>
              <a:pathLst>
                <a:path w="2899" h="1159" extrusionOk="0">
                  <a:moveTo>
                    <a:pt x="386" y="1"/>
                  </a:moveTo>
                  <a:cubicBezTo>
                    <a:pt x="292" y="1"/>
                    <a:pt x="205"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78"/>
            <p:cNvSpPr/>
            <p:nvPr/>
          </p:nvSpPr>
          <p:spPr>
            <a:xfrm>
              <a:off x="-54081175" y="1903275"/>
              <a:ext cx="319025" cy="318225"/>
            </a:xfrm>
            <a:custGeom>
              <a:avLst/>
              <a:gdLst/>
              <a:ahLst/>
              <a:cxnLst/>
              <a:rect l="l" t="t" r="r" b="b"/>
              <a:pathLst>
                <a:path w="12761" h="12729" extrusionOk="0">
                  <a:moveTo>
                    <a:pt x="6365" y="757"/>
                  </a:moveTo>
                  <a:cubicBezTo>
                    <a:pt x="7594" y="757"/>
                    <a:pt x="8728" y="1324"/>
                    <a:pt x="9515" y="2238"/>
                  </a:cubicBezTo>
                  <a:lnTo>
                    <a:pt x="8570" y="2238"/>
                  </a:lnTo>
                  <a:cubicBezTo>
                    <a:pt x="7436" y="2238"/>
                    <a:pt x="6396" y="1702"/>
                    <a:pt x="5829" y="789"/>
                  </a:cubicBezTo>
                  <a:cubicBezTo>
                    <a:pt x="5987" y="757"/>
                    <a:pt x="6176" y="757"/>
                    <a:pt x="6365" y="757"/>
                  </a:cubicBezTo>
                  <a:close/>
                  <a:moveTo>
                    <a:pt x="5042" y="946"/>
                  </a:moveTo>
                  <a:cubicBezTo>
                    <a:pt x="5357" y="1482"/>
                    <a:pt x="5829" y="1954"/>
                    <a:pt x="6365" y="2332"/>
                  </a:cubicBezTo>
                  <a:cubicBezTo>
                    <a:pt x="7027" y="2742"/>
                    <a:pt x="7783" y="2962"/>
                    <a:pt x="8570" y="2962"/>
                  </a:cubicBezTo>
                  <a:lnTo>
                    <a:pt x="9988" y="2962"/>
                  </a:lnTo>
                  <a:cubicBezTo>
                    <a:pt x="10272" y="3498"/>
                    <a:pt x="10461" y="4160"/>
                    <a:pt x="10461" y="4853"/>
                  </a:cubicBezTo>
                  <a:lnTo>
                    <a:pt x="10461" y="5199"/>
                  </a:lnTo>
                  <a:lnTo>
                    <a:pt x="10429" y="5199"/>
                  </a:lnTo>
                  <a:cubicBezTo>
                    <a:pt x="10272" y="4380"/>
                    <a:pt x="9484" y="3687"/>
                    <a:pt x="8570" y="3687"/>
                  </a:cubicBezTo>
                  <a:cubicBezTo>
                    <a:pt x="7657" y="3687"/>
                    <a:pt x="6932" y="4317"/>
                    <a:pt x="6775" y="5199"/>
                  </a:cubicBezTo>
                  <a:lnTo>
                    <a:pt x="5924" y="5199"/>
                  </a:lnTo>
                  <a:cubicBezTo>
                    <a:pt x="5766" y="4317"/>
                    <a:pt x="4979" y="3687"/>
                    <a:pt x="4128" y="3687"/>
                  </a:cubicBezTo>
                  <a:cubicBezTo>
                    <a:pt x="3214" y="3687"/>
                    <a:pt x="2427" y="4380"/>
                    <a:pt x="2269" y="5199"/>
                  </a:cubicBezTo>
                  <a:lnTo>
                    <a:pt x="2238" y="5199"/>
                  </a:lnTo>
                  <a:lnTo>
                    <a:pt x="2238" y="4853"/>
                  </a:lnTo>
                  <a:cubicBezTo>
                    <a:pt x="2206" y="3025"/>
                    <a:pt x="3372" y="1482"/>
                    <a:pt x="5042" y="946"/>
                  </a:cubicBezTo>
                  <a:close/>
                  <a:moveTo>
                    <a:pt x="1450" y="5231"/>
                  </a:moveTo>
                  <a:lnTo>
                    <a:pt x="1450" y="6711"/>
                  </a:lnTo>
                  <a:cubicBezTo>
                    <a:pt x="1431" y="6713"/>
                    <a:pt x="1413" y="6714"/>
                    <a:pt x="1394" y="6714"/>
                  </a:cubicBezTo>
                  <a:cubicBezTo>
                    <a:pt x="1009" y="6714"/>
                    <a:pt x="694" y="6408"/>
                    <a:pt x="694" y="5987"/>
                  </a:cubicBezTo>
                  <a:cubicBezTo>
                    <a:pt x="694" y="5577"/>
                    <a:pt x="1009" y="5231"/>
                    <a:pt x="1450" y="5231"/>
                  </a:cubicBezTo>
                  <a:close/>
                  <a:moveTo>
                    <a:pt x="4097" y="4538"/>
                  </a:moveTo>
                  <a:cubicBezTo>
                    <a:pt x="4727" y="4538"/>
                    <a:pt x="5199" y="5042"/>
                    <a:pt x="5199" y="5640"/>
                  </a:cubicBezTo>
                  <a:cubicBezTo>
                    <a:pt x="5199" y="6270"/>
                    <a:pt x="4664" y="6743"/>
                    <a:pt x="4097" y="6743"/>
                  </a:cubicBezTo>
                  <a:cubicBezTo>
                    <a:pt x="3467" y="6743"/>
                    <a:pt x="2931" y="6207"/>
                    <a:pt x="2931" y="5640"/>
                  </a:cubicBezTo>
                  <a:cubicBezTo>
                    <a:pt x="2931" y="5042"/>
                    <a:pt x="3467" y="4538"/>
                    <a:pt x="4097" y="4538"/>
                  </a:cubicBezTo>
                  <a:close/>
                  <a:moveTo>
                    <a:pt x="8539" y="4538"/>
                  </a:moveTo>
                  <a:cubicBezTo>
                    <a:pt x="9169" y="4538"/>
                    <a:pt x="9673" y="5042"/>
                    <a:pt x="9673" y="5640"/>
                  </a:cubicBezTo>
                  <a:cubicBezTo>
                    <a:pt x="9673" y="6207"/>
                    <a:pt x="9169" y="6743"/>
                    <a:pt x="8539" y="6743"/>
                  </a:cubicBezTo>
                  <a:cubicBezTo>
                    <a:pt x="7940" y="6743"/>
                    <a:pt x="7436" y="6207"/>
                    <a:pt x="7436" y="5640"/>
                  </a:cubicBezTo>
                  <a:cubicBezTo>
                    <a:pt x="7436" y="5010"/>
                    <a:pt x="7940" y="4538"/>
                    <a:pt x="8539" y="4538"/>
                  </a:cubicBezTo>
                  <a:close/>
                  <a:moveTo>
                    <a:pt x="11217" y="5231"/>
                  </a:moveTo>
                  <a:cubicBezTo>
                    <a:pt x="11595" y="5231"/>
                    <a:pt x="11973" y="5577"/>
                    <a:pt x="11973" y="5987"/>
                  </a:cubicBezTo>
                  <a:cubicBezTo>
                    <a:pt x="11973" y="6428"/>
                    <a:pt x="11595" y="6743"/>
                    <a:pt x="11217" y="6743"/>
                  </a:cubicBezTo>
                  <a:lnTo>
                    <a:pt x="11217" y="5231"/>
                  </a:lnTo>
                  <a:close/>
                  <a:moveTo>
                    <a:pt x="10461" y="5987"/>
                  </a:moveTo>
                  <a:lnTo>
                    <a:pt x="10461" y="7877"/>
                  </a:lnTo>
                  <a:lnTo>
                    <a:pt x="10461" y="8224"/>
                  </a:lnTo>
                  <a:lnTo>
                    <a:pt x="8696" y="8224"/>
                  </a:lnTo>
                  <a:cubicBezTo>
                    <a:pt x="7972" y="7767"/>
                    <a:pt x="7153" y="7538"/>
                    <a:pt x="6337" y="7538"/>
                  </a:cubicBezTo>
                  <a:cubicBezTo>
                    <a:pt x="5522" y="7538"/>
                    <a:pt x="4711" y="7767"/>
                    <a:pt x="4002" y="8224"/>
                  </a:cubicBezTo>
                  <a:lnTo>
                    <a:pt x="2238" y="8224"/>
                  </a:lnTo>
                  <a:lnTo>
                    <a:pt x="2238" y="7877"/>
                  </a:lnTo>
                  <a:lnTo>
                    <a:pt x="2238" y="5987"/>
                  </a:lnTo>
                  <a:lnTo>
                    <a:pt x="2269" y="5987"/>
                  </a:lnTo>
                  <a:cubicBezTo>
                    <a:pt x="2427" y="6806"/>
                    <a:pt x="3214" y="7468"/>
                    <a:pt x="4128" y="7468"/>
                  </a:cubicBezTo>
                  <a:cubicBezTo>
                    <a:pt x="5042" y="7468"/>
                    <a:pt x="5766" y="6837"/>
                    <a:pt x="5955" y="5987"/>
                  </a:cubicBezTo>
                  <a:lnTo>
                    <a:pt x="6775" y="5987"/>
                  </a:lnTo>
                  <a:cubicBezTo>
                    <a:pt x="6932" y="6837"/>
                    <a:pt x="7720" y="7468"/>
                    <a:pt x="8570" y="7468"/>
                  </a:cubicBezTo>
                  <a:cubicBezTo>
                    <a:pt x="9106" y="7468"/>
                    <a:pt x="9578" y="7279"/>
                    <a:pt x="9925" y="6932"/>
                  </a:cubicBezTo>
                  <a:cubicBezTo>
                    <a:pt x="10209" y="6648"/>
                    <a:pt x="10366" y="6333"/>
                    <a:pt x="10429" y="5987"/>
                  </a:cubicBezTo>
                  <a:close/>
                  <a:moveTo>
                    <a:pt x="6318" y="8271"/>
                  </a:moveTo>
                  <a:cubicBezTo>
                    <a:pt x="7027" y="8271"/>
                    <a:pt x="7735" y="8476"/>
                    <a:pt x="8350" y="8885"/>
                  </a:cubicBezTo>
                  <a:cubicBezTo>
                    <a:pt x="8413" y="8948"/>
                    <a:pt x="8444" y="8980"/>
                    <a:pt x="8539" y="8980"/>
                  </a:cubicBezTo>
                  <a:lnTo>
                    <a:pt x="10272" y="8980"/>
                  </a:lnTo>
                  <a:cubicBezTo>
                    <a:pt x="9799" y="10713"/>
                    <a:pt x="8224" y="11973"/>
                    <a:pt x="6333" y="11973"/>
                  </a:cubicBezTo>
                  <a:cubicBezTo>
                    <a:pt x="4443" y="11973"/>
                    <a:pt x="2868" y="10713"/>
                    <a:pt x="2364" y="8980"/>
                  </a:cubicBezTo>
                  <a:lnTo>
                    <a:pt x="4097" y="8980"/>
                  </a:lnTo>
                  <a:cubicBezTo>
                    <a:pt x="4160" y="8980"/>
                    <a:pt x="4254" y="8948"/>
                    <a:pt x="4286" y="8885"/>
                  </a:cubicBezTo>
                  <a:cubicBezTo>
                    <a:pt x="4900" y="8476"/>
                    <a:pt x="5609" y="8271"/>
                    <a:pt x="6318" y="8271"/>
                  </a:cubicBezTo>
                  <a:close/>
                  <a:moveTo>
                    <a:pt x="6333" y="1"/>
                  </a:moveTo>
                  <a:cubicBezTo>
                    <a:pt x="3782" y="1"/>
                    <a:pt x="1639" y="1986"/>
                    <a:pt x="1482" y="4475"/>
                  </a:cubicBezTo>
                  <a:cubicBezTo>
                    <a:pt x="663" y="4475"/>
                    <a:pt x="1" y="5168"/>
                    <a:pt x="1" y="5987"/>
                  </a:cubicBezTo>
                  <a:cubicBezTo>
                    <a:pt x="1" y="6806"/>
                    <a:pt x="663" y="7468"/>
                    <a:pt x="1482" y="7468"/>
                  </a:cubicBezTo>
                  <a:lnTo>
                    <a:pt x="1482" y="7877"/>
                  </a:lnTo>
                  <a:cubicBezTo>
                    <a:pt x="1482" y="10555"/>
                    <a:pt x="3656" y="12729"/>
                    <a:pt x="6365" y="12729"/>
                  </a:cubicBezTo>
                  <a:cubicBezTo>
                    <a:pt x="9043" y="12729"/>
                    <a:pt x="11248" y="10555"/>
                    <a:pt x="11248" y="7877"/>
                  </a:cubicBezTo>
                  <a:lnTo>
                    <a:pt x="11248" y="7468"/>
                  </a:lnTo>
                  <a:cubicBezTo>
                    <a:pt x="12067" y="7468"/>
                    <a:pt x="12760" y="6806"/>
                    <a:pt x="12760" y="5987"/>
                  </a:cubicBezTo>
                  <a:cubicBezTo>
                    <a:pt x="12697" y="5168"/>
                    <a:pt x="12036" y="4475"/>
                    <a:pt x="11217" y="4475"/>
                  </a:cubicBezTo>
                  <a:cubicBezTo>
                    <a:pt x="11028" y="1954"/>
                    <a:pt x="8885"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78"/>
          <p:cNvGrpSpPr/>
          <p:nvPr/>
        </p:nvGrpSpPr>
        <p:grpSpPr>
          <a:xfrm>
            <a:off x="5776154" y="3365399"/>
            <a:ext cx="317290" cy="360211"/>
            <a:chOff x="-54063050" y="2296300"/>
            <a:chExt cx="279625" cy="317450"/>
          </a:xfrm>
        </p:grpSpPr>
        <p:sp>
          <p:nvSpPr>
            <p:cNvPr id="10089" name="Google Shape;10089;p78"/>
            <p:cNvSpPr/>
            <p:nvPr/>
          </p:nvSpPr>
          <p:spPr>
            <a:xfrm>
              <a:off x="-53959075" y="2527275"/>
              <a:ext cx="72475" cy="29750"/>
            </a:xfrm>
            <a:custGeom>
              <a:avLst/>
              <a:gdLst/>
              <a:ahLst/>
              <a:cxnLst/>
              <a:rect l="l" t="t" r="r" b="b"/>
              <a:pathLst>
                <a:path w="2899" h="1190" extrusionOk="0">
                  <a:moveTo>
                    <a:pt x="386" y="1"/>
                  </a:moveTo>
                  <a:cubicBezTo>
                    <a:pt x="292" y="1"/>
                    <a:pt x="205" y="40"/>
                    <a:pt x="158" y="119"/>
                  </a:cubicBezTo>
                  <a:cubicBezTo>
                    <a:pt x="0" y="276"/>
                    <a:pt x="0" y="528"/>
                    <a:pt x="158" y="623"/>
                  </a:cubicBezTo>
                  <a:cubicBezTo>
                    <a:pt x="504" y="1001"/>
                    <a:pt x="977" y="1190"/>
                    <a:pt x="1449" y="1190"/>
                  </a:cubicBezTo>
                  <a:cubicBezTo>
                    <a:pt x="1922" y="1190"/>
                    <a:pt x="2426" y="1001"/>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78"/>
            <p:cNvSpPr/>
            <p:nvPr/>
          </p:nvSpPr>
          <p:spPr>
            <a:xfrm>
              <a:off x="-53969325" y="24829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78"/>
            <p:cNvSpPr/>
            <p:nvPr/>
          </p:nvSpPr>
          <p:spPr>
            <a:xfrm>
              <a:off x="-53894500" y="2482975"/>
              <a:ext cx="18125" cy="17350"/>
            </a:xfrm>
            <a:custGeom>
              <a:avLst/>
              <a:gdLst/>
              <a:ahLst/>
              <a:cxnLst/>
              <a:rect l="l" t="t" r="r" b="b"/>
              <a:pathLst>
                <a:path w="725"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78"/>
            <p:cNvSpPr/>
            <p:nvPr/>
          </p:nvSpPr>
          <p:spPr>
            <a:xfrm>
              <a:off x="-54063050" y="2296300"/>
              <a:ext cx="279625" cy="317450"/>
            </a:xfrm>
            <a:custGeom>
              <a:avLst/>
              <a:gdLst/>
              <a:ahLst/>
              <a:cxnLst/>
              <a:rect l="l" t="t" r="r" b="b"/>
              <a:pathLst>
                <a:path w="11185" h="12698" extrusionOk="0">
                  <a:moveTo>
                    <a:pt x="5640" y="694"/>
                  </a:moveTo>
                  <a:cubicBezTo>
                    <a:pt x="7026" y="694"/>
                    <a:pt x="8286" y="883"/>
                    <a:pt x="9232" y="1198"/>
                  </a:cubicBezTo>
                  <a:cubicBezTo>
                    <a:pt x="10177" y="1576"/>
                    <a:pt x="10523" y="1923"/>
                    <a:pt x="10523" y="2206"/>
                  </a:cubicBezTo>
                  <a:cubicBezTo>
                    <a:pt x="10523" y="2427"/>
                    <a:pt x="10114" y="2647"/>
                    <a:pt x="9358" y="2931"/>
                  </a:cubicBezTo>
                  <a:lnTo>
                    <a:pt x="2017" y="2931"/>
                  </a:lnTo>
                  <a:cubicBezTo>
                    <a:pt x="1198" y="2679"/>
                    <a:pt x="757" y="2427"/>
                    <a:pt x="757" y="2206"/>
                  </a:cubicBezTo>
                  <a:cubicBezTo>
                    <a:pt x="757" y="1954"/>
                    <a:pt x="1103" y="1576"/>
                    <a:pt x="2048" y="1198"/>
                  </a:cubicBezTo>
                  <a:cubicBezTo>
                    <a:pt x="2994" y="851"/>
                    <a:pt x="4254" y="694"/>
                    <a:pt x="5640" y="694"/>
                  </a:cubicBezTo>
                  <a:close/>
                  <a:moveTo>
                    <a:pt x="8948" y="3687"/>
                  </a:moveTo>
                  <a:lnTo>
                    <a:pt x="8948" y="4475"/>
                  </a:lnTo>
                  <a:lnTo>
                    <a:pt x="2206" y="4475"/>
                  </a:lnTo>
                  <a:lnTo>
                    <a:pt x="2206" y="3687"/>
                  </a:lnTo>
                  <a:close/>
                  <a:moveTo>
                    <a:pt x="8633" y="5231"/>
                  </a:moveTo>
                  <a:cubicBezTo>
                    <a:pt x="8192" y="5703"/>
                    <a:pt x="7562" y="5987"/>
                    <a:pt x="6932" y="5987"/>
                  </a:cubicBezTo>
                  <a:lnTo>
                    <a:pt x="4317" y="5987"/>
                  </a:lnTo>
                  <a:cubicBezTo>
                    <a:pt x="3624" y="5987"/>
                    <a:pt x="3057" y="5703"/>
                    <a:pt x="2615" y="5231"/>
                  </a:cubicBezTo>
                  <a:close/>
                  <a:moveTo>
                    <a:pt x="9704" y="6680"/>
                  </a:moveTo>
                  <a:cubicBezTo>
                    <a:pt x="10082" y="6680"/>
                    <a:pt x="10460" y="6995"/>
                    <a:pt x="10460" y="7436"/>
                  </a:cubicBezTo>
                  <a:cubicBezTo>
                    <a:pt x="10460" y="7877"/>
                    <a:pt x="10145" y="8192"/>
                    <a:pt x="9704" y="8192"/>
                  </a:cubicBezTo>
                  <a:lnTo>
                    <a:pt x="9704" y="6680"/>
                  </a:lnTo>
                  <a:close/>
                  <a:moveTo>
                    <a:pt x="1513" y="6711"/>
                  </a:moveTo>
                  <a:lnTo>
                    <a:pt x="1513" y="8224"/>
                  </a:lnTo>
                  <a:cubicBezTo>
                    <a:pt x="1072" y="8192"/>
                    <a:pt x="757" y="7877"/>
                    <a:pt x="757" y="7467"/>
                  </a:cubicBezTo>
                  <a:cubicBezTo>
                    <a:pt x="757" y="7089"/>
                    <a:pt x="1103" y="6711"/>
                    <a:pt x="1513" y="6711"/>
                  </a:cubicBezTo>
                  <a:close/>
                  <a:moveTo>
                    <a:pt x="8979" y="5924"/>
                  </a:moveTo>
                  <a:lnTo>
                    <a:pt x="8979" y="8570"/>
                  </a:lnTo>
                  <a:cubicBezTo>
                    <a:pt x="8948" y="10429"/>
                    <a:pt x="7467" y="11910"/>
                    <a:pt x="5608" y="11910"/>
                  </a:cubicBezTo>
                  <a:cubicBezTo>
                    <a:pt x="3750" y="11910"/>
                    <a:pt x="2269" y="10429"/>
                    <a:pt x="2269" y="8570"/>
                  </a:cubicBezTo>
                  <a:lnTo>
                    <a:pt x="2269" y="5924"/>
                  </a:lnTo>
                  <a:cubicBezTo>
                    <a:pt x="2805" y="6459"/>
                    <a:pt x="3561" y="6711"/>
                    <a:pt x="4317" y="6711"/>
                  </a:cubicBezTo>
                  <a:lnTo>
                    <a:pt x="6932" y="6711"/>
                  </a:lnTo>
                  <a:cubicBezTo>
                    <a:pt x="7688" y="6711"/>
                    <a:pt x="8444" y="6459"/>
                    <a:pt x="8979" y="5924"/>
                  </a:cubicBezTo>
                  <a:close/>
                  <a:moveTo>
                    <a:pt x="5608" y="1"/>
                  </a:moveTo>
                  <a:cubicBezTo>
                    <a:pt x="4191" y="1"/>
                    <a:pt x="2805" y="190"/>
                    <a:pt x="1796" y="536"/>
                  </a:cubicBezTo>
                  <a:cubicBezTo>
                    <a:pt x="316" y="1040"/>
                    <a:pt x="1" y="1734"/>
                    <a:pt x="1" y="2206"/>
                  </a:cubicBezTo>
                  <a:cubicBezTo>
                    <a:pt x="1" y="2931"/>
                    <a:pt x="788" y="3309"/>
                    <a:pt x="1513" y="3561"/>
                  </a:cubicBezTo>
                  <a:lnTo>
                    <a:pt x="1513" y="5955"/>
                  </a:lnTo>
                  <a:cubicBezTo>
                    <a:pt x="694" y="5955"/>
                    <a:pt x="1" y="6648"/>
                    <a:pt x="1" y="7467"/>
                  </a:cubicBezTo>
                  <a:cubicBezTo>
                    <a:pt x="1" y="8287"/>
                    <a:pt x="694" y="8980"/>
                    <a:pt x="1513" y="8980"/>
                  </a:cubicBezTo>
                  <a:cubicBezTo>
                    <a:pt x="1702" y="11059"/>
                    <a:pt x="3466" y="12697"/>
                    <a:pt x="5608" y="12697"/>
                  </a:cubicBezTo>
                  <a:cubicBezTo>
                    <a:pt x="7719" y="12697"/>
                    <a:pt x="9515" y="11059"/>
                    <a:pt x="9704" y="8980"/>
                  </a:cubicBezTo>
                  <a:cubicBezTo>
                    <a:pt x="10523" y="8980"/>
                    <a:pt x="11185" y="8287"/>
                    <a:pt x="11185" y="7467"/>
                  </a:cubicBezTo>
                  <a:cubicBezTo>
                    <a:pt x="11185" y="6648"/>
                    <a:pt x="10523" y="5955"/>
                    <a:pt x="9704" y="5955"/>
                  </a:cubicBezTo>
                  <a:lnTo>
                    <a:pt x="9704" y="3561"/>
                  </a:lnTo>
                  <a:cubicBezTo>
                    <a:pt x="10397" y="3309"/>
                    <a:pt x="11185" y="2931"/>
                    <a:pt x="11185" y="2206"/>
                  </a:cubicBezTo>
                  <a:cubicBezTo>
                    <a:pt x="11185" y="1734"/>
                    <a:pt x="10870" y="1040"/>
                    <a:pt x="9421" y="536"/>
                  </a:cubicBezTo>
                  <a:cubicBezTo>
                    <a:pt x="8412" y="190"/>
                    <a:pt x="7058" y="1"/>
                    <a:pt x="56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78"/>
          <p:cNvGrpSpPr/>
          <p:nvPr/>
        </p:nvGrpSpPr>
        <p:grpSpPr>
          <a:xfrm>
            <a:off x="5776154" y="3829461"/>
            <a:ext cx="317290" cy="361033"/>
            <a:chOff x="-54061475" y="2685450"/>
            <a:chExt cx="279625" cy="318175"/>
          </a:xfrm>
        </p:grpSpPr>
        <p:sp>
          <p:nvSpPr>
            <p:cNvPr id="10094" name="Google Shape;10094;p78"/>
            <p:cNvSpPr/>
            <p:nvPr/>
          </p:nvSpPr>
          <p:spPr>
            <a:xfrm>
              <a:off x="-53959075" y="2919525"/>
              <a:ext cx="72475" cy="28950"/>
            </a:xfrm>
            <a:custGeom>
              <a:avLst/>
              <a:gdLst/>
              <a:ahLst/>
              <a:cxnLst/>
              <a:rect l="l" t="t" r="r" b="b"/>
              <a:pathLst>
                <a:path w="2899" h="1158" extrusionOk="0">
                  <a:moveTo>
                    <a:pt x="386" y="0"/>
                  </a:moveTo>
                  <a:cubicBezTo>
                    <a:pt x="292" y="0"/>
                    <a:pt x="205" y="39"/>
                    <a:pt x="158" y="118"/>
                  </a:cubicBezTo>
                  <a:cubicBezTo>
                    <a:pt x="0" y="276"/>
                    <a:pt x="0" y="496"/>
                    <a:pt x="158" y="622"/>
                  </a:cubicBezTo>
                  <a:cubicBezTo>
                    <a:pt x="504" y="969"/>
                    <a:pt x="977" y="1158"/>
                    <a:pt x="1449" y="1158"/>
                  </a:cubicBezTo>
                  <a:cubicBezTo>
                    <a:pt x="1922" y="1158"/>
                    <a:pt x="2426" y="969"/>
                    <a:pt x="2741" y="622"/>
                  </a:cubicBezTo>
                  <a:cubicBezTo>
                    <a:pt x="2899" y="465"/>
                    <a:pt x="2899" y="213"/>
                    <a:pt x="2741" y="118"/>
                  </a:cubicBezTo>
                  <a:cubicBezTo>
                    <a:pt x="2678" y="39"/>
                    <a:pt x="2592" y="0"/>
                    <a:pt x="2501" y="0"/>
                  </a:cubicBezTo>
                  <a:cubicBezTo>
                    <a:pt x="2410" y="0"/>
                    <a:pt x="2316" y="39"/>
                    <a:pt x="2237" y="118"/>
                  </a:cubicBezTo>
                  <a:cubicBezTo>
                    <a:pt x="2048" y="307"/>
                    <a:pt x="1733" y="433"/>
                    <a:pt x="1449" y="433"/>
                  </a:cubicBezTo>
                  <a:cubicBezTo>
                    <a:pt x="1134" y="433"/>
                    <a:pt x="851" y="307"/>
                    <a:pt x="662" y="118"/>
                  </a:cubicBezTo>
                  <a:cubicBezTo>
                    <a:pt x="583" y="39"/>
                    <a:pt x="481" y="0"/>
                    <a:pt x="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78"/>
            <p:cNvSpPr/>
            <p:nvPr/>
          </p:nvSpPr>
          <p:spPr>
            <a:xfrm>
              <a:off x="-53969325" y="28547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725" y="190"/>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78"/>
            <p:cNvSpPr/>
            <p:nvPr/>
          </p:nvSpPr>
          <p:spPr>
            <a:xfrm>
              <a:off x="-53894500" y="2854725"/>
              <a:ext cx="18125" cy="18150"/>
            </a:xfrm>
            <a:custGeom>
              <a:avLst/>
              <a:gdLst/>
              <a:ahLst/>
              <a:cxnLst/>
              <a:rect l="l" t="t" r="r" b="b"/>
              <a:pathLst>
                <a:path w="725" h="726" extrusionOk="0">
                  <a:moveTo>
                    <a:pt x="379" y="1"/>
                  </a:moveTo>
                  <a:cubicBezTo>
                    <a:pt x="158" y="1"/>
                    <a:pt x="1" y="190"/>
                    <a:pt x="1" y="379"/>
                  </a:cubicBezTo>
                  <a:cubicBezTo>
                    <a:pt x="1" y="568"/>
                    <a:pt x="158" y="725"/>
                    <a:pt x="379" y="725"/>
                  </a:cubicBezTo>
                  <a:cubicBezTo>
                    <a:pt x="568" y="725"/>
                    <a:pt x="725" y="568"/>
                    <a:pt x="725" y="379"/>
                  </a:cubicBezTo>
                  <a:cubicBezTo>
                    <a:pt x="725" y="190"/>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78"/>
            <p:cNvSpPr/>
            <p:nvPr/>
          </p:nvSpPr>
          <p:spPr>
            <a:xfrm>
              <a:off x="-54061475" y="2685450"/>
              <a:ext cx="279625" cy="318175"/>
            </a:xfrm>
            <a:custGeom>
              <a:avLst/>
              <a:gdLst/>
              <a:ahLst/>
              <a:cxnLst/>
              <a:rect l="l" t="t" r="r" b="b"/>
              <a:pathLst>
                <a:path w="11185" h="12727" extrusionOk="0">
                  <a:moveTo>
                    <a:pt x="4096" y="1699"/>
                  </a:moveTo>
                  <a:cubicBezTo>
                    <a:pt x="4348" y="1699"/>
                    <a:pt x="4537" y="1762"/>
                    <a:pt x="4726" y="1794"/>
                  </a:cubicBezTo>
                  <a:cubicBezTo>
                    <a:pt x="4254" y="2235"/>
                    <a:pt x="3970" y="2897"/>
                    <a:pt x="3844" y="3527"/>
                  </a:cubicBezTo>
                  <a:cubicBezTo>
                    <a:pt x="3813" y="3716"/>
                    <a:pt x="3970" y="3905"/>
                    <a:pt x="4159" y="3968"/>
                  </a:cubicBezTo>
                  <a:cubicBezTo>
                    <a:pt x="4178" y="3971"/>
                    <a:pt x="4197" y="3972"/>
                    <a:pt x="4216" y="3972"/>
                  </a:cubicBezTo>
                  <a:cubicBezTo>
                    <a:pt x="4411" y="3972"/>
                    <a:pt x="4572" y="3825"/>
                    <a:pt x="4600" y="3653"/>
                  </a:cubicBezTo>
                  <a:cubicBezTo>
                    <a:pt x="4695" y="3117"/>
                    <a:pt x="4915" y="2645"/>
                    <a:pt x="5199" y="2330"/>
                  </a:cubicBezTo>
                  <a:cubicBezTo>
                    <a:pt x="5335" y="2194"/>
                    <a:pt x="5588" y="1964"/>
                    <a:pt x="5877" y="1964"/>
                  </a:cubicBezTo>
                  <a:cubicBezTo>
                    <a:pt x="5923" y="1964"/>
                    <a:pt x="5970" y="1970"/>
                    <a:pt x="6018" y="1983"/>
                  </a:cubicBezTo>
                  <a:cubicBezTo>
                    <a:pt x="6365" y="2046"/>
                    <a:pt x="6585" y="2361"/>
                    <a:pt x="6648" y="2613"/>
                  </a:cubicBezTo>
                  <a:cubicBezTo>
                    <a:pt x="6806" y="2991"/>
                    <a:pt x="6900" y="3527"/>
                    <a:pt x="6774" y="4031"/>
                  </a:cubicBezTo>
                  <a:cubicBezTo>
                    <a:pt x="6743" y="4251"/>
                    <a:pt x="6900" y="4472"/>
                    <a:pt x="7121" y="4472"/>
                  </a:cubicBezTo>
                  <a:cubicBezTo>
                    <a:pt x="7310" y="4472"/>
                    <a:pt x="7467" y="4346"/>
                    <a:pt x="7467" y="4157"/>
                  </a:cubicBezTo>
                  <a:cubicBezTo>
                    <a:pt x="7593" y="3527"/>
                    <a:pt x="7562" y="2802"/>
                    <a:pt x="7247" y="2204"/>
                  </a:cubicBezTo>
                  <a:lnTo>
                    <a:pt x="7247" y="2204"/>
                  </a:lnTo>
                  <a:lnTo>
                    <a:pt x="7404" y="2267"/>
                  </a:lnTo>
                  <a:cubicBezTo>
                    <a:pt x="8822" y="2487"/>
                    <a:pt x="9767" y="3873"/>
                    <a:pt x="9515" y="5291"/>
                  </a:cubicBezTo>
                  <a:cubicBezTo>
                    <a:pt x="9486" y="5464"/>
                    <a:pt x="9326" y="5610"/>
                    <a:pt x="9130" y="5610"/>
                  </a:cubicBezTo>
                  <a:cubicBezTo>
                    <a:pt x="9112" y="5610"/>
                    <a:pt x="9093" y="5609"/>
                    <a:pt x="9074" y="5606"/>
                  </a:cubicBezTo>
                  <a:lnTo>
                    <a:pt x="1733" y="4314"/>
                  </a:lnTo>
                  <a:cubicBezTo>
                    <a:pt x="1639" y="4283"/>
                    <a:pt x="1481" y="4062"/>
                    <a:pt x="1513" y="3873"/>
                  </a:cubicBezTo>
                  <a:cubicBezTo>
                    <a:pt x="1765" y="2613"/>
                    <a:pt x="2868" y="1699"/>
                    <a:pt x="4096" y="1699"/>
                  </a:cubicBezTo>
                  <a:close/>
                  <a:moveTo>
                    <a:pt x="1450" y="6740"/>
                  </a:moveTo>
                  <a:lnTo>
                    <a:pt x="1450" y="8252"/>
                  </a:lnTo>
                  <a:cubicBezTo>
                    <a:pt x="1009" y="8252"/>
                    <a:pt x="694" y="7937"/>
                    <a:pt x="694" y="7496"/>
                  </a:cubicBezTo>
                  <a:cubicBezTo>
                    <a:pt x="694" y="7118"/>
                    <a:pt x="1040" y="6740"/>
                    <a:pt x="1450" y="6740"/>
                  </a:cubicBezTo>
                  <a:close/>
                  <a:moveTo>
                    <a:pt x="9641" y="6740"/>
                  </a:moveTo>
                  <a:cubicBezTo>
                    <a:pt x="10019" y="6740"/>
                    <a:pt x="10397" y="7118"/>
                    <a:pt x="10397" y="7496"/>
                  </a:cubicBezTo>
                  <a:cubicBezTo>
                    <a:pt x="10397" y="7937"/>
                    <a:pt x="10082" y="8252"/>
                    <a:pt x="9641" y="8252"/>
                  </a:cubicBezTo>
                  <a:lnTo>
                    <a:pt x="9641" y="6740"/>
                  </a:lnTo>
                  <a:close/>
                  <a:moveTo>
                    <a:pt x="2206" y="5102"/>
                  </a:moveTo>
                  <a:lnTo>
                    <a:pt x="8916" y="6268"/>
                  </a:lnTo>
                  <a:lnTo>
                    <a:pt x="8916" y="8599"/>
                  </a:lnTo>
                  <a:cubicBezTo>
                    <a:pt x="8885" y="10489"/>
                    <a:pt x="7404" y="12033"/>
                    <a:pt x="5545" y="12033"/>
                  </a:cubicBezTo>
                  <a:cubicBezTo>
                    <a:pt x="3687" y="12033"/>
                    <a:pt x="2206" y="10489"/>
                    <a:pt x="2206" y="8599"/>
                  </a:cubicBezTo>
                  <a:lnTo>
                    <a:pt x="2206" y="5102"/>
                  </a:lnTo>
                  <a:close/>
                  <a:moveTo>
                    <a:pt x="7575" y="1"/>
                  </a:moveTo>
                  <a:cubicBezTo>
                    <a:pt x="6800" y="1"/>
                    <a:pt x="6137" y="473"/>
                    <a:pt x="5861" y="1164"/>
                  </a:cubicBezTo>
                  <a:lnTo>
                    <a:pt x="4726" y="975"/>
                  </a:lnTo>
                  <a:cubicBezTo>
                    <a:pt x="4530" y="941"/>
                    <a:pt x="4334" y="925"/>
                    <a:pt x="4141" y="925"/>
                  </a:cubicBezTo>
                  <a:cubicBezTo>
                    <a:pt x="2536" y="925"/>
                    <a:pt x="1101" y="2053"/>
                    <a:pt x="820" y="3684"/>
                  </a:cubicBezTo>
                  <a:cubicBezTo>
                    <a:pt x="757" y="4188"/>
                    <a:pt x="1009" y="4692"/>
                    <a:pt x="1481" y="4913"/>
                  </a:cubicBezTo>
                  <a:lnTo>
                    <a:pt x="1481" y="5953"/>
                  </a:lnTo>
                  <a:cubicBezTo>
                    <a:pt x="662" y="5953"/>
                    <a:pt x="1" y="6614"/>
                    <a:pt x="1" y="7465"/>
                  </a:cubicBezTo>
                  <a:cubicBezTo>
                    <a:pt x="1" y="8284"/>
                    <a:pt x="662" y="8946"/>
                    <a:pt x="1481" y="8946"/>
                  </a:cubicBezTo>
                  <a:cubicBezTo>
                    <a:pt x="1702" y="11056"/>
                    <a:pt x="3403" y="12726"/>
                    <a:pt x="5577" y="12726"/>
                  </a:cubicBezTo>
                  <a:cubicBezTo>
                    <a:pt x="7751" y="12726"/>
                    <a:pt x="9484" y="11056"/>
                    <a:pt x="9673" y="8946"/>
                  </a:cubicBezTo>
                  <a:cubicBezTo>
                    <a:pt x="10492" y="8946"/>
                    <a:pt x="11185" y="8284"/>
                    <a:pt x="11185" y="7465"/>
                  </a:cubicBezTo>
                  <a:cubicBezTo>
                    <a:pt x="11122" y="6803"/>
                    <a:pt x="10649" y="6205"/>
                    <a:pt x="9988" y="6047"/>
                  </a:cubicBezTo>
                  <a:cubicBezTo>
                    <a:pt x="10177" y="5890"/>
                    <a:pt x="10303" y="5638"/>
                    <a:pt x="10334" y="5417"/>
                  </a:cubicBezTo>
                  <a:cubicBezTo>
                    <a:pt x="10649" y="3590"/>
                    <a:pt x="9452" y="1825"/>
                    <a:pt x="7625" y="1510"/>
                  </a:cubicBezTo>
                  <a:lnTo>
                    <a:pt x="6617" y="1321"/>
                  </a:lnTo>
                  <a:cubicBezTo>
                    <a:pt x="6812" y="958"/>
                    <a:pt x="7206" y="744"/>
                    <a:pt x="7622" y="744"/>
                  </a:cubicBezTo>
                  <a:cubicBezTo>
                    <a:pt x="7675" y="744"/>
                    <a:pt x="7729" y="747"/>
                    <a:pt x="7782" y="754"/>
                  </a:cubicBezTo>
                  <a:cubicBezTo>
                    <a:pt x="7811" y="764"/>
                    <a:pt x="7840" y="768"/>
                    <a:pt x="7869" y="768"/>
                  </a:cubicBezTo>
                  <a:cubicBezTo>
                    <a:pt x="8034" y="768"/>
                    <a:pt x="8197" y="627"/>
                    <a:pt x="8223" y="439"/>
                  </a:cubicBezTo>
                  <a:cubicBezTo>
                    <a:pt x="8255" y="250"/>
                    <a:pt x="8097" y="61"/>
                    <a:pt x="7908" y="30"/>
                  </a:cubicBezTo>
                  <a:cubicBezTo>
                    <a:pt x="7796" y="10"/>
                    <a:pt x="7684" y="1"/>
                    <a:pt x="75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78"/>
          <p:cNvGrpSpPr/>
          <p:nvPr/>
        </p:nvGrpSpPr>
        <p:grpSpPr>
          <a:xfrm>
            <a:off x="8029690" y="2921780"/>
            <a:ext cx="275278" cy="361969"/>
            <a:chOff x="-52074300" y="1911950"/>
            <a:chExt cx="242600" cy="319000"/>
          </a:xfrm>
        </p:grpSpPr>
        <p:sp>
          <p:nvSpPr>
            <p:cNvPr id="10099" name="Google Shape;10099;p78"/>
            <p:cNvSpPr/>
            <p:nvPr/>
          </p:nvSpPr>
          <p:spPr>
            <a:xfrm>
              <a:off x="-51989225" y="2125600"/>
              <a:ext cx="72475" cy="29750"/>
            </a:xfrm>
            <a:custGeom>
              <a:avLst/>
              <a:gdLst/>
              <a:ahLst/>
              <a:cxnLst/>
              <a:rect l="l" t="t" r="r" b="b"/>
              <a:pathLst>
                <a:path w="2899" h="1190" extrusionOk="0">
                  <a:moveTo>
                    <a:pt x="398" y="0"/>
                  </a:moveTo>
                  <a:cubicBezTo>
                    <a:pt x="307" y="0"/>
                    <a:pt x="221" y="40"/>
                    <a:pt x="158" y="118"/>
                  </a:cubicBezTo>
                  <a:cubicBezTo>
                    <a:pt x="0" y="276"/>
                    <a:pt x="0" y="528"/>
                    <a:pt x="158" y="622"/>
                  </a:cubicBezTo>
                  <a:cubicBezTo>
                    <a:pt x="504" y="1000"/>
                    <a:pt x="977" y="1189"/>
                    <a:pt x="1449" y="1189"/>
                  </a:cubicBezTo>
                  <a:cubicBezTo>
                    <a:pt x="1922" y="1189"/>
                    <a:pt x="2426" y="1000"/>
                    <a:pt x="2741" y="622"/>
                  </a:cubicBezTo>
                  <a:cubicBezTo>
                    <a:pt x="2899" y="465"/>
                    <a:pt x="2899" y="244"/>
                    <a:pt x="2741" y="118"/>
                  </a:cubicBezTo>
                  <a:cubicBezTo>
                    <a:pt x="2662" y="40"/>
                    <a:pt x="2568" y="0"/>
                    <a:pt x="2477" y="0"/>
                  </a:cubicBezTo>
                  <a:cubicBezTo>
                    <a:pt x="2387" y="0"/>
                    <a:pt x="2300" y="40"/>
                    <a:pt x="2237" y="118"/>
                  </a:cubicBezTo>
                  <a:cubicBezTo>
                    <a:pt x="2048" y="307"/>
                    <a:pt x="1733" y="433"/>
                    <a:pt x="1449" y="433"/>
                  </a:cubicBezTo>
                  <a:cubicBezTo>
                    <a:pt x="1134" y="433"/>
                    <a:pt x="851" y="307"/>
                    <a:pt x="662" y="118"/>
                  </a:cubicBezTo>
                  <a:cubicBezTo>
                    <a:pt x="583" y="40"/>
                    <a:pt x="488"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78"/>
            <p:cNvSpPr/>
            <p:nvPr/>
          </p:nvSpPr>
          <p:spPr>
            <a:xfrm>
              <a:off x="-51998675" y="2062375"/>
              <a:ext cx="17325" cy="18150"/>
            </a:xfrm>
            <a:custGeom>
              <a:avLst/>
              <a:gdLst/>
              <a:ahLst/>
              <a:cxnLst/>
              <a:rect l="l" t="t" r="r" b="b"/>
              <a:pathLst>
                <a:path w="693" h="726" extrusionOk="0">
                  <a:moveTo>
                    <a:pt x="347" y="1"/>
                  </a:moveTo>
                  <a:cubicBezTo>
                    <a:pt x="158" y="1"/>
                    <a:pt x="0" y="158"/>
                    <a:pt x="0" y="347"/>
                  </a:cubicBezTo>
                  <a:cubicBezTo>
                    <a:pt x="0" y="568"/>
                    <a:pt x="158" y="726"/>
                    <a:pt x="347" y="726"/>
                  </a:cubicBezTo>
                  <a:cubicBezTo>
                    <a:pt x="536" y="726"/>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78"/>
            <p:cNvSpPr/>
            <p:nvPr/>
          </p:nvSpPr>
          <p:spPr>
            <a:xfrm>
              <a:off x="-51925450" y="2062375"/>
              <a:ext cx="18150" cy="18150"/>
            </a:xfrm>
            <a:custGeom>
              <a:avLst/>
              <a:gdLst/>
              <a:ahLst/>
              <a:cxnLst/>
              <a:rect l="l" t="t" r="r" b="b"/>
              <a:pathLst>
                <a:path w="726" h="726" extrusionOk="0">
                  <a:moveTo>
                    <a:pt x="379" y="1"/>
                  </a:moveTo>
                  <a:cubicBezTo>
                    <a:pt x="158" y="1"/>
                    <a:pt x="1" y="158"/>
                    <a:pt x="1" y="347"/>
                  </a:cubicBezTo>
                  <a:cubicBezTo>
                    <a:pt x="1" y="568"/>
                    <a:pt x="158" y="726"/>
                    <a:pt x="379" y="726"/>
                  </a:cubicBezTo>
                  <a:cubicBezTo>
                    <a:pt x="568" y="726"/>
                    <a:pt x="726" y="568"/>
                    <a:pt x="726" y="347"/>
                  </a:cubicBezTo>
                  <a:cubicBezTo>
                    <a:pt x="726"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2" name="Google Shape;10102;p78"/>
            <p:cNvSpPr/>
            <p:nvPr/>
          </p:nvSpPr>
          <p:spPr>
            <a:xfrm>
              <a:off x="-52074300" y="1911950"/>
              <a:ext cx="242600" cy="319000"/>
            </a:xfrm>
            <a:custGeom>
              <a:avLst/>
              <a:gdLst/>
              <a:ahLst/>
              <a:cxnLst/>
              <a:rect l="l" t="t" r="r" b="b"/>
              <a:pathLst>
                <a:path w="9704" h="12760" extrusionOk="0">
                  <a:moveTo>
                    <a:pt x="6743" y="694"/>
                  </a:moveTo>
                  <a:cubicBezTo>
                    <a:pt x="7940" y="757"/>
                    <a:pt x="8948" y="1733"/>
                    <a:pt x="8948" y="2993"/>
                  </a:cubicBezTo>
                  <a:lnTo>
                    <a:pt x="8948" y="5293"/>
                  </a:lnTo>
                  <a:lnTo>
                    <a:pt x="8601" y="5293"/>
                  </a:lnTo>
                  <a:cubicBezTo>
                    <a:pt x="6743" y="5293"/>
                    <a:pt x="5262" y="3750"/>
                    <a:pt x="5262" y="1859"/>
                  </a:cubicBezTo>
                  <a:lnTo>
                    <a:pt x="5262" y="1292"/>
                  </a:lnTo>
                  <a:cubicBezTo>
                    <a:pt x="5640" y="946"/>
                    <a:pt x="6207" y="694"/>
                    <a:pt x="6743" y="694"/>
                  </a:cubicBezTo>
                  <a:close/>
                  <a:moveTo>
                    <a:pt x="2962" y="757"/>
                  </a:moveTo>
                  <a:cubicBezTo>
                    <a:pt x="3529" y="757"/>
                    <a:pt x="4033" y="946"/>
                    <a:pt x="4474" y="1355"/>
                  </a:cubicBezTo>
                  <a:lnTo>
                    <a:pt x="4474" y="1891"/>
                  </a:lnTo>
                  <a:cubicBezTo>
                    <a:pt x="4474" y="3781"/>
                    <a:pt x="2962" y="5325"/>
                    <a:pt x="1103" y="5325"/>
                  </a:cubicBezTo>
                  <a:lnTo>
                    <a:pt x="757" y="5325"/>
                  </a:lnTo>
                  <a:lnTo>
                    <a:pt x="757" y="3025"/>
                  </a:lnTo>
                  <a:cubicBezTo>
                    <a:pt x="725" y="1733"/>
                    <a:pt x="1733" y="757"/>
                    <a:pt x="2962" y="757"/>
                  </a:cubicBezTo>
                  <a:close/>
                  <a:moveTo>
                    <a:pt x="1103" y="6018"/>
                  </a:moveTo>
                  <a:cubicBezTo>
                    <a:pt x="1324" y="6018"/>
                    <a:pt x="1481" y="6175"/>
                    <a:pt x="1481" y="6396"/>
                  </a:cubicBezTo>
                  <a:cubicBezTo>
                    <a:pt x="1481" y="6585"/>
                    <a:pt x="1324" y="6743"/>
                    <a:pt x="1103" y="6743"/>
                  </a:cubicBezTo>
                  <a:cubicBezTo>
                    <a:pt x="914" y="6743"/>
                    <a:pt x="757" y="6585"/>
                    <a:pt x="757" y="6396"/>
                  </a:cubicBezTo>
                  <a:cubicBezTo>
                    <a:pt x="757" y="6175"/>
                    <a:pt x="914" y="6018"/>
                    <a:pt x="1103" y="6018"/>
                  </a:cubicBezTo>
                  <a:close/>
                  <a:moveTo>
                    <a:pt x="8570" y="6018"/>
                  </a:moveTo>
                  <a:cubicBezTo>
                    <a:pt x="8759" y="6018"/>
                    <a:pt x="8916" y="6175"/>
                    <a:pt x="8916" y="6396"/>
                  </a:cubicBezTo>
                  <a:cubicBezTo>
                    <a:pt x="8916" y="6585"/>
                    <a:pt x="8759" y="6743"/>
                    <a:pt x="8570" y="6743"/>
                  </a:cubicBezTo>
                  <a:cubicBezTo>
                    <a:pt x="8349" y="6743"/>
                    <a:pt x="8192" y="6585"/>
                    <a:pt x="8192" y="6396"/>
                  </a:cubicBezTo>
                  <a:cubicBezTo>
                    <a:pt x="8192" y="6175"/>
                    <a:pt x="8349" y="6018"/>
                    <a:pt x="8570" y="6018"/>
                  </a:cubicBezTo>
                  <a:close/>
                  <a:moveTo>
                    <a:pt x="1072" y="7530"/>
                  </a:moveTo>
                  <a:cubicBezTo>
                    <a:pt x="1261" y="7530"/>
                    <a:pt x="1418" y="7688"/>
                    <a:pt x="1418" y="7877"/>
                  </a:cubicBezTo>
                  <a:cubicBezTo>
                    <a:pt x="1418" y="8066"/>
                    <a:pt x="1261" y="8223"/>
                    <a:pt x="1072" y="8223"/>
                  </a:cubicBezTo>
                  <a:cubicBezTo>
                    <a:pt x="914" y="8223"/>
                    <a:pt x="725" y="8066"/>
                    <a:pt x="725" y="7877"/>
                  </a:cubicBezTo>
                  <a:cubicBezTo>
                    <a:pt x="725" y="7688"/>
                    <a:pt x="883" y="7530"/>
                    <a:pt x="1072" y="7530"/>
                  </a:cubicBezTo>
                  <a:close/>
                  <a:moveTo>
                    <a:pt x="8601" y="7530"/>
                  </a:moveTo>
                  <a:cubicBezTo>
                    <a:pt x="8790" y="7530"/>
                    <a:pt x="8948" y="7688"/>
                    <a:pt x="8948" y="7877"/>
                  </a:cubicBezTo>
                  <a:cubicBezTo>
                    <a:pt x="8948" y="8066"/>
                    <a:pt x="8790" y="8223"/>
                    <a:pt x="8601" y="8223"/>
                  </a:cubicBezTo>
                  <a:cubicBezTo>
                    <a:pt x="8412" y="8223"/>
                    <a:pt x="8255" y="8066"/>
                    <a:pt x="8255" y="7877"/>
                  </a:cubicBezTo>
                  <a:cubicBezTo>
                    <a:pt x="8255" y="7688"/>
                    <a:pt x="8412" y="7530"/>
                    <a:pt x="8601" y="7530"/>
                  </a:cubicBezTo>
                  <a:close/>
                  <a:moveTo>
                    <a:pt x="1072" y="9011"/>
                  </a:moveTo>
                  <a:cubicBezTo>
                    <a:pt x="1261" y="9011"/>
                    <a:pt x="1418" y="9168"/>
                    <a:pt x="1418" y="9389"/>
                  </a:cubicBezTo>
                  <a:cubicBezTo>
                    <a:pt x="1418" y="9578"/>
                    <a:pt x="1261" y="9735"/>
                    <a:pt x="1072" y="9735"/>
                  </a:cubicBezTo>
                  <a:cubicBezTo>
                    <a:pt x="914" y="9735"/>
                    <a:pt x="725" y="9578"/>
                    <a:pt x="725" y="9389"/>
                  </a:cubicBezTo>
                  <a:cubicBezTo>
                    <a:pt x="725" y="9168"/>
                    <a:pt x="883" y="9011"/>
                    <a:pt x="1072" y="9011"/>
                  </a:cubicBezTo>
                  <a:close/>
                  <a:moveTo>
                    <a:pt x="8601" y="9011"/>
                  </a:moveTo>
                  <a:cubicBezTo>
                    <a:pt x="8790" y="9011"/>
                    <a:pt x="8948" y="9168"/>
                    <a:pt x="8948" y="9389"/>
                  </a:cubicBezTo>
                  <a:cubicBezTo>
                    <a:pt x="8948" y="9578"/>
                    <a:pt x="8790" y="9735"/>
                    <a:pt x="8601" y="9735"/>
                  </a:cubicBezTo>
                  <a:cubicBezTo>
                    <a:pt x="8412" y="9735"/>
                    <a:pt x="8255" y="9578"/>
                    <a:pt x="8255" y="9389"/>
                  </a:cubicBezTo>
                  <a:cubicBezTo>
                    <a:pt x="8255" y="9168"/>
                    <a:pt x="8412" y="9011"/>
                    <a:pt x="8601" y="9011"/>
                  </a:cubicBezTo>
                  <a:close/>
                  <a:moveTo>
                    <a:pt x="4852" y="3592"/>
                  </a:moveTo>
                  <a:cubicBezTo>
                    <a:pt x="5041" y="4002"/>
                    <a:pt x="5325" y="4411"/>
                    <a:pt x="5703" y="4758"/>
                  </a:cubicBezTo>
                  <a:cubicBezTo>
                    <a:pt x="6239" y="5325"/>
                    <a:pt x="6869" y="5671"/>
                    <a:pt x="7593" y="5860"/>
                  </a:cubicBezTo>
                  <a:cubicBezTo>
                    <a:pt x="7499" y="6018"/>
                    <a:pt x="7467" y="6175"/>
                    <a:pt x="7467" y="6364"/>
                  </a:cubicBezTo>
                  <a:cubicBezTo>
                    <a:pt x="7467" y="6648"/>
                    <a:pt x="7593" y="6932"/>
                    <a:pt x="7751" y="7121"/>
                  </a:cubicBezTo>
                  <a:cubicBezTo>
                    <a:pt x="7530" y="7341"/>
                    <a:pt x="7467" y="7593"/>
                    <a:pt x="7467" y="7877"/>
                  </a:cubicBezTo>
                  <a:cubicBezTo>
                    <a:pt x="7467" y="8160"/>
                    <a:pt x="7593" y="8444"/>
                    <a:pt x="7751" y="8633"/>
                  </a:cubicBezTo>
                  <a:cubicBezTo>
                    <a:pt x="7530" y="8822"/>
                    <a:pt x="7467" y="9105"/>
                    <a:pt x="7467" y="9389"/>
                  </a:cubicBezTo>
                  <a:cubicBezTo>
                    <a:pt x="7467" y="9546"/>
                    <a:pt x="7499" y="9704"/>
                    <a:pt x="7593" y="9861"/>
                  </a:cubicBezTo>
                  <a:cubicBezTo>
                    <a:pt x="6932" y="10712"/>
                    <a:pt x="5923" y="11216"/>
                    <a:pt x="4852" y="11216"/>
                  </a:cubicBezTo>
                  <a:cubicBezTo>
                    <a:pt x="3750" y="11216"/>
                    <a:pt x="2773" y="10712"/>
                    <a:pt x="2143" y="9861"/>
                  </a:cubicBezTo>
                  <a:cubicBezTo>
                    <a:pt x="2206" y="9704"/>
                    <a:pt x="2269" y="9515"/>
                    <a:pt x="2269" y="9389"/>
                  </a:cubicBezTo>
                  <a:cubicBezTo>
                    <a:pt x="2269" y="9105"/>
                    <a:pt x="2143" y="8822"/>
                    <a:pt x="1985" y="8633"/>
                  </a:cubicBezTo>
                  <a:cubicBezTo>
                    <a:pt x="2174" y="8444"/>
                    <a:pt x="2269" y="8160"/>
                    <a:pt x="2269" y="7877"/>
                  </a:cubicBezTo>
                  <a:cubicBezTo>
                    <a:pt x="2269" y="7593"/>
                    <a:pt x="2143" y="7341"/>
                    <a:pt x="1985" y="7121"/>
                  </a:cubicBezTo>
                  <a:cubicBezTo>
                    <a:pt x="2174" y="6932"/>
                    <a:pt x="2269" y="6648"/>
                    <a:pt x="2269" y="6364"/>
                  </a:cubicBezTo>
                  <a:cubicBezTo>
                    <a:pt x="2269" y="6175"/>
                    <a:pt x="2206" y="6018"/>
                    <a:pt x="2143" y="5860"/>
                  </a:cubicBezTo>
                  <a:cubicBezTo>
                    <a:pt x="2836" y="5671"/>
                    <a:pt x="3529" y="5325"/>
                    <a:pt x="4033" y="4758"/>
                  </a:cubicBezTo>
                  <a:cubicBezTo>
                    <a:pt x="4380" y="4411"/>
                    <a:pt x="4663" y="4002"/>
                    <a:pt x="4852" y="3592"/>
                  </a:cubicBezTo>
                  <a:close/>
                  <a:moveTo>
                    <a:pt x="1103" y="10523"/>
                  </a:moveTo>
                  <a:cubicBezTo>
                    <a:pt x="1324" y="10523"/>
                    <a:pt x="1481" y="10681"/>
                    <a:pt x="1481" y="10870"/>
                  </a:cubicBezTo>
                  <a:cubicBezTo>
                    <a:pt x="1481" y="10996"/>
                    <a:pt x="1481" y="10996"/>
                    <a:pt x="1103" y="11626"/>
                  </a:cubicBezTo>
                  <a:cubicBezTo>
                    <a:pt x="757" y="10996"/>
                    <a:pt x="757" y="10996"/>
                    <a:pt x="757" y="10870"/>
                  </a:cubicBezTo>
                  <a:cubicBezTo>
                    <a:pt x="757" y="10681"/>
                    <a:pt x="914" y="10523"/>
                    <a:pt x="1103" y="10523"/>
                  </a:cubicBezTo>
                  <a:close/>
                  <a:moveTo>
                    <a:pt x="8570" y="10523"/>
                  </a:moveTo>
                  <a:cubicBezTo>
                    <a:pt x="8759" y="10523"/>
                    <a:pt x="8916" y="10681"/>
                    <a:pt x="8916" y="10870"/>
                  </a:cubicBezTo>
                  <a:cubicBezTo>
                    <a:pt x="8948" y="10996"/>
                    <a:pt x="8916" y="10996"/>
                    <a:pt x="8570" y="11626"/>
                  </a:cubicBezTo>
                  <a:cubicBezTo>
                    <a:pt x="8192" y="10996"/>
                    <a:pt x="8192" y="10996"/>
                    <a:pt x="8192" y="10870"/>
                  </a:cubicBezTo>
                  <a:cubicBezTo>
                    <a:pt x="8192" y="10681"/>
                    <a:pt x="8349" y="10523"/>
                    <a:pt x="8570" y="10523"/>
                  </a:cubicBezTo>
                  <a:close/>
                  <a:moveTo>
                    <a:pt x="3025" y="0"/>
                  </a:moveTo>
                  <a:cubicBezTo>
                    <a:pt x="1355" y="0"/>
                    <a:pt x="1" y="1355"/>
                    <a:pt x="1" y="2993"/>
                  </a:cubicBezTo>
                  <a:lnTo>
                    <a:pt x="1" y="6427"/>
                  </a:lnTo>
                  <a:cubicBezTo>
                    <a:pt x="1" y="6711"/>
                    <a:pt x="127" y="6963"/>
                    <a:pt x="284" y="7184"/>
                  </a:cubicBezTo>
                  <a:cubicBezTo>
                    <a:pt x="95" y="7373"/>
                    <a:pt x="1" y="7656"/>
                    <a:pt x="1" y="7908"/>
                  </a:cubicBezTo>
                  <a:cubicBezTo>
                    <a:pt x="1" y="8192"/>
                    <a:pt x="127" y="8475"/>
                    <a:pt x="284" y="8664"/>
                  </a:cubicBezTo>
                  <a:cubicBezTo>
                    <a:pt x="95" y="8853"/>
                    <a:pt x="1" y="9137"/>
                    <a:pt x="1" y="9420"/>
                  </a:cubicBezTo>
                  <a:cubicBezTo>
                    <a:pt x="1" y="9704"/>
                    <a:pt x="127" y="9956"/>
                    <a:pt x="284" y="10177"/>
                  </a:cubicBezTo>
                  <a:cubicBezTo>
                    <a:pt x="95" y="10366"/>
                    <a:pt x="1" y="10649"/>
                    <a:pt x="1" y="10901"/>
                  </a:cubicBezTo>
                  <a:cubicBezTo>
                    <a:pt x="1" y="11122"/>
                    <a:pt x="64" y="11311"/>
                    <a:pt x="127" y="11374"/>
                  </a:cubicBezTo>
                  <a:lnTo>
                    <a:pt x="788" y="12571"/>
                  </a:lnTo>
                  <a:cubicBezTo>
                    <a:pt x="883" y="12697"/>
                    <a:pt x="1009" y="12760"/>
                    <a:pt x="1103" y="12760"/>
                  </a:cubicBezTo>
                  <a:cubicBezTo>
                    <a:pt x="1229" y="12760"/>
                    <a:pt x="1387" y="12697"/>
                    <a:pt x="1450" y="12571"/>
                  </a:cubicBezTo>
                  <a:lnTo>
                    <a:pt x="2111" y="11437"/>
                  </a:lnTo>
                  <a:lnTo>
                    <a:pt x="2237" y="11059"/>
                  </a:lnTo>
                  <a:cubicBezTo>
                    <a:pt x="2930" y="11657"/>
                    <a:pt x="3876" y="12004"/>
                    <a:pt x="4852" y="12004"/>
                  </a:cubicBezTo>
                  <a:cubicBezTo>
                    <a:pt x="5829" y="12004"/>
                    <a:pt x="6743" y="11657"/>
                    <a:pt x="7499" y="11059"/>
                  </a:cubicBezTo>
                  <a:cubicBezTo>
                    <a:pt x="7499" y="11153"/>
                    <a:pt x="7530" y="11279"/>
                    <a:pt x="7562" y="11342"/>
                  </a:cubicBezTo>
                  <a:cubicBezTo>
                    <a:pt x="7562" y="11374"/>
                    <a:pt x="7530" y="11279"/>
                    <a:pt x="8286" y="12571"/>
                  </a:cubicBezTo>
                  <a:cubicBezTo>
                    <a:pt x="8349" y="12665"/>
                    <a:pt x="8475" y="12760"/>
                    <a:pt x="8601" y="12760"/>
                  </a:cubicBezTo>
                  <a:cubicBezTo>
                    <a:pt x="8727" y="12760"/>
                    <a:pt x="8885" y="12665"/>
                    <a:pt x="8916" y="12571"/>
                  </a:cubicBezTo>
                  <a:lnTo>
                    <a:pt x="9578" y="11405"/>
                  </a:lnTo>
                  <a:cubicBezTo>
                    <a:pt x="9673" y="11248"/>
                    <a:pt x="9704" y="11059"/>
                    <a:pt x="9704" y="10901"/>
                  </a:cubicBezTo>
                  <a:cubicBezTo>
                    <a:pt x="9704" y="10618"/>
                    <a:pt x="9578" y="10366"/>
                    <a:pt x="9421" y="10145"/>
                  </a:cubicBezTo>
                  <a:cubicBezTo>
                    <a:pt x="9641" y="9956"/>
                    <a:pt x="9704" y="9672"/>
                    <a:pt x="9704" y="9420"/>
                  </a:cubicBezTo>
                  <a:cubicBezTo>
                    <a:pt x="9704" y="9137"/>
                    <a:pt x="9578" y="8853"/>
                    <a:pt x="9421" y="8664"/>
                  </a:cubicBezTo>
                  <a:cubicBezTo>
                    <a:pt x="9641" y="8475"/>
                    <a:pt x="9704" y="8192"/>
                    <a:pt x="9704" y="7908"/>
                  </a:cubicBezTo>
                  <a:cubicBezTo>
                    <a:pt x="9704" y="7625"/>
                    <a:pt x="9578" y="7373"/>
                    <a:pt x="9421" y="7152"/>
                  </a:cubicBezTo>
                  <a:cubicBezTo>
                    <a:pt x="9641" y="6963"/>
                    <a:pt x="9704" y="6680"/>
                    <a:pt x="9704" y="6427"/>
                  </a:cubicBezTo>
                  <a:lnTo>
                    <a:pt x="9704" y="2993"/>
                  </a:lnTo>
                  <a:cubicBezTo>
                    <a:pt x="9704" y="1355"/>
                    <a:pt x="8349" y="0"/>
                    <a:pt x="6711" y="0"/>
                  </a:cubicBezTo>
                  <a:cubicBezTo>
                    <a:pt x="6049" y="0"/>
                    <a:pt x="5388" y="253"/>
                    <a:pt x="4852" y="662"/>
                  </a:cubicBezTo>
                  <a:cubicBezTo>
                    <a:pt x="4348" y="253"/>
                    <a:pt x="3687" y="0"/>
                    <a:pt x="30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3" name="Google Shape;10103;p78"/>
          <p:cNvGrpSpPr/>
          <p:nvPr/>
        </p:nvGrpSpPr>
        <p:grpSpPr>
          <a:xfrm>
            <a:off x="5287689" y="1533182"/>
            <a:ext cx="361998" cy="361090"/>
            <a:chOff x="-57578225" y="1904075"/>
            <a:chExt cx="319025" cy="318225"/>
          </a:xfrm>
        </p:grpSpPr>
        <p:sp>
          <p:nvSpPr>
            <p:cNvPr id="10104" name="Google Shape;10104;p78"/>
            <p:cNvSpPr/>
            <p:nvPr/>
          </p:nvSpPr>
          <p:spPr>
            <a:xfrm>
              <a:off x="-57578225" y="1904075"/>
              <a:ext cx="319025" cy="318225"/>
            </a:xfrm>
            <a:custGeom>
              <a:avLst/>
              <a:gdLst/>
              <a:ahLst/>
              <a:cxnLst/>
              <a:rect l="l" t="t" r="r" b="b"/>
              <a:pathLst>
                <a:path w="12761" h="12729" extrusionOk="0">
                  <a:moveTo>
                    <a:pt x="4601" y="1418"/>
                  </a:moveTo>
                  <a:cubicBezTo>
                    <a:pt x="4632" y="1702"/>
                    <a:pt x="4727" y="1922"/>
                    <a:pt x="4790" y="2206"/>
                  </a:cubicBezTo>
                  <a:cubicBezTo>
                    <a:pt x="3687" y="2962"/>
                    <a:pt x="2994" y="4254"/>
                    <a:pt x="2994" y="5640"/>
                  </a:cubicBezTo>
                  <a:lnTo>
                    <a:pt x="2994" y="5986"/>
                  </a:lnTo>
                  <a:cubicBezTo>
                    <a:pt x="2710" y="5986"/>
                    <a:pt x="2458" y="6081"/>
                    <a:pt x="2238" y="6175"/>
                  </a:cubicBezTo>
                  <a:lnTo>
                    <a:pt x="2238" y="5608"/>
                  </a:lnTo>
                  <a:cubicBezTo>
                    <a:pt x="2238" y="3876"/>
                    <a:pt x="3183" y="2300"/>
                    <a:pt x="4601" y="1418"/>
                  </a:cubicBezTo>
                  <a:close/>
                  <a:moveTo>
                    <a:pt x="7121" y="757"/>
                  </a:moveTo>
                  <a:cubicBezTo>
                    <a:pt x="9799" y="757"/>
                    <a:pt x="12004" y="2930"/>
                    <a:pt x="12004" y="5640"/>
                  </a:cubicBezTo>
                  <a:lnTo>
                    <a:pt x="12004" y="6238"/>
                  </a:lnTo>
                  <a:cubicBezTo>
                    <a:pt x="11752" y="6112"/>
                    <a:pt x="11532" y="6018"/>
                    <a:pt x="11248" y="6018"/>
                  </a:cubicBezTo>
                  <a:lnTo>
                    <a:pt x="10902" y="6018"/>
                  </a:lnTo>
                  <a:cubicBezTo>
                    <a:pt x="8098" y="6018"/>
                    <a:pt x="5703" y="3907"/>
                    <a:pt x="5325" y="1103"/>
                  </a:cubicBezTo>
                  <a:cubicBezTo>
                    <a:pt x="5861" y="883"/>
                    <a:pt x="6491" y="757"/>
                    <a:pt x="7121" y="757"/>
                  </a:cubicBezTo>
                  <a:close/>
                  <a:moveTo>
                    <a:pt x="2994" y="6742"/>
                  </a:moveTo>
                  <a:lnTo>
                    <a:pt x="2994" y="8223"/>
                  </a:lnTo>
                  <a:cubicBezTo>
                    <a:pt x="2616" y="8223"/>
                    <a:pt x="2238" y="7971"/>
                    <a:pt x="2238" y="7436"/>
                  </a:cubicBezTo>
                  <a:cubicBezTo>
                    <a:pt x="2269" y="7058"/>
                    <a:pt x="2584" y="6742"/>
                    <a:pt x="2994" y="6742"/>
                  </a:cubicBezTo>
                  <a:close/>
                  <a:moveTo>
                    <a:pt x="11248" y="6742"/>
                  </a:moveTo>
                  <a:cubicBezTo>
                    <a:pt x="11658" y="6742"/>
                    <a:pt x="12004" y="7058"/>
                    <a:pt x="12004" y="7499"/>
                  </a:cubicBezTo>
                  <a:cubicBezTo>
                    <a:pt x="12004" y="7908"/>
                    <a:pt x="11658" y="8223"/>
                    <a:pt x="11248" y="8223"/>
                  </a:cubicBezTo>
                  <a:lnTo>
                    <a:pt x="11248" y="6742"/>
                  </a:lnTo>
                  <a:close/>
                  <a:moveTo>
                    <a:pt x="1828" y="8444"/>
                  </a:moveTo>
                  <a:cubicBezTo>
                    <a:pt x="2112" y="8790"/>
                    <a:pt x="2553" y="8979"/>
                    <a:pt x="3025" y="8979"/>
                  </a:cubicBezTo>
                  <a:cubicBezTo>
                    <a:pt x="3088" y="9830"/>
                    <a:pt x="3466" y="10681"/>
                    <a:pt x="4034" y="11311"/>
                  </a:cubicBezTo>
                  <a:cubicBezTo>
                    <a:pt x="3656" y="11752"/>
                    <a:pt x="3183" y="11972"/>
                    <a:pt x="2616" y="11972"/>
                  </a:cubicBezTo>
                  <a:cubicBezTo>
                    <a:pt x="1608" y="11972"/>
                    <a:pt x="789" y="11153"/>
                    <a:pt x="789" y="10113"/>
                  </a:cubicBezTo>
                  <a:cubicBezTo>
                    <a:pt x="789" y="9420"/>
                    <a:pt x="1198" y="8759"/>
                    <a:pt x="1828" y="8444"/>
                  </a:cubicBezTo>
                  <a:close/>
                  <a:moveTo>
                    <a:pt x="5042" y="2962"/>
                  </a:moveTo>
                  <a:cubicBezTo>
                    <a:pt x="5987" y="5073"/>
                    <a:pt x="8066" y="6616"/>
                    <a:pt x="10461" y="6774"/>
                  </a:cubicBezTo>
                  <a:lnTo>
                    <a:pt x="10461" y="8664"/>
                  </a:lnTo>
                  <a:cubicBezTo>
                    <a:pt x="10492" y="10492"/>
                    <a:pt x="8980" y="11972"/>
                    <a:pt x="7121" y="11972"/>
                  </a:cubicBezTo>
                  <a:cubicBezTo>
                    <a:pt x="5262" y="11972"/>
                    <a:pt x="3719" y="10460"/>
                    <a:pt x="3719" y="8633"/>
                  </a:cubicBezTo>
                  <a:lnTo>
                    <a:pt x="3719" y="5640"/>
                  </a:lnTo>
                  <a:cubicBezTo>
                    <a:pt x="3719" y="4600"/>
                    <a:pt x="4254" y="3592"/>
                    <a:pt x="5042" y="2962"/>
                  </a:cubicBezTo>
                  <a:close/>
                  <a:moveTo>
                    <a:pt x="7121" y="0"/>
                  </a:moveTo>
                  <a:cubicBezTo>
                    <a:pt x="5577" y="0"/>
                    <a:pt x="4191" y="631"/>
                    <a:pt x="3151" y="1670"/>
                  </a:cubicBezTo>
                  <a:cubicBezTo>
                    <a:pt x="2080" y="2710"/>
                    <a:pt x="1482" y="4128"/>
                    <a:pt x="1482" y="5640"/>
                  </a:cubicBezTo>
                  <a:lnTo>
                    <a:pt x="1482" y="7751"/>
                  </a:lnTo>
                  <a:cubicBezTo>
                    <a:pt x="568" y="8192"/>
                    <a:pt x="1" y="9105"/>
                    <a:pt x="1" y="10113"/>
                  </a:cubicBezTo>
                  <a:cubicBezTo>
                    <a:pt x="1" y="11594"/>
                    <a:pt x="1167" y="12728"/>
                    <a:pt x="2584" y="12728"/>
                  </a:cubicBezTo>
                  <a:cubicBezTo>
                    <a:pt x="3340" y="12728"/>
                    <a:pt x="4034" y="12413"/>
                    <a:pt x="4569" y="11846"/>
                  </a:cubicBezTo>
                  <a:cubicBezTo>
                    <a:pt x="5262" y="12413"/>
                    <a:pt x="6176" y="12728"/>
                    <a:pt x="7121" y="12728"/>
                  </a:cubicBezTo>
                  <a:cubicBezTo>
                    <a:pt x="8224" y="12728"/>
                    <a:pt x="9232" y="12287"/>
                    <a:pt x="10020" y="11500"/>
                  </a:cubicBezTo>
                  <a:cubicBezTo>
                    <a:pt x="10744" y="10838"/>
                    <a:pt x="11122" y="9924"/>
                    <a:pt x="11217" y="8979"/>
                  </a:cubicBezTo>
                  <a:cubicBezTo>
                    <a:pt x="12036" y="8979"/>
                    <a:pt x="12697" y="8318"/>
                    <a:pt x="12697" y="7499"/>
                  </a:cubicBezTo>
                  <a:lnTo>
                    <a:pt x="12697" y="5640"/>
                  </a:lnTo>
                  <a:cubicBezTo>
                    <a:pt x="12760" y="4128"/>
                    <a:pt x="12162" y="2710"/>
                    <a:pt x="11091" y="1670"/>
                  </a:cubicBezTo>
                  <a:cubicBezTo>
                    <a:pt x="10020" y="599"/>
                    <a:pt x="8602" y="0"/>
                    <a:pt x="71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5" name="Google Shape;10105;p78"/>
            <p:cNvSpPr/>
            <p:nvPr/>
          </p:nvSpPr>
          <p:spPr>
            <a:xfrm>
              <a:off x="-57446675" y="2073400"/>
              <a:ext cx="18125" cy="18150"/>
            </a:xfrm>
            <a:custGeom>
              <a:avLst/>
              <a:gdLst/>
              <a:ahLst/>
              <a:cxnLst/>
              <a:rect l="l" t="t" r="r" b="b"/>
              <a:pathLst>
                <a:path w="725" h="726" extrusionOk="0">
                  <a:moveTo>
                    <a:pt x="347" y="1"/>
                  </a:moveTo>
                  <a:cubicBezTo>
                    <a:pt x="158" y="1"/>
                    <a:pt x="0" y="158"/>
                    <a:pt x="0" y="348"/>
                  </a:cubicBezTo>
                  <a:cubicBezTo>
                    <a:pt x="0" y="568"/>
                    <a:pt x="158" y="726"/>
                    <a:pt x="347" y="726"/>
                  </a:cubicBezTo>
                  <a:cubicBezTo>
                    <a:pt x="567" y="726"/>
                    <a:pt x="725" y="568"/>
                    <a:pt x="725" y="348"/>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6" name="Google Shape;10106;p78"/>
            <p:cNvSpPr/>
            <p:nvPr/>
          </p:nvSpPr>
          <p:spPr>
            <a:xfrm>
              <a:off x="-57371850" y="2073400"/>
              <a:ext cx="18125" cy="18150"/>
            </a:xfrm>
            <a:custGeom>
              <a:avLst/>
              <a:gdLst/>
              <a:ahLst/>
              <a:cxnLst/>
              <a:rect l="l" t="t" r="r" b="b"/>
              <a:pathLst>
                <a:path w="725" h="726" extrusionOk="0">
                  <a:moveTo>
                    <a:pt x="347" y="1"/>
                  </a:moveTo>
                  <a:cubicBezTo>
                    <a:pt x="158" y="1"/>
                    <a:pt x="0" y="158"/>
                    <a:pt x="0" y="348"/>
                  </a:cubicBezTo>
                  <a:cubicBezTo>
                    <a:pt x="0" y="537"/>
                    <a:pt x="158" y="726"/>
                    <a:pt x="347" y="726"/>
                  </a:cubicBezTo>
                  <a:cubicBezTo>
                    <a:pt x="567" y="726"/>
                    <a:pt x="725" y="537"/>
                    <a:pt x="725" y="348"/>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7" name="Google Shape;10107;p78"/>
            <p:cNvSpPr/>
            <p:nvPr/>
          </p:nvSpPr>
          <p:spPr>
            <a:xfrm>
              <a:off x="-57436450" y="2136625"/>
              <a:ext cx="72500" cy="29750"/>
            </a:xfrm>
            <a:custGeom>
              <a:avLst/>
              <a:gdLst/>
              <a:ahLst/>
              <a:cxnLst/>
              <a:rect l="l" t="t" r="r" b="b"/>
              <a:pathLst>
                <a:path w="2900" h="1190" extrusionOk="0">
                  <a:moveTo>
                    <a:pt x="387" y="0"/>
                  </a:moveTo>
                  <a:cubicBezTo>
                    <a:pt x="292" y="0"/>
                    <a:pt x="206" y="40"/>
                    <a:pt x="158" y="118"/>
                  </a:cubicBezTo>
                  <a:cubicBezTo>
                    <a:pt x="1" y="276"/>
                    <a:pt x="1" y="496"/>
                    <a:pt x="158" y="622"/>
                  </a:cubicBezTo>
                  <a:cubicBezTo>
                    <a:pt x="505" y="969"/>
                    <a:pt x="977" y="1190"/>
                    <a:pt x="1450" y="1190"/>
                  </a:cubicBezTo>
                  <a:cubicBezTo>
                    <a:pt x="1923" y="1190"/>
                    <a:pt x="2427" y="969"/>
                    <a:pt x="2742" y="622"/>
                  </a:cubicBezTo>
                  <a:cubicBezTo>
                    <a:pt x="2899" y="465"/>
                    <a:pt x="2899" y="244"/>
                    <a:pt x="2742" y="118"/>
                  </a:cubicBezTo>
                  <a:cubicBezTo>
                    <a:pt x="2679" y="40"/>
                    <a:pt x="2592" y="0"/>
                    <a:pt x="2502" y="0"/>
                  </a:cubicBezTo>
                  <a:cubicBezTo>
                    <a:pt x="2411" y="0"/>
                    <a:pt x="2316" y="40"/>
                    <a:pt x="2238" y="118"/>
                  </a:cubicBezTo>
                  <a:cubicBezTo>
                    <a:pt x="2049" y="307"/>
                    <a:pt x="1734" y="433"/>
                    <a:pt x="1450" y="433"/>
                  </a:cubicBezTo>
                  <a:cubicBezTo>
                    <a:pt x="1167" y="433"/>
                    <a:pt x="851" y="307"/>
                    <a:pt x="662" y="118"/>
                  </a:cubicBezTo>
                  <a:cubicBezTo>
                    <a:pt x="584" y="40"/>
                    <a:pt x="481"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8" name="Google Shape;10108;p78"/>
          <p:cNvGrpSpPr/>
          <p:nvPr/>
        </p:nvGrpSpPr>
        <p:grpSpPr>
          <a:xfrm>
            <a:off x="5310042" y="2006443"/>
            <a:ext cx="317290" cy="361090"/>
            <a:chOff x="-57558525" y="2294725"/>
            <a:chExt cx="279625" cy="318225"/>
          </a:xfrm>
        </p:grpSpPr>
        <p:sp>
          <p:nvSpPr>
            <p:cNvPr id="10109" name="Google Shape;10109;p78"/>
            <p:cNvSpPr/>
            <p:nvPr/>
          </p:nvSpPr>
          <p:spPr>
            <a:xfrm>
              <a:off x="-57455350" y="2498925"/>
              <a:ext cx="72475" cy="29750"/>
            </a:xfrm>
            <a:custGeom>
              <a:avLst/>
              <a:gdLst/>
              <a:ahLst/>
              <a:cxnLst/>
              <a:rect l="l" t="t" r="r" b="b"/>
              <a:pathLst>
                <a:path w="2899" h="1190" extrusionOk="0">
                  <a:moveTo>
                    <a:pt x="398" y="0"/>
                  </a:moveTo>
                  <a:cubicBezTo>
                    <a:pt x="308" y="0"/>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0"/>
                    <a:pt x="2513" y="0"/>
                  </a:cubicBezTo>
                  <a:cubicBezTo>
                    <a:pt x="2419" y="0"/>
                    <a:pt x="2316" y="40"/>
                    <a:pt x="2238" y="119"/>
                  </a:cubicBezTo>
                  <a:cubicBezTo>
                    <a:pt x="2049" y="308"/>
                    <a:pt x="1733" y="434"/>
                    <a:pt x="1450" y="434"/>
                  </a:cubicBezTo>
                  <a:cubicBezTo>
                    <a:pt x="1135" y="434"/>
                    <a:pt x="851" y="308"/>
                    <a:pt x="662" y="119"/>
                  </a:cubicBezTo>
                  <a:cubicBezTo>
                    <a:pt x="584" y="40"/>
                    <a:pt x="489"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78"/>
            <p:cNvSpPr/>
            <p:nvPr/>
          </p:nvSpPr>
          <p:spPr>
            <a:xfrm>
              <a:off x="-57465575" y="242705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78"/>
            <p:cNvSpPr/>
            <p:nvPr/>
          </p:nvSpPr>
          <p:spPr>
            <a:xfrm>
              <a:off x="-57389975" y="24270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78"/>
            <p:cNvSpPr/>
            <p:nvPr/>
          </p:nvSpPr>
          <p:spPr>
            <a:xfrm>
              <a:off x="-57558525" y="2294725"/>
              <a:ext cx="279625" cy="318225"/>
            </a:xfrm>
            <a:custGeom>
              <a:avLst/>
              <a:gdLst/>
              <a:ahLst/>
              <a:cxnLst/>
              <a:rect l="l" t="t" r="r" b="b"/>
              <a:pathLst>
                <a:path w="11185" h="12729" extrusionOk="0">
                  <a:moveTo>
                    <a:pt x="5577" y="788"/>
                  </a:moveTo>
                  <a:cubicBezTo>
                    <a:pt x="8255" y="788"/>
                    <a:pt x="10429" y="2962"/>
                    <a:pt x="10429" y="5640"/>
                  </a:cubicBezTo>
                  <a:lnTo>
                    <a:pt x="10429" y="12036"/>
                  </a:lnTo>
                  <a:lnTo>
                    <a:pt x="725" y="12036"/>
                  </a:lnTo>
                  <a:lnTo>
                    <a:pt x="725" y="5640"/>
                  </a:lnTo>
                  <a:cubicBezTo>
                    <a:pt x="725" y="2962"/>
                    <a:pt x="2899" y="788"/>
                    <a:pt x="5577" y="788"/>
                  </a:cubicBezTo>
                  <a:close/>
                  <a:moveTo>
                    <a:pt x="5577" y="1"/>
                  </a:moveTo>
                  <a:cubicBezTo>
                    <a:pt x="2458" y="1"/>
                    <a:pt x="1" y="2521"/>
                    <a:pt x="1" y="5609"/>
                  </a:cubicBezTo>
                  <a:lnTo>
                    <a:pt x="1" y="12382"/>
                  </a:lnTo>
                  <a:cubicBezTo>
                    <a:pt x="1" y="12571"/>
                    <a:pt x="158" y="12729"/>
                    <a:pt x="347" y="12729"/>
                  </a:cubicBezTo>
                  <a:lnTo>
                    <a:pt x="10775" y="12729"/>
                  </a:lnTo>
                  <a:cubicBezTo>
                    <a:pt x="10964" y="12729"/>
                    <a:pt x="11122" y="12571"/>
                    <a:pt x="11122" y="12382"/>
                  </a:cubicBezTo>
                  <a:lnTo>
                    <a:pt x="11122" y="5609"/>
                  </a:lnTo>
                  <a:cubicBezTo>
                    <a:pt x="11185" y="2521"/>
                    <a:pt x="869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3" name="Google Shape;10113;p78"/>
            <p:cNvSpPr/>
            <p:nvPr/>
          </p:nvSpPr>
          <p:spPr>
            <a:xfrm>
              <a:off x="-57521500" y="2332550"/>
              <a:ext cx="204800" cy="241825"/>
            </a:xfrm>
            <a:custGeom>
              <a:avLst/>
              <a:gdLst/>
              <a:ahLst/>
              <a:cxnLst/>
              <a:rect l="l" t="t" r="r" b="b"/>
              <a:pathLst>
                <a:path w="8192" h="9673" extrusionOk="0">
                  <a:moveTo>
                    <a:pt x="4096" y="756"/>
                  </a:moveTo>
                  <a:cubicBezTo>
                    <a:pt x="5230" y="756"/>
                    <a:pt x="6301" y="1323"/>
                    <a:pt x="6900" y="2237"/>
                  </a:cubicBezTo>
                  <a:lnTo>
                    <a:pt x="1292" y="2237"/>
                  </a:lnTo>
                  <a:cubicBezTo>
                    <a:pt x="1891" y="1323"/>
                    <a:pt x="2930" y="756"/>
                    <a:pt x="4096" y="756"/>
                  </a:cubicBezTo>
                  <a:close/>
                  <a:moveTo>
                    <a:pt x="7278" y="3025"/>
                  </a:moveTo>
                  <a:cubicBezTo>
                    <a:pt x="7404" y="3371"/>
                    <a:pt x="7498" y="3718"/>
                    <a:pt x="7498" y="4127"/>
                  </a:cubicBezTo>
                  <a:lnTo>
                    <a:pt x="7498" y="5230"/>
                  </a:lnTo>
                  <a:lnTo>
                    <a:pt x="756" y="5230"/>
                  </a:lnTo>
                  <a:lnTo>
                    <a:pt x="756" y="4127"/>
                  </a:lnTo>
                  <a:cubicBezTo>
                    <a:pt x="756" y="3718"/>
                    <a:pt x="819" y="3340"/>
                    <a:pt x="945" y="3025"/>
                  </a:cubicBezTo>
                  <a:close/>
                  <a:moveTo>
                    <a:pt x="7404" y="5986"/>
                  </a:moveTo>
                  <a:cubicBezTo>
                    <a:pt x="7246" y="7624"/>
                    <a:pt x="5829" y="8979"/>
                    <a:pt x="4096" y="8979"/>
                  </a:cubicBezTo>
                  <a:cubicBezTo>
                    <a:pt x="2363" y="8979"/>
                    <a:pt x="945" y="7687"/>
                    <a:pt x="756" y="5986"/>
                  </a:cubicBezTo>
                  <a:close/>
                  <a:moveTo>
                    <a:pt x="4096" y="0"/>
                  </a:moveTo>
                  <a:cubicBezTo>
                    <a:pt x="1859" y="0"/>
                    <a:pt x="0" y="1827"/>
                    <a:pt x="0" y="4096"/>
                  </a:cubicBezTo>
                  <a:lnTo>
                    <a:pt x="0" y="5576"/>
                  </a:lnTo>
                  <a:cubicBezTo>
                    <a:pt x="0" y="7845"/>
                    <a:pt x="1859" y="9672"/>
                    <a:pt x="4096" y="9672"/>
                  </a:cubicBezTo>
                  <a:cubicBezTo>
                    <a:pt x="6333" y="9672"/>
                    <a:pt x="8192" y="7845"/>
                    <a:pt x="8192" y="5576"/>
                  </a:cubicBezTo>
                  <a:lnTo>
                    <a:pt x="8192" y="4096"/>
                  </a:lnTo>
                  <a:cubicBezTo>
                    <a:pt x="8192" y="1859"/>
                    <a:pt x="633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4" name="Google Shape;10114;p78"/>
          <p:cNvGrpSpPr/>
          <p:nvPr/>
        </p:nvGrpSpPr>
        <p:grpSpPr>
          <a:xfrm>
            <a:off x="5285901" y="2459027"/>
            <a:ext cx="365572" cy="361969"/>
            <a:chOff x="-57579800" y="2686975"/>
            <a:chExt cx="322175" cy="319000"/>
          </a:xfrm>
        </p:grpSpPr>
        <p:sp>
          <p:nvSpPr>
            <p:cNvPr id="10115" name="Google Shape;10115;p78"/>
            <p:cNvSpPr/>
            <p:nvPr/>
          </p:nvSpPr>
          <p:spPr>
            <a:xfrm>
              <a:off x="-57455350" y="2920300"/>
              <a:ext cx="72475" cy="29750"/>
            </a:xfrm>
            <a:custGeom>
              <a:avLst/>
              <a:gdLst/>
              <a:ahLst/>
              <a:cxnLst/>
              <a:rect l="l" t="t" r="r" b="b"/>
              <a:pathLst>
                <a:path w="2899" h="1190" extrusionOk="0">
                  <a:moveTo>
                    <a:pt x="398" y="1"/>
                  </a:moveTo>
                  <a:cubicBezTo>
                    <a:pt x="308" y="1"/>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1"/>
                    <a:pt x="2513" y="1"/>
                  </a:cubicBezTo>
                  <a:cubicBezTo>
                    <a:pt x="2419" y="1"/>
                    <a:pt x="2316" y="40"/>
                    <a:pt x="2238" y="119"/>
                  </a:cubicBezTo>
                  <a:cubicBezTo>
                    <a:pt x="2049" y="308"/>
                    <a:pt x="1733" y="434"/>
                    <a:pt x="1450" y="434"/>
                  </a:cubicBezTo>
                  <a:cubicBezTo>
                    <a:pt x="1135" y="434"/>
                    <a:pt x="851" y="308"/>
                    <a:pt x="662" y="119"/>
                  </a:cubicBezTo>
                  <a:cubicBezTo>
                    <a:pt x="584"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6" name="Google Shape;10116;p78"/>
            <p:cNvSpPr/>
            <p:nvPr/>
          </p:nvSpPr>
          <p:spPr>
            <a:xfrm>
              <a:off x="-57579800" y="2686975"/>
              <a:ext cx="322175" cy="319000"/>
            </a:xfrm>
            <a:custGeom>
              <a:avLst/>
              <a:gdLst/>
              <a:ahLst/>
              <a:cxnLst/>
              <a:rect l="l" t="t" r="r" b="b"/>
              <a:pathLst>
                <a:path w="12887" h="12760" extrusionOk="0">
                  <a:moveTo>
                    <a:pt x="6428" y="756"/>
                  </a:moveTo>
                  <a:cubicBezTo>
                    <a:pt x="6680" y="756"/>
                    <a:pt x="6901" y="945"/>
                    <a:pt x="6932" y="1166"/>
                  </a:cubicBezTo>
                  <a:lnTo>
                    <a:pt x="7153" y="2080"/>
                  </a:lnTo>
                  <a:lnTo>
                    <a:pt x="7247" y="2710"/>
                  </a:lnTo>
                  <a:cubicBezTo>
                    <a:pt x="7373" y="3214"/>
                    <a:pt x="6932" y="3749"/>
                    <a:pt x="6428" y="3749"/>
                  </a:cubicBezTo>
                  <a:cubicBezTo>
                    <a:pt x="5892" y="3749"/>
                    <a:pt x="5483" y="3277"/>
                    <a:pt x="5609" y="2710"/>
                  </a:cubicBezTo>
                  <a:lnTo>
                    <a:pt x="5735" y="2080"/>
                  </a:lnTo>
                  <a:lnTo>
                    <a:pt x="5924" y="1166"/>
                  </a:lnTo>
                  <a:cubicBezTo>
                    <a:pt x="5955" y="945"/>
                    <a:pt x="6144" y="756"/>
                    <a:pt x="6428" y="756"/>
                  </a:cubicBezTo>
                  <a:close/>
                  <a:moveTo>
                    <a:pt x="8003" y="2647"/>
                  </a:moveTo>
                  <a:lnTo>
                    <a:pt x="8003" y="2647"/>
                  </a:lnTo>
                  <a:cubicBezTo>
                    <a:pt x="9106" y="3214"/>
                    <a:pt x="9830" y="4379"/>
                    <a:pt x="9830" y="5577"/>
                  </a:cubicBezTo>
                  <a:lnTo>
                    <a:pt x="9830" y="6049"/>
                  </a:lnTo>
                  <a:cubicBezTo>
                    <a:pt x="9704" y="6018"/>
                    <a:pt x="9578" y="5986"/>
                    <a:pt x="9452" y="5986"/>
                  </a:cubicBezTo>
                  <a:lnTo>
                    <a:pt x="7940" y="5986"/>
                  </a:lnTo>
                  <a:cubicBezTo>
                    <a:pt x="7468" y="5986"/>
                    <a:pt x="7027" y="6301"/>
                    <a:pt x="6869" y="6742"/>
                  </a:cubicBezTo>
                  <a:lnTo>
                    <a:pt x="6018" y="6742"/>
                  </a:lnTo>
                  <a:cubicBezTo>
                    <a:pt x="5861" y="6301"/>
                    <a:pt x="5451" y="5986"/>
                    <a:pt x="4947" y="5986"/>
                  </a:cubicBezTo>
                  <a:lnTo>
                    <a:pt x="3403" y="5986"/>
                  </a:lnTo>
                  <a:cubicBezTo>
                    <a:pt x="3277" y="5986"/>
                    <a:pt x="3120" y="6018"/>
                    <a:pt x="3057" y="6049"/>
                  </a:cubicBezTo>
                  <a:lnTo>
                    <a:pt x="3057" y="5577"/>
                  </a:lnTo>
                  <a:cubicBezTo>
                    <a:pt x="3057" y="4379"/>
                    <a:pt x="3750" y="3214"/>
                    <a:pt x="4853" y="2647"/>
                  </a:cubicBezTo>
                  <a:lnTo>
                    <a:pt x="4853" y="2647"/>
                  </a:lnTo>
                  <a:cubicBezTo>
                    <a:pt x="4695" y="3623"/>
                    <a:pt x="5451" y="4474"/>
                    <a:pt x="6428" y="4474"/>
                  </a:cubicBezTo>
                  <a:cubicBezTo>
                    <a:pt x="7405" y="4474"/>
                    <a:pt x="8161" y="3623"/>
                    <a:pt x="8003" y="2647"/>
                  </a:cubicBezTo>
                  <a:close/>
                  <a:moveTo>
                    <a:pt x="2301" y="6774"/>
                  </a:moveTo>
                  <a:lnTo>
                    <a:pt x="2301" y="8254"/>
                  </a:lnTo>
                  <a:cubicBezTo>
                    <a:pt x="1891" y="8254"/>
                    <a:pt x="1545" y="7939"/>
                    <a:pt x="1545" y="7530"/>
                  </a:cubicBezTo>
                  <a:cubicBezTo>
                    <a:pt x="1545" y="7120"/>
                    <a:pt x="1891" y="6774"/>
                    <a:pt x="2301" y="6774"/>
                  </a:cubicBezTo>
                  <a:close/>
                  <a:moveTo>
                    <a:pt x="4947" y="6805"/>
                  </a:moveTo>
                  <a:cubicBezTo>
                    <a:pt x="5136" y="6805"/>
                    <a:pt x="5294" y="6963"/>
                    <a:pt x="5294" y="7152"/>
                  </a:cubicBezTo>
                  <a:cubicBezTo>
                    <a:pt x="5294" y="7782"/>
                    <a:pt x="4790" y="8254"/>
                    <a:pt x="4191" y="8254"/>
                  </a:cubicBezTo>
                  <a:lnTo>
                    <a:pt x="3403" y="8254"/>
                  </a:lnTo>
                  <a:cubicBezTo>
                    <a:pt x="3214" y="8254"/>
                    <a:pt x="3057" y="8097"/>
                    <a:pt x="3057" y="7908"/>
                  </a:cubicBezTo>
                  <a:lnTo>
                    <a:pt x="3057" y="7152"/>
                  </a:lnTo>
                  <a:cubicBezTo>
                    <a:pt x="3057" y="6963"/>
                    <a:pt x="3214" y="6805"/>
                    <a:pt x="3403" y="6805"/>
                  </a:cubicBezTo>
                  <a:close/>
                  <a:moveTo>
                    <a:pt x="9452" y="6805"/>
                  </a:moveTo>
                  <a:cubicBezTo>
                    <a:pt x="9673" y="6805"/>
                    <a:pt x="9830" y="6963"/>
                    <a:pt x="9830" y="7152"/>
                  </a:cubicBezTo>
                  <a:lnTo>
                    <a:pt x="9830" y="7908"/>
                  </a:lnTo>
                  <a:cubicBezTo>
                    <a:pt x="9830" y="8097"/>
                    <a:pt x="9673" y="8254"/>
                    <a:pt x="9452" y="8254"/>
                  </a:cubicBezTo>
                  <a:lnTo>
                    <a:pt x="8665" y="8254"/>
                  </a:lnTo>
                  <a:cubicBezTo>
                    <a:pt x="8035" y="8254"/>
                    <a:pt x="7562" y="7750"/>
                    <a:pt x="7562" y="7152"/>
                  </a:cubicBezTo>
                  <a:cubicBezTo>
                    <a:pt x="7562" y="6963"/>
                    <a:pt x="7720" y="6805"/>
                    <a:pt x="7940" y="6805"/>
                  </a:cubicBezTo>
                  <a:close/>
                  <a:moveTo>
                    <a:pt x="10587" y="6774"/>
                  </a:moveTo>
                  <a:cubicBezTo>
                    <a:pt x="10965" y="6774"/>
                    <a:pt x="11311" y="7120"/>
                    <a:pt x="11311" y="7530"/>
                  </a:cubicBezTo>
                  <a:cubicBezTo>
                    <a:pt x="11311" y="7908"/>
                    <a:pt x="10996" y="8254"/>
                    <a:pt x="10587" y="8254"/>
                  </a:cubicBezTo>
                  <a:lnTo>
                    <a:pt x="10587" y="6774"/>
                  </a:lnTo>
                  <a:close/>
                  <a:moveTo>
                    <a:pt x="1135" y="8412"/>
                  </a:moveTo>
                  <a:cubicBezTo>
                    <a:pt x="1387" y="8790"/>
                    <a:pt x="1828" y="9011"/>
                    <a:pt x="2301" y="9011"/>
                  </a:cubicBezTo>
                  <a:cubicBezTo>
                    <a:pt x="2301" y="9420"/>
                    <a:pt x="1986" y="9767"/>
                    <a:pt x="1545" y="9767"/>
                  </a:cubicBezTo>
                  <a:cubicBezTo>
                    <a:pt x="1167" y="9767"/>
                    <a:pt x="789" y="9452"/>
                    <a:pt x="789" y="9011"/>
                  </a:cubicBezTo>
                  <a:cubicBezTo>
                    <a:pt x="789" y="8790"/>
                    <a:pt x="915" y="8538"/>
                    <a:pt x="1135" y="8412"/>
                  </a:cubicBezTo>
                  <a:close/>
                  <a:moveTo>
                    <a:pt x="11752" y="8412"/>
                  </a:moveTo>
                  <a:cubicBezTo>
                    <a:pt x="11941" y="8570"/>
                    <a:pt x="12067" y="8790"/>
                    <a:pt x="12067" y="9011"/>
                  </a:cubicBezTo>
                  <a:cubicBezTo>
                    <a:pt x="12067" y="9420"/>
                    <a:pt x="11752" y="9767"/>
                    <a:pt x="11311" y="9767"/>
                  </a:cubicBezTo>
                  <a:cubicBezTo>
                    <a:pt x="10870" y="9767"/>
                    <a:pt x="10555" y="9420"/>
                    <a:pt x="10555" y="9011"/>
                  </a:cubicBezTo>
                  <a:cubicBezTo>
                    <a:pt x="11028" y="9011"/>
                    <a:pt x="11469" y="8790"/>
                    <a:pt x="11752" y="8412"/>
                  </a:cubicBezTo>
                  <a:close/>
                  <a:moveTo>
                    <a:pt x="6837" y="7561"/>
                  </a:moveTo>
                  <a:cubicBezTo>
                    <a:pt x="6995" y="8412"/>
                    <a:pt x="7783" y="9042"/>
                    <a:pt x="8633" y="9042"/>
                  </a:cubicBezTo>
                  <a:lnTo>
                    <a:pt x="9421" y="9042"/>
                  </a:lnTo>
                  <a:cubicBezTo>
                    <a:pt x="9547" y="9042"/>
                    <a:pt x="9673" y="9011"/>
                    <a:pt x="9767" y="8979"/>
                  </a:cubicBezTo>
                  <a:lnTo>
                    <a:pt x="9767" y="8979"/>
                  </a:lnTo>
                  <a:cubicBezTo>
                    <a:pt x="9610" y="10680"/>
                    <a:pt x="8192" y="12004"/>
                    <a:pt x="6428" y="12004"/>
                  </a:cubicBezTo>
                  <a:cubicBezTo>
                    <a:pt x="4664" y="12004"/>
                    <a:pt x="3246" y="10680"/>
                    <a:pt x="3057" y="8979"/>
                  </a:cubicBezTo>
                  <a:lnTo>
                    <a:pt x="3057" y="8979"/>
                  </a:lnTo>
                  <a:cubicBezTo>
                    <a:pt x="3151" y="9011"/>
                    <a:pt x="3277" y="9042"/>
                    <a:pt x="3403" y="9042"/>
                  </a:cubicBezTo>
                  <a:lnTo>
                    <a:pt x="4191" y="9042"/>
                  </a:lnTo>
                  <a:cubicBezTo>
                    <a:pt x="5105" y="9042"/>
                    <a:pt x="5829" y="8412"/>
                    <a:pt x="5987" y="7561"/>
                  </a:cubicBezTo>
                  <a:close/>
                  <a:moveTo>
                    <a:pt x="6428" y="0"/>
                  </a:moveTo>
                  <a:cubicBezTo>
                    <a:pt x="5798" y="0"/>
                    <a:pt x="5294" y="410"/>
                    <a:pt x="5168" y="1008"/>
                  </a:cubicBezTo>
                  <a:lnTo>
                    <a:pt x="5010" y="1733"/>
                  </a:lnTo>
                  <a:cubicBezTo>
                    <a:pt x="4286" y="1985"/>
                    <a:pt x="3592" y="2458"/>
                    <a:pt x="3120" y="3088"/>
                  </a:cubicBezTo>
                  <a:cubicBezTo>
                    <a:pt x="2584" y="3812"/>
                    <a:pt x="2301" y="4663"/>
                    <a:pt x="2301" y="5577"/>
                  </a:cubicBezTo>
                  <a:lnTo>
                    <a:pt x="2301" y="6018"/>
                  </a:lnTo>
                  <a:cubicBezTo>
                    <a:pt x="1387" y="6018"/>
                    <a:pt x="694" y="6805"/>
                    <a:pt x="789" y="7719"/>
                  </a:cubicBezTo>
                  <a:cubicBezTo>
                    <a:pt x="316" y="7971"/>
                    <a:pt x="64" y="8475"/>
                    <a:pt x="64" y="9011"/>
                  </a:cubicBezTo>
                  <a:cubicBezTo>
                    <a:pt x="64" y="9420"/>
                    <a:pt x="221" y="9767"/>
                    <a:pt x="442" y="9987"/>
                  </a:cubicBezTo>
                  <a:lnTo>
                    <a:pt x="95" y="10712"/>
                  </a:lnTo>
                  <a:cubicBezTo>
                    <a:pt x="1" y="10901"/>
                    <a:pt x="95" y="11090"/>
                    <a:pt x="253" y="11216"/>
                  </a:cubicBezTo>
                  <a:cubicBezTo>
                    <a:pt x="305" y="11242"/>
                    <a:pt x="357" y="11254"/>
                    <a:pt x="408" y="11254"/>
                  </a:cubicBezTo>
                  <a:cubicBezTo>
                    <a:pt x="541" y="11254"/>
                    <a:pt x="666" y="11173"/>
                    <a:pt x="757" y="11058"/>
                  </a:cubicBezTo>
                  <a:lnTo>
                    <a:pt x="1072" y="10428"/>
                  </a:lnTo>
                  <a:cubicBezTo>
                    <a:pt x="1230" y="10460"/>
                    <a:pt x="1387" y="10523"/>
                    <a:pt x="1545" y="10523"/>
                  </a:cubicBezTo>
                  <a:cubicBezTo>
                    <a:pt x="1954" y="10523"/>
                    <a:pt x="2301" y="10365"/>
                    <a:pt x="2584" y="10113"/>
                  </a:cubicBezTo>
                  <a:cubicBezTo>
                    <a:pt x="3151" y="11657"/>
                    <a:pt x="4664" y="12760"/>
                    <a:pt x="6428" y="12760"/>
                  </a:cubicBezTo>
                  <a:cubicBezTo>
                    <a:pt x="8224" y="12760"/>
                    <a:pt x="9704" y="11657"/>
                    <a:pt x="10303" y="10113"/>
                  </a:cubicBezTo>
                  <a:cubicBezTo>
                    <a:pt x="10587" y="10365"/>
                    <a:pt x="10933" y="10523"/>
                    <a:pt x="11311" y="10523"/>
                  </a:cubicBezTo>
                  <a:cubicBezTo>
                    <a:pt x="11469" y="10523"/>
                    <a:pt x="11626" y="10460"/>
                    <a:pt x="11784" y="10428"/>
                  </a:cubicBezTo>
                  <a:lnTo>
                    <a:pt x="12099" y="11058"/>
                  </a:lnTo>
                  <a:cubicBezTo>
                    <a:pt x="12164" y="11188"/>
                    <a:pt x="12288" y="11273"/>
                    <a:pt x="12431" y="11273"/>
                  </a:cubicBezTo>
                  <a:cubicBezTo>
                    <a:pt x="12496" y="11273"/>
                    <a:pt x="12565" y="11255"/>
                    <a:pt x="12634" y="11216"/>
                  </a:cubicBezTo>
                  <a:cubicBezTo>
                    <a:pt x="12823" y="11153"/>
                    <a:pt x="12886" y="10901"/>
                    <a:pt x="12792" y="10712"/>
                  </a:cubicBezTo>
                  <a:lnTo>
                    <a:pt x="12414" y="9987"/>
                  </a:lnTo>
                  <a:cubicBezTo>
                    <a:pt x="12666" y="9735"/>
                    <a:pt x="12823" y="9357"/>
                    <a:pt x="12823" y="9011"/>
                  </a:cubicBezTo>
                  <a:cubicBezTo>
                    <a:pt x="12823" y="8475"/>
                    <a:pt x="12508" y="8002"/>
                    <a:pt x="12067" y="7719"/>
                  </a:cubicBezTo>
                  <a:cubicBezTo>
                    <a:pt x="12193" y="6805"/>
                    <a:pt x="11469" y="6018"/>
                    <a:pt x="10555" y="6018"/>
                  </a:cubicBezTo>
                  <a:lnTo>
                    <a:pt x="10555" y="5577"/>
                  </a:lnTo>
                  <a:cubicBezTo>
                    <a:pt x="10555" y="4663"/>
                    <a:pt x="10303" y="3812"/>
                    <a:pt x="9736" y="3088"/>
                  </a:cubicBezTo>
                  <a:cubicBezTo>
                    <a:pt x="9263" y="2458"/>
                    <a:pt x="8602" y="1985"/>
                    <a:pt x="7846" y="1733"/>
                  </a:cubicBezTo>
                  <a:lnTo>
                    <a:pt x="7688" y="1008"/>
                  </a:lnTo>
                  <a:cubicBezTo>
                    <a:pt x="7562" y="410"/>
                    <a:pt x="7058" y="0"/>
                    <a:pt x="64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7" name="Google Shape;10117;p78"/>
          <p:cNvGrpSpPr/>
          <p:nvPr/>
        </p:nvGrpSpPr>
        <p:grpSpPr>
          <a:xfrm>
            <a:off x="7510682" y="2006443"/>
            <a:ext cx="367359" cy="361090"/>
            <a:chOff x="-55620975" y="2294725"/>
            <a:chExt cx="323750" cy="318225"/>
          </a:xfrm>
        </p:grpSpPr>
        <p:sp>
          <p:nvSpPr>
            <p:cNvPr id="10118" name="Google Shape;10118;p78"/>
            <p:cNvSpPr/>
            <p:nvPr/>
          </p:nvSpPr>
          <p:spPr>
            <a:xfrm>
              <a:off x="-55496525" y="2527275"/>
              <a:ext cx="73275" cy="29750"/>
            </a:xfrm>
            <a:custGeom>
              <a:avLst/>
              <a:gdLst/>
              <a:ahLst/>
              <a:cxnLst/>
              <a:rect l="l" t="t" r="r" b="b"/>
              <a:pathLst>
                <a:path w="2931" h="1190" extrusionOk="0">
                  <a:moveTo>
                    <a:pt x="414" y="1"/>
                  </a:moveTo>
                  <a:cubicBezTo>
                    <a:pt x="316" y="1"/>
                    <a:pt x="221" y="40"/>
                    <a:pt x="158" y="119"/>
                  </a:cubicBezTo>
                  <a:cubicBezTo>
                    <a:pt x="1" y="276"/>
                    <a:pt x="1" y="528"/>
                    <a:pt x="158" y="623"/>
                  </a:cubicBezTo>
                  <a:cubicBezTo>
                    <a:pt x="536" y="1001"/>
                    <a:pt x="1009" y="1190"/>
                    <a:pt x="1481" y="1190"/>
                  </a:cubicBezTo>
                  <a:cubicBezTo>
                    <a:pt x="1954" y="1190"/>
                    <a:pt x="2458" y="1001"/>
                    <a:pt x="2773" y="623"/>
                  </a:cubicBezTo>
                  <a:cubicBezTo>
                    <a:pt x="2931" y="465"/>
                    <a:pt x="2931" y="245"/>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2"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78"/>
            <p:cNvSpPr/>
            <p:nvPr/>
          </p:nvSpPr>
          <p:spPr>
            <a:xfrm>
              <a:off x="-55505975"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78"/>
            <p:cNvSpPr/>
            <p:nvPr/>
          </p:nvSpPr>
          <p:spPr>
            <a:xfrm>
              <a:off x="-55431150"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78"/>
            <p:cNvSpPr/>
            <p:nvPr/>
          </p:nvSpPr>
          <p:spPr>
            <a:xfrm>
              <a:off x="-55620975" y="2294725"/>
              <a:ext cx="323750" cy="318225"/>
            </a:xfrm>
            <a:custGeom>
              <a:avLst/>
              <a:gdLst/>
              <a:ahLst/>
              <a:cxnLst/>
              <a:rect l="l" t="t" r="r" b="b"/>
              <a:pathLst>
                <a:path w="12950" h="12729" extrusionOk="0">
                  <a:moveTo>
                    <a:pt x="6459" y="851"/>
                  </a:moveTo>
                  <a:lnTo>
                    <a:pt x="11343" y="4506"/>
                  </a:lnTo>
                  <a:lnTo>
                    <a:pt x="1576" y="4506"/>
                  </a:lnTo>
                  <a:lnTo>
                    <a:pt x="6459" y="851"/>
                  </a:lnTo>
                  <a:close/>
                  <a:moveTo>
                    <a:pt x="2364" y="5987"/>
                  </a:moveTo>
                  <a:lnTo>
                    <a:pt x="2364" y="7499"/>
                  </a:lnTo>
                  <a:cubicBezTo>
                    <a:pt x="1923" y="7499"/>
                    <a:pt x="1608" y="7152"/>
                    <a:pt x="1608" y="6743"/>
                  </a:cubicBezTo>
                  <a:cubicBezTo>
                    <a:pt x="1608" y="6365"/>
                    <a:pt x="1923" y="5987"/>
                    <a:pt x="2364" y="5987"/>
                  </a:cubicBezTo>
                  <a:close/>
                  <a:moveTo>
                    <a:pt x="10555" y="5987"/>
                  </a:moveTo>
                  <a:cubicBezTo>
                    <a:pt x="10964" y="5987"/>
                    <a:pt x="11280" y="6365"/>
                    <a:pt x="11280" y="6743"/>
                  </a:cubicBezTo>
                  <a:cubicBezTo>
                    <a:pt x="11280" y="7152"/>
                    <a:pt x="10964" y="7499"/>
                    <a:pt x="10555" y="7499"/>
                  </a:cubicBezTo>
                  <a:lnTo>
                    <a:pt x="10555" y="5987"/>
                  </a:lnTo>
                  <a:close/>
                  <a:moveTo>
                    <a:pt x="9830" y="5262"/>
                  </a:moveTo>
                  <a:cubicBezTo>
                    <a:pt x="9799" y="5798"/>
                    <a:pt x="9799" y="8287"/>
                    <a:pt x="9799" y="8633"/>
                  </a:cubicBezTo>
                  <a:cubicBezTo>
                    <a:pt x="9799" y="10492"/>
                    <a:pt x="8287" y="11973"/>
                    <a:pt x="6459" y="11973"/>
                  </a:cubicBezTo>
                  <a:cubicBezTo>
                    <a:pt x="4600" y="11973"/>
                    <a:pt x="3088" y="10492"/>
                    <a:pt x="3088" y="8633"/>
                  </a:cubicBezTo>
                  <a:lnTo>
                    <a:pt x="3088" y="5262"/>
                  </a:lnTo>
                  <a:close/>
                  <a:moveTo>
                    <a:pt x="6459" y="1"/>
                  </a:moveTo>
                  <a:cubicBezTo>
                    <a:pt x="6381" y="1"/>
                    <a:pt x="6302" y="32"/>
                    <a:pt x="6239" y="95"/>
                  </a:cubicBezTo>
                  <a:lnTo>
                    <a:pt x="253" y="4569"/>
                  </a:lnTo>
                  <a:cubicBezTo>
                    <a:pt x="1" y="4790"/>
                    <a:pt x="158" y="5231"/>
                    <a:pt x="505" y="5231"/>
                  </a:cubicBezTo>
                  <a:lnTo>
                    <a:pt x="2395" y="5231"/>
                  </a:lnTo>
                  <a:cubicBezTo>
                    <a:pt x="1576" y="5231"/>
                    <a:pt x="883" y="5924"/>
                    <a:pt x="883" y="6743"/>
                  </a:cubicBezTo>
                  <a:cubicBezTo>
                    <a:pt x="883" y="7562"/>
                    <a:pt x="1576" y="8255"/>
                    <a:pt x="2395" y="8255"/>
                  </a:cubicBezTo>
                  <a:lnTo>
                    <a:pt x="2395" y="8633"/>
                  </a:lnTo>
                  <a:cubicBezTo>
                    <a:pt x="2395" y="10870"/>
                    <a:pt x="4254" y="12729"/>
                    <a:pt x="6491" y="12729"/>
                  </a:cubicBezTo>
                  <a:cubicBezTo>
                    <a:pt x="8728" y="12729"/>
                    <a:pt x="10586" y="10870"/>
                    <a:pt x="10586" y="8633"/>
                  </a:cubicBezTo>
                  <a:lnTo>
                    <a:pt x="10586" y="8255"/>
                  </a:lnTo>
                  <a:cubicBezTo>
                    <a:pt x="11406" y="8255"/>
                    <a:pt x="12067" y="7562"/>
                    <a:pt x="12067" y="6743"/>
                  </a:cubicBezTo>
                  <a:cubicBezTo>
                    <a:pt x="12067" y="5924"/>
                    <a:pt x="11406" y="5231"/>
                    <a:pt x="10586" y="5231"/>
                  </a:cubicBezTo>
                  <a:lnTo>
                    <a:pt x="12477" y="5231"/>
                  </a:lnTo>
                  <a:cubicBezTo>
                    <a:pt x="12792" y="5231"/>
                    <a:pt x="12949" y="4790"/>
                    <a:pt x="12666" y="4569"/>
                  </a:cubicBezTo>
                  <a:lnTo>
                    <a:pt x="6680" y="95"/>
                  </a:lnTo>
                  <a:cubicBezTo>
                    <a:pt x="6617" y="32"/>
                    <a:pt x="6538" y="1"/>
                    <a:pt x="64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78"/>
            <p:cNvSpPr/>
            <p:nvPr/>
          </p:nvSpPr>
          <p:spPr>
            <a:xfrm>
              <a:off x="-55450850" y="2482375"/>
              <a:ext cx="39400" cy="38225"/>
            </a:xfrm>
            <a:custGeom>
              <a:avLst/>
              <a:gdLst/>
              <a:ahLst/>
              <a:cxnLst/>
              <a:rect l="l" t="t" r="r" b="b"/>
              <a:pathLst>
                <a:path w="1576" h="1529" extrusionOk="0">
                  <a:moveTo>
                    <a:pt x="399" y="1"/>
                  </a:moveTo>
                  <a:cubicBezTo>
                    <a:pt x="308" y="1"/>
                    <a:pt x="221" y="40"/>
                    <a:pt x="158" y="119"/>
                  </a:cubicBezTo>
                  <a:cubicBezTo>
                    <a:pt x="1" y="277"/>
                    <a:pt x="1" y="497"/>
                    <a:pt x="158" y="623"/>
                  </a:cubicBezTo>
                  <a:lnTo>
                    <a:pt x="914" y="1411"/>
                  </a:lnTo>
                  <a:cubicBezTo>
                    <a:pt x="993" y="1489"/>
                    <a:pt x="1088" y="1529"/>
                    <a:pt x="1178" y="1529"/>
                  </a:cubicBezTo>
                  <a:cubicBezTo>
                    <a:pt x="1269" y="1529"/>
                    <a:pt x="1356" y="1489"/>
                    <a:pt x="1419" y="1411"/>
                  </a:cubicBezTo>
                  <a:cubicBezTo>
                    <a:pt x="1576" y="1253"/>
                    <a:pt x="1576" y="1001"/>
                    <a:pt x="1419" y="907"/>
                  </a:cubicBezTo>
                  <a:lnTo>
                    <a:pt x="662" y="119"/>
                  </a:lnTo>
                  <a:cubicBezTo>
                    <a:pt x="584" y="40"/>
                    <a:pt x="489" y="1"/>
                    <a:pt x="3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3" name="Google Shape;10123;p78"/>
            <p:cNvSpPr/>
            <p:nvPr/>
          </p:nvSpPr>
          <p:spPr>
            <a:xfrm>
              <a:off x="-55506775" y="2482375"/>
              <a:ext cx="39400" cy="38225"/>
            </a:xfrm>
            <a:custGeom>
              <a:avLst/>
              <a:gdLst/>
              <a:ahLst/>
              <a:cxnLst/>
              <a:rect l="l" t="t" r="r" b="b"/>
              <a:pathLst>
                <a:path w="1576" h="1529" extrusionOk="0">
                  <a:moveTo>
                    <a:pt x="1139" y="1"/>
                  </a:moveTo>
                  <a:cubicBezTo>
                    <a:pt x="1041" y="1"/>
                    <a:pt x="946" y="40"/>
                    <a:pt x="883" y="119"/>
                  </a:cubicBezTo>
                  <a:lnTo>
                    <a:pt x="159" y="907"/>
                  </a:lnTo>
                  <a:cubicBezTo>
                    <a:pt x="1" y="1064"/>
                    <a:pt x="1" y="1285"/>
                    <a:pt x="159" y="1411"/>
                  </a:cubicBezTo>
                  <a:cubicBezTo>
                    <a:pt x="237" y="1489"/>
                    <a:pt x="332" y="1529"/>
                    <a:pt x="422" y="1529"/>
                  </a:cubicBezTo>
                  <a:cubicBezTo>
                    <a:pt x="513" y="1529"/>
                    <a:pt x="600" y="1489"/>
                    <a:pt x="663" y="1411"/>
                  </a:cubicBezTo>
                  <a:lnTo>
                    <a:pt x="1419" y="623"/>
                  </a:lnTo>
                  <a:cubicBezTo>
                    <a:pt x="1576" y="466"/>
                    <a:pt x="1576" y="213"/>
                    <a:pt x="1419" y="119"/>
                  </a:cubicBezTo>
                  <a:cubicBezTo>
                    <a:pt x="1340" y="40"/>
                    <a:pt x="1238" y="1"/>
                    <a:pt x="11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4" name="Google Shape;10124;p78"/>
          <p:cNvGrpSpPr/>
          <p:nvPr/>
        </p:nvGrpSpPr>
        <p:grpSpPr>
          <a:xfrm>
            <a:off x="7512923" y="2458942"/>
            <a:ext cx="362877" cy="361175"/>
            <a:chOff x="-55620175" y="2686900"/>
            <a:chExt cx="319800" cy="318300"/>
          </a:xfrm>
        </p:grpSpPr>
        <p:sp>
          <p:nvSpPr>
            <p:cNvPr id="10125" name="Google Shape;10125;p78"/>
            <p:cNvSpPr/>
            <p:nvPr/>
          </p:nvSpPr>
          <p:spPr>
            <a:xfrm>
              <a:off x="-55514650" y="2917925"/>
              <a:ext cx="72500" cy="29775"/>
            </a:xfrm>
            <a:custGeom>
              <a:avLst/>
              <a:gdLst/>
              <a:ahLst/>
              <a:cxnLst/>
              <a:rect l="l" t="t" r="r" b="b"/>
              <a:pathLst>
                <a:path w="2900" h="1191" extrusionOk="0">
                  <a:moveTo>
                    <a:pt x="387" y="1"/>
                  </a:moveTo>
                  <a:cubicBezTo>
                    <a:pt x="292" y="1"/>
                    <a:pt x="206" y="40"/>
                    <a:pt x="158" y="119"/>
                  </a:cubicBezTo>
                  <a:cubicBezTo>
                    <a:pt x="1" y="277"/>
                    <a:pt x="1" y="529"/>
                    <a:pt x="158" y="655"/>
                  </a:cubicBezTo>
                  <a:cubicBezTo>
                    <a:pt x="505" y="1001"/>
                    <a:pt x="978" y="1190"/>
                    <a:pt x="1450" y="1190"/>
                  </a:cubicBezTo>
                  <a:cubicBezTo>
                    <a:pt x="1954" y="1190"/>
                    <a:pt x="2427" y="1001"/>
                    <a:pt x="2742" y="655"/>
                  </a:cubicBezTo>
                  <a:cubicBezTo>
                    <a:pt x="2899" y="497"/>
                    <a:pt x="2899" y="245"/>
                    <a:pt x="2742" y="119"/>
                  </a:cubicBezTo>
                  <a:cubicBezTo>
                    <a:pt x="2679" y="72"/>
                    <a:pt x="2592" y="48"/>
                    <a:pt x="2502" y="48"/>
                  </a:cubicBezTo>
                  <a:cubicBezTo>
                    <a:pt x="2411" y="48"/>
                    <a:pt x="2317" y="72"/>
                    <a:pt x="2238" y="119"/>
                  </a:cubicBezTo>
                  <a:cubicBezTo>
                    <a:pt x="2049" y="340"/>
                    <a:pt x="1734" y="434"/>
                    <a:pt x="1450" y="434"/>
                  </a:cubicBezTo>
                  <a:cubicBezTo>
                    <a:pt x="1135" y="434"/>
                    <a:pt x="852" y="340"/>
                    <a:pt x="663" y="119"/>
                  </a:cubicBezTo>
                  <a:cubicBezTo>
                    <a:pt x="584" y="40"/>
                    <a:pt x="481" y="1"/>
                    <a:pt x="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6" name="Google Shape;10126;p78"/>
            <p:cNvSpPr/>
            <p:nvPr/>
          </p:nvSpPr>
          <p:spPr>
            <a:xfrm>
              <a:off x="-5545005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7" name="Google Shape;10127;p78"/>
            <p:cNvSpPr/>
            <p:nvPr/>
          </p:nvSpPr>
          <p:spPr>
            <a:xfrm>
              <a:off x="-55524875" y="2855525"/>
              <a:ext cx="18925" cy="17450"/>
            </a:xfrm>
            <a:custGeom>
              <a:avLst/>
              <a:gdLst/>
              <a:ahLst/>
              <a:cxnLst/>
              <a:rect l="l" t="t" r="r" b="b"/>
              <a:pathLst>
                <a:path w="757" h="698" extrusionOk="0">
                  <a:moveTo>
                    <a:pt x="410" y="0"/>
                  </a:moveTo>
                  <a:cubicBezTo>
                    <a:pt x="189" y="0"/>
                    <a:pt x="0" y="158"/>
                    <a:pt x="0" y="347"/>
                  </a:cubicBezTo>
                  <a:cubicBezTo>
                    <a:pt x="0" y="536"/>
                    <a:pt x="189" y="693"/>
                    <a:pt x="410" y="693"/>
                  </a:cubicBezTo>
                  <a:cubicBezTo>
                    <a:pt x="423" y="696"/>
                    <a:pt x="437" y="697"/>
                    <a:pt x="451" y="697"/>
                  </a:cubicBezTo>
                  <a:cubicBezTo>
                    <a:pt x="598" y="697"/>
                    <a:pt x="756" y="548"/>
                    <a:pt x="756" y="347"/>
                  </a:cubicBezTo>
                  <a:cubicBezTo>
                    <a:pt x="756" y="158"/>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78"/>
            <p:cNvSpPr/>
            <p:nvPr/>
          </p:nvSpPr>
          <p:spPr>
            <a:xfrm>
              <a:off x="-55620175" y="2686900"/>
              <a:ext cx="319800" cy="318300"/>
            </a:xfrm>
            <a:custGeom>
              <a:avLst/>
              <a:gdLst/>
              <a:ahLst/>
              <a:cxnLst/>
              <a:rect l="l" t="t" r="r" b="b"/>
              <a:pathLst>
                <a:path w="12792" h="12732" extrusionOk="0">
                  <a:moveTo>
                    <a:pt x="5671" y="2240"/>
                  </a:moveTo>
                  <a:cubicBezTo>
                    <a:pt x="6333" y="2240"/>
                    <a:pt x="6931" y="2429"/>
                    <a:pt x="7435" y="2744"/>
                  </a:cubicBezTo>
                  <a:cubicBezTo>
                    <a:pt x="7057" y="4225"/>
                    <a:pt x="5703" y="5233"/>
                    <a:pt x="4159" y="5233"/>
                  </a:cubicBezTo>
                  <a:lnTo>
                    <a:pt x="2332" y="5233"/>
                  </a:lnTo>
                  <a:cubicBezTo>
                    <a:pt x="2489" y="3532"/>
                    <a:pt x="3938" y="2240"/>
                    <a:pt x="5671" y="2240"/>
                  </a:cubicBezTo>
                  <a:close/>
                  <a:moveTo>
                    <a:pt x="8318" y="732"/>
                  </a:moveTo>
                  <a:cubicBezTo>
                    <a:pt x="8434" y="732"/>
                    <a:pt x="8549" y="741"/>
                    <a:pt x="8664" y="759"/>
                  </a:cubicBezTo>
                  <a:cubicBezTo>
                    <a:pt x="9735" y="917"/>
                    <a:pt x="10523" y="1925"/>
                    <a:pt x="10523" y="3059"/>
                  </a:cubicBezTo>
                  <a:lnTo>
                    <a:pt x="10523" y="6147"/>
                  </a:lnTo>
                  <a:cubicBezTo>
                    <a:pt x="10271" y="6021"/>
                    <a:pt x="10050" y="5958"/>
                    <a:pt x="9767" y="5958"/>
                  </a:cubicBezTo>
                  <a:lnTo>
                    <a:pt x="9767" y="5580"/>
                  </a:lnTo>
                  <a:cubicBezTo>
                    <a:pt x="9767" y="3626"/>
                    <a:pt x="8349" y="1957"/>
                    <a:pt x="6490" y="1578"/>
                  </a:cubicBezTo>
                  <a:cubicBezTo>
                    <a:pt x="6975" y="1040"/>
                    <a:pt x="7643" y="732"/>
                    <a:pt x="8318" y="732"/>
                  </a:cubicBezTo>
                  <a:close/>
                  <a:moveTo>
                    <a:pt x="1544" y="6745"/>
                  </a:moveTo>
                  <a:lnTo>
                    <a:pt x="1544" y="8226"/>
                  </a:lnTo>
                  <a:cubicBezTo>
                    <a:pt x="1134" y="8226"/>
                    <a:pt x="788" y="7879"/>
                    <a:pt x="788" y="7470"/>
                  </a:cubicBezTo>
                  <a:cubicBezTo>
                    <a:pt x="788" y="7092"/>
                    <a:pt x="1134" y="6745"/>
                    <a:pt x="1544" y="6745"/>
                  </a:cubicBezTo>
                  <a:close/>
                  <a:moveTo>
                    <a:pt x="9798" y="6745"/>
                  </a:moveTo>
                  <a:cubicBezTo>
                    <a:pt x="10208" y="6745"/>
                    <a:pt x="10554" y="7060"/>
                    <a:pt x="10554" y="7470"/>
                  </a:cubicBezTo>
                  <a:cubicBezTo>
                    <a:pt x="10554" y="7879"/>
                    <a:pt x="10208" y="8226"/>
                    <a:pt x="9798" y="8226"/>
                  </a:cubicBezTo>
                  <a:lnTo>
                    <a:pt x="9798" y="6745"/>
                  </a:lnTo>
                  <a:close/>
                  <a:moveTo>
                    <a:pt x="10712" y="8667"/>
                  </a:moveTo>
                  <a:cubicBezTo>
                    <a:pt x="10775" y="8888"/>
                    <a:pt x="10869" y="9108"/>
                    <a:pt x="11027" y="9297"/>
                  </a:cubicBezTo>
                  <a:cubicBezTo>
                    <a:pt x="11090" y="9455"/>
                    <a:pt x="11216" y="9549"/>
                    <a:pt x="11342" y="9707"/>
                  </a:cubicBezTo>
                  <a:lnTo>
                    <a:pt x="9652" y="9707"/>
                  </a:lnTo>
                  <a:cubicBezTo>
                    <a:pt x="9738" y="9468"/>
                    <a:pt x="9768" y="9254"/>
                    <a:pt x="9798" y="8982"/>
                  </a:cubicBezTo>
                  <a:cubicBezTo>
                    <a:pt x="10145" y="8982"/>
                    <a:pt x="10460" y="8856"/>
                    <a:pt x="10712" y="8667"/>
                  </a:cubicBezTo>
                  <a:close/>
                  <a:moveTo>
                    <a:pt x="8066" y="3280"/>
                  </a:moveTo>
                  <a:cubicBezTo>
                    <a:pt x="8664" y="3847"/>
                    <a:pt x="9042" y="4729"/>
                    <a:pt x="9042" y="5643"/>
                  </a:cubicBezTo>
                  <a:lnTo>
                    <a:pt x="9042" y="8636"/>
                  </a:lnTo>
                  <a:cubicBezTo>
                    <a:pt x="9042" y="10463"/>
                    <a:pt x="7530" y="11975"/>
                    <a:pt x="5671" y="11975"/>
                  </a:cubicBezTo>
                  <a:cubicBezTo>
                    <a:pt x="3812" y="11975"/>
                    <a:pt x="2269" y="10431"/>
                    <a:pt x="2269" y="8573"/>
                  </a:cubicBezTo>
                  <a:lnTo>
                    <a:pt x="2269" y="5989"/>
                  </a:lnTo>
                  <a:lnTo>
                    <a:pt x="4159" y="5989"/>
                  </a:lnTo>
                  <a:cubicBezTo>
                    <a:pt x="5104" y="5989"/>
                    <a:pt x="6049" y="5643"/>
                    <a:pt x="6805" y="5044"/>
                  </a:cubicBezTo>
                  <a:cubicBezTo>
                    <a:pt x="7404" y="4571"/>
                    <a:pt x="7782" y="3941"/>
                    <a:pt x="8066" y="3280"/>
                  </a:cubicBezTo>
                  <a:close/>
                  <a:moveTo>
                    <a:pt x="8329" y="0"/>
                  </a:moveTo>
                  <a:cubicBezTo>
                    <a:pt x="7237" y="0"/>
                    <a:pt x="6224" y="580"/>
                    <a:pt x="5671" y="1547"/>
                  </a:cubicBezTo>
                  <a:lnTo>
                    <a:pt x="5640" y="1547"/>
                  </a:lnTo>
                  <a:cubicBezTo>
                    <a:pt x="3340" y="1547"/>
                    <a:pt x="1481" y="3374"/>
                    <a:pt x="1481" y="5643"/>
                  </a:cubicBezTo>
                  <a:lnTo>
                    <a:pt x="1481" y="5989"/>
                  </a:lnTo>
                  <a:cubicBezTo>
                    <a:pt x="662" y="5989"/>
                    <a:pt x="0" y="6651"/>
                    <a:pt x="0" y="7470"/>
                  </a:cubicBezTo>
                  <a:cubicBezTo>
                    <a:pt x="0" y="8320"/>
                    <a:pt x="662" y="8982"/>
                    <a:pt x="1481" y="8982"/>
                  </a:cubicBezTo>
                  <a:cubicBezTo>
                    <a:pt x="1702" y="11061"/>
                    <a:pt x="3466" y="12731"/>
                    <a:pt x="5577" y="12731"/>
                  </a:cubicBezTo>
                  <a:cubicBezTo>
                    <a:pt x="7215" y="12731"/>
                    <a:pt x="8570" y="11818"/>
                    <a:pt x="9263" y="10463"/>
                  </a:cubicBezTo>
                  <a:lnTo>
                    <a:pt x="12319" y="10463"/>
                  </a:lnTo>
                  <a:cubicBezTo>
                    <a:pt x="12476" y="10463"/>
                    <a:pt x="12634" y="10368"/>
                    <a:pt x="12665" y="10211"/>
                  </a:cubicBezTo>
                  <a:cubicBezTo>
                    <a:pt x="12791" y="9990"/>
                    <a:pt x="12728" y="9833"/>
                    <a:pt x="12571" y="9770"/>
                  </a:cubicBezTo>
                  <a:cubicBezTo>
                    <a:pt x="11783" y="9360"/>
                    <a:pt x="11248" y="8573"/>
                    <a:pt x="11248" y="7690"/>
                  </a:cubicBezTo>
                  <a:lnTo>
                    <a:pt x="11248" y="3122"/>
                  </a:lnTo>
                  <a:cubicBezTo>
                    <a:pt x="11248" y="1578"/>
                    <a:pt x="10208" y="287"/>
                    <a:pt x="8790" y="35"/>
                  </a:cubicBezTo>
                  <a:cubicBezTo>
                    <a:pt x="8636" y="12"/>
                    <a:pt x="8481" y="0"/>
                    <a:pt x="83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9" name="Google Shape;10129;p78"/>
          <p:cNvGrpSpPr/>
          <p:nvPr/>
        </p:nvGrpSpPr>
        <p:grpSpPr>
          <a:xfrm>
            <a:off x="6198887" y="2911936"/>
            <a:ext cx="361969" cy="361090"/>
            <a:chOff x="-53690500" y="1903275"/>
            <a:chExt cx="319000" cy="318225"/>
          </a:xfrm>
        </p:grpSpPr>
        <p:sp>
          <p:nvSpPr>
            <p:cNvPr id="10130" name="Google Shape;10130;p78"/>
            <p:cNvSpPr/>
            <p:nvPr/>
          </p:nvSpPr>
          <p:spPr>
            <a:xfrm>
              <a:off x="-53567625" y="2136625"/>
              <a:ext cx="71675" cy="29750"/>
            </a:xfrm>
            <a:custGeom>
              <a:avLst/>
              <a:gdLst/>
              <a:ahLst/>
              <a:cxnLst/>
              <a:rect l="l" t="t" r="r" b="b"/>
              <a:pathLst>
                <a:path w="2867" h="1190" extrusionOk="0">
                  <a:moveTo>
                    <a:pt x="366" y="0"/>
                  </a:moveTo>
                  <a:cubicBezTo>
                    <a:pt x="276" y="0"/>
                    <a:pt x="189" y="40"/>
                    <a:pt x="126" y="118"/>
                  </a:cubicBezTo>
                  <a:cubicBezTo>
                    <a:pt x="0" y="244"/>
                    <a:pt x="0" y="465"/>
                    <a:pt x="126" y="622"/>
                  </a:cubicBezTo>
                  <a:cubicBezTo>
                    <a:pt x="473" y="969"/>
                    <a:pt x="945" y="1190"/>
                    <a:pt x="1418" y="1190"/>
                  </a:cubicBezTo>
                  <a:cubicBezTo>
                    <a:pt x="1890" y="1190"/>
                    <a:pt x="2395" y="969"/>
                    <a:pt x="2710" y="622"/>
                  </a:cubicBezTo>
                  <a:cubicBezTo>
                    <a:pt x="2867" y="465"/>
                    <a:pt x="2867" y="244"/>
                    <a:pt x="2710" y="118"/>
                  </a:cubicBezTo>
                  <a:cubicBezTo>
                    <a:pt x="2631" y="40"/>
                    <a:pt x="2536" y="0"/>
                    <a:pt x="2446" y="0"/>
                  </a:cubicBezTo>
                  <a:cubicBezTo>
                    <a:pt x="2355" y="0"/>
                    <a:pt x="2269" y="40"/>
                    <a:pt x="2206" y="118"/>
                  </a:cubicBezTo>
                  <a:cubicBezTo>
                    <a:pt x="2017" y="307"/>
                    <a:pt x="1701" y="433"/>
                    <a:pt x="1418" y="433"/>
                  </a:cubicBezTo>
                  <a:cubicBezTo>
                    <a:pt x="1103" y="433"/>
                    <a:pt x="819" y="307"/>
                    <a:pt x="630" y="118"/>
                  </a:cubicBezTo>
                  <a:cubicBezTo>
                    <a:pt x="552" y="40"/>
                    <a:pt x="457" y="0"/>
                    <a:pt x="3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78"/>
            <p:cNvSpPr/>
            <p:nvPr/>
          </p:nvSpPr>
          <p:spPr>
            <a:xfrm>
              <a:off x="-535022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78"/>
            <p:cNvSpPr/>
            <p:nvPr/>
          </p:nvSpPr>
          <p:spPr>
            <a:xfrm>
              <a:off x="-53577075"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78"/>
            <p:cNvSpPr/>
            <p:nvPr/>
          </p:nvSpPr>
          <p:spPr>
            <a:xfrm>
              <a:off x="-53690500" y="1903275"/>
              <a:ext cx="319000" cy="318225"/>
            </a:xfrm>
            <a:custGeom>
              <a:avLst/>
              <a:gdLst/>
              <a:ahLst/>
              <a:cxnLst/>
              <a:rect l="l" t="t" r="r" b="b"/>
              <a:pathLst>
                <a:path w="12760" h="12729" extrusionOk="0">
                  <a:moveTo>
                    <a:pt x="9735" y="4475"/>
                  </a:moveTo>
                  <a:lnTo>
                    <a:pt x="9735" y="5262"/>
                  </a:lnTo>
                  <a:lnTo>
                    <a:pt x="2993" y="5262"/>
                  </a:lnTo>
                  <a:lnTo>
                    <a:pt x="2993" y="4475"/>
                  </a:lnTo>
                  <a:close/>
                  <a:moveTo>
                    <a:pt x="9767" y="6018"/>
                  </a:moveTo>
                  <a:lnTo>
                    <a:pt x="9767" y="8633"/>
                  </a:lnTo>
                  <a:cubicBezTo>
                    <a:pt x="9767" y="10461"/>
                    <a:pt x="8255" y="11973"/>
                    <a:pt x="6427" y="11973"/>
                  </a:cubicBezTo>
                  <a:cubicBezTo>
                    <a:pt x="4569" y="11973"/>
                    <a:pt x="3088" y="10461"/>
                    <a:pt x="3088" y="8633"/>
                  </a:cubicBezTo>
                  <a:lnTo>
                    <a:pt x="3088" y="6018"/>
                  </a:lnTo>
                  <a:close/>
                  <a:moveTo>
                    <a:pt x="6459" y="757"/>
                  </a:moveTo>
                  <a:cubicBezTo>
                    <a:pt x="9578" y="757"/>
                    <a:pt x="12098" y="3277"/>
                    <a:pt x="12098" y="6365"/>
                  </a:cubicBezTo>
                  <a:lnTo>
                    <a:pt x="12098" y="11973"/>
                  </a:lnTo>
                  <a:lnTo>
                    <a:pt x="8727" y="11973"/>
                  </a:lnTo>
                  <a:cubicBezTo>
                    <a:pt x="9798" y="11217"/>
                    <a:pt x="10460" y="9988"/>
                    <a:pt x="10460" y="8633"/>
                  </a:cubicBezTo>
                  <a:lnTo>
                    <a:pt x="10460" y="4097"/>
                  </a:lnTo>
                  <a:cubicBezTo>
                    <a:pt x="10460" y="3908"/>
                    <a:pt x="10303" y="3750"/>
                    <a:pt x="10114" y="3750"/>
                  </a:cubicBezTo>
                  <a:lnTo>
                    <a:pt x="6774" y="3750"/>
                  </a:lnTo>
                  <a:lnTo>
                    <a:pt x="6774" y="2994"/>
                  </a:lnTo>
                  <a:lnTo>
                    <a:pt x="7121" y="2994"/>
                  </a:lnTo>
                  <a:cubicBezTo>
                    <a:pt x="7310" y="2994"/>
                    <a:pt x="7467" y="2836"/>
                    <a:pt x="7467" y="2616"/>
                  </a:cubicBezTo>
                  <a:cubicBezTo>
                    <a:pt x="7467" y="2427"/>
                    <a:pt x="7310" y="2269"/>
                    <a:pt x="7121" y="2269"/>
                  </a:cubicBezTo>
                  <a:lnTo>
                    <a:pt x="6774" y="2269"/>
                  </a:lnTo>
                  <a:lnTo>
                    <a:pt x="6774" y="1923"/>
                  </a:lnTo>
                  <a:cubicBezTo>
                    <a:pt x="6774" y="1734"/>
                    <a:pt x="6616" y="1576"/>
                    <a:pt x="6427" y="1576"/>
                  </a:cubicBezTo>
                  <a:cubicBezTo>
                    <a:pt x="6207" y="1576"/>
                    <a:pt x="6049" y="1734"/>
                    <a:pt x="6049" y="1923"/>
                  </a:cubicBezTo>
                  <a:lnTo>
                    <a:pt x="6049" y="2269"/>
                  </a:lnTo>
                  <a:lnTo>
                    <a:pt x="5703" y="2269"/>
                  </a:lnTo>
                  <a:cubicBezTo>
                    <a:pt x="5514" y="2269"/>
                    <a:pt x="5356" y="2427"/>
                    <a:pt x="5356" y="2616"/>
                  </a:cubicBezTo>
                  <a:cubicBezTo>
                    <a:pt x="5356" y="2836"/>
                    <a:pt x="5514" y="2994"/>
                    <a:pt x="5703" y="2994"/>
                  </a:cubicBezTo>
                  <a:lnTo>
                    <a:pt x="6049" y="2994"/>
                  </a:lnTo>
                  <a:lnTo>
                    <a:pt x="6049" y="3750"/>
                  </a:lnTo>
                  <a:lnTo>
                    <a:pt x="2710" y="3750"/>
                  </a:lnTo>
                  <a:cubicBezTo>
                    <a:pt x="2521" y="3750"/>
                    <a:pt x="2363" y="3908"/>
                    <a:pt x="2363" y="4097"/>
                  </a:cubicBezTo>
                  <a:lnTo>
                    <a:pt x="2363" y="8633"/>
                  </a:lnTo>
                  <a:cubicBezTo>
                    <a:pt x="2363" y="9988"/>
                    <a:pt x="3088" y="11217"/>
                    <a:pt x="4096" y="11973"/>
                  </a:cubicBezTo>
                  <a:lnTo>
                    <a:pt x="820" y="11973"/>
                  </a:lnTo>
                  <a:lnTo>
                    <a:pt x="820" y="6365"/>
                  </a:lnTo>
                  <a:cubicBezTo>
                    <a:pt x="820" y="3277"/>
                    <a:pt x="3340" y="757"/>
                    <a:pt x="6459" y="757"/>
                  </a:cubicBezTo>
                  <a:close/>
                  <a:moveTo>
                    <a:pt x="6364" y="1"/>
                  </a:moveTo>
                  <a:cubicBezTo>
                    <a:pt x="2867" y="1"/>
                    <a:pt x="0" y="2868"/>
                    <a:pt x="0" y="6365"/>
                  </a:cubicBezTo>
                  <a:lnTo>
                    <a:pt x="0" y="12351"/>
                  </a:lnTo>
                  <a:cubicBezTo>
                    <a:pt x="0" y="12571"/>
                    <a:pt x="158" y="12729"/>
                    <a:pt x="347" y="12729"/>
                  </a:cubicBezTo>
                  <a:lnTo>
                    <a:pt x="12319" y="12729"/>
                  </a:lnTo>
                  <a:cubicBezTo>
                    <a:pt x="12508" y="12729"/>
                    <a:pt x="12665" y="12571"/>
                    <a:pt x="12665" y="12351"/>
                  </a:cubicBezTo>
                  <a:lnTo>
                    <a:pt x="12665" y="6365"/>
                  </a:lnTo>
                  <a:cubicBezTo>
                    <a:pt x="12760" y="2868"/>
                    <a:pt x="9893" y="1"/>
                    <a:pt x="6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4" name="Google Shape;10134;p78"/>
          <p:cNvGrpSpPr/>
          <p:nvPr/>
        </p:nvGrpSpPr>
        <p:grpSpPr>
          <a:xfrm>
            <a:off x="6221226" y="3365399"/>
            <a:ext cx="317290" cy="359303"/>
            <a:chOff x="-53670800" y="2296300"/>
            <a:chExt cx="279625" cy="316650"/>
          </a:xfrm>
        </p:grpSpPr>
        <p:sp>
          <p:nvSpPr>
            <p:cNvPr id="10135" name="Google Shape;10135;p78"/>
            <p:cNvSpPr/>
            <p:nvPr/>
          </p:nvSpPr>
          <p:spPr>
            <a:xfrm>
              <a:off x="-53567625" y="2527275"/>
              <a:ext cx="73250" cy="29750"/>
            </a:xfrm>
            <a:custGeom>
              <a:avLst/>
              <a:gdLst/>
              <a:ahLst/>
              <a:cxnLst/>
              <a:rect l="l" t="t" r="r" b="b"/>
              <a:pathLst>
                <a:path w="2930" h="1190" extrusionOk="0">
                  <a:moveTo>
                    <a:pt x="410" y="1"/>
                  </a:moveTo>
                  <a:cubicBezTo>
                    <a:pt x="315" y="1"/>
                    <a:pt x="221" y="40"/>
                    <a:pt x="158" y="119"/>
                  </a:cubicBezTo>
                  <a:cubicBezTo>
                    <a:pt x="0" y="276"/>
                    <a:pt x="0" y="528"/>
                    <a:pt x="158" y="623"/>
                  </a:cubicBezTo>
                  <a:cubicBezTo>
                    <a:pt x="504" y="1001"/>
                    <a:pt x="977" y="1190"/>
                    <a:pt x="1449" y="1190"/>
                  </a:cubicBezTo>
                  <a:cubicBezTo>
                    <a:pt x="1922" y="1190"/>
                    <a:pt x="2458" y="1001"/>
                    <a:pt x="2773" y="623"/>
                  </a:cubicBezTo>
                  <a:cubicBezTo>
                    <a:pt x="2930" y="465"/>
                    <a:pt x="2930" y="245"/>
                    <a:pt x="2773" y="119"/>
                  </a:cubicBezTo>
                  <a:cubicBezTo>
                    <a:pt x="2710" y="40"/>
                    <a:pt x="2615" y="1"/>
                    <a:pt x="2517" y="1"/>
                  </a:cubicBezTo>
                  <a:cubicBezTo>
                    <a:pt x="2418" y="1"/>
                    <a:pt x="2316" y="40"/>
                    <a:pt x="2237" y="119"/>
                  </a:cubicBezTo>
                  <a:cubicBezTo>
                    <a:pt x="2048" y="308"/>
                    <a:pt x="1733" y="434"/>
                    <a:pt x="1449" y="434"/>
                  </a:cubicBezTo>
                  <a:cubicBezTo>
                    <a:pt x="1134" y="434"/>
                    <a:pt x="882" y="308"/>
                    <a:pt x="662" y="119"/>
                  </a:cubicBezTo>
                  <a:cubicBezTo>
                    <a:pt x="599" y="40"/>
                    <a:pt x="504"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78"/>
            <p:cNvSpPr/>
            <p:nvPr/>
          </p:nvSpPr>
          <p:spPr>
            <a:xfrm>
              <a:off x="-53502250"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7" name="Google Shape;10137;p78"/>
            <p:cNvSpPr/>
            <p:nvPr/>
          </p:nvSpPr>
          <p:spPr>
            <a:xfrm>
              <a:off x="-53577075"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8" name="Google Shape;10138;p78"/>
            <p:cNvSpPr/>
            <p:nvPr/>
          </p:nvSpPr>
          <p:spPr>
            <a:xfrm>
              <a:off x="-53670800" y="2296300"/>
              <a:ext cx="279625" cy="316650"/>
            </a:xfrm>
            <a:custGeom>
              <a:avLst/>
              <a:gdLst/>
              <a:ahLst/>
              <a:cxnLst/>
              <a:rect l="l" t="t" r="r" b="b"/>
              <a:pathLst>
                <a:path w="11185" h="12666" extrusionOk="0">
                  <a:moveTo>
                    <a:pt x="1481" y="6680"/>
                  </a:moveTo>
                  <a:lnTo>
                    <a:pt x="1481" y="7026"/>
                  </a:lnTo>
                  <a:lnTo>
                    <a:pt x="1481" y="8129"/>
                  </a:lnTo>
                  <a:cubicBezTo>
                    <a:pt x="1450" y="8134"/>
                    <a:pt x="1421" y="8136"/>
                    <a:pt x="1391" y="8136"/>
                  </a:cubicBezTo>
                  <a:cubicBezTo>
                    <a:pt x="1026" y="8136"/>
                    <a:pt x="756" y="7786"/>
                    <a:pt x="756" y="7436"/>
                  </a:cubicBezTo>
                  <a:cubicBezTo>
                    <a:pt x="756" y="7026"/>
                    <a:pt x="1103" y="6680"/>
                    <a:pt x="1481" y="6680"/>
                  </a:cubicBezTo>
                  <a:close/>
                  <a:moveTo>
                    <a:pt x="9672" y="6711"/>
                  </a:moveTo>
                  <a:cubicBezTo>
                    <a:pt x="10082" y="6711"/>
                    <a:pt x="10428" y="7026"/>
                    <a:pt x="10428" y="7467"/>
                  </a:cubicBezTo>
                  <a:cubicBezTo>
                    <a:pt x="10428" y="7814"/>
                    <a:pt x="10113" y="8192"/>
                    <a:pt x="9672" y="8192"/>
                  </a:cubicBezTo>
                  <a:lnTo>
                    <a:pt x="9672" y="7089"/>
                  </a:lnTo>
                  <a:lnTo>
                    <a:pt x="9672" y="6711"/>
                  </a:lnTo>
                  <a:close/>
                  <a:moveTo>
                    <a:pt x="5576" y="3718"/>
                  </a:moveTo>
                  <a:cubicBezTo>
                    <a:pt x="7435" y="3718"/>
                    <a:pt x="8947" y="5231"/>
                    <a:pt x="8947" y="7089"/>
                  </a:cubicBezTo>
                  <a:lnTo>
                    <a:pt x="8947" y="9326"/>
                  </a:lnTo>
                  <a:cubicBezTo>
                    <a:pt x="8947" y="10775"/>
                    <a:pt x="7750" y="11910"/>
                    <a:pt x="6333" y="11910"/>
                  </a:cubicBezTo>
                  <a:lnTo>
                    <a:pt x="4852" y="11910"/>
                  </a:lnTo>
                  <a:cubicBezTo>
                    <a:pt x="3371" y="11910"/>
                    <a:pt x="2237" y="10744"/>
                    <a:pt x="2237" y="9326"/>
                  </a:cubicBezTo>
                  <a:lnTo>
                    <a:pt x="2237" y="7089"/>
                  </a:lnTo>
                  <a:cubicBezTo>
                    <a:pt x="2237" y="5231"/>
                    <a:pt x="3749" y="3718"/>
                    <a:pt x="5576" y="3718"/>
                  </a:cubicBezTo>
                  <a:close/>
                  <a:moveTo>
                    <a:pt x="7089" y="1"/>
                  </a:moveTo>
                  <a:cubicBezTo>
                    <a:pt x="6080" y="1"/>
                    <a:pt x="5230" y="820"/>
                    <a:pt x="5230" y="1828"/>
                  </a:cubicBezTo>
                  <a:lnTo>
                    <a:pt x="5230" y="2994"/>
                  </a:lnTo>
                  <a:cubicBezTo>
                    <a:pt x="3560" y="3151"/>
                    <a:pt x="2142" y="4348"/>
                    <a:pt x="1670" y="5924"/>
                  </a:cubicBezTo>
                  <a:lnTo>
                    <a:pt x="1512" y="5924"/>
                  </a:lnTo>
                  <a:cubicBezTo>
                    <a:pt x="662" y="5924"/>
                    <a:pt x="0" y="6585"/>
                    <a:pt x="0" y="7436"/>
                  </a:cubicBezTo>
                  <a:cubicBezTo>
                    <a:pt x="0" y="8255"/>
                    <a:pt x="662" y="8917"/>
                    <a:pt x="1512" y="8917"/>
                  </a:cubicBezTo>
                  <a:lnTo>
                    <a:pt x="1512" y="9326"/>
                  </a:lnTo>
                  <a:cubicBezTo>
                    <a:pt x="1512" y="11185"/>
                    <a:pt x="2993" y="12666"/>
                    <a:pt x="4852" y="12666"/>
                  </a:cubicBezTo>
                  <a:lnTo>
                    <a:pt x="6333" y="12666"/>
                  </a:lnTo>
                  <a:cubicBezTo>
                    <a:pt x="8191" y="12666"/>
                    <a:pt x="9704" y="11185"/>
                    <a:pt x="9704" y="9326"/>
                  </a:cubicBezTo>
                  <a:lnTo>
                    <a:pt x="9704" y="8917"/>
                  </a:lnTo>
                  <a:cubicBezTo>
                    <a:pt x="10523" y="8917"/>
                    <a:pt x="11184" y="8255"/>
                    <a:pt x="11184" y="7436"/>
                  </a:cubicBezTo>
                  <a:cubicBezTo>
                    <a:pt x="11184" y="6617"/>
                    <a:pt x="10523" y="5924"/>
                    <a:pt x="9672" y="5924"/>
                  </a:cubicBezTo>
                  <a:lnTo>
                    <a:pt x="9515" y="5924"/>
                  </a:lnTo>
                  <a:cubicBezTo>
                    <a:pt x="9042" y="4317"/>
                    <a:pt x="7687" y="3151"/>
                    <a:pt x="5954" y="2994"/>
                  </a:cubicBezTo>
                  <a:lnTo>
                    <a:pt x="5954" y="1828"/>
                  </a:lnTo>
                  <a:cubicBezTo>
                    <a:pt x="5954" y="1198"/>
                    <a:pt x="6459" y="725"/>
                    <a:pt x="7057" y="725"/>
                  </a:cubicBezTo>
                  <a:cubicBezTo>
                    <a:pt x="7687" y="725"/>
                    <a:pt x="8160" y="1230"/>
                    <a:pt x="8160" y="1828"/>
                  </a:cubicBezTo>
                  <a:cubicBezTo>
                    <a:pt x="8160" y="2017"/>
                    <a:pt x="8002" y="2206"/>
                    <a:pt x="7813" y="2206"/>
                  </a:cubicBezTo>
                  <a:cubicBezTo>
                    <a:pt x="7593" y="2206"/>
                    <a:pt x="7435" y="2017"/>
                    <a:pt x="7435" y="1828"/>
                  </a:cubicBezTo>
                  <a:cubicBezTo>
                    <a:pt x="7435" y="1639"/>
                    <a:pt x="7278" y="1482"/>
                    <a:pt x="7089" y="1482"/>
                  </a:cubicBezTo>
                  <a:cubicBezTo>
                    <a:pt x="6900" y="1482"/>
                    <a:pt x="6742" y="1639"/>
                    <a:pt x="6742" y="1828"/>
                  </a:cubicBezTo>
                  <a:cubicBezTo>
                    <a:pt x="6742" y="2458"/>
                    <a:pt x="7246" y="2931"/>
                    <a:pt x="7845" y="2931"/>
                  </a:cubicBezTo>
                  <a:cubicBezTo>
                    <a:pt x="8475" y="2931"/>
                    <a:pt x="8947" y="2427"/>
                    <a:pt x="8947" y="1828"/>
                  </a:cubicBezTo>
                  <a:cubicBezTo>
                    <a:pt x="8947" y="820"/>
                    <a:pt x="8128"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9" name="Google Shape;10139;p78"/>
          <p:cNvGrpSpPr/>
          <p:nvPr/>
        </p:nvGrpSpPr>
        <p:grpSpPr>
          <a:xfrm>
            <a:off x="6198887" y="3830738"/>
            <a:ext cx="361969" cy="361544"/>
            <a:chOff x="-53690500" y="2686575"/>
            <a:chExt cx="319000" cy="318625"/>
          </a:xfrm>
        </p:grpSpPr>
        <p:sp>
          <p:nvSpPr>
            <p:cNvPr id="10140" name="Google Shape;10140;p78"/>
            <p:cNvSpPr/>
            <p:nvPr/>
          </p:nvSpPr>
          <p:spPr>
            <a:xfrm>
              <a:off x="-53567625" y="2917925"/>
              <a:ext cx="73250" cy="29775"/>
            </a:xfrm>
            <a:custGeom>
              <a:avLst/>
              <a:gdLst/>
              <a:ahLst/>
              <a:cxnLst/>
              <a:rect l="l" t="t" r="r" b="b"/>
              <a:pathLst>
                <a:path w="2930" h="1191" extrusionOk="0">
                  <a:moveTo>
                    <a:pt x="410" y="1"/>
                  </a:moveTo>
                  <a:cubicBezTo>
                    <a:pt x="315" y="1"/>
                    <a:pt x="221" y="40"/>
                    <a:pt x="158" y="119"/>
                  </a:cubicBezTo>
                  <a:cubicBezTo>
                    <a:pt x="0" y="277"/>
                    <a:pt x="0" y="529"/>
                    <a:pt x="158" y="655"/>
                  </a:cubicBezTo>
                  <a:cubicBezTo>
                    <a:pt x="504" y="1001"/>
                    <a:pt x="977" y="1190"/>
                    <a:pt x="1449" y="1190"/>
                  </a:cubicBezTo>
                  <a:cubicBezTo>
                    <a:pt x="1922" y="1190"/>
                    <a:pt x="2458" y="1001"/>
                    <a:pt x="2773" y="655"/>
                  </a:cubicBezTo>
                  <a:cubicBezTo>
                    <a:pt x="2930" y="497"/>
                    <a:pt x="2930" y="245"/>
                    <a:pt x="2773" y="119"/>
                  </a:cubicBezTo>
                  <a:cubicBezTo>
                    <a:pt x="2710" y="72"/>
                    <a:pt x="2615" y="48"/>
                    <a:pt x="2517" y="48"/>
                  </a:cubicBezTo>
                  <a:cubicBezTo>
                    <a:pt x="2418" y="48"/>
                    <a:pt x="2316" y="72"/>
                    <a:pt x="2237" y="119"/>
                  </a:cubicBezTo>
                  <a:cubicBezTo>
                    <a:pt x="2048" y="340"/>
                    <a:pt x="1733" y="434"/>
                    <a:pt x="1449" y="434"/>
                  </a:cubicBezTo>
                  <a:cubicBezTo>
                    <a:pt x="1134" y="434"/>
                    <a:pt x="882" y="340"/>
                    <a:pt x="662" y="119"/>
                  </a:cubicBezTo>
                  <a:cubicBezTo>
                    <a:pt x="599" y="40"/>
                    <a:pt x="504"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78"/>
            <p:cNvSpPr/>
            <p:nvPr/>
          </p:nvSpPr>
          <p:spPr>
            <a:xfrm>
              <a:off x="-535770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2" name="Google Shape;10142;p78"/>
            <p:cNvSpPr/>
            <p:nvPr/>
          </p:nvSpPr>
          <p:spPr>
            <a:xfrm>
              <a:off x="-5350225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3" name="Google Shape;10143;p78"/>
            <p:cNvSpPr/>
            <p:nvPr/>
          </p:nvSpPr>
          <p:spPr>
            <a:xfrm>
              <a:off x="-53690500" y="2686575"/>
              <a:ext cx="319000" cy="318625"/>
            </a:xfrm>
            <a:custGeom>
              <a:avLst/>
              <a:gdLst/>
              <a:ahLst/>
              <a:cxnLst/>
              <a:rect l="l" t="t" r="r" b="b"/>
              <a:pathLst>
                <a:path w="12760" h="12745" extrusionOk="0">
                  <a:moveTo>
                    <a:pt x="6364" y="804"/>
                  </a:moveTo>
                  <a:lnTo>
                    <a:pt x="11059" y="3765"/>
                  </a:lnTo>
                  <a:lnTo>
                    <a:pt x="1702" y="3765"/>
                  </a:lnTo>
                  <a:lnTo>
                    <a:pt x="6364" y="804"/>
                  </a:lnTo>
                  <a:close/>
                  <a:moveTo>
                    <a:pt x="5797" y="4490"/>
                  </a:moveTo>
                  <a:cubicBezTo>
                    <a:pt x="5262" y="5404"/>
                    <a:pt x="4285" y="6002"/>
                    <a:pt x="3214" y="6002"/>
                  </a:cubicBezTo>
                  <a:lnTo>
                    <a:pt x="2237" y="6002"/>
                  </a:lnTo>
                  <a:cubicBezTo>
                    <a:pt x="1954" y="6002"/>
                    <a:pt x="1733" y="6065"/>
                    <a:pt x="1513" y="6191"/>
                  </a:cubicBezTo>
                  <a:lnTo>
                    <a:pt x="1513" y="4490"/>
                  </a:lnTo>
                  <a:close/>
                  <a:moveTo>
                    <a:pt x="11248" y="4490"/>
                  </a:moveTo>
                  <a:lnTo>
                    <a:pt x="11248" y="6191"/>
                  </a:lnTo>
                  <a:cubicBezTo>
                    <a:pt x="11027" y="6065"/>
                    <a:pt x="10775" y="6002"/>
                    <a:pt x="10523" y="6002"/>
                  </a:cubicBezTo>
                  <a:lnTo>
                    <a:pt x="9515" y="6002"/>
                  </a:lnTo>
                  <a:cubicBezTo>
                    <a:pt x="8475" y="6002"/>
                    <a:pt x="7467" y="5404"/>
                    <a:pt x="6963" y="4490"/>
                  </a:cubicBezTo>
                  <a:close/>
                  <a:moveTo>
                    <a:pt x="2237" y="6758"/>
                  </a:moveTo>
                  <a:lnTo>
                    <a:pt x="2237" y="8239"/>
                  </a:lnTo>
                  <a:cubicBezTo>
                    <a:pt x="1859" y="8239"/>
                    <a:pt x="1481" y="7892"/>
                    <a:pt x="1481" y="7483"/>
                  </a:cubicBezTo>
                  <a:cubicBezTo>
                    <a:pt x="1481" y="7105"/>
                    <a:pt x="1796" y="6758"/>
                    <a:pt x="2237" y="6758"/>
                  </a:cubicBezTo>
                  <a:close/>
                  <a:moveTo>
                    <a:pt x="10523" y="6758"/>
                  </a:moveTo>
                  <a:cubicBezTo>
                    <a:pt x="10901" y="6758"/>
                    <a:pt x="11248" y="7073"/>
                    <a:pt x="11248" y="7483"/>
                  </a:cubicBezTo>
                  <a:cubicBezTo>
                    <a:pt x="11248" y="7892"/>
                    <a:pt x="10933" y="8239"/>
                    <a:pt x="10523" y="8239"/>
                  </a:cubicBezTo>
                  <a:lnTo>
                    <a:pt x="10523" y="6758"/>
                  </a:lnTo>
                  <a:close/>
                  <a:moveTo>
                    <a:pt x="1481" y="8806"/>
                  </a:moveTo>
                  <a:cubicBezTo>
                    <a:pt x="1733" y="8901"/>
                    <a:pt x="1954" y="8995"/>
                    <a:pt x="2237" y="8995"/>
                  </a:cubicBezTo>
                  <a:cubicBezTo>
                    <a:pt x="2363" y="10224"/>
                    <a:pt x="2993" y="11326"/>
                    <a:pt x="4002" y="11988"/>
                  </a:cubicBezTo>
                  <a:lnTo>
                    <a:pt x="1481" y="11988"/>
                  </a:lnTo>
                  <a:lnTo>
                    <a:pt x="1481" y="8806"/>
                  </a:lnTo>
                  <a:close/>
                  <a:moveTo>
                    <a:pt x="6333" y="5025"/>
                  </a:moveTo>
                  <a:cubicBezTo>
                    <a:pt x="6585" y="5404"/>
                    <a:pt x="6932" y="5750"/>
                    <a:pt x="7310" y="6065"/>
                  </a:cubicBezTo>
                  <a:cubicBezTo>
                    <a:pt x="7940" y="6506"/>
                    <a:pt x="8696" y="6758"/>
                    <a:pt x="9452" y="6758"/>
                  </a:cubicBezTo>
                  <a:lnTo>
                    <a:pt x="9672" y="6758"/>
                  </a:lnTo>
                  <a:lnTo>
                    <a:pt x="9672" y="8586"/>
                  </a:lnTo>
                  <a:lnTo>
                    <a:pt x="9767" y="8586"/>
                  </a:lnTo>
                  <a:cubicBezTo>
                    <a:pt x="9767" y="10444"/>
                    <a:pt x="8223" y="11988"/>
                    <a:pt x="6364" y="11988"/>
                  </a:cubicBezTo>
                  <a:cubicBezTo>
                    <a:pt x="4537" y="11988"/>
                    <a:pt x="2993" y="10444"/>
                    <a:pt x="2993" y="8586"/>
                  </a:cubicBezTo>
                  <a:lnTo>
                    <a:pt x="2993" y="6758"/>
                  </a:lnTo>
                  <a:lnTo>
                    <a:pt x="3214" y="6758"/>
                  </a:lnTo>
                  <a:cubicBezTo>
                    <a:pt x="4002" y="6758"/>
                    <a:pt x="4726" y="6506"/>
                    <a:pt x="5356" y="6065"/>
                  </a:cubicBezTo>
                  <a:cubicBezTo>
                    <a:pt x="5734" y="5813"/>
                    <a:pt x="6112" y="5435"/>
                    <a:pt x="6333" y="5025"/>
                  </a:cubicBezTo>
                  <a:close/>
                  <a:moveTo>
                    <a:pt x="11248" y="8806"/>
                  </a:moveTo>
                  <a:lnTo>
                    <a:pt x="11248" y="12020"/>
                  </a:lnTo>
                  <a:lnTo>
                    <a:pt x="8727" y="12020"/>
                  </a:lnTo>
                  <a:lnTo>
                    <a:pt x="8727" y="11988"/>
                  </a:lnTo>
                  <a:cubicBezTo>
                    <a:pt x="9735" y="11326"/>
                    <a:pt x="10397" y="10224"/>
                    <a:pt x="10523" y="8995"/>
                  </a:cubicBezTo>
                  <a:cubicBezTo>
                    <a:pt x="10775" y="8995"/>
                    <a:pt x="11027" y="8901"/>
                    <a:pt x="11248" y="8806"/>
                  </a:cubicBezTo>
                  <a:close/>
                  <a:moveTo>
                    <a:pt x="6380" y="0"/>
                  </a:moveTo>
                  <a:cubicBezTo>
                    <a:pt x="6309" y="0"/>
                    <a:pt x="6238" y="16"/>
                    <a:pt x="6175" y="48"/>
                  </a:cubicBezTo>
                  <a:lnTo>
                    <a:pt x="189" y="3797"/>
                  </a:lnTo>
                  <a:cubicBezTo>
                    <a:pt x="32" y="3860"/>
                    <a:pt x="0" y="4080"/>
                    <a:pt x="32" y="4238"/>
                  </a:cubicBezTo>
                  <a:cubicBezTo>
                    <a:pt x="95" y="4395"/>
                    <a:pt x="252" y="4490"/>
                    <a:pt x="378" y="4490"/>
                  </a:cubicBezTo>
                  <a:lnTo>
                    <a:pt x="757" y="4490"/>
                  </a:lnTo>
                  <a:lnTo>
                    <a:pt x="757" y="12366"/>
                  </a:lnTo>
                  <a:cubicBezTo>
                    <a:pt x="757" y="12587"/>
                    <a:pt x="914" y="12744"/>
                    <a:pt x="1103" y="12744"/>
                  </a:cubicBezTo>
                  <a:lnTo>
                    <a:pt x="11626" y="12744"/>
                  </a:lnTo>
                  <a:cubicBezTo>
                    <a:pt x="11815" y="12744"/>
                    <a:pt x="11972" y="12587"/>
                    <a:pt x="11972" y="12366"/>
                  </a:cubicBezTo>
                  <a:lnTo>
                    <a:pt x="11972" y="4490"/>
                  </a:lnTo>
                  <a:lnTo>
                    <a:pt x="12319" y="4490"/>
                  </a:lnTo>
                  <a:cubicBezTo>
                    <a:pt x="12476" y="4490"/>
                    <a:pt x="12634" y="4395"/>
                    <a:pt x="12665" y="4238"/>
                  </a:cubicBezTo>
                  <a:cubicBezTo>
                    <a:pt x="12760" y="4080"/>
                    <a:pt x="12728" y="3923"/>
                    <a:pt x="12571" y="3797"/>
                  </a:cubicBezTo>
                  <a:lnTo>
                    <a:pt x="6585" y="48"/>
                  </a:lnTo>
                  <a:cubicBezTo>
                    <a:pt x="6522" y="16"/>
                    <a:pt x="6451" y="0"/>
                    <a:pt x="63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4" name="Google Shape;10144;p78"/>
          <p:cNvGrpSpPr/>
          <p:nvPr/>
        </p:nvGrpSpPr>
        <p:grpSpPr>
          <a:xfrm>
            <a:off x="8008669" y="3373598"/>
            <a:ext cx="317319" cy="360948"/>
            <a:chOff x="-52092425" y="2303525"/>
            <a:chExt cx="279650" cy="318100"/>
          </a:xfrm>
        </p:grpSpPr>
        <p:sp>
          <p:nvSpPr>
            <p:cNvPr id="10145" name="Google Shape;10145;p78"/>
            <p:cNvSpPr/>
            <p:nvPr/>
          </p:nvSpPr>
          <p:spPr>
            <a:xfrm>
              <a:off x="-51989225" y="2535950"/>
              <a:ext cx="72475" cy="29750"/>
            </a:xfrm>
            <a:custGeom>
              <a:avLst/>
              <a:gdLst/>
              <a:ahLst/>
              <a:cxnLst/>
              <a:rect l="l" t="t" r="r" b="b"/>
              <a:pathLst>
                <a:path w="2899" h="1190" extrusionOk="0">
                  <a:moveTo>
                    <a:pt x="398" y="0"/>
                  </a:moveTo>
                  <a:cubicBezTo>
                    <a:pt x="307" y="0"/>
                    <a:pt x="221" y="40"/>
                    <a:pt x="158" y="118"/>
                  </a:cubicBezTo>
                  <a:cubicBezTo>
                    <a:pt x="0" y="276"/>
                    <a:pt x="0" y="528"/>
                    <a:pt x="158" y="654"/>
                  </a:cubicBezTo>
                  <a:cubicBezTo>
                    <a:pt x="504" y="1000"/>
                    <a:pt x="977" y="1189"/>
                    <a:pt x="1449" y="1189"/>
                  </a:cubicBezTo>
                  <a:cubicBezTo>
                    <a:pt x="1922" y="1189"/>
                    <a:pt x="2426" y="1000"/>
                    <a:pt x="2741" y="654"/>
                  </a:cubicBezTo>
                  <a:cubicBezTo>
                    <a:pt x="2899" y="496"/>
                    <a:pt x="2899" y="244"/>
                    <a:pt x="2741" y="118"/>
                  </a:cubicBezTo>
                  <a:cubicBezTo>
                    <a:pt x="2662" y="40"/>
                    <a:pt x="2568" y="0"/>
                    <a:pt x="2477" y="0"/>
                  </a:cubicBezTo>
                  <a:cubicBezTo>
                    <a:pt x="2387" y="0"/>
                    <a:pt x="2300" y="40"/>
                    <a:pt x="2237" y="118"/>
                  </a:cubicBezTo>
                  <a:cubicBezTo>
                    <a:pt x="2048" y="339"/>
                    <a:pt x="1733" y="433"/>
                    <a:pt x="1449" y="433"/>
                  </a:cubicBezTo>
                  <a:cubicBezTo>
                    <a:pt x="1134" y="433"/>
                    <a:pt x="851" y="339"/>
                    <a:pt x="662" y="118"/>
                  </a:cubicBezTo>
                  <a:cubicBezTo>
                    <a:pt x="583" y="40"/>
                    <a:pt x="488"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78"/>
            <p:cNvSpPr/>
            <p:nvPr/>
          </p:nvSpPr>
          <p:spPr>
            <a:xfrm>
              <a:off x="-52092425" y="2303525"/>
              <a:ext cx="279650" cy="318100"/>
            </a:xfrm>
            <a:custGeom>
              <a:avLst/>
              <a:gdLst/>
              <a:ahLst/>
              <a:cxnLst/>
              <a:rect l="l" t="t" r="r" b="b"/>
              <a:pathLst>
                <a:path w="11186" h="12724" extrusionOk="0">
                  <a:moveTo>
                    <a:pt x="9610" y="878"/>
                  </a:moveTo>
                  <a:lnTo>
                    <a:pt x="9295" y="2957"/>
                  </a:lnTo>
                  <a:cubicBezTo>
                    <a:pt x="8381" y="2957"/>
                    <a:pt x="7625" y="2327"/>
                    <a:pt x="7468" y="1476"/>
                  </a:cubicBezTo>
                  <a:lnTo>
                    <a:pt x="9610" y="878"/>
                  </a:lnTo>
                  <a:close/>
                  <a:moveTo>
                    <a:pt x="3719" y="1476"/>
                  </a:moveTo>
                  <a:cubicBezTo>
                    <a:pt x="4128" y="1476"/>
                    <a:pt x="4475" y="1791"/>
                    <a:pt x="4475" y="2201"/>
                  </a:cubicBezTo>
                  <a:cubicBezTo>
                    <a:pt x="4475" y="2610"/>
                    <a:pt x="4128" y="2957"/>
                    <a:pt x="3719" y="2957"/>
                  </a:cubicBezTo>
                  <a:cubicBezTo>
                    <a:pt x="3624" y="2957"/>
                    <a:pt x="3498" y="2925"/>
                    <a:pt x="3403" y="2894"/>
                  </a:cubicBezTo>
                  <a:cubicBezTo>
                    <a:pt x="3349" y="2861"/>
                    <a:pt x="3294" y="2847"/>
                    <a:pt x="3241" y="2847"/>
                  </a:cubicBezTo>
                  <a:cubicBezTo>
                    <a:pt x="3144" y="2847"/>
                    <a:pt x="3055" y="2895"/>
                    <a:pt x="2994" y="2957"/>
                  </a:cubicBezTo>
                  <a:cubicBezTo>
                    <a:pt x="2868" y="3083"/>
                    <a:pt x="2836" y="3240"/>
                    <a:pt x="2899" y="3398"/>
                  </a:cubicBezTo>
                  <a:cubicBezTo>
                    <a:pt x="2931" y="3524"/>
                    <a:pt x="2994" y="3618"/>
                    <a:pt x="2994" y="3713"/>
                  </a:cubicBezTo>
                  <a:cubicBezTo>
                    <a:pt x="2994" y="4091"/>
                    <a:pt x="2616" y="4469"/>
                    <a:pt x="2238" y="4469"/>
                  </a:cubicBezTo>
                  <a:cubicBezTo>
                    <a:pt x="1828" y="4469"/>
                    <a:pt x="1482" y="4154"/>
                    <a:pt x="1482" y="3713"/>
                  </a:cubicBezTo>
                  <a:cubicBezTo>
                    <a:pt x="1482" y="3492"/>
                    <a:pt x="1608" y="3303"/>
                    <a:pt x="1671" y="3209"/>
                  </a:cubicBezTo>
                  <a:cubicBezTo>
                    <a:pt x="1797" y="3083"/>
                    <a:pt x="1797" y="2894"/>
                    <a:pt x="1639" y="2736"/>
                  </a:cubicBezTo>
                  <a:cubicBezTo>
                    <a:pt x="1576" y="2610"/>
                    <a:pt x="1450" y="2453"/>
                    <a:pt x="1450" y="2201"/>
                  </a:cubicBezTo>
                  <a:cubicBezTo>
                    <a:pt x="1450" y="1823"/>
                    <a:pt x="1765" y="1476"/>
                    <a:pt x="2206" y="1476"/>
                  </a:cubicBezTo>
                  <a:cubicBezTo>
                    <a:pt x="2427" y="1476"/>
                    <a:pt x="2584" y="1571"/>
                    <a:pt x="2710" y="1665"/>
                  </a:cubicBezTo>
                  <a:cubicBezTo>
                    <a:pt x="2789" y="1728"/>
                    <a:pt x="2876" y="1760"/>
                    <a:pt x="2962" y="1760"/>
                  </a:cubicBezTo>
                  <a:cubicBezTo>
                    <a:pt x="3049" y="1760"/>
                    <a:pt x="3136" y="1728"/>
                    <a:pt x="3214" y="1665"/>
                  </a:cubicBezTo>
                  <a:cubicBezTo>
                    <a:pt x="3340" y="1571"/>
                    <a:pt x="3498" y="1476"/>
                    <a:pt x="3719" y="1476"/>
                  </a:cubicBezTo>
                  <a:close/>
                  <a:moveTo>
                    <a:pt x="6774" y="1697"/>
                  </a:moveTo>
                  <a:cubicBezTo>
                    <a:pt x="7027" y="2862"/>
                    <a:pt x="8035" y="3681"/>
                    <a:pt x="9200" y="3713"/>
                  </a:cubicBezTo>
                  <a:lnTo>
                    <a:pt x="9011" y="5225"/>
                  </a:lnTo>
                  <a:cubicBezTo>
                    <a:pt x="7247" y="5099"/>
                    <a:pt x="5735" y="3839"/>
                    <a:pt x="5294" y="2138"/>
                  </a:cubicBezTo>
                  <a:lnTo>
                    <a:pt x="6774" y="1697"/>
                  </a:lnTo>
                  <a:close/>
                  <a:moveTo>
                    <a:pt x="1450" y="6737"/>
                  </a:moveTo>
                  <a:lnTo>
                    <a:pt x="1450" y="8250"/>
                  </a:lnTo>
                  <a:cubicBezTo>
                    <a:pt x="1041" y="8250"/>
                    <a:pt x="694" y="7935"/>
                    <a:pt x="694" y="7494"/>
                  </a:cubicBezTo>
                  <a:cubicBezTo>
                    <a:pt x="694" y="7115"/>
                    <a:pt x="1009" y="6737"/>
                    <a:pt x="1450" y="6737"/>
                  </a:cubicBezTo>
                  <a:close/>
                  <a:moveTo>
                    <a:pt x="9673" y="6737"/>
                  </a:moveTo>
                  <a:cubicBezTo>
                    <a:pt x="10083" y="6737"/>
                    <a:pt x="10429" y="7052"/>
                    <a:pt x="10429" y="7494"/>
                  </a:cubicBezTo>
                  <a:cubicBezTo>
                    <a:pt x="10429" y="7935"/>
                    <a:pt x="10083" y="8250"/>
                    <a:pt x="9673" y="8250"/>
                  </a:cubicBezTo>
                  <a:lnTo>
                    <a:pt x="9673" y="6737"/>
                  </a:lnTo>
                  <a:close/>
                  <a:moveTo>
                    <a:pt x="4884" y="3209"/>
                  </a:moveTo>
                  <a:cubicBezTo>
                    <a:pt x="5609" y="4784"/>
                    <a:pt x="7184" y="5824"/>
                    <a:pt x="8917" y="5981"/>
                  </a:cubicBezTo>
                  <a:lnTo>
                    <a:pt x="8917" y="6422"/>
                  </a:lnTo>
                  <a:lnTo>
                    <a:pt x="8917" y="8659"/>
                  </a:lnTo>
                  <a:cubicBezTo>
                    <a:pt x="8917" y="10486"/>
                    <a:pt x="7436" y="11999"/>
                    <a:pt x="5577" y="11999"/>
                  </a:cubicBezTo>
                  <a:cubicBezTo>
                    <a:pt x="3719" y="11999"/>
                    <a:pt x="2238" y="10486"/>
                    <a:pt x="2238" y="8628"/>
                  </a:cubicBezTo>
                  <a:lnTo>
                    <a:pt x="2238" y="5603"/>
                  </a:lnTo>
                  <a:cubicBezTo>
                    <a:pt x="2238" y="5477"/>
                    <a:pt x="2238" y="5383"/>
                    <a:pt x="2269" y="5257"/>
                  </a:cubicBezTo>
                  <a:cubicBezTo>
                    <a:pt x="3088" y="5257"/>
                    <a:pt x="3719" y="4595"/>
                    <a:pt x="3719" y="3744"/>
                  </a:cubicBezTo>
                  <a:cubicBezTo>
                    <a:pt x="4191" y="3744"/>
                    <a:pt x="4601" y="3555"/>
                    <a:pt x="4884" y="3209"/>
                  </a:cubicBezTo>
                  <a:close/>
                  <a:moveTo>
                    <a:pt x="10072" y="1"/>
                  </a:moveTo>
                  <a:cubicBezTo>
                    <a:pt x="10033" y="1"/>
                    <a:pt x="9993" y="8"/>
                    <a:pt x="9956" y="27"/>
                  </a:cubicBezTo>
                  <a:lnTo>
                    <a:pt x="4979" y="1445"/>
                  </a:lnTo>
                  <a:cubicBezTo>
                    <a:pt x="4727" y="1004"/>
                    <a:pt x="4254" y="720"/>
                    <a:pt x="3719" y="720"/>
                  </a:cubicBezTo>
                  <a:cubicBezTo>
                    <a:pt x="3466" y="720"/>
                    <a:pt x="3214" y="783"/>
                    <a:pt x="2994" y="909"/>
                  </a:cubicBezTo>
                  <a:cubicBezTo>
                    <a:pt x="2742" y="783"/>
                    <a:pt x="2521" y="720"/>
                    <a:pt x="2238" y="720"/>
                  </a:cubicBezTo>
                  <a:cubicBezTo>
                    <a:pt x="1419" y="720"/>
                    <a:pt x="726" y="1382"/>
                    <a:pt x="726" y="2232"/>
                  </a:cubicBezTo>
                  <a:cubicBezTo>
                    <a:pt x="726" y="2484"/>
                    <a:pt x="820" y="2736"/>
                    <a:pt x="946" y="2957"/>
                  </a:cubicBezTo>
                  <a:cubicBezTo>
                    <a:pt x="820" y="3209"/>
                    <a:pt x="726" y="3429"/>
                    <a:pt x="726" y="3713"/>
                  </a:cubicBezTo>
                  <a:cubicBezTo>
                    <a:pt x="726" y="4280"/>
                    <a:pt x="1041" y="4784"/>
                    <a:pt x="1513" y="5005"/>
                  </a:cubicBezTo>
                  <a:cubicBezTo>
                    <a:pt x="1482" y="5225"/>
                    <a:pt x="1482" y="5383"/>
                    <a:pt x="1482" y="5572"/>
                  </a:cubicBezTo>
                  <a:lnTo>
                    <a:pt x="1482" y="6013"/>
                  </a:lnTo>
                  <a:cubicBezTo>
                    <a:pt x="663" y="6013"/>
                    <a:pt x="1" y="6674"/>
                    <a:pt x="1" y="7494"/>
                  </a:cubicBezTo>
                  <a:cubicBezTo>
                    <a:pt x="1" y="8313"/>
                    <a:pt x="663" y="9006"/>
                    <a:pt x="1482" y="9006"/>
                  </a:cubicBezTo>
                  <a:cubicBezTo>
                    <a:pt x="1671" y="11085"/>
                    <a:pt x="3466" y="12723"/>
                    <a:pt x="5577" y="12723"/>
                  </a:cubicBezTo>
                  <a:cubicBezTo>
                    <a:pt x="7720" y="12723"/>
                    <a:pt x="9484" y="11085"/>
                    <a:pt x="9673" y="9006"/>
                  </a:cubicBezTo>
                  <a:cubicBezTo>
                    <a:pt x="10492" y="9006"/>
                    <a:pt x="11185" y="8313"/>
                    <a:pt x="11185" y="7494"/>
                  </a:cubicBezTo>
                  <a:cubicBezTo>
                    <a:pt x="11185" y="6674"/>
                    <a:pt x="10492" y="6013"/>
                    <a:pt x="9673" y="6013"/>
                  </a:cubicBezTo>
                  <a:lnTo>
                    <a:pt x="9673" y="5603"/>
                  </a:lnTo>
                  <a:cubicBezTo>
                    <a:pt x="9704" y="5414"/>
                    <a:pt x="10398" y="594"/>
                    <a:pt x="10429" y="405"/>
                  </a:cubicBezTo>
                  <a:cubicBezTo>
                    <a:pt x="10429" y="279"/>
                    <a:pt x="10398" y="184"/>
                    <a:pt x="10303" y="90"/>
                  </a:cubicBezTo>
                  <a:cubicBezTo>
                    <a:pt x="10258" y="45"/>
                    <a:pt x="10167" y="1"/>
                    <a:pt x="10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78"/>
            <p:cNvSpPr/>
            <p:nvPr/>
          </p:nvSpPr>
          <p:spPr>
            <a:xfrm>
              <a:off x="-51998675" y="2454625"/>
              <a:ext cx="17325" cy="17350"/>
            </a:xfrm>
            <a:custGeom>
              <a:avLst/>
              <a:gdLst/>
              <a:ahLst/>
              <a:cxnLst/>
              <a:rect l="l" t="t" r="r" b="b"/>
              <a:pathLst>
                <a:path w="693"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78"/>
            <p:cNvSpPr/>
            <p:nvPr/>
          </p:nvSpPr>
          <p:spPr>
            <a:xfrm>
              <a:off x="-51925450" y="2454625"/>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78"/>
            <p:cNvSpPr/>
            <p:nvPr/>
          </p:nvSpPr>
          <p:spPr>
            <a:xfrm>
              <a:off x="-51981350" y="2472725"/>
              <a:ext cx="55925" cy="55950"/>
            </a:xfrm>
            <a:custGeom>
              <a:avLst/>
              <a:gdLst/>
              <a:ahLst/>
              <a:cxnLst/>
              <a:rect l="l" t="t" r="r" b="b"/>
              <a:pathLst>
                <a:path w="2237" h="2238" extrusionOk="0">
                  <a:moveTo>
                    <a:pt x="1134" y="726"/>
                  </a:moveTo>
                  <a:cubicBezTo>
                    <a:pt x="1323" y="726"/>
                    <a:pt x="1481" y="883"/>
                    <a:pt x="1481" y="1072"/>
                  </a:cubicBezTo>
                  <a:cubicBezTo>
                    <a:pt x="1481" y="1293"/>
                    <a:pt x="1323" y="1450"/>
                    <a:pt x="1134" y="1450"/>
                  </a:cubicBezTo>
                  <a:cubicBezTo>
                    <a:pt x="945" y="1450"/>
                    <a:pt x="788" y="1293"/>
                    <a:pt x="788" y="1072"/>
                  </a:cubicBezTo>
                  <a:cubicBezTo>
                    <a:pt x="756" y="915"/>
                    <a:pt x="914" y="726"/>
                    <a:pt x="1134" y="726"/>
                  </a:cubicBezTo>
                  <a:close/>
                  <a:moveTo>
                    <a:pt x="1134" y="1"/>
                  </a:moveTo>
                  <a:cubicBezTo>
                    <a:pt x="504" y="1"/>
                    <a:pt x="32" y="536"/>
                    <a:pt x="32" y="1135"/>
                  </a:cubicBezTo>
                  <a:cubicBezTo>
                    <a:pt x="0" y="1765"/>
                    <a:pt x="504" y="2238"/>
                    <a:pt x="1134" y="2238"/>
                  </a:cubicBezTo>
                  <a:cubicBezTo>
                    <a:pt x="1764" y="2238"/>
                    <a:pt x="2237" y="1702"/>
                    <a:pt x="2237" y="1135"/>
                  </a:cubicBezTo>
                  <a:cubicBezTo>
                    <a:pt x="2237" y="505"/>
                    <a:pt x="1733" y="1"/>
                    <a:pt x="11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50" name="Google Shape;10150;p78"/>
          <p:cNvGrpSpPr/>
          <p:nvPr/>
        </p:nvGrpSpPr>
        <p:grpSpPr>
          <a:xfrm>
            <a:off x="5727728" y="1534061"/>
            <a:ext cx="363756" cy="361090"/>
            <a:chOff x="-57189125" y="1904850"/>
            <a:chExt cx="320575" cy="318225"/>
          </a:xfrm>
        </p:grpSpPr>
        <p:sp>
          <p:nvSpPr>
            <p:cNvPr id="10151" name="Google Shape;10151;p78"/>
            <p:cNvSpPr/>
            <p:nvPr/>
          </p:nvSpPr>
          <p:spPr>
            <a:xfrm>
              <a:off x="-57073350" y="2072625"/>
              <a:ext cx="18125" cy="17350"/>
            </a:xfrm>
            <a:custGeom>
              <a:avLst/>
              <a:gdLst/>
              <a:ahLst/>
              <a:cxnLst/>
              <a:rect l="l" t="t" r="r" b="b"/>
              <a:pathLst>
                <a:path w="725" h="694" extrusionOk="0">
                  <a:moveTo>
                    <a:pt x="347" y="0"/>
                  </a:moveTo>
                  <a:cubicBezTo>
                    <a:pt x="158" y="0"/>
                    <a:pt x="1" y="158"/>
                    <a:pt x="1" y="347"/>
                  </a:cubicBezTo>
                  <a:cubicBezTo>
                    <a:pt x="1" y="536"/>
                    <a:pt x="158" y="694"/>
                    <a:pt x="347" y="694"/>
                  </a:cubicBezTo>
                  <a:cubicBezTo>
                    <a:pt x="536" y="694"/>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78"/>
            <p:cNvSpPr/>
            <p:nvPr/>
          </p:nvSpPr>
          <p:spPr>
            <a:xfrm>
              <a:off x="-569985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78"/>
            <p:cNvSpPr/>
            <p:nvPr/>
          </p:nvSpPr>
          <p:spPr>
            <a:xfrm>
              <a:off x="-57035550" y="20072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78"/>
            <p:cNvSpPr/>
            <p:nvPr/>
          </p:nvSpPr>
          <p:spPr>
            <a:xfrm>
              <a:off x="-57063900" y="2135825"/>
              <a:ext cx="73275" cy="28975"/>
            </a:xfrm>
            <a:custGeom>
              <a:avLst/>
              <a:gdLst/>
              <a:ahLst/>
              <a:cxnLst/>
              <a:rect l="l" t="t" r="r" b="b"/>
              <a:pathLst>
                <a:path w="2931" h="1159" extrusionOk="0">
                  <a:moveTo>
                    <a:pt x="414" y="1"/>
                  </a:moveTo>
                  <a:cubicBezTo>
                    <a:pt x="316" y="1"/>
                    <a:pt x="221" y="40"/>
                    <a:pt x="158" y="119"/>
                  </a:cubicBezTo>
                  <a:cubicBezTo>
                    <a:pt x="1" y="276"/>
                    <a:pt x="1" y="497"/>
                    <a:pt x="158" y="623"/>
                  </a:cubicBezTo>
                  <a:cubicBezTo>
                    <a:pt x="536" y="970"/>
                    <a:pt x="1009" y="1159"/>
                    <a:pt x="1481" y="1159"/>
                  </a:cubicBezTo>
                  <a:cubicBezTo>
                    <a:pt x="1954" y="1159"/>
                    <a:pt x="2458" y="970"/>
                    <a:pt x="2773" y="623"/>
                  </a:cubicBezTo>
                  <a:cubicBezTo>
                    <a:pt x="2931" y="465"/>
                    <a:pt x="2931" y="213"/>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5" name="Google Shape;10155;p78"/>
            <p:cNvSpPr/>
            <p:nvPr/>
          </p:nvSpPr>
          <p:spPr>
            <a:xfrm>
              <a:off x="-57189125" y="1904850"/>
              <a:ext cx="320575" cy="318225"/>
            </a:xfrm>
            <a:custGeom>
              <a:avLst/>
              <a:gdLst/>
              <a:ahLst/>
              <a:cxnLst/>
              <a:rect l="l" t="t" r="r" b="b"/>
              <a:pathLst>
                <a:path w="12823" h="12729" extrusionOk="0">
                  <a:moveTo>
                    <a:pt x="6490" y="726"/>
                  </a:moveTo>
                  <a:cubicBezTo>
                    <a:pt x="6994" y="726"/>
                    <a:pt x="7467" y="1104"/>
                    <a:pt x="7593" y="1639"/>
                  </a:cubicBezTo>
                  <a:cubicBezTo>
                    <a:pt x="7215" y="1545"/>
                    <a:pt x="6868" y="1450"/>
                    <a:pt x="6490" y="1450"/>
                  </a:cubicBezTo>
                  <a:cubicBezTo>
                    <a:pt x="6081" y="1450"/>
                    <a:pt x="5734" y="1513"/>
                    <a:pt x="5388" y="1639"/>
                  </a:cubicBezTo>
                  <a:cubicBezTo>
                    <a:pt x="5482" y="1104"/>
                    <a:pt x="5923" y="726"/>
                    <a:pt x="6490" y="726"/>
                  </a:cubicBezTo>
                  <a:close/>
                  <a:moveTo>
                    <a:pt x="6081" y="2269"/>
                  </a:moveTo>
                  <a:lnTo>
                    <a:pt x="6081" y="2301"/>
                  </a:lnTo>
                  <a:cubicBezTo>
                    <a:pt x="5860" y="2364"/>
                    <a:pt x="5608" y="2584"/>
                    <a:pt x="5482" y="2805"/>
                  </a:cubicBezTo>
                  <a:cubicBezTo>
                    <a:pt x="5104" y="2805"/>
                    <a:pt x="4695" y="2994"/>
                    <a:pt x="4506" y="3372"/>
                  </a:cubicBezTo>
                  <a:cubicBezTo>
                    <a:pt x="4317" y="3719"/>
                    <a:pt x="4317" y="4160"/>
                    <a:pt x="4506" y="4475"/>
                  </a:cubicBezTo>
                  <a:cubicBezTo>
                    <a:pt x="4474" y="4538"/>
                    <a:pt x="4443" y="4664"/>
                    <a:pt x="4380" y="4727"/>
                  </a:cubicBezTo>
                  <a:cubicBezTo>
                    <a:pt x="4002" y="4979"/>
                    <a:pt x="3529" y="5136"/>
                    <a:pt x="3088" y="5168"/>
                  </a:cubicBezTo>
                  <a:cubicBezTo>
                    <a:pt x="3277" y="3624"/>
                    <a:pt x="4537" y="2427"/>
                    <a:pt x="6081" y="2269"/>
                  </a:cubicBezTo>
                  <a:close/>
                  <a:moveTo>
                    <a:pt x="6837" y="2269"/>
                  </a:moveTo>
                  <a:cubicBezTo>
                    <a:pt x="8412" y="2427"/>
                    <a:pt x="9641" y="3624"/>
                    <a:pt x="9830" y="5168"/>
                  </a:cubicBezTo>
                  <a:cubicBezTo>
                    <a:pt x="9357" y="5136"/>
                    <a:pt x="8916" y="4979"/>
                    <a:pt x="8538" y="4727"/>
                  </a:cubicBezTo>
                  <a:cubicBezTo>
                    <a:pt x="8475" y="4632"/>
                    <a:pt x="8444" y="4538"/>
                    <a:pt x="8412" y="4475"/>
                  </a:cubicBezTo>
                  <a:cubicBezTo>
                    <a:pt x="8601" y="4097"/>
                    <a:pt x="8633" y="3719"/>
                    <a:pt x="8412" y="3372"/>
                  </a:cubicBezTo>
                  <a:cubicBezTo>
                    <a:pt x="8223" y="2994"/>
                    <a:pt x="7814" y="2805"/>
                    <a:pt x="7436" y="2805"/>
                  </a:cubicBezTo>
                  <a:cubicBezTo>
                    <a:pt x="7310" y="2584"/>
                    <a:pt x="7057" y="2364"/>
                    <a:pt x="6837" y="2301"/>
                  </a:cubicBezTo>
                  <a:lnTo>
                    <a:pt x="6837" y="2269"/>
                  </a:lnTo>
                  <a:close/>
                  <a:moveTo>
                    <a:pt x="6490" y="2962"/>
                  </a:moveTo>
                  <a:cubicBezTo>
                    <a:pt x="6648" y="2962"/>
                    <a:pt x="6805" y="3088"/>
                    <a:pt x="6837" y="3277"/>
                  </a:cubicBezTo>
                  <a:cubicBezTo>
                    <a:pt x="6863" y="3460"/>
                    <a:pt x="7039" y="3577"/>
                    <a:pt x="7224" y="3577"/>
                  </a:cubicBezTo>
                  <a:cubicBezTo>
                    <a:pt x="7263" y="3577"/>
                    <a:pt x="7303" y="3572"/>
                    <a:pt x="7341" y="3561"/>
                  </a:cubicBezTo>
                  <a:cubicBezTo>
                    <a:pt x="7384" y="3535"/>
                    <a:pt x="7430" y="3523"/>
                    <a:pt x="7476" y="3523"/>
                  </a:cubicBezTo>
                  <a:cubicBezTo>
                    <a:pt x="7595" y="3523"/>
                    <a:pt x="7714" y="3604"/>
                    <a:pt x="7782" y="3719"/>
                  </a:cubicBezTo>
                  <a:cubicBezTo>
                    <a:pt x="7845" y="3876"/>
                    <a:pt x="7814" y="4065"/>
                    <a:pt x="7688" y="4191"/>
                  </a:cubicBezTo>
                  <a:cubicBezTo>
                    <a:pt x="7562" y="4349"/>
                    <a:pt x="7562" y="4601"/>
                    <a:pt x="7688" y="4727"/>
                  </a:cubicBezTo>
                  <a:cubicBezTo>
                    <a:pt x="7845" y="4853"/>
                    <a:pt x="7908" y="5042"/>
                    <a:pt x="7782" y="5199"/>
                  </a:cubicBezTo>
                  <a:cubicBezTo>
                    <a:pt x="7712" y="5316"/>
                    <a:pt x="7590" y="5381"/>
                    <a:pt x="7467" y="5381"/>
                  </a:cubicBezTo>
                  <a:cubicBezTo>
                    <a:pt x="7425" y="5381"/>
                    <a:pt x="7382" y="5373"/>
                    <a:pt x="7341" y="5357"/>
                  </a:cubicBezTo>
                  <a:cubicBezTo>
                    <a:pt x="7303" y="5346"/>
                    <a:pt x="7264" y="5341"/>
                    <a:pt x="7227" y="5341"/>
                  </a:cubicBezTo>
                  <a:cubicBezTo>
                    <a:pt x="7048" y="5341"/>
                    <a:pt x="6889" y="5458"/>
                    <a:pt x="6837" y="5640"/>
                  </a:cubicBezTo>
                  <a:cubicBezTo>
                    <a:pt x="6805" y="5829"/>
                    <a:pt x="6648" y="5955"/>
                    <a:pt x="6490" y="5955"/>
                  </a:cubicBezTo>
                  <a:cubicBezTo>
                    <a:pt x="6333" y="5955"/>
                    <a:pt x="6175" y="5829"/>
                    <a:pt x="6112" y="5640"/>
                  </a:cubicBezTo>
                  <a:cubicBezTo>
                    <a:pt x="6086" y="5458"/>
                    <a:pt x="5931" y="5341"/>
                    <a:pt x="5736" y="5341"/>
                  </a:cubicBezTo>
                  <a:cubicBezTo>
                    <a:pt x="5695" y="5341"/>
                    <a:pt x="5652" y="5346"/>
                    <a:pt x="5608" y="5357"/>
                  </a:cubicBezTo>
                  <a:cubicBezTo>
                    <a:pt x="5565" y="5383"/>
                    <a:pt x="5519" y="5394"/>
                    <a:pt x="5474" y="5394"/>
                  </a:cubicBezTo>
                  <a:cubicBezTo>
                    <a:pt x="5354" y="5394"/>
                    <a:pt x="5236" y="5313"/>
                    <a:pt x="5167" y="5199"/>
                  </a:cubicBezTo>
                  <a:cubicBezTo>
                    <a:pt x="5104" y="5042"/>
                    <a:pt x="5136" y="4853"/>
                    <a:pt x="5262" y="4727"/>
                  </a:cubicBezTo>
                  <a:cubicBezTo>
                    <a:pt x="5419" y="4569"/>
                    <a:pt x="5419" y="4317"/>
                    <a:pt x="5262" y="4191"/>
                  </a:cubicBezTo>
                  <a:cubicBezTo>
                    <a:pt x="5104" y="4065"/>
                    <a:pt x="5073" y="3876"/>
                    <a:pt x="5167" y="3719"/>
                  </a:cubicBezTo>
                  <a:cubicBezTo>
                    <a:pt x="5237" y="3602"/>
                    <a:pt x="5359" y="3537"/>
                    <a:pt x="5482" y="3537"/>
                  </a:cubicBezTo>
                  <a:cubicBezTo>
                    <a:pt x="5525" y="3537"/>
                    <a:pt x="5568" y="3545"/>
                    <a:pt x="5608" y="3561"/>
                  </a:cubicBezTo>
                  <a:cubicBezTo>
                    <a:pt x="5652" y="3572"/>
                    <a:pt x="5694" y="3577"/>
                    <a:pt x="5734" y="3577"/>
                  </a:cubicBezTo>
                  <a:cubicBezTo>
                    <a:pt x="5922" y="3577"/>
                    <a:pt x="6060" y="3460"/>
                    <a:pt x="6112" y="3277"/>
                  </a:cubicBezTo>
                  <a:cubicBezTo>
                    <a:pt x="6175" y="3088"/>
                    <a:pt x="6333" y="2962"/>
                    <a:pt x="6490" y="2962"/>
                  </a:cubicBezTo>
                  <a:close/>
                  <a:moveTo>
                    <a:pt x="2332" y="6711"/>
                  </a:moveTo>
                  <a:lnTo>
                    <a:pt x="2332" y="8192"/>
                  </a:lnTo>
                  <a:cubicBezTo>
                    <a:pt x="1954" y="8192"/>
                    <a:pt x="1607" y="7877"/>
                    <a:pt x="1607" y="7436"/>
                  </a:cubicBezTo>
                  <a:cubicBezTo>
                    <a:pt x="1607" y="7027"/>
                    <a:pt x="1954" y="6711"/>
                    <a:pt x="2332" y="6711"/>
                  </a:cubicBezTo>
                  <a:close/>
                  <a:moveTo>
                    <a:pt x="10618" y="6711"/>
                  </a:moveTo>
                  <a:cubicBezTo>
                    <a:pt x="10996" y="6711"/>
                    <a:pt x="11374" y="7027"/>
                    <a:pt x="11374" y="7468"/>
                  </a:cubicBezTo>
                  <a:cubicBezTo>
                    <a:pt x="11374" y="7846"/>
                    <a:pt x="11059" y="8192"/>
                    <a:pt x="10618" y="8192"/>
                  </a:cubicBezTo>
                  <a:lnTo>
                    <a:pt x="10618" y="6711"/>
                  </a:lnTo>
                  <a:close/>
                  <a:moveTo>
                    <a:pt x="1166" y="8350"/>
                  </a:moveTo>
                  <a:cubicBezTo>
                    <a:pt x="1450" y="8728"/>
                    <a:pt x="1891" y="8948"/>
                    <a:pt x="2363" y="8948"/>
                  </a:cubicBezTo>
                  <a:cubicBezTo>
                    <a:pt x="2332" y="9358"/>
                    <a:pt x="1985" y="9704"/>
                    <a:pt x="1607" y="9704"/>
                  </a:cubicBezTo>
                  <a:cubicBezTo>
                    <a:pt x="1198" y="9704"/>
                    <a:pt x="851" y="9389"/>
                    <a:pt x="851" y="8948"/>
                  </a:cubicBezTo>
                  <a:cubicBezTo>
                    <a:pt x="851" y="8728"/>
                    <a:pt x="977" y="8476"/>
                    <a:pt x="1166" y="8350"/>
                  </a:cubicBezTo>
                  <a:close/>
                  <a:moveTo>
                    <a:pt x="11783" y="8350"/>
                  </a:moveTo>
                  <a:cubicBezTo>
                    <a:pt x="12004" y="8507"/>
                    <a:pt x="12098" y="8728"/>
                    <a:pt x="12098" y="8948"/>
                  </a:cubicBezTo>
                  <a:cubicBezTo>
                    <a:pt x="12098" y="9358"/>
                    <a:pt x="11752" y="9704"/>
                    <a:pt x="11374" y="9704"/>
                  </a:cubicBezTo>
                  <a:cubicBezTo>
                    <a:pt x="10964" y="9704"/>
                    <a:pt x="10618" y="9389"/>
                    <a:pt x="10618" y="8948"/>
                  </a:cubicBezTo>
                  <a:cubicBezTo>
                    <a:pt x="11090" y="8948"/>
                    <a:pt x="11531" y="8728"/>
                    <a:pt x="11783" y="8350"/>
                  </a:cubicBezTo>
                  <a:close/>
                  <a:moveTo>
                    <a:pt x="8381" y="5514"/>
                  </a:moveTo>
                  <a:cubicBezTo>
                    <a:pt x="8790" y="5735"/>
                    <a:pt x="9326" y="5892"/>
                    <a:pt x="9798" y="5924"/>
                  </a:cubicBezTo>
                  <a:lnTo>
                    <a:pt x="9798" y="8570"/>
                  </a:lnTo>
                  <a:cubicBezTo>
                    <a:pt x="9861" y="10398"/>
                    <a:pt x="8318" y="11941"/>
                    <a:pt x="6490" y="11941"/>
                  </a:cubicBezTo>
                  <a:cubicBezTo>
                    <a:pt x="4632" y="11941"/>
                    <a:pt x="3088" y="10398"/>
                    <a:pt x="3088" y="8570"/>
                  </a:cubicBezTo>
                  <a:lnTo>
                    <a:pt x="3088" y="5924"/>
                  </a:lnTo>
                  <a:cubicBezTo>
                    <a:pt x="3592" y="5892"/>
                    <a:pt x="4065" y="5735"/>
                    <a:pt x="4506" y="5514"/>
                  </a:cubicBezTo>
                  <a:lnTo>
                    <a:pt x="4506" y="5577"/>
                  </a:lnTo>
                  <a:cubicBezTo>
                    <a:pt x="4695" y="5924"/>
                    <a:pt x="5104" y="6113"/>
                    <a:pt x="5482" y="6113"/>
                  </a:cubicBezTo>
                  <a:cubicBezTo>
                    <a:pt x="5703" y="6459"/>
                    <a:pt x="6049" y="6711"/>
                    <a:pt x="6427" y="6711"/>
                  </a:cubicBezTo>
                  <a:cubicBezTo>
                    <a:pt x="6837" y="6711"/>
                    <a:pt x="7215" y="6459"/>
                    <a:pt x="7373" y="6113"/>
                  </a:cubicBezTo>
                  <a:cubicBezTo>
                    <a:pt x="7782" y="6113"/>
                    <a:pt x="8160" y="5924"/>
                    <a:pt x="8381" y="5577"/>
                  </a:cubicBezTo>
                  <a:lnTo>
                    <a:pt x="8381" y="5514"/>
                  </a:lnTo>
                  <a:close/>
                  <a:moveTo>
                    <a:pt x="6396" y="1"/>
                  </a:moveTo>
                  <a:cubicBezTo>
                    <a:pt x="5892" y="1"/>
                    <a:pt x="5419" y="221"/>
                    <a:pt x="5073" y="568"/>
                  </a:cubicBezTo>
                  <a:cubicBezTo>
                    <a:pt x="4726" y="915"/>
                    <a:pt x="4506" y="1419"/>
                    <a:pt x="4506" y="1954"/>
                  </a:cubicBezTo>
                  <a:cubicBezTo>
                    <a:pt x="3182" y="2616"/>
                    <a:pt x="2237" y="4002"/>
                    <a:pt x="2237" y="5609"/>
                  </a:cubicBezTo>
                  <a:lnTo>
                    <a:pt x="2237" y="5955"/>
                  </a:lnTo>
                  <a:cubicBezTo>
                    <a:pt x="1324" y="5955"/>
                    <a:pt x="599" y="6743"/>
                    <a:pt x="725" y="7657"/>
                  </a:cubicBezTo>
                  <a:cubicBezTo>
                    <a:pt x="252" y="7940"/>
                    <a:pt x="0" y="8413"/>
                    <a:pt x="0" y="8948"/>
                  </a:cubicBezTo>
                  <a:cubicBezTo>
                    <a:pt x="0" y="9767"/>
                    <a:pt x="662" y="10461"/>
                    <a:pt x="1481" y="10461"/>
                  </a:cubicBezTo>
                  <a:cubicBezTo>
                    <a:pt x="1891" y="10461"/>
                    <a:pt x="2237" y="10303"/>
                    <a:pt x="2521" y="10051"/>
                  </a:cubicBezTo>
                  <a:cubicBezTo>
                    <a:pt x="3088" y="11563"/>
                    <a:pt x="4569" y="12729"/>
                    <a:pt x="6364" y="12729"/>
                  </a:cubicBezTo>
                  <a:cubicBezTo>
                    <a:pt x="8129" y="12729"/>
                    <a:pt x="9641" y="11595"/>
                    <a:pt x="10239" y="10051"/>
                  </a:cubicBezTo>
                  <a:cubicBezTo>
                    <a:pt x="10492" y="10303"/>
                    <a:pt x="10870" y="10461"/>
                    <a:pt x="11248" y="10461"/>
                  </a:cubicBezTo>
                  <a:cubicBezTo>
                    <a:pt x="12067" y="10461"/>
                    <a:pt x="12760" y="9767"/>
                    <a:pt x="12760" y="8948"/>
                  </a:cubicBezTo>
                  <a:cubicBezTo>
                    <a:pt x="12823" y="8413"/>
                    <a:pt x="12539" y="7877"/>
                    <a:pt x="12067" y="7657"/>
                  </a:cubicBezTo>
                  <a:cubicBezTo>
                    <a:pt x="12193" y="6743"/>
                    <a:pt x="11468" y="5955"/>
                    <a:pt x="10586" y="5955"/>
                  </a:cubicBezTo>
                  <a:lnTo>
                    <a:pt x="10586" y="5609"/>
                  </a:lnTo>
                  <a:cubicBezTo>
                    <a:pt x="10586" y="4002"/>
                    <a:pt x="9672" y="2616"/>
                    <a:pt x="8286" y="1954"/>
                  </a:cubicBezTo>
                  <a:cubicBezTo>
                    <a:pt x="8286" y="1419"/>
                    <a:pt x="8097" y="915"/>
                    <a:pt x="7751" y="568"/>
                  </a:cubicBezTo>
                  <a:cubicBezTo>
                    <a:pt x="7373" y="221"/>
                    <a:pt x="6900" y="1"/>
                    <a:pt x="6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56" name="Google Shape;10156;p78"/>
          <p:cNvGrpSpPr/>
          <p:nvPr/>
        </p:nvGrpSpPr>
        <p:grpSpPr>
          <a:xfrm>
            <a:off x="5728621" y="2028797"/>
            <a:ext cx="361969" cy="316411"/>
            <a:chOff x="-57187550" y="2314425"/>
            <a:chExt cx="319000" cy="278850"/>
          </a:xfrm>
        </p:grpSpPr>
        <p:sp>
          <p:nvSpPr>
            <p:cNvPr id="10157" name="Google Shape;10157;p78"/>
            <p:cNvSpPr/>
            <p:nvPr/>
          </p:nvSpPr>
          <p:spPr>
            <a:xfrm>
              <a:off x="-57073350" y="2445950"/>
              <a:ext cx="18125" cy="17350"/>
            </a:xfrm>
            <a:custGeom>
              <a:avLst/>
              <a:gdLst/>
              <a:ahLst/>
              <a:cxnLst/>
              <a:rect l="l" t="t" r="r" b="b"/>
              <a:pathLst>
                <a:path w="725" h="694" extrusionOk="0">
                  <a:moveTo>
                    <a:pt x="347" y="1"/>
                  </a:moveTo>
                  <a:cubicBezTo>
                    <a:pt x="158" y="1"/>
                    <a:pt x="1" y="158"/>
                    <a:pt x="1" y="347"/>
                  </a:cubicBezTo>
                  <a:cubicBezTo>
                    <a:pt x="1" y="536"/>
                    <a:pt x="158" y="694"/>
                    <a:pt x="347" y="694"/>
                  </a:cubicBezTo>
                  <a:cubicBezTo>
                    <a:pt x="536" y="694"/>
                    <a:pt x="725" y="536"/>
                    <a:pt x="725" y="347"/>
                  </a:cubicBez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78"/>
            <p:cNvSpPr/>
            <p:nvPr/>
          </p:nvSpPr>
          <p:spPr>
            <a:xfrm>
              <a:off x="-56998525" y="24451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78"/>
            <p:cNvSpPr/>
            <p:nvPr/>
          </p:nvSpPr>
          <p:spPr>
            <a:xfrm>
              <a:off x="-57063900" y="2508375"/>
              <a:ext cx="73275" cy="29750"/>
            </a:xfrm>
            <a:custGeom>
              <a:avLst/>
              <a:gdLst/>
              <a:ahLst/>
              <a:cxnLst/>
              <a:rect l="l" t="t" r="r" b="b"/>
              <a:pathLst>
                <a:path w="2931" h="1190" extrusionOk="0">
                  <a:moveTo>
                    <a:pt x="414" y="0"/>
                  </a:moveTo>
                  <a:cubicBezTo>
                    <a:pt x="316" y="0"/>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40"/>
                    <a:pt x="2623" y="0"/>
                    <a:pt x="2533" y="0"/>
                  </a:cubicBezTo>
                  <a:cubicBezTo>
                    <a:pt x="2442" y="0"/>
                    <a:pt x="2348" y="40"/>
                    <a:pt x="2269" y="119"/>
                  </a:cubicBezTo>
                  <a:cubicBezTo>
                    <a:pt x="2048" y="339"/>
                    <a:pt x="1733" y="434"/>
                    <a:pt x="1481" y="434"/>
                  </a:cubicBezTo>
                  <a:cubicBezTo>
                    <a:pt x="1166" y="434"/>
                    <a:pt x="883" y="339"/>
                    <a:pt x="694" y="119"/>
                  </a:cubicBezTo>
                  <a:cubicBezTo>
                    <a:pt x="615" y="40"/>
                    <a:pt x="513" y="0"/>
                    <a:pt x="4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78"/>
            <p:cNvSpPr/>
            <p:nvPr/>
          </p:nvSpPr>
          <p:spPr>
            <a:xfrm>
              <a:off x="-57187550" y="2314425"/>
              <a:ext cx="319000" cy="278850"/>
            </a:xfrm>
            <a:custGeom>
              <a:avLst/>
              <a:gdLst/>
              <a:ahLst/>
              <a:cxnLst/>
              <a:rect l="l" t="t" r="r" b="b"/>
              <a:pathLst>
                <a:path w="12760" h="11154" extrusionOk="0">
                  <a:moveTo>
                    <a:pt x="6427" y="757"/>
                  </a:moveTo>
                  <a:cubicBezTo>
                    <a:pt x="7593" y="757"/>
                    <a:pt x="8633" y="1355"/>
                    <a:pt x="9200" y="2269"/>
                  </a:cubicBezTo>
                  <a:lnTo>
                    <a:pt x="3592" y="2269"/>
                  </a:lnTo>
                  <a:cubicBezTo>
                    <a:pt x="4222" y="1355"/>
                    <a:pt x="5230" y="757"/>
                    <a:pt x="6427" y="757"/>
                  </a:cubicBezTo>
                  <a:close/>
                  <a:moveTo>
                    <a:pt x="5829" y="2993"/>
                  </a:moveTo>
                  <a:cubicBezTo>
                    <a:pt x="5325" y="3907"/>
                    <a:pt x="4317" y="4506"/>
                    <a:pt x="3277" y="4506"/>
                  </a:cubicBezTo>
                  <a:lnTo>
                    <a:pt x="3025" y="4506"/>
                  </a:lnTo>
                  <a:lnTo>
                    <a:pt x="3025" y="4159"/>
                  </a:lnTo>
                  <a:cubicBezTo>
                    <a:pt x="3025" y="3750"/>
                    <a:pt x="3119" y="3371"/>
                    <a:pt x="3214" y="2993"/>
                  </a:cubicBezTo>
                  <a:close/>
                  <a:moveTo>
                    <a:pt x="10555" y="5230"/>
                  </a:moveTo>
                  <a:cubicBezTo>
                    <a:pt x="10933" y="5230"/>
                    <a:pt x="11311" y="5577"/>
                    <a:pt x="11311" y="5986"/>
                  </a:cubicBezTo>
                  <a:cubicBezTo>
                    <a:pt x="11311" y="6396"/>
                    <a:pt x="10996" y="6742"/>
                    <a:pt x="10555" y="6742"/>
                  </a:cubicBezTo>
                  <a:lnTo>
                    <a:pt x="10555" y="5230"/>
                  </a:lnTo>
                  <a:close/>
                  <a:moveTo>
                    <a:pt x="1859" y="5419"/>
                  </a:moveTo>
                  <a:lnTo>
                    <a:pt x="1859" y="5419"/>
                  </a:lnTo>
                  <a:cubicBezTo>
                    <a:pt x="1702" y="5766"/>
                    <a:pt x="1544" y="6238"/>
                    <a:pt x="1544" y="6711"/>
                  </a:cubicBezTo>
                  <a:cubicBezTo>
                    <a:pt x="1544" y="6837"/>
                    <a:pt x="1544" y="6931"/>
                    <a:pt x="1576" y="7058"/>
                  </a:cubicBezTo>
                  <a:cubicBezTo>
                    <a:pt x="1324" y="7247"/>
                    <a:pt x="1072" y="7373"/>
                    <a:pt x="788" y="7467"/>
                  </a:cubicBezTo>
                  <a:lnTo>
                    <a:pt x="788" y="7089"/>
                  </a:lnTo>
                  <a:cubicBezTo>
                    <a:pt x="788" y="6364"/>
                    <a:pt x="1229" y="5734"/>
                    <a:pt x="1859" y="5419"/>
                  </a:cubicBezTo>
                  <a:close/>
                  <a:moveTo>
                    <a:pt x="2647" y="5514"/>
                  </a:moveTo>
                  <a:cubicBezTo>
                    <a:pt x="2804" y="5829"/>
                    <a:pt x="2993" y="6270"/>
                    <a:pt x="2993" y="6742"/>
                  </a:cubicBezTo>
                  <a:cubicBezTo>
                    <a:pt x="2993" y="7215"/>
                    <a:pt x="2804" y="7656"/>
                    <a:pt x="2647" y="7971"/>
                  </a:cubicBezTo>
                  <a:cubicBezTo>
                    <a:pt x="2489" y="7656"/>
                    <a:pt x="2269" y="7215"/>
                    <a:pt x="2269" y="6742"/>
                  </a:cubicBezTo>
                  <a:cubicBezTo>
                    <a:pt x="2269" y="6270"/>
                    <a:pt x="2489" y="5829"/>
                    <a:pt x="2647" y="5514"/>
                  </a:cubicBezTo>
                  <a:close/>
                  <a:moveTo>
                    <a:pt x="11720" y="6868"/>
                  </a:moveTo>
                  <a:cubicBezTo>
                    <a:pt x="11941" y="7026"/>
                    <a:pt x="12035" y="7215"/>
                    <a:pt x="12035" y="7467"/>
                  </a:cubicBezTo>
                  <a:cubicBezTo>
                    <a:pt x="12035" y="7877"/>
                    <a:pt x="11689" y="8192"/>
                    <a:pt x="11311" y="8192"/>
                  </a:cubicBezTo>
                  <a:cubicBezTo>
                    <a:pt x="10901" y="8192"/>
                    <a:pt x="10555" y="7845"/>
                    <a:pt x="10555" y="7467"/>
                  </a:cubicBezTo>
                  <a:cubicBezTo>
                    <a:pt x="11027" y="7467"/>
                    <a:pt x="11468" y="7215"/>
                    <a:pt x="11720" y="6868"/>
                  </a:cubicBezTo>
                  <a:close/>
                  <a:moveTo>
                    <a:pt x="9578" y="2962"/>
                  </a:moveTo>
                  <a:cubicBezTo>
                    <a:pt x="9672" y="3308"/>
                    <a:pt x="9767" y="3687"/>
                    <a:pt x="9767" y="4065"/>
                  </a:cubicBezTo>
                  <a:lnTo>
                    <a:pt x="9767" y="7058"/>
                  </a:lnTo>
                  <a:cubicBezTo>
                    <a:pt x="9798" y="8948"/>
                    <a:pt x="8255" y="10460"/>
                    <a:pt x="6427" y="10460"/>
                  </a:cubicBezTo>
                  <a:cubicBezTo>
                    <a:pt x="5041" y="10460"/>
                    <a:pt x="3781" y="9609"/>
                    <a:pt x="3277" y="8349"/>
                  </a:cubicBezTo>
                  <a:cubicBezTo>
                    <a:pt x="3497" y="7971"/>
                    <a:pt x="3781" y="7373"/>
                    <a:pt x="3781" y="6711"/>
                  </a:cubicBezTo>
                  <a:cubicBezTo>
                    <a:pt x="3781" y="6112"/>
                    <a:pt x="3592" y="5608"/>
                    <a:pt x="3340" y="5199"/>
                  </a:cubicBezTo>
                  <a:cubicBezTo>
                    <a:pt x="4789" y="5167"/>
                    <a:pt x="6112" y="4254"/>
                    <a:pt x="6648" y="2962"/>
                  </a:cubicBezTo>
                  <a:close/>
                  <a:moveTo>
                    <a:pt x="6364" y="0"/>
                  </a:moveTo>
                  <a:cubicBezTo>
                    <a:pt x="4096" y="0"/>
                    <a:pt x="2237" y="1859"/>
                    <a:pt x="2237" y="4096"/>
                  </a:cubicBezTo>
                  <a:lnTo>
                    <a:pt x="2237" y="4506"/>
                  </a:lnTo>
                  <a:cubicBezTo>
                    <a:pt x="977" y="4695"/>
                    <a:pt x="0" y="5766"/>
                    <a:pt x="0" y="7089"/>
                  </a:cubicBezTo>
                  <a:lnTo>
                    <a:pt x="0" y="7845"/>
                  </a:lnTo>
                  <a:cubicBezTo>
                    <a:pt x="0" y="8034"/>
                    <a:pt x="158" y="8192"/>
                    <a:pt x="347" y="8192"/>
                  </a:cubicBezTo>
                  <a:cubicBezTo>
                    <a:pt x="820" y="8192"/>
                    <a:pt x="1292" y="8066"/>
                    <a:pt x="1702" y="7814"/>
                  </a:cubicBezTo>
                  <a:cubicBezTo>
                    <a:pt x="1922" y="8412"/>
                    <a:pt x="2269" y="8790"/>
                    <a:pt x="2269" y="8790"/>
                  </a:cubicBezTo>
                  <a:cubicBezTo>
                    <a:pt x="2350" y="8845"/>
                    <a:pt x="2455" y="8923"/>
                    <a:pt x="2584" y="8923"/>
                  </a:cubicBezTo>
                  <a:cubicBezTo>
                    <a:pt x="2604" y="8923"/>
                    <a:pt x="2625" y="8921"/>
                    <a:pt x="2647" y="8916"/>
                  </a:cubicBezTo>
                  <a:cubicBezTo>
                    <a:pt x="2899" y="9515"/>
                    <a:pt x="3340" y="9987"/>
                    <a:pt x="3907" y="10366"/>
                  </a:cubicBezTo>
                  <a:cubicBezTo>
                    <a:pt x="4600" y="10870"/>
                    <a:pt x="5419" y="11153"/>
                    <a:pt x="6301" y="11153"/>
                  </a:cubicBezTo>
                  <a:cubicBezTo>
                    <a:pt x="8066" y="11153"/>
                    <a:pt x="9578" y="10050"/>
                    <a:pt x="10145" y="8507"/>
                  </a:cubicBezTo>
                  <a:cubicBezTo>
                    <a:pt x="10429" y="8759"/>
                    <a:pt x="10775" y="8916"/>
                    <a:pt x="11185" y="8916"/>
                  </a:cubicBezTo>
                  <a:cubicBezTo>
                    <a:pt x="12004" y="8916"/>
                    <a:pt x="12665" y="8255"/>
                    <a:pt x="12665" y="7404"/>
                  </a:cubicBezTo>
                  <a:cubicBezTo>
                    <a:pt x="12760" y="6931"/>
                    <a:pt x="12476" y="6427"/>
                    <a:pt x="12004" y="6144"/>
                  </a:cubicBezTo>
                  <a:cubicBezTo>
                    <a:pt x="12130" y="5230"/>
                    <a:pt x="11405" y="4443"/>
                    <a:pt x="10523" y="4443"/>
                  </a:cubicBezTo>
                  <a:lnTo>
                    <a:pt x="10523" y="4096"/>
                  </a:lnTo>
                  <a:cubicBezTo>
                    <a:pt x="10523" y="1859"/>
                    <a:pt x="866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1" name="Google Shape;10161;p78"/>
          <p:cNvGrpSpPr/>
          <p:nvPr/>
        </p:nvGrpSpPr>
        <p:grpSpPr>
          <a:xfrm>
            <a:off x="5745585" y="2458346"/>
            <a:ext cx="328042" cy="361771"/>
            <a:chOff x="-57172600" y="2686375"/>
            <a:chExt cx="289100" cy="318825"/>
          </a:xfrm>
        </p:grpSpPr>
        <p:sp>
          <p:nvSpPr>
            <p:cNvPr id="10162" name="Google Shape;10162;p78"/>
            <p:cNvSpPr/>
            <p:nvPr/>
          </p:nvSpPr>
          <p:spPr>
            <a:xfrm>
              <a:off x="-57063900" y="2937625"/>
              <a:ext cx="73275" cy="29750"/>
            </a:xfrm>
            <a:custGeom>
              <a:avLst/>
              <a:gdLst/>
              <a:ahLst/>
              <a:cxnLst/>
              <a:rect l="l" t="t" r="r" b="b"/>
              <a:pathLst>
                <a:path w="2931" h="1190" extrusionOk="0">
                  <a:moveTo>
                    <a:pt x="414" y="1"/>
                  </a:moveTo>
                  <a:cubicBezTo>
                    <a:pt x="316" y="1"/>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72"/>
                    <a:pt x="2623" y="48"/>
                    <a:pt x="2533" y="48"/>
                  </a:cubicBezTo>
                  <a:cubicBezTo>
                    <a:pt x="2442" y="48"/>
                    <a:pt x="2348" y="72"/>
                    <a:pt x="2269" y="119"/>
                  </a:cubicBezTo>
                  <a:cubicBezTo>
                    <a:pt x="2048" y="339"/>
                    <a:pt x="1733" y="434"/>
                    <a:pt x="1481" y="434"/>
                  </a:cubicBezTo>
                  <a:cubicBezTo>
                    <a:pt x="1166" y="434"/>
                    <a:pt x="883" y="339"/>
                    <a:pt x="694" y="119"/>
                  </a:cubicBezTo>
                  <a:cubicBezTo>
                    <a:pt x="615" y="40"/>
                    <a:pt x="51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78"/>
            <p:cNvSpPr/>
            <p:nvPr/>
          </p:nvSpPr>
          <p:spPr>
            <a:xfrm>
              <a:off x="-57172600" y="2686375"/>
              <a:ext cx="289100" cy="318825"/>
            </a:xfrm>
            <a:custGeom>
              <a:avLst/>
              <a:gdLst/>
              <a:ahLst/>
              <a:cxnLst/>
              <a:rect l="l" t="t" r="r" b="b"/>
              <a:pathLst>
                <a:path w="11564" h="12753" extrusionOk="0">
                  <a:moveTo>
                    <a:pt x="5798" y="788"/>
                  </a:moveTo>
                  <a:cubicBezTo>
                    <a:pt x="6160" y="788"/>
                    <a:pt x="6523" y="922"/>
                    <a:pt x="6806" y="1190"/>
                  </a:cubicBezTo>
                  <a:cubicBezTo>
                    <a:pt x="6853" y="1261"/>
                    <a:pt x="6954" y="1296"/>
                    <a:pt x="7054" y="1296"/>
                  </a:cubicBezTo>
                  <a:cubicBezTo>
                    <a:pt x="7088" y="1296"/>
                    <a:pt x="7121" y="1292"/>
                    <a:pt x="7153" y="1284"/>
                  </a:cubicBezTo>
                  <a:cubicBezTo>
                    <a:pt x="7276" y="1253"/>
                    <a:pt x="7401" y="1239"/>
                    <a:pt x="7523" y="1239"/>
                  </a:cubicBezTo>
                  <a:cubicBezTo>
                    <a:pt x="8150" y="1239"/>
                    <a:pt x="8727" y="1629"/>
                    <a:pt x="8885" y="2261"/>
                  </a:cubicBezTo>
                  <a:cubicBezTo>
                    <a:pt x="8917" y="2387"/>
                    <a:pt x="9011" y="2513"/>
                    <a:pt x="9169" y="2545"/>
                  </a:cubicBezTo>
                  <a:cubicBezTo>
                    <a:pt x="9925" y="2734"/>
                    <a:pt x="10335" y="3521"/>
                    <a:pt x="10146" y="4277"/>
                  </a:cubicBezTo>
                  <a:cubicBezTo>
                    <a:pt x="10114" y="4403"/>
                    <a:pt x="10146" y="4561"/>
                    <a:pt x="10240" y="4624"/>
                  </a:cubicBezTo>
                  <a:cubicBezTo>
                    <a:pt x="10776" y="5191"/>
                    <a:pt x="10776" y="6073"/>
                    <a:pt x="10240" y="6640"/>
                  </a:cubicBezTo>
                  <a:cubicBezTo>
                    <a:pt x="10177" y="6672"/>
                    <a:pt x="10146" y="6703"/>
                    <a:pt x="10146" y="6798"/>
                  </a:cubicBezTo>
                  <a:cubicBezTo>
                    <a:pt x="9988" y="6766"/>
                    <a:pt x="9925" y="6766"/>
                    <a:pt x="9515" y="6766"/>
                  </a:cubicBezTo>
                  <a:cubicBezTo>
                    <a:pt x="9169" y="6325"/>
                    <a:pt x="8665" y="6010"/>
                    <a:pt x="8035" y="6010"/>
                  </a:cubicBezTo>
                  <a:cubicBezTo>
                    <a:pt x="6523" y="6010"/>
                    <a:pt x="5199" y="4970"/>
                    <a:pt x="4790" y="3553"/>
                  </a:cubicBezTo>
                  <a:cubicBezTo>
                    <a:pt x="4766" y="3408"/>
                    <a:pt x="4612" y="3300"/>
                    <a:pt x="4442" y="3300"/>
                  </a:cubicBezTo>
                  <a:cubicBezTo>
                    <a:pt x="4391" y="3300"/>
                    <a:pt x="4337" y="3310"/>
                    <a:pt x="4286" y="3332"/>
                  </a:cubicBezTo>
                  <a:cubicBezTo>
                    <a:pt x="3530" y="3647"/>
                    <a:pt x="2868" y="4151"/>
                    <a:pt x="2395" y="4813"/>
                  </a:cubicBezTo>
                  <a:cubicBezTo>
                    <a:pt x="1986" y="5412"/>
                    <a:pt x="1734" y="6073"/>
                    <a:pt x="1671" y="6798"/>
                  </a:cubicBezTo>
                  <a:cubicBezTo>
                    <a:pt x="1608" y="6798"/>
                    <a:pt x="1513" y="6798"/>
                    <a:pt x="1450" y="6829"/>
                  </a:cubicBezTo>
                  <a:cubicBezTo>
                    <a:pt x="1450" y="6703"/>
                    <a:pt x="1419" y="6672"/>
                    <a:pt x="1356" y="6640"/>
                  </a:cubicBezTo>
                  <a:cubicBezTo>
                    <a:pt x="820" y="6073"/>
                    <a:pt x="820" y="5191"/>
                    <a:pt x="1356" y="4624"/>
                  </a:cubicBezTo>
                  <a:cubicBezTo>
                    <a:pt x="1450" y="4561"/>
                    <a:pt x="1482" y="4403"/>
                    <a:pt x="1450" y="4277"/>
                  </a:cubicBezTo>
                  <a:cubicBezTo>
                    <a:pt x="1261" y="3521"/>
                    <a:pt x="1671" y="2734"/>
                    <a:pt x="2427" y="2545"/>
                  </a:cubicBezTo>
                  <a:cubicBezTo>
                    <a:pt x="2553" y="2513"/>
                    <a:pt x="2679" y="2419"/>
                    <a:pt x="2710" y="2261"/>
                  </a:cubicBezTo>
                  <a:cubicBezTo>
                    <a:pt x="2869" y="1629"/>
                    <a:pt x="3445" y="1239"/>
                    <a:pt x="4072" y="1239"/>
                  </a:cubicBezTo>
                  <a:cubicBezTo>
                    <a:pt x="4195" y="1239"/>
                    <a:pt x="4320" y="1253"/>
                    <a:pt x="4443" y="1284"/>
                  </a:cubicBezTo>
                  <a:cubicBezTo>
                    <a:pt x="4475" y="1292"/>
                    <a:pt x="4508" y="1296"/>
                    <a:pt x="4542" y="1296"/>
                  </a:cubicBezTo>
                  <a:cubicBezTo>
                    <a:pt x="4642" y="1296"/>
                    <a:pt x="4742" y="1261"/>
                    <a:pt x="4790" y="1190"/>
                  </a:cubicBezTo>
                  <a:cubicBezTo>
                    <a:pt x="5073" y="922"/>
                    <a:pt x="5436" y="788"/>
                    <a:pt x="5798" y="788"/>
                  </a:cubicBezTo>
                  <a:close/>
                  <a:moveTo>
                    <a:pt x="4254" y="4151"/>
                  </a:moveTo>
                  <a:cubicBezTo>
                    <a:pt x="4664" y="5286"/>
                    <a:pt x="5609" y="6168"/>
                    <a:pt x="6775" y="6514"/>
                  </a:cubicBezTo>
                  <a:cubicBezTo>
                    <a:pt x="6491" y="6766"/>
                    <a:pt x="6333" y="7113"/>
                    <a:pt x="6239" y="7459"/>
                  </a:cubicBezTo>
                  <a:lnTo>
                    <a:pt x="5388" y="7459"/>
                  </a:lnTo>
                  <a:lnTo>
                    <a:pt x="5388" y="7491"/>
                  </a:lnTo>
                  <a:cubicBezTo>
                    <a:pt x="5231" y="6640"/>
                    <a:pt x="4443" y="6010"/>
                    <a:pt x="3561" y="6010"/>
                  </a:cubicBezTo>
                  <a:cubicBezTo>
                    <a:pt x="3183" y="6010"/>
                    <a:pt x="2868" y="6136"/>
                    <a:pt x="2553" y="6325"/>
                  </a:cubicBezTo>
                  <a:cubicBezTo>
                    <a:pt x="2773" y="5412"/>
                    <a:pt x="3372" y="4624"/>
                    <a:pt x="4254" y="4151"/>
                  </a:cubicBezTo>
                  <a:close/>
                  <a:moveTo>
                    <a:pt x="3561" y="6766"/>
                  </a:moveTo>
                  <a:cubicBezTo>
                    <a:pt x="4191" y="6766"/>
                    <a:pt x="4664" y="7270"/>
                    <a:pt x="4664" y="7869"/>
                  </a:cubicBezTo>
                  <a:cubicBezTo>
                    <a:pt x="4664" y="8436"/>
                    <a:pt x="4160" y="8972"/>
                    <a:pt x="3561" y="8972"/>
                  </a:cubicBezTo>
                  <a:cubicBezTo>
                    <a:pt x="2931" y="8972"/>
                    <a:pt x="2458" y="8436"/>
                    <a:pt x="2458" y="7869"/>
                  </a:cubicBezTo>
                  <a:cubicBezTo>
                    <a:pt x="2458" y="7270"/>
                    <a:pt x="2931" y="6766"/>
                    <a:pt x="3561" y="6766"/>
                  </a:cubicBezTo>
                  <a:close/>
                  <a:moveTo>
                    <a:pt x="8066" y="6766"/>
                  </a:moveTo>
                  <a:cubicBezTo>
                    <a:pt x="8696" y="6766"/>
                    <a:pt x="9169" y="7270"/>
                    <a:pt x="9169" y="7869"/>
                  </a:cubicBezTo>
                  <a:cubicBezTo>
                    <a:pt x="9169" y="8436"/>
                    <a:pt x="8665" y="8972"/>
                    <a:pt x="8066" y="8972"/>
                  </a:cubicBezTo>
                  <a:cubicBezTo>
                    <a:pt x="7436" y="8972"/>
                    <a:pt x="6964" y="8436"/>
                    <a:pt x="6964" y="7869"/>
                  </a:cubicBezTo>
                  <a:cubicBezTo>
                    <a:pt x="6964" y="7270"/>
                    <a:pt x="7436" y="6766"/>
                    <a:pt x="8066" y="6766"/>
                  </a:cubicBezTo>
                  <a:close/>
                  <a:moveTo>
                    <a:pt x="1734" y="7491"/>
                  </a:moveTo>
                  <a:lnTo>
                    <a:pt x="1734" y="9003"/>
                  </a:lnTo>
                  <a:cubicBezTo>
                    <a:pt x="1293" y="9003"/>
                    <a:pt x="978" y="8657"/>
                    <a:pt x="978" y="8247"/>
                  </a:cubicBezTo>
                  <a:cubicBezTo>
                    <a:pt x="978" y="7869"/>
                    <a:pt x="1324" y="7491"/>
                    <a:pt x="1734" y="7491"/>
                  </a:cubicBezTo>
                  <a:close/>
                  <a:moveTo>
                    <a:pt x="9925" y="7491"/>
                  </a:moveTo>
                  <a:cubicBezTo>
                    <a:pt x="10303" y="7491"/>
                    <a:pt x="10650" y="7806"/>
                    <a:pt x="10650" y="8247"/>
                  </a:cubicBezTo>
                  <a:cubicBezTo>
                    <a:pt x="10650" y="8657"/>
                    <a:pt x="10303" y="9003"/>
                    <a:pt x="9925" y="9003"/>
                  </a:cubicBezTo>
                  <a:lnTo>
                    <a:pt x="9925" y="7491"/>
                  </a:lnTo>
                  <a:close/>
                  <a:moveTo>
                    <a:pt x="6207" y="8215"/>
                  </a:moveTo>
                  <a:cubicBezTo>
                    <a:pt x="6365" y="9066"/>
                    <a:pt x="7153" y="9696"/>
                    <a:pt x="8035" y="9696"/>
                  </a:cubicBezTo>
                  <a:cubicBezTo>
                    <a:pt x="8476" y="9696"/>
                    <a:pt x="8822" y="9539"/>
                    <a:pt x="9137" y="9350"/>
                  </a:cubicBezTo>
                  <a:lnTo>
                    <a:pt x="9137" y="10137"/>
                  </a:lnTo>
                  <a:lnTo>
                    <a:pt x="9169" y="10137"/>
                  </a:lnTo>
                  <a:cubicBezTo>
                    <a:pt x="9169" y="11177"/>
                    <a:pt x="8350" y="11996"/>
                    <a:pt x="7310" y="11996"/>
                  </a:cubicBezTo>
                  <a:lnTo>
                    <a:pt x="4317" y="11996"/>
                  </a:lnTo>
                  <a:cubicBezTo>
                    <a:pt x="3309" y="11996"/>
                    <a:pt x="2458" y="11177"/>
                    <a:pt x="2458" y="10137"/>
                  </a:cubicBezTo>
                  <a:lnTo>
                    <a:pt x="2458" y="9350"/>
                  </a:lnTo>
                  <a:cubicBezTo>
                    <a:pt x="2773" y="9602"/>
                    <a:pt x="3183" y="9696"/>
                    <a:pt x="3561" y="9696"/>
                  </a:cubicBezTo>
                  <a:cubicBezTo>
                    <a:pt x="4475" y="9696"/>
                    <a:pt x="5231" y="9066"/>
                    <a:pt x="5388" y="8215"/>
                  </a:cubicBezTo>
                  <a:close/>
                  <a:moveTo>
                    <a:pt x="5794" y="1"/>
                  </a:moveTo>
                  <a:cubicBezTo>
                    <a:pt x="5310" y="1"/>
                    <a:pt x="4821" y="166"/>
                    <a:pt x="4412" y="497"/>
                  </a:cubicBezTo>
                  <a:cubicBezTo>
                    <a:pt x="4291" y="479"/>
                    <a:pt x="4172" y="470"/>
                    <a:pt x="4054" y="470"/>
                  </a:cubicBezTo>
                  <a:cubicBezTo>
                    <a:pt x="3154" y="470"/>
                    <a:pt x="2355" y="992"/>
                    <a:pt x="2049" y="1883"/>
                  </a:cubicBezTo>
                  <a:cubicBezTo>
                    <a:pt x="1104" y="2230"/>
                    <a:pt x="505" y="3238"/>
                    <a:pt x="663" y="4246"/>
                  </a:cubicBezTo>
                  <a:cubicBezTo>
                    <a:pt x="1" y="5033"/>
                    <a:pt x="1" y="6168"/>
                    <a:pt x="663" y="6987"/>
                  </a:cubicBezTo>
                  <a:cubicBezTo>
                    <a:pt x="663" y="7018"/>
                    <a:pt x="663" y="7113"/>
                    <a:pt x="631" y="7144"/>
                  </a:cubicBezTo>
                  <a:cubicBezTo>
                    <a:pt x="348" y="7428"/>
                    <a:pt x="159" y="7806"/>
                    <a:pt x="159" y="8215"/>
                  </a:cubicBezTo>
                  <a:cubicBezTo>
                    <a:pt x="159" y="9035"/>
                    <a:pt x="820" y="9696"/>
                    <a:pt x="1639" y="9696"/>
                  </a:cubicBezTo>
                  <a:lnTo>
                    <a:pt x="1639" y="10137"/>
                  </a:lnTo>
                  <a:cubicBezTo>
                    <a:pt x="1639" y="11586"/>
                    <a:pt x="2836" y="12752"/>
                    <a:pt x="4254" y="12752"/>
                  </a:cubicBezTo>
                  <a:lnTo>
                    <a:pt x="7247" y="12752"/>
                  </a:lnTo>
                  <a:cubicBezTo>
                    <a:pt x="8696" y="12752"/>
                    <a:pt x="9831" y="11555"/>
                    <a:pt x="9831" y="10137"/>
                  </a:cubicBezTo>
                  <a:lnTo>
                    <a:pt x="9831" y="9696"/>
                  </a:lnTo>
                  <a:cubicBezTo>
                    <a:pt x="10681" y="9696"/>
                    <a:pt x="11343" y="9035"/>
                    <a:pt x="11343" y="8215"/>
                  </a:cubicBezTo>
                  <a:cubicBezTo>
                    <a:pt x="11406" y="7806"/>
                    <a:pt x="11217" y="7428"/>
                    <a:pt x="10933" y="7144"/>
                  </a:cubicBezTo>
                  <a:cubicBezTo>
                    <a:pt x="10933" y="7113"/>
                    <a:pt x="10933" y="7018"/>
                    <a:pt x="10902" y="6987"/>
                  </a:cubicBezTo>
                  <a:cubicBezTo>
                    <a:pt x="11563" y="6199"/>
                    <a:pt x="11563" y="5065"/>
                    <a:pt x="10902" y="4246"/>
                  </a:cubicBezTo>
                  <a:cubicBezTo>
                    <a:pt x="11059" y="3206"/>
                    <a:pt x="10492" y="2230"/>
                    <a:pt x="9515" y="1883"/>
                  </a:cubicBezTo>
                  <a:cubicBezTo>
                    <a:pt x="9206" y="1039"/>
                    <a:pt x="8344" y="472"/>
                    <a:pt x="7468" y="472"/>
                  </a:cubicBezTo>
                  <a:cubicBezTo>
                    <a:pt x="7363" y="472"/>
                    <a:pt x="7257" y="480"/>
                    <a:pt x="7153" y="497"/>
                  </a:cubicBezTo>
                  <a:cubicBezTo>
                    <a:pt x="6759" y="166"/>
                    <a:pt x="6278" y="1"/>
                    <a:pt x="57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78"/>
          <p:cNvGrpSpPr/>
          <p:nvPr/>
        </p:nvGrpSpPr>
        <p:grpSpPr>
          <a:xfrm>
            <a:off x="7958434" y="1532274"/>
            <a:ext cx="361090" cy="359303"/>
            <a:chOff x="-55225575" y="1903275"/>
            <a:chExt cx="318225" cy="316650"/>
          </a:xfrm>
        </p:grpSpPr>
        <p:sp>
          <p:nvSpPr>
            <p:cNvPr id="10165" name="Google Shape;10165;p78"/>
            <p:cNvSpPr/>
            <p:nvPr/>
          </p:nvSpPr>
          <p:spPr>
            <a:xfrm>
              <a:off x="-55104275" y="2116925"/>
              <a:ext cx="72475" cy="29750"/>
            </a:xfrm>
            <a:custGeom>
              <a:avLst/>
              <a:gdLst/>
              <a:ahLst/>
              <a:cxnLst/>
              <a:rect l="l" t="t" r="r" b="b"/>
              <a:pathLst>
                <a:path w="2899" h="1190" extrusionOk="0">
                  <a:moveTo>
                    <a:pt x="398" y="1"/>
                  </a:moveTo>
                  <a:cubicBezTo>
                    <a:pt x="307" y="1"/>
                    <a:pt x="221" y="40"/>
                    <a:pt x="158" y="119"/>
                  </a:cubicBezTo>
                  <a:cubicBezTo>
                    <a:pt x="0" y="276"/>
                    <a:pt x="0" y="497"/>
                    <a:pt x="158" y="623"/>
                  </a:cubicBezTo>
                  <a:cubicBezTo>
                    <a:pt x="504" y="969"/>
                    <a:pt x="977" y="1190"/>
                    <a:pt x="1449" y="1190"/>
                  </a:cubicBezTo>
                  <a:cubicBezTo>
                    <a:pt x="1953" y="1190"/>
                    <a:pt x="2426" y="969"/>
                    <a:pt x="2741" y="623"/>
                  </a:cubicBezTo>
                  <a:cubicBezTo>
                    <a:pt x="2898" y="465"/>
                    <a:pt x="2898" y="245"/>
                    <a:pt x="2741" y="119"/>
                  </a:cubicBezTo>
                  <a:cubicBezTo>
                    <a:pt x="2694" y="56"/>
                    <a:pt x="2607" y="24"/>
                    <a:pt x="2513" y="24"/>
                  </a:cubicBezTo>
                  <a:cubicBezTo>
                    <a:pt x="2418" y="24"/>
                    <a:pt x="2316" y="56"/>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78"/>
            <p:cNvSpPr/>
            <p:nvPr/>
          </p:nvSpPr>
          <p:spPr>
            <a:xfrm>
              <a:off x="-55113750" y="2053725"/>
              <a:ext cx="17350" cy="18125"/>
            </a:xfrm>
            <a:custGeom>
              <a:avLst/>
              <a:gdLst/>
              <a:ahLst/>
              <a:cxnLst/>
              <a:rect l="l" t="t" r="r" b="b"/>
              <a:pathLst>
                <a:path w="694" h="725" extrusionOk="0">
                  <a:moveTo>
                    <a:pt x="348" y="0"/>
                  </a:moveTo>
                  <a:cubicBezTo>
                    <a:pt x="158" y="0"/>
                    <a:pt x="1" y="158"/>
                    <a:pt x="1" y="347"/>
                  </a:cubicBezTo>
                  <a:cubicBezTo>
                    <a:pt x="1" y="536"/>
                    <a:pt x="158" y="725"/>
                    <a:pt x="348" y="725"/>
                  </a:cubicBezTo>
                  <a:cubicBezTo>
                    <a:pt x="537" y="725"/>
                    <a:pt x="694" y="536"/>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78"/>
            <p:cNvSpPr/>
            <p:nvPr/>
          </p:nvSpPr>
          <p:spPr>
            <a:xfrm>
              <a:off x="-55039700" y="2053725"/>
              <a:ext cx="18125" cy="18125"/>
            </a:xfrm>
            <a:custGeom>
              <a:avLst/>
              <a:gdLst/>
              <a:ahLst/>
              <a:cxnLst/>
              <a:rect l="l" t="t" r="r" b="b"/>
              <a:pathLst>
                <a:path w="725" h="725" extrusionOk="0">
                  <a:moveTo>
                    <a:pt x="378" y="0"/>
                  </a:moveTo>
                  <a:cubicBezTo>
                    <a:pt x="189" y="0"/>
                    <a:pt x="0" y="158"/>
                    <a:pt x="0" y="347"/>
                  </a:cubicBezTo>
                  <a:cubicBezTo>
                    <a:pt x="0" y="536"/>
                    <a:pt x="189" y="725"/>
                    <a:pt x="378" y="725"/>
                  </a:cubicBezTo>
                  <a:cubicBezTo>
                    <a:pt x="568" y="725"/>
                    <a:pt x="725" y="536"/>
                    <a:pt x="725" y="347"/>
                  </a:cubicBezTo>
                  <a:cubicBezTo>
                    <a:pt x="725" y="158"/>
                    <a:pt x="568"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78"/>
            <p:cNvSpPr/>
            <p:nvPr/>
          </p:nvSpPr>
          <p:spPr>
            <a:xfrm>
              <a:off x="-55225575" y="1903275"/>
              <a:ext cx="318225" cy="316650"/>
            </a:xfrm>
            <a:custGeom>
              <a:avLst/>
              <a:gdLst/>
              <a:ahLst/>
              <a:cxnLst/>
              <a:rect l="l" t="t" r="r" b="b"/>
              <a:pathLst>
                <a:path w="12729" h="12666" extrusionOk="0">
                  <a:moveTo>
                    <a:pt x="6333" y="757"/>
                  </a:moveTo>
                  <a:cubicBezTo>
                    <a:pt x="8790" y="757"/>
                    <a:pt x="10932" y="2679"/>
                    <a:pt x="11185" y="5105"/>
                  </a:cubicBezTo>
                  <a:cubicBezTo>
                    <a:pt x="11185" y="5231"/>
                    <a:pt x="11279" y="5357"/>
                    <a:pt x="11374" y="5388"/>
                  </a:cubicBezTo>
                  <a:cubicBezTo>
                    <a:pt x="11752" y="5577"/>
                    <a:pt x="11972" y="5987"/>
                    <a:pt x="11972" y="6365"/>
                  </a:cubicBezTo>
                  <a:cubicBezTo>
                    <a:pt x="11972" y="6680"/>
                    <a:pt x="11815" y="7058"/>
                    <a:pt x="11594" y="7247"/>
                  </a:cubicBezTo>
                  <a:cubicBezTo>
                    <a:pt x="11342" y="7373"/>
                    <a:pt x="11342" y="7625"/>
                    <a:pt x="11531" y="7783"/>
                  </a:cubicBezTo>
                  <a:cubicBezTo>
                    <a:pt x="11783" y="8035"/>
                    <a:pt x="11941" y="8318"/>
                    <a:pt x="11941" y="8633"/>
                  </a:cubicBezTo>
                  <a:cubicBezTo>
                    <a:pt x="11941" y="8948"/>
                    <a:pt x="11815" y="9263"/>
                    <a:pt x="11531" y="9452"/>
                  </a:cubicBezTo>
                  <a:cubicBezTo>
                    <a:pt x="11374" y="9610"/>
                    <a:pt x="11374" y="9830"/>
                    <a:pt x="11531" y="9988"/>
                  </a:cubicBezTo>
                  <a:cubicBezTo>
                    <a:pt x="11783" y="10240"/>
                    <a:pt x="11941" y="10524"/>
                    <a:pt x="11941" y="10839"/>
                  </a:cubicBezTo>
                  <a:cubicBezTo>
                    <a:pt x="11941" y="11437"/>
                    <a:pt x="11437" y="11941"/>
                    <a:pt x="10838" y="11941"/>
                  </a:cubicBezTo>
                  <a:lnTo>
                    <a:pt x="1828" y="11941"/>
                  </a:lnTo>
                  <a:cubicBezTo>
                    <a:pt x="1197" y="11941"/>
                    <a:pt x="725" y="11406"/>
                    <a:pt x="725" y="10839"/>
                  </a:cubicBezTo>
                  <a:cubicBezTo>
                    <a:pt x="725" y="10492"/>
                    <a:pt x="819" y="10208"/>
                    <a:pt x="1103" y="9988"/>
                  </a:cubicBezTo>
                  <a:cubicBezTo>
                    <a:pt x="1260" y="9830"/>
                    <a:pt x="1260" y="9610"/>
                    <a:pt x="1103" y="9452"/>
                  </a:cubicBezTo>
                  <a:cubicBezTo>
                    <a:pt x="882" y="9200"/>
                    <a:pt x="725" y="8917"/>
                    <a:pt x="725" y="8633"/>
                  </a:cubicBezTo>
                  <a:cubicBezTo>
                    <a:pt x="725" y="8318"/>
                    <a:pt x="819" y="8003"/>
                    <a:pt x="1103" y="7783"/>
                  </a:cubicBezTo>
                  <a:cubicBezTo>
                    <a:pt x="1260" y="7625"/>
                    <a:pt x="1260" y="7405"/>
                    <a:pt x="1103" y="7247"/>
                  </a:cubicBezTo>
                  <a:cubicBezTo>
                    <a:pt x="882" y="7058"/>
                    <a:pt x="725" y="6680"/>
                    <a:pt x="725" y="6365"/>
                  </a:cubicBezTo>
                  <a:cubicBezTo>
                    <a:pt x="725" y="5987"/>
                    <a:pt x="945" y="5577"/>
                    <a:pt x="1292" y="5388"/>
                  </a:cubicBezTo>
                  <a:cubicBezTo>
                    <a:pt x="1418" y="5357"/>
                    <a:pt x="1512" y="5231"/>
                    <a:pt x="1512" y="5105"/>
                  </a:cubicBezTo>
                  <a:cubicBezTo>
                    <a:pt x="1765" y="2679"/>
                    <a:pt x="3907" y="757"/>
                    <a:pt x="6333" y="757"/>
                  </a:cubicBezTo>
                  <a:close/>
                  <a:moveTo>
                    <a:pt x="6333" y="1"/>
                  </a:moveTo>
                  <a:cubicBezTo>
                    <a:pt x="3497" y="1"/>
                    <a:pt x="1134" y="2112"/>
                    <a:pt x="788" y="4853"/>
                  </a:cubicBezTo>
                  <a:cubicBezTo>
                    <a:pt x="284" y="5199"/>
                    <a:pt x="0" y="5735"/>
                    <a:pt x="0" y="6365"/>
                  </a:cubicBezTo>
                  <a:cubicBezTo>
                    <a:pt x="0" y="6774"/>
                    <a:pt x="158" y="7216"/>
                    <a:pt x="410" y="7531"/>
                  </a:cubicBezTo>
                  <a:cubicBezTo>
                    <a:pt x="158" y="7846"/>
                    <a:pt x="0" y="8224"/>
                    <a:pt x="0" y="8633"/>
                  </a:cubicBezTo>
                  <a:cubicBezTo>
                    <a:pt x="0" y="9011"/>
                    <a:pt x="126" y="9421"/>
                    <a:pt x="410" y="9736"/>
                  </a:cubicBezTo>
                  <a:cubicBezTo>
                    <a:pt x="158" y="10051"/>
                    <a:pt x="0" y="10429"/>
                    <a:pt x="0" y="10839"/>
                  </a:cubicBezTo>
                  <a:cubicBezTo>
                    <a:pt x="0" y="11847"/>
                    <a:pt x="819" y="12666"/>
                    <a:pt x="1859" y="12666"/>
                  </a:cubicBezTo>
                  <a:lnTo>
                    <a:pt x="10869" y="12666"/>
                  </a:lnTo>
                  <a:cubicBezTo>
                    <a:pt x="11909" y="12666"/>
                    <a:pt x="12728" y="11847"/>
                    <a:pt x="12728" y="10839"/>
                  </a:cubicBezTo>
                  <a:cubicBezTo>
                    <a:pt x="12728" y="10429"/>
                    <a:pt x="12602" y="10051"/>
                    <a:pt x="12319" y="9736"/>
                  </a:cubicBezTo>
                  <a:cubicBezTo>
                    <a:pt x="12571" y="9421"/>
                    <a:pt x="12728" y="9011"/>
                    <a:pt x="12728" y="8633"/>
                  </a:cubicBezTo>
                  <a:cubicBezTo>
                    <a:pt x="12634" y="8224"/>
                    <a:pt x="12539" y="7846"/>
                    <a:pt x="12287" y="7531"/>
                  </a:cubicBezTo>
                  <a:cubicBezTo>
                    <a:pt x="12539" y="7216"/>
                    <a:pt x="12697" y="6774"/>
                    <a:pt x="12697" y="6365"/>
                  </a:cubicBezTo>
                  <a:cubicBezTo>
                    <a:pt x="12697" y="5798"/>
                    <a:pt x="12382" y="5199"/>
                    <a:pt x="11909" y="4853"/>
                  </a:cubicBezTo>
                  <a:cubicBezTo>
                    <a:pt x="11500" y="2112"/>
                    <a:pt x="9137"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78"/>
            <p:cNvSpPr/>
            <p:nvPr/>
          </p:nvSpPr>
          <p:spPr>
            <a:xfrm>
              <a:off x="-55170450" y="1959200"/>
              <a:ext cx="204800" cy="225300"/>
            </a:xfrm>
            <a:custGeom>
              <a:avLst/>
              <a:gdLst/>
              <a:ahLst/>
              <a:cxnLst/>
              <a:rect l="l" t="t" r="r" b="b"/>
              <a:pathLst>
                <a:path w="8192" h="9012" extrusionOk="0">
                  <a:moveTo>
                    <a:pt x="4128" y="1450"/>
                  </a:moveTo>
                  <a:cubicBezTo>
                    <a:pt x="4411" y="2017"/>
                    <a:pt x="4821" y="2490"/>
                    <a:pt x="5293" y="2836"/>
                  </a:cubicBezTo>
                  <a:cubicBezTo>
                    <a:pt x="5924" y="3340"/>
                    <a:pt x="6711" y="3624"/>
                    <a:pt x="7499" y="3687"/>
                  </a:cubicBezTo>
                  <a:cubicBezTo>
                    <a:pt x="7499" y="3813"/>
                    <a:pt x="7530" y="3970"/>
                    <a:pt x="7530" y="4096"/>
                  </a:cubicBezTo>
                  <a:lnTo>
                    <a:pt x="7530" y="5640"/>
                  </a:lnTo>
                  <a:lnTo>
                    <a:pt x="7436" y="5640"/>
                  </a:lnTo>
                  <a:cubicBezTo>
                    <a:pt x="7436" y="7089"/>
                    <a:pt x="6270" y="8224"/>
                    <a:pt x="4852" y="8224"/>
                  </a:cubicBezTo>
                  <a:lnTo>
                    <a:pt x="3340" y="8224"/>
                  </a:lnTo>
                  <a:cubicBezTo>
                    <a:pt x="1891" y="8224"/>
                    <a:pt x="757" y="7058"/>
                    <a:pt x="757" y="5640"/>
                  </a:cubicBezTo>
                  <a:lnTo>
                    <a:pt x="757" y="4096"/>
                  </a:lnTo>
                  <a:cubicBezTo>
                    <a:pt x="757" y="3970"/>
                    <a:pt x="757" y="3813"/>
                    <a:pt x="788" y="3687"/>
                  </a:cubicBezTo>
                  <a:cubicBezTo>
                    <a:pt x="1576" y="3624"/>
                    <a:pt x="2363" y="3340"/>
                    <a:pt x="2994" y="2836"/>
                  </a:cubicBezTo>
                  <a:cubicBezTo>
                    <a:pt x="3466" y="2427"/>
                    <a:pt x="3876" y="1954"/>
                    <a:pt x="4128" y="1450"/>
                  </a:cubicBezTo>
                  <a:close/>
                  <a:moveTo>
                    <a:pt x="4096" y="1"/>
                  </a:moveTo>
                  <a:cubicBezTo>
                    <a:pt x="3939" y="1"/>
                    <a:pt x="3781" y="127"/>
                    <a:pt x="3750" y="284"/>
                  </a:cubicBezTo>
                  <a:lnTo>
                    <a:pt x="3718" y="442"/>
                  </a:lnTo>
                  <a:cubicBezTo>
                    <a:pt x="3309" y="1923"/>
                    <a:pt x="1985" y="2994"/>
                    <a:pt x="442" y="2994"/>
                  </a:cubicBezTo>
                  <a:cubicBezTo>
                    <a:pt x="253" y="2994"/>
                    <a:pt x="127" y="3120"/>
                    <a:pt x="95" y="3309"/>
                  </a:cubicBezTo>
                  <a:cubicBezTo>
                    <a:pt x="32" y="3592"/>
                    <a:pt x="1" y="3876"/>
                    <a:pt x="1" y="4128"/>
                  </a:cubicBezTo>
                  <a:lnTo>
                    <a:pt x="1" y="5672"/>
                  </a:lnTo>
                  <a:cubicBezTo>
                    <a:pt x="1" y="7530"/>
                    <a:pt x="1513" y="9011"/>
                    <a:pt x="3340" y="9011"/>
                  </a:cubicBezTo>
                  <a:lnTo>
                    <a:pt x="4852" y="9011"/>
                  </a:lnTo>
                  <a:cubicBezTo>
                    <a:pt x="6711" y="9011"/>
                    <a:pt x="8192" y="7530"/>
                    <a:pt x="8192" y="5672"/>
                  </a:cubicBezTo>
                  <a:lnTo>
                    <a:pt x="8192" y="4128"/>
                  </a:lnTo>
                  <a:cubicBezTo>
                    <a:pt x="8192" y="3844"/>
                    <a:pt x="8160" y="3592"/>
                    <a:pt x="8129" y="3309"/>
                  </a:cubicBezTo>
                  <a:cubicBezTo>
                    <a:pt x="8066" y="3120"/>
                    <a:pt x="7908" y="2994"/>
                    <a:pt x="7751" y="2994"/>
                  </a:cubicBezTo>
                  <a:cubicBezTo>
                    <a:pt x="6239" y="2994"/>
                    <a:pt x="4884" y="1923"/>
                    <a:pt x="4506" y="442"/>
                  </a:cubicBezTo>
                  <a:lnTo>
                    <a:pt x="4443" y="284"/>
                  </a:lnTo>
                  <a:cubicBezTo>
                    <a:pt x="4411" y="127"/>
                    <a:pt x="4254" y="1"/>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0" name="Google Shape;10170;p78"/>
          <p:cNvGrpSpPr/>
          <p:nvPr/>
        </p:nvGrpSpPr>
        <p:grpSpPr>
          <a:xfrm>
            <a:off x="7969611" y="2008231"/>
            <a:ext cx="338736" cy="359303"/>
            <a:chOff x="-55217700" y="2296300"/>
            <a:chExt cx="298525" cy="316650"/>
          </a:xfrm>
        </p:grpSpPr>
        <p:sp>
          <p:nvSpPr>
            <p:cNvPr id="10171" name="Google Shape;10171;p78"/>
            <p:cNvSpPr/>
            <p:nvPr/>
          </p:nvSpPr>
          <p:spPr>
            <a:xfrm>
              <a:off x="-55105075" y="242627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78"/>
            <p:cNvSpPr/>
            <p:nvPr/>
          </p:nvSpPr>
          <p:spPr>
            <a:xfrm>
              <a:off x="-55030250" y="24262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3" name="Google Shape;10173;p78"/>
            <p:cNvSpPr/>
            <p:nvPr/>
          </p:nvSpPr>
          <p:spPr>
            <a:xfrm>
              <a:off x="-55095625" y="2488675"/>
              <a:ext cx="73275" cy="29775"/>
            </a:xfrm>
            <a:custGeom>
              <a:avLst/>
              <a:gdLst/>
              <a:ahLst/>
              <a:cxnLst/>
              <a:rect l="l" t="t" r="r" b="b"/>
              <a:pathLst>
                <a:path w="2931" h="1191" extrusionOk="0">
                  <a:moveTo>
                    <a:pt x="398" y="1"/>
                  </a:moveTo>
                  <a:cubicBezTo>
                    <a:pt x="308" y="1"/>
                    <a:pt x="221" y="40"/>
                    <a:pt x="158" y="119"/>
                  </a:cubicBezTo>
                  <a:cubicBezTo>
                    <a:pt x="1" y="277"/>
                    <a:pt x="1" y="529"/>
                    <a:pt x="158" y="655"/>
                  </a:cubicBezTo>
                  <a:cubicBezTo>
                    <a:pt x="505" y="1001"/>
                    <a:pt x="977" y="1190"/>
                    <a:pt x="1450" y="1190"/>
                  </a:cubicBezTo>
                  <a:cubicBezTo>
                    <a:pt x="1985" y="1190"/>
                    <a:pt x="2458" y="1001"/>
                    <a:pt x="2773" y="655"/>
                  </a:cubicBezTo>
                  <a:cubicBezTo>
                    <a:pt x="2931" y="497"/>
                    <a:pt x="2931" y="245"/>
                    <a:pt x="2773" y="119"/>
                  </a:cubicBezTo>
                  <a:cubicBezTo>
                    <a:pt x="2685" y="66"/>
                    <a:pt x="2577" y="23"/>
                    <a:pt x="2471" y="23"/>
                  </a:cubicBezTo>
                  <a:cubicBezTo>
                    <a:pt x="2388" y="23"/>
                    <a:pt x="2307" y="50"/>
                    <a:pt x="2237" y="119"/>
                  </a:cubicBezTo>
                  <a:cubicBezTo>
                    <a:pt x="2048" y="340"/>
                    <a:pt x="1733" y="434"/>
                    <a:pt x="1450" y="434"/>
                  </a:cubicBezTo>
                  <a:cubicBezTo>
                    <a:pt x="1135" y="434"/>
                    <a:pt x="883" y="340"/>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4" name="Google Shape;10174;p78"/>
            <p:cNvSpPr/>
            <p:nvPr/>
          </p:nvSpPr>
          <p:spPr>
            <a:xfrm>
              <a:off x="-55217700" y="2296300"/>
              <a:ext cx="298525" cy="316650"/>
            </a:xfrm>
            <a:custGeom>
              <a:avLst/>
              <a:gdLst/>
              <a:ahLst/>
              <a:cxnLst/>
              <a:rect l="l" t="t" r="r" b="b"/>
              <a:pathLst>
                <a:path w="11941" h="12666" extrusionOk="0">
                  <a:moveTo>
                    <a:pt x="8601" y="694"/>
                  </a:moveTo>
                  <a:cubicBezTo>
                    <a:pt x="9105" y="694"/>
                    <a:pt x="9578" y="1040"/>
                    <a:pt x="9704" y="1545"/>
                  </a:cubicBezTo>
                  <a:lnTo>
                    <a:pt x="2993" y="3561"/>
                  </a:lnTo>
                  <a:lnTo>
                    <a:pt x="2993" y="1797"/>
                  </a:lnTo>
                  <a:cubicBezTo>
                    <a:pt x="2993" y="1167"/>
                    <a:pt x="3497" y="694"/>
                    <a:pt x="4096" y="694"/>
                  </a:cubicBezTo>
                  <a:close/>
                  <a:moveTo>
                    <a:pt x="9735" y="2301"/>
                  </a:moveTo>
                  <a:lnTo>
                    <a:pt x="9735" y="3687"/>
                  </a:lnTo>
                  <a:lnTo>
                    <a:pt x="5199" y="3687"/>
                  </a:lnTo>
                  <a:lnTo>
                    <a:pt x="9735" y="2301"/>
                  </a:lnTo>
                  <a:close/>
                  <a:moveTo>
                    <a:pt x="10428" y="4380"/>
                  </a:moveTo>
                  <a:cubicBezTo>
                    <a:pt x="10838" y="4380"/>
                    <a:pt x="11185" y="4727"/>
                    <a:pt x="11185" y="5136"/>
                  </a:cubicBezTo>
                  <a:cubicBezTo>
                    <a:pt x="11185" y="5577"/>
                    <a:pt x="10870" y="5892"/>
                    <a:pt x="10428" y="5892"/>
                  </a:cubicBezTo>
                  <a:lnTo>
                    <a:pt x="10428" y="4380"/>
                  </a:lnTo>
                  <a:close/>
                  <a:moveTo>
                    <a:pt x="9767" y="4443"/>
                  </a:moveTo>
                  <a:cubicBezTo>
                    <a:pt x="9735" y="4664"/>
                    <a:pt x="9735" y="6774"/>
                    <a:pt x="9735" y="7026"/>
                  </a:cubicBezTo>
                  <a:cubicBezTo>
                    <a:pt x="9735" y="8885"/>
                    <a:pt x="8223" y="10397"/>
                    <a:pt x="6396" y="10397"/>
                  </a:cubicBezTo>
                  <a:cubicBezTo>
                    <a:pt x="4537" y="10397"/>
                    <a:pt x="3025" y="8885"/>
                    <a:pt x="3025" y="7026"/>
                  </a:cubicBezTo>
                  <a:lnTo>
                    <a:pt x="3025" y="4443"/>
                  </a:lnTo>
                  <a:close/>
                  <a:moveTo>
                    <a:pt x="2237" y="3309"/>
                  </a:moveTo>
                  <a:lnTo>
                    <a:pt x="2237" y="6995"/>
                  </a:lnTo>
                  <a:lnTo>
                    <a:pt x="2237" y="11910"/>
                  </a:lnTo>
                  <a:lnTo>
                    <a:pt x="756" y="11910"/>
                  </a:lnTo>
                  <a:lnTo>
                    <a:pt x="756" y="6711"/>
                  </a:lnTo>
                  <a:cubicBezTo>
                    <a:pt x="756" y="5420"/>
                    <a:pt x="1292" y="4159"/>
                    <a:pt x="2237" y="3309"/>
                  </a:cubicBezTo>
                  <a:close/>
                  <a:moveTo>
                    <a:pt x="4096" y="1"/>
                  </a:moveTo>
                  <a:cubicBezTo>
                    <a:pt x="3088" y="1"/>
                    <a:pt x="2269" y="820"/>
                    <a:pt x="2269" y="1828"/>
                  </a:cubicBezTo>
                  <a:lnTo>
                    <a:pt x="2269" y="2395"/>
                  </a:lnTo>
                  <a:cubicBezTo>
                    <a:pt x="819" y="3403"/>
                    <a:pt x="0" y="5042"/>
                    <a:pt x="0" y="6774"/>
                  </a:cubicBezTo>
                  <a:lnTo>
                    <a:pt x="0" y="12319"/>
                  </a:lnTo>
                  <a:cubicBezTo>
                    <a:pt x="0" y="12508"/>
                    <a:pt x="158" y="12666"/>
                    <a:pt x="378" y="12666"/>
                  </a:cubicBezTo>
                  <a:lnTo>
                    <a:pt x="2615" y="12666"/>
                  </a:lnTo>
                  <a:cubicBezTo>
                    <a:pt x="2804" y="12666"/>
                    <a:pt x="2962" y="12508"/>
                    <a:pt x="2962" y="12319"/>
                  </a:cubicBezTo>
                  <a:lnTo>
                    <a:pt x="2962" y="9389"/>
                  </a:lnTo>
                  <a:cubicBezTo>
                    <a:pt x="3718" y="10460"/>
                    <a:pt x="4915" y="11122"/>
                    <a:pt x="6301" y="11122"/>
                  </a:cubicBezTo>
                  <a:cubicBezTo>
                    <a:pt x="8538" y="11122"/>
                    <a:pt x="10397" y="9295"/>
                    <a:pt x="10397" y="7026"/>
                  </a:cubicBezTo>
                  <a:lnTo>
                    <a:pt x="10397" y="6680"/>
                  </a:lnTo>
                  <a:cubicBezTo>
                    <a:pt x="11216" y="6680"/>
                    <a:pt x="11909" y="6018"/>
                    <a:pt x="11909" y="5168"/>
                  </a:cubicBezTo>
                  <a:cubicBezTo>
                    <a:pt x="11941" y="4348"/>
                    <a:pt x="11279" y="3687"/>
                    <a:pt x="10428" y="3687"/>
                  </a:cubicBezTo>
                  <a:lnTo>
                    <a:pt x="10428" y="1828"/>
                  </a:lnTo>
                  <a:cubicBezTo>
                    <a:pt x="10428" y="820"/>
                    <a:pt x="9609"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5" name="Google Shape;10175;p78"/>
          <p:cNvGrpSpPr/>
          <p:nvPr/>
        </p:nvGrpSpPr>
        <p:grpSpPr>
          <a:xfrm>
            <a:off x="7957541" y="2460814"/>
            <a:ext cx="362877" cy="359303"/>
            <a:chOff x="-55229525" y="2688550"/>
            <a:chExt cx="319800" cy="316650"/>
          </a:xfrm>
        </p:grpSpPr>
        <p:sp>
          <p:nvSpPr>
            <p:cNvPr id="10176" name="Google Shape;10176;p78"/>
            <p:cNvSpPr/>
            <p:nvPr/>
          </p:nvSpPr>
          <p:spPr>
            <a:xfrm>
              <a:off x="-55104275" y="2919525"/>
              <a:ext cx="72475" cy="28950"/>
            </a:xfrm>
            <a:custGeom>
              <a:avLst/>
              <a:gdLst/>
              <a:ahLst/>
              <a:cxnLst/>
              <a:rect l="l" t="t" r="r" b="b"/>
              <a:pathLst>
                <a:path w="2899" h="1158" extrusionOk="0">
                  <a:moveTo>
                    <a:pt x="398" y="0"/>
                  </a:moveTo>
                  <a:cubicBezTo>
                    <a:pt x="307" y="0"/>
                    <a:pt x="221" y="39"/>
                    <a:pt x="158" y="118"/>
                  </a:cubicBezTo>
                  <a:cubicBezTo>
                    <a:pt x="0" y="276"/>
                    <a:pt x="0" y="496"/>
                    <a:pt x="158" y="622"/>
                  </a:cubicBezTo>
                  <a:cubicBezTo>
                    <a:pt x="504" y="969"/>
                    <a:pt x="977" y="1158"/>
                    <a:pt x="1449" y="1158"/>
                  </a:cubicBezTo>
                  <a:cubicBezTo>
                    <a:pt x="1953" y="1158"/>
                    <a:pt x="2426" y="969"/>
                    <a:pt x="2741" y="622"/>
                  </a:cubicBezTo>
                  <a:cubicBezTo>
                    <a:pt x="2898" y="465"/>
                    <a:pt x="2898" y="213"/>
                    <a:pt x="2741" y="118"/>
                  </a:cubicBezTo>
                  <a:cubicBezTo>
                    <a:pt x="2694" y="39"/>
                    <a:pt x="2607" y="0"/>
                    <a:pt x="2513" y="0"/>
                  </a:cubicBezTo>
                  <a:cubicBezTo>
                    <a:pt x="2418" y="0"/>
                    <a:pt x="2316" y="39"/>
                    <a:pt x="2237" y="118"/>
                  </a:cubicBezTo>
                  <a:cubicBezTo>
                    <a:pt x="2048" y="307"/>
                    <a:pt x="1733" y="433"/>
                    <a:pt x="1449" y="433"/>
                  </a:cubicBezTo>
                  <a:cubicBezTo>
                    <a:pt x="1134" y="433"/>
                    <a:pt x="851" y="307"/>
                    <a:pt x="662" y="118"/>
                  </a:cubicBezTo>
                  <a:cubicBezTo>
                    <a:pt x="583" y="39"/>
                    <a:pt x="488"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78"/>
            <p:cNvSpPr/>
            <p:nvPr/>
          </p:nvSpPr>
          <p:spPr>
            <a:xfrm>
              <a:off x="-55039700" y="285630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8" y="694"/>
                    <a:pt x="725" y="536"/>
                    <a:pt x="725" y="347"/>
                  </a:cubicBezTo>
                  <a:cubicBezTo>
                    <a:pt x="725" y="158"/>
                    <a:pt x="56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8" name="Google Shape;10178;p78"/>
            <p:cNvSpPr/>
            <p:nvPr/>
          </p:nvSpPr>
          <p:spPr>
            <a:xfrm>
              <a:off x="-55113750" y="2856300"/>
              <a:ext cx="17350" cy="17350"/>
            </a:xfrm>
            <a:custGeom>
              <a:avLst/>
              <a:gdLst/>
              <a:ahLst/>
              <a:cxnLst/>
              <a:rect l="l" t="t" r="r" b="b"/>
              <a:pathLst>
                <a:path w="694" h="694" extrusionOk="0">
                  <a:moveTo>
                    <a:pt x="348" y="1"/>
                  </a:moveTo>
                  <a:cubicBezTo>
                    <a:pt x="158" y="1"/>
                    <a:pt x="1" y="158"/>
                    <a:pt x="1" y="347"/>
                  </a:cubicBezTo>
                  <a:cubicBezTo>
                    <a:pt x="1" y="536"/>
                    <a:pt x="158" y="694"/>
                    <a:pt x="348" y="694"/>
                  </a:cubicBezTo>
                  <a:cubicBezTo>
                    <a:pt x="537" y="694"/>
                    <a:pt x="694" y="536"/>
                    <a:pt x="694" y="347"/>
                  </a:cubicBezTo>
                  <a:cubicBezTo>
                    <a:pt x="694" y="158"/>
                    <a:pt x="537"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9" name="Google Shape;10179;p78"/>
            <p:cNvSpPr/>
            <p:nvPr/>
          </p:nvSpPr>
          <p:spPr>
            <a:xfrm>
              <a:off x="-55229525" y="2688550"/>
              <a:ext cx="319800" cy="316650"/>
            </a:xfrm>
            <a:custGeom>
              <a:avLst/>
              <a:gdLst/>
              <a:ahLst/>
              <a:cxnLst/>
              <a:rect l="l" t="t" r="r" b="b"/>
              <a:pathLst>
                <a:path w="12792" h="12666" extrusionOk="0">
                  <a:moveTo>
                    <a:pt x="6648" y="693"/>
                  </a:moveTo>
                  <a:cubicBezTo>
                    <a:pt x="6806" y="693"/>
                    <a:pt x="6963" y="788"/>
                    <a:pt x="7026" y="914"/>
                  </a:cubicBezTo>
                  <a:cubicBezTo>
                    <a:pt x="7089" y="1197"/>
                    <a:pt x="7184" y="1386"/>
                    <a:pt x="7247" y="1670"/>
                  </a:cubicBezTo>
                  <a:cubicBezTo>
                    <a:pt x="7341" y="1891"/>
                    <a:pt x="7121" y="2143"/>
                    <a:pt x="6900" y="2143"/>
                  </a:cubicBezTo>
                  <a:lnTo>
                    <a:pt x="5987" y="2143"/>
                  </a:lnTo>
                  <a:cubicBezTo>
                    <a:pt x="5766" y="2143"/>
                    <a:pt x="5546" y="1891"/>
                    <a:pt x="5640" y="1670"/>
                  </a:cubicBezTo>
                  <a:cubicBezTo>
                    <a:pt x="5703" y="1418"/>
                    <a:pt x="5798" y="1197"/>
                    <a:pt x="5892" y="914"/>
                  </a:cubicBezTo>
                  <a:cubicBezTo>
                    <a:pt x="5955" y="756"/>
                    <a:pt x="6081" y="693"/>
                    <a:pt x="6239" y="693"/>
                  </a:cubicBezTo>
                  <a:close/>
                  <a:moveTo>
                    <a:pt x="7845" y="2332"/>
                  </a:moveTo>
                  <a:cubicBezTo>
                    <a:pt x="10271" y="2962"/>
                    <a:pt x="12004" y="5199"/>
                    <a:pt x="12004" y="7813"/>
                  </a:cubicBezTo>
                  <a:cubicBezTo>
                    <a:pt x="12067" y="8444"/>
                    <a:pt x="11595" y="8916"/>
                    <a:pt x="10964" y="8916"/>
                  </a:cubicBezTo>
                  <a:lnTo>
                    <a:pt x="10523" y="8916"/>
                  </a:lnTo>
                  <a:lnTo>
                    <a:pt x="10523" y="8570"/>
                  </a:lnTo>
                  <a:lnTo>
                    <a:pt x="10523" y="7057"/>
                  </a:lnTo>
                  <a:cubicBezTo>
                    <a:pt x="10523" y="5608"/>
                    <a:pt x="9326" y="4474"/>
                    <a:pt x="7908" y="4474"/>
                  </a:cubicBezTo>
                  <a:lnTo>
                    <a:pt x="4915" y="4474"/>
                  </a:lnTo>
                  <a:cubicBezTo>
                    <a:pt x="3466" y="4474"/>
                    <a:pt x="2332" y="5640"/>
                    <a:pt x="2332" y="7057"/>
                  </a:cubicBezTo>
                  <a:lnTo>
                    <a:pt x="2332" y="8570"/>
                  </a:lnTo>
                  <a:lnTo>
                    <a:pt x="2332" y="8916"/>
                  </a:lnTo>
                  <a:lnTo>
                    <a:pt x="1891" y="8916"/>
                  </a:lnTo>
                  <a:cubicBezTo>
                    <a:pt x="1261" y="8916"/>
                    <a:pt x="788" y="8412"/>
                    <a:pt x="788" y="7813"/>
                  </a:cubicBezTo>
                  <a:cubicBezTo>
                    <a:pt x="788" y="5262"/>
                    <a:pt x="2521" y="2993"/>
                    <a:pt x="4979" y="2332"/>
                  </a:cubicBezTo>
                  <a:cubicBezTo>
                    <a:pt x="5168" y="2678"/>
                    <a:pt x="5514" y="2899"/>
                    <a:pt x="5955" y="2899"/>
                  </a:cubicBezTo>
                  <a:lnTo>
                    <a:pt x="6869" y="2899"/>
                  </a:lnTo>
                  <a:cubicBezTo>
                    <a:pt x="7247" y="2899"/>
                    <a:pt x="7593" y="2678"/>
                    <a:pt x="7845" y="2332"/>
                  </a:cubicBezTo>
                  <a:close/>
                  <a:moveTo>
                    <a:pt x="7971" y="5199"/>
                  </a:moveTo>
                  <a:cubicBezTo>
                    <a:pt x="8980" y="5199"/>
                    <a:pt x="9799" y="6049"/>
                    <a:pt x="9799" y="7057"/>
                  </a:cubicBezTo>
                  <a:lnTo>
                    <a:pt x="9799" y="8570"/>
                  </a:lnTo>
                  <a:cubicBezTo>
                    <a:pt x="9799" y="10397"/>
                    <a:pt x="8318" y="11909"/>
                    <a:pt x="6459" y="11909"/>
                  </a:cubicBezTo>
                  <a:cubicBezTo>
                    <a:pt x="4600" y="11909"/>
                    <a:pt x="3120" y="10397"/>
                    <a:pt x="3120" y="8570"/>
                  </a:cubicBezTo>
                  <a:lnTo>
                    <a:pt x="3120" y="7057"/>
                  </a:lnTo>
                  <a:cubicBezTo>
                    <a:pt x="3120" y="6049"/>
                    <a:pt x="3939" y="5199"/>
                    <a:pt x="4979" y="5199"/>
                  </a:cubicBezTo>
                  <a:close/>
                  <a:moveTo>
                    <a:pt x="6176" y="0"/>
                  </a:moveTo>
                  <a:cubicBezTo>
                    <a:pt x="5703" y="0"/>
                    <a:pt x="5294" y="315"/>
                    <a:pt x="5136" y="756"/>
                  </a:cubicBezTo>
                  <a:lnTo>
                    <a:pt x="3403" y="756"/>
                  </a:lnTo>
                  <a:cubicBezTo>
                    <a:pt x="3183" y="756"/>
                    <a:pt x="3025" y="914"/>
                    <a:pt x="3025" y="1103"/>
                  </a:cubicBezTo>
                  <a:cubicBezTo>
                    <a:pt x="3025" y="1323"/>
                    <a:pt x="3183" y="1481"/>
                    <a:pt x="3403" y="1481"/>
                  </a:cubicBezTo>
                  <a:lnTo>
                    <a:pt x="4852" y="1481"/>
                  </a:lnTo>
                  <a:cubicBezTo>
                    <a:pt x="4852" y="1512"/>
                    <a:pt x="4821" y="1575"/>
                    <a:pt x="4821" y="1638"/>
                  </a:cubicBezTo>
                  <a:cubicBezTo>
                    <a:pt x="3498" y="1954"/>
                    <a:pt x="2332" y="2678"/>
                    <a:pt x="1450" y="3749"/>
                  </a:cubicBezTo>
                  <a:cubicBezTo>
                    <a:pt x="505" y="4883"/>
                    <a:pt x="1" y="6364"/>
                    <a:pt x="1" y="7813"/>
                  </a:cubicBezTo>
                  <a:cubicBezTo>
                    <a:pt x="1" y="8822"/>
                    <a:pt x="820" y="9672"/>
                    <a:pt x="1860" y="9672"/>
                  </a:cubicBezTo>
                  <a:lnTo>
                    <a:pt x="2395" y="9672"/>
                  </a:lnTo>
                  <a:cubicBezTo>
                    <a:pt x="2868" y="11405"/>
                    <a:pt x="4506" y="12665"/>
                    <a:pt x="6333" y="12665"/>
                  </a:cubicBezTo>
                  <a:cubicBezTo>
                    <a:pt x="8224" y="12665"/>
                    <a:pt x="9799" y="11405"/>
                    <a:pt x="10271" y="9672"/>
                  </a:cubicBezTo>
                  <a:lnTo>
                    <a:pt x="10838" y="9672"/>
                  </a:lnTo>
                  <a:cubicBezTo>
                    <a:pt x="11847" y="9672"/>
                    <a:pt x="12697" y="8822"/>
                    <a:pt x="12697" y="7813"/>
                  </a:cubicBezTo>
                  <a:cubicBezTo>
                    <a:pt x="12792" y="6301"/>
                    <a:pt x="12288" y="4883"/>
                    <a:pt x="11343" y="3749"/>
                  </a:cubicBezTo>
                  <a:cubicBezTo>
                    <a:pt x="10492" y="2678"/>
                    <a:pt x="9295" y="1954"/>
                    <a:pt x="8003" y="1638"/>
                  </a:cubicBezTo>
                  <a:cubicBezTo>
                    <a:pt x="8003" y="1575"/>
                    <a:pt x="7971" y="1512"/>
                    <a:pt x="7971" y="1481"/>
                  </a:cubicBezTo>
                  <a:lnTo>
                    <a:pt x="9421" y="1481"/>
                  </a:lnTo>
                  <a:cubicBezTo>
                    <a:pt x="9610" y="1481"/>
                    <a:pt x="9767" y="1323"/>
                    <a:pt x="9767" y="1103"/>
                  </a:cubicBezTo>
                  <a:cubicBezTo>
                    <a:pt x="9767" y="914"/>
                    <a:pt x="9610" y="756"/>
                    <a:pt x="9421" y="756"/>
                  </a:cubicBezTo>
                  <a:lnTo>
                    <a:pt x="7688" y="756"/>
                  </a:lnTo>
                  <a:cubicBezTo>
                    <a:pt x="7530" y="315"/>
                    <a:pt x="7089" y="0"/>
                    <a:pt x="6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0" name="Google Shape;10180;p78"/>
          <p:cNvGrpSpPr/>
          <p:nvPr/>
        </p:nvGrpSpPr>
        <p:grpSpPr>
          <a:xfrm>
            <a:off x="6653760" y="2911936"/>
            <a:ext cx="338765" cy="361090"/>
            <a:chOff x="-53288825" y="1903275"/>
            <a:chExt cx="298550" cy="318225"/>
          </a:xfrm>
        </p:grpSpPr>
        <p:sp>
          <p:nvSpPr>
            <p:cNvPr id="10181" name="Google Shape;10181;p78"/>
            <p:cNvSpPr/>
            <p:nvPr/>
          </p:nvSpPr>
          <p:spPr>
            <a:xfrm>
              <a:off x="-53214000" y="20529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7" y="694"/>
                    <a:pt x="726" y="536"/>
                    <a:pt x="726" y="347"/>
                  </a:cubicBezTo>
                  <a:cubicBezTo>
                    <a:pt x="726"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78"/>
            <p:cNvSpPr/>
            <p:nvPr/>
          </p:nvSpPr>
          <p:spPr>
            <a:xfrm>
              <a:off x="-53139175" y="205292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3" name="Google Shape;10183;p78"/>
            <p:cNvSpPr/>
            <p:nvPr/>
          </p:nvSpPr>
          <p:spPr>
            <a:xfrm>
              <a:off x="-53288825" y="1903275"/>
              <a:ext cx="298550" cy="318225"/>
            </a:xfrm>
            <a:custGeom>
              <a:avLst/>
              <a:gdLst/>
              <a:ahLst/>
              <a:cxnLst/>
              <a:rect l="l" t="t" r="r" b="b"/>
              <a:pathLst>
                <a:path w="11942" h="12729" extrusionOk="0">
                  <a:moveTo>
                    <a:pt x="4853" y="757"/>
                  </a:moveTo>
                  <a:cubicBezTo>
                    <a:pt x="6428" y="757"/>
                    <a:pt x="7846" y="1639"/>
                    <a:pt x="8507" y="2994"/>
                  </a:cubicBezTo>
                  <a:lnTo>
                    <a:pt x="1167" y="2994"/>
                  </a:lnTo>
                  <a:cubicBezTo>
                    <a:pt x="1891" y="1639"/>
                    <a:pt x="3277" y="757"/>
                    <a:pt x="4853" y="757"/>
                  </a:cubicBezTo>
                  <a:close/>
                  <a:moveTo>
                    <a:pt x="11185" y="2994"/>
                  </a:moveTo>
                  <a:lnTo>
                    <a:pt x="11185" y="3340"/>
                  </a:lnTo>
                  <a:cubicBezTo>
                    <a:pt x="11185" y="3971"/>
                    <a:pt x="10681" y="4443"/>
                    <a:pt x="10083" y="4443"/>
                  </a:cubicBezTo>
                  <a:lnTo>
                    <a:pt x="9736" y="4443"/>
                  </a:lnTo>
                  <a:lnTo>
                    <a:pt x="9736" y="4097"/>
                  </a:lnTo>
                  <a:cubicBezTo>
                    <a:pt x="9736" y="3466"/>
                    <a:pt x="10240" y="2994"/>
                    <a:pt x="10839" y="2994"/>
                  </a:cubicBezTo>
                  <a:close/>
                  <a:moveTo>
                    <a:pt x="3151" y="3750"/>
                  </a:moveTo>
                  <a:lnTo>
                    <a:pt x="3498" y="4475"/>
                  </a:lnTo>
                  <a:lnTo>
                    <a:pt x="789" y="4475"/>
                  </a:lnTo>
                  <a:cubicBezTo>
                    <a:pt x="820" y="4223"/>
                    <a:pt x="852" y="3971"/>
                    <a:pt x="946" y="3750"/>
                  </a:cubicBezTo>
                  <a:close/>
                  <a:moveTo>
                    <a:pt x="5735" y="3750"/>
                  </a:moveTo>
                  <a:lnTo>
                    <a:pt x="5357" y="4475"/>
                  </a:lnTo>
                  <a:lnTo>
                    <a:pt x="4317" y="4475"/>
                  </a:lnTo>
                  <a:lnTo>
                    <a:pt x="3971" y="3750"/>
                  </a:lnTo>
                  <a:close/>
                  <a:moveTo>
                    <a:pt x="8822" y="3750"/>
                  </a:moveTo>
                  <a:cubicBezTo>
                    <a:pt x="8885" y="3971"/>
                    <a:pt x="8948" y="4223"/>
                    <a:pt x="8980" y="4475"/>
                  </a:cubicBezTo>
                  <a:lnTo>
                    <a:pt x="6270" y="4475"/>
                  </a:lnTo>
                  <a:lnTo>
                    <a:pt x="6617" y="3750"/>
                  </a:lnTo>
                  <a:close/>
                  <a:moveTo>
                    <a:pt x="10083" y="5231"/>
                  </a:moveTo>
                  <a:cubicBezTo>
                    <a:pt x="10713" y="5231"/>
                    <a:pt x="11185" y="5703"/>
                    <a:pt x="11185" y="6333"/>
                  </a:cubicBezTo>
                  <a:lnTo>
                    <a:pt x="11185" y="6680"/>
                  </a:lnTo>
                  <a:lnTo>
                    <a:pt x="10839" y="6680"/>
                  </a:lnTo>
                  <a:cubicBezTo>
                    <a:pt x="10209" y="6680"/>
                    <a:pt x="9736" y="6176"/>
                    <a:pt x="9736" y="5577"/>
                  </a:cubicBezTo>
                  <a:lnTo>
                    <a:pt x="9736" y="5231"/>
                  </a:lnTo>
                  <a:close/>
                  <a:moveTo>
                    <a:pt x="8980" y="5231"/>
                  </a:moveTo>
                  <a:lnTo>
                    <a:pt x="8980" y="7531"/>
                  </a:lnTo>
                  <a:lnTo>
                    <a:pt x="789" y="7531"/>
                  </a:lnTo>
                  <a:lnTo>
                    <a:pt x="789" y="5231"/>
                  </a:lnTo>
                  <a:close/>
                  <a:moveTo>
                    <a:pt x="8948" y="8224"/>
                  </a:moveTo>
                  <a:cubicBezTo>
                    <a:pt x="8728" y="10366"/>
                    <a:pt x="6995" y="11973"/>
                    <a:pt x="4853" y="11973"/>
                  </a:cubicBezTo>
                  <a:cubicBezTo>
                    <a:pt x="2710" y="11973"/>
                    <a:pt x="946" y="10303"/>
                    <a:pt x="757" y="8224"/>
                  </a:cubicBezTo>
                  <a:close/>
                  <a:moveTo>
                    <a:pt x="4853" y="1"/>
                  </a:moveTo>
                  <a:cubicBezTo>
                    <a:pt x="2175" y="1"/>
                    <a:pt x="1" y="2175"/>
                    <a:pt x="1" y="4853"/>
                  </a:cubicBezTo>
                  <a:lnTo>
                    <a:pt x="1" y="7877"/>
                  </a:lnTo>
                  <a:cubicBezTo>
                    <a:pt x="1" y="10555"/>
                    <a:pt x="2175" y="12729"/>
                    <a:pt x="4853" y="12729"/>
                  </a:cubicBezTo>
                  <a:cubicBezTo>
                    <a:pt x="7531" y="12729"/>
                    <a:pt x="9704" y="10555"/>
                    <a:pt x="9704" y="7877"/>
                  </a:cubicBezTo>
                  <a:lnTo>
                    <a:pt x="9704" y="7090"/>
                  </a:lnTo>
                  <a:cubicBezTo>
                    <a:pt x="10020" y="7310"/>
                    <a:pt x="10398" y="7436"/>
                    <a:pt x="10807" y="7436"/>
                  </a:cubicBezTo>
                  <a:lnTo>
                    <a:pt x="11532" y="7436"/>
                  </a:lnTo>
                  <a:cubicBezTo>
                    <a:pt x="11752" y="7436"/>
                    <a:pt x="11878" y="7279"/>
                    <a:pt x="11878" y="7090"/>
                  </a:cubicBezTo>
                  <a:lnTo>
                    <a:pt x="11878" y="6333"/>
                  </a:lnTo>
                  <a:cubicBezTo>
                    <a:pt x="11878" y="5735"/>
                    <a:pt x="11626" y="5199"/>
                    <a:pt x="11154" y="4853"/>
                  </a:cubicBezTo>
                  <a:cubicBezTo>
                    <a:pt x="11658" y="4475"/>
                    <a:pt x="11941" y="3971"/>
                    <a:pt x="11941" y="3340"/>
                  </a:cubicBezTo>
                  <a:lnTo>
                    <a:pt x="11941" y="2584"/>
                  </a:lnTo>
                  <a:cubicBezTo>
                    <a:pt x="11941" y="2395"/>
                    <a:pt x="11784" y="2238"/>
                    <a:pt x="11563" y="2238"/>
                  </a:cubicBezTo>
                  <a:lnTo>
                    <a:pt x="10839" y="2238"/>
                  </a:lnTo>
                  <a:cubicBezTo>
                    <a:pt x="10240" y="2238"/>
                    <a:pt x="9704" y="2521"/>
                    <a:pt x="9326" y="2994"/>
                  </a:cubicBezTo>
                  <a:cubicBezTo>
                    <a:pt x="8602" y="1261"/>
                    <a:pt x="6838" y="1"/>
                    <a:pt x="48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4" name="Google Shape;10184;p78"/>
          <p:cNvGrpSpPr/>
          <p:nvPr/>
        </p:nvGrpSpPr>
        <p:grpSpPr>
          <a:xfrm>
            <a:off x="6642143" y="3363612"/>
            <a:ext cx="361998" cy="361090"/>
            <a:chOff x="-53299850" y="2294725"/>
            <a:chExt cx="319025" cy="318225"/>
          </a:xfrm>
        </p:grpSpPr>
        <p:sp>
          <p:nvSpPr>
            <p:cNvPr id="10185" name="Google Shape;10185;p78"/>
            <p:cNvSpPr/>
            <p:nvPr/>
          </p:nvSpPr>
          <p:spPr>
            <a:xfrm>
              <a:off x="-53175400" y="2526500"/>
              <a:ext cx="72475" cy="29750"/>
            </a:xfrm>
            <a:custGeom>
              <a:avLst/>
              <a:gdLst/>
              <a:ahLst/>
              <a:cxnLst/>
              <a:rect l="l" t="t" r="r" b="b"/>
              <a:pathLst>
                <a:path w="2899" h="1190" extrusionOk="0">
                  <a:moveTo>
                    <a:pt x="387" y="0"/>
                  </a:moveTo>
                  <a:cubicBezTo>
                    <a:pt x="292" y="0"/>
                    <a:pt x="205" y="39"/>
                    <a:pt x="158" y="118"/>
                  </a:cubicBezTo>
                  <a:cubicBezTo>
                    <a:pt x="1" y="276"/>
                    <a:pt x="1" y="496"/>
                    <a:pt x="158" y="622"/>
                  </a:cubicBezTo>
                  <a:cubicBezTo>
                    <a:pt x="505" y="969"/>
                    <a:pt x="977" y="1189"/>
                    <a:pt x="1450" y="1189"/>
                  </a:cubicBezTo>
                  <a:cubicBezTo>
                    <a:pt x="1922" y="1189"/>
                    <a:pt x="2427" y="969"/>
                    <a:pt x="2742" y="622"/>
                  </a:cubicBezTo>
                  <a:cubicBezTo>
                    <a:pt x="2899" y="465"/>
                    <a:pt x="2899" y="244"/>
                    <a:pt x="2742" y="118"/>
                  </a:cubicBezTo>
                  <a:cubicBezTo>
                    <a:pt x="2679" y="55"/>
                    <a:pt x="2592" y="24"/>
                    <a:pt x="2501" y="24"/>
                  </a:cubicBezTo>
                  <a:cubicBezTo>
                    <a:pt x="2411" y="24"/>
                    <a:pt x="2316" y="55"/>
                    <a:pt x="2238" y="118"/>
                  </a:cubicBezTo>
                  <a:cubicBezTo>
                    <a:pt x="2048" y="307"/>
                    <a:pt x="1733" y="433"/>
                    <a:pt x="1450" y="433"/>
                  </a:cubicBezTo>
                  <a:cubicBezTo>
                    <a:pt x="1166" y="433"/>
                    <a:pt x="851" y="307"/>
                    <a:pt x="662" y="118"/>
                  </a:cubicBezTo>
                  <a:cubicBezTo>
                    <a:pt x="584" y="39"/>
                    <a:pt x="481"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78"/>
            <p:cNvSpPr/>
            <p:nvPr/>
          </p:nvSpPr>
          <p:spPr>
            <a:xfrm>
              <a:off x="-53299850" y="2294725"/>
              <a:ext cx="319025" cy="318225"/>
            </a:xfrm>
            <a:custGeom>
              <a:avLst/>
              <a:gdLst/>
              <a:ahLst/>
              <a:cxnLst/>
              <a:rect l="l" t="t" r="r" b="b"/>
              <a:pathLst>
                <a:path w="12761" h="12729" extrusionOk="0">
                  <a:moveTo>
                    <a:pt x="6428" y="757"/>
                  </a:moveTo>
                  <a:cubicBezTo>
                    <a:pt x="8539" y="757"/>
                    <a:pt x="10335" y="2364"/>
                    <a:pt x="10524" y="4475"/>
                  </a:cubicBezTo>
                  <a:cubicBezTo>
                    <a:pt x="10492" y="4475"/>
                    <a:pt x="10398" y="4411"/>
                    <a:pt x="10366" y="4411"/>
                  </a:cubicBezTo>
                  <a:cubicBezTo>
                    <a:pt x="9090" y="4207"/>
                    <a:pt x="7759" y="4104"/>
                    <a:pt x="6428" y="4104"/>
                  </a:cubicBezTo>
                  <a:cubicBezTo>
                    <a:pt x="5097" y="4104"/>
                    <a:pt x="3766" y="4207"/>
                    <a:pt x="2490" y="4411"/>
                  </a:cubicBezTo>
                  <a:cubicBezTo>
                    <a:pt x="2458" y="4411"/>
                    <a:pt x="2364" y="4475"/>
                    <a:pt x="2332" y="4475"/>
                  </a:cubicBezTo>
                  <a:cubicBezTo>
                    <a:pt x="2521" y="2364"/>
                    <a:pt x="4286" y="757"/>
                    <a:pt x="6428" y="757"/>
                  </a:cubicBezTo>
                  <a:close/>
                  <a:moveTo>
                    <a:pt x="6404" y="4837"/>
                  </a:moveTo>
                  <a:cubicBezTo>
                    <a:pt x="7688" y="4837"/>
                    <a:pt x="8980" y="4947"/>
                    <a:pt x="10240" y="5168"/>
                  </a:cubicBezTo>
                  <a:cubicBezTo>
                    <a:pt x="10429" y="5199"/>
                    <a:pt x="10555" y="5357"/>
                    <a:pt x="10555" y="5514"/>
                  </a:cubicBezTo>
                  <a:lnTo>
                    <a:pt x="10555" y="6396"/>
                  </a:lnTo>
                  <a:cubicBezTo>
                    <a:pt x="10555" y="6995"/>
                    <a:pt x="10051" y="7499"/>
                    <a:pt x="9421" y="7499"/>
                  </a:cubicBezTo>
                  <a:lnTo>
                    <a:pt x="7436" y="7499"/>
                  </a:lnTo>
                  <a:cubicBezTo>
                    <a:pt x="7342" y="7499"/>
                    <a:pt x="7247" y="7467"/>
                    <a:pt x="7184" y="7373"/>
                  </a:cubicBezTo>
                  <a:lnTo>
                    <a:pt x="6648" y="6869"/>
                  </a:lnTo>
                  <a:cubicBezTo>
                    <a:pt x="6570" y="6790"/>
                    <a:pt x="6475" y="6751"/>
                    <a:pt x="6385" y="6751"/>
                  </a:cubicBezTo>
                  <a:cubicBezTo>
                    <a:pt x="6294" y="6751"/>
                    <a:pt x="6207" y="6790"/>
                    <a:pt x="6144" y="6869"/>
                  </a:cubicBezTo>
                  <a:lnTo>
                    <a:pt x="5640" y="7373"/>
                  </a:lnTo>
                  <a:cubicBezTo>
                    <a:pt x="5546" y="7467"/>
                    <a:pt x="5483" y="7499"/>
                    <a:pt x="5357" y="7499"/>
                  </a:cubicBezTo>
                  <a:lnTo>
                    <a:pt x="3403" y="7499"/>
                  </a:lnTo>
                  <a:cubicBezTo>
                    <a:pt x="2773" y="7499"/>
                    <a:pt x="2301" y="6995"/>
                    <a:pt x="2301" y="6396"/>
                  </a:cubicBezTo>
                  <a:lnTo>
                    <a:pt x="2301" y="5514"/>
                  </a:lnTo>
                  <a:cubicBezTo>
                    <a:pt x="2301" y="5325"/>
                    <a:pt x="2395" y="5168"/>
                    <a:pt x="2616" y="5168"/>
                  </a:cubicBezTo>
                  <a:cubicBezTo>
                    <a:pt x="3844" y="4947"/>
                    <a:pt x="5120" y="4837"/>
                    <a:pt x="6404" y="4837"/>
                  </a:cubicBezTo>
                  <a:close/>
                  <a:moveTo>
                    <a:pt x="1545" y="5451"/>
                  </a:moveTo>
                  <a:lnTo>
                    <a:pt x="1545" y="5483"/>
                  </a:lnTo>
                  <a:lnTo>
                    <a:pt x="1545" y="6333"/>
                  </a:lnTo>
                  <a:cubicBezTo>
                    <a:pt x="1545" y="6932"/>
                    <a:pt x="1828" y="7499"/>
                    <a:pt x="2301" y="7846"/>
                  </a:cubicBezTo>
                  <a:lnTo>
                    <a:pt x="2301" y="8192"/>
                  </a:lnTo>
                  <a:cubicBezTo>
                    <a:pt x="1450" y="8192"/>
                    <a:pt x="789" y="7530"/>
                    <a:pt x="789" y="6711"/>
                  </a:cubicBezTo>
                  <a:cubicBezTo>
                    <a:pt x="789" y="6207"/>
                    <a:pt x="1104" y="5735"/>
                    <a:pt x="1545" y="5451"/>
                  </a:cubicBezTo>
                  <a:close/>
                  <a:moveTo>
                    <a:pt x="11311" y="5483"/>
                  </a:moveTo>
                  <a:cubicBezTo>
                    <a:pt x="11752" y="5766"/>
                    <a:pt x="12067" y="6239"/>
                    <a:pt x="12067" y="6774"/>
                  </a:cubicBezTo>
                  <a:cubicBezTo>
                    <a:pt x="12004" y="7562"/>
                    <a:pt x="11343" y="8255"/>
                    <a:pt x="10555" y="8255"/>
                  </a:cubicBezTo>
                  <a:lnTo>
                    <a:pt x="10555" y="7877"/>
                  </a:lnTo>
                  <a:cubicBezTo>
                    <a:pt x="10996" y="7530"/>
                    <a:pt x="11311" y="7026"/>
                    <a:pt x="11311" y="6396"/>
                  </a:cubicBezTo>
                  <a:lnTo>
                    <a:pt x="11311" y="5514"/>
                  </a:lnTo>
                  <a:lnTo>
                    <a:pt x="11311" y="5483"/>
                  </a:lnTo>
                  <a:close/>
                  <a:moveTo>
                    <a:pt x="1545" y="8885"/>
                  </a:moveTo>
                  <a:cubicBezTo>
                    <a:pt x="1765" y="8948"/>
                    <a:pt x="2017" y="8980"/>
                    <a:pt x="2301" y="8980"/>
                  </a:cubicBezTo>
                  <a:cubicBezTo>
                    <a:pt x="2332" y="9515"/>
                    <a:pt x="2490" y="10019"/>
                    <a:pt x="2710" y="10492"/>
                  </a:cubicBezTo>
                  <a:lnTo>
                    <a:pt x="1891" y="10492"/>
                  </a:lnTo>
                  <a:cubicBezTo>
                    <a:pt x="1702" y="10492"/>
                    <a:pt x="1545" y="10334"/>
                    <a:pt x="1545" y="10145"/>
                  </a:cubicBezTo>
                  <a:lnTo>
                    <a:pt x="1545" y="8885"/>
                  </a:lnTo>
                  <a:close/>
                  <a:moveTo>
                    <a:pt x="6428" y="7688"/>
                  </a:moveTo>
                  <a:lnTo>
                    <a:pt x="6711" y="7972"/>
                  </a:lnTo>
                  <a:cubicBezTo>
                    <a:pt x="6900" y="8161"/>
                    <a:pt x="7216" y="8287"/>
                    <a:pt x="7499" y="8287"/>
                  </a:cubicBezTo>
                  <a:lnTo>
                    <a:pt x="9452" y="8287"/>
                  </a:lnTo>
                  <a:cubicBezTo>
                    <a:pt x="9578" y="8287"/>
                    <a:pt x="9704" y="8287"/>
                    <a:pt x="9799" y="8255"/>
                  </a:cubicBezTo>
                  <a:lnTo>
                    <a:pt x="9799" y="8633"/>
                  </a:lnTo>
                  <a:cubicBezTo>
                    <a:pt x="9799" y="10492"/>
                    <a:pt x="8287" y="11973"/>
                    <a:pt x="6428" y="11973"/>
                  </a:cubicBezTo>
                  <a:cubicBezTo>
                    <a:pt x="5609" y="11973"/>
                    <a:pt x="4853" y="11721"/>
                    <a:pt x="4254" y="11185"/>
                  </a:cubicBezTo>
                  <a:lnTo>
                    <a:pt x="4916" y="11185"/>
                  </a:lnTo>
                  <a:cubicBezTo>
                    <a:pt x="5136" y="11185"/>
                    <a:pt x="5294" y="11028"/>
                    <a:pt x="5294" y="10838"/>
                  </a:cubicBezTo>
                  <a:cubicBezTo>
                    <a:pt x="5294" y="10649"/>
                    <a:pt x="5136" y="10492"/>
                    <a:pt x="4916" y="10492"/>
                  </a:cubicBezTo>
                  <a:lnTo>
                    <a:pt x="3592" y="10492"/>
                  </a:lnTo>
                  <a:cubicBezTo>
                    <a:pt x="3246" y="9925"/>
                    <a:pt x="3025" y="9295"/>
                    <a:pt x="3025" y="8633"/>
                  </a:cubicBezTo>
                  <a:lnTo>
                    <a:pt x="3025" y="8255"/>
                  </a:lnTo>
                  <a:cubicBezTo>
                    <a:pt x="3151" y="8287"/>
                    <a:pt x="3277" y="8287"/>
                    <a:pt x="3403" y="8287"/>
                  </a:cubicBezTo>
                  <a:lnTo>
                    <a:pt x="5357" y="8287"/>
                  </a:lnTo>
                  <a:cubicBezTo>
                    <a:pt x="5672" y="8287"/>
                    <a:pt x="5955" y="8161"/>
                    <a:pt x="6144" y="7972"/>
                  </a:cubicBezTo>
                  <a:lnTo>
                    <a:pt x="6428" y="7688"/>
                  </a:lnTo>
                  <a:close/>
                  <a:moveTo>
                    <a:pt x="6396" y="1"/>
                  </a:moveTo>
                  <a:cubicBezTo>
                    <a:pt x="3781" y="1"/>
                    <a:pt x="1671" y="2112"/>
                    <a:pt x="1513" y="4632"/>
                  </a:cubicBezTo>
                  <a:cubicBezTo>
                    <a:pt x="631" y="4947"/>
                    <a:pt x="1" y="5766"/>
                    <a:pt x="1" y="6743"/>
                  </a:cubicBezTo>
                  <a:cubicBezTo>
                    <a:pt x="1" y="7404"/>
                    <a:pt x="284" y="8003"/>
                    <a:pt x="757" y="8413"/>
                  </a:cubicBezTo>
                  <a:lnTo>
                    <a:pt x="757" y="10082"/>
                  </a:lnTo>
                  <a:cubicBezTo>
                    <a:pt x="757" y="10712"/>
                    <a:pt x="1261" y="11185"/>
                    <a:pt x="1860" y="11185"/>
                  </a:cubicBezTo>
                  <a:lnTo>
                    <a:pt x="3151" y="11185"/>
                  </a:lnTo>
                  <a:cubicBezTo>
                    <a:pt x="3939" y="12130"/>
                    <a:pt x="5073" y="12729"/>
                    <a:pt x="6365" y="12729"/>
                  </a:cubicBezTo>
                  <a:cubicBezTo>
                    <a:pt x="8507" y="12729"/>
                    <a:pt x="10303" y="11028"/>
                    <a:pt x="10429" y="8980"/>
                  </a:cubicBezTo>
                  <a:cubicBezTo>
                    <a:pt x="11658" y="8980"/>
                    <a:pt x="12697" y="8003"/>
                    <a:pt x="12697" y="6743"/>
                  </a:cubicBezTo>
                  <a:cubicBezTo>
                    <a:pt x="12760" y="5798"/>
                    <a:pt x="12162" y="4947"/>
                    <a:pt x="11280" y="4632"/>
                  </a:cubicBezTo>
                  <a:cubicBezTo>
                    <a:pt x="11154" y="2049"/>
                    <a:pt x="9011" y="1"/>
                    <a:pt x="6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7" name="Google Shape;10187;p78"/>
          <p:cNvGrpSpPr/>
          <p:nvPr/>
        </p:nvGrpSpPr>
        <p:grpSpPr>
          <a:xfrm>
            <a:off x="6664936" y="3832071"/>
            <a:ext cx="316411" cy="360211"/>
            <a:chOff x="-53278575" y="2687750"/>
            <a:chExt cx="278850" cy="317450"/>
          </a:xfrm>
        </p:grpSpPr>
        <p:sp>
          <p:nvSpPr>
            <p:cNvPr id="10188" name="Google Shape;10188;p78"/>
            <p:cNvSpPr/>
            <p:nvPr/>
          </p:nvSpPr>
          <p:spPr>
            <a:xfrm>
              <a:off x="-53175400" y="2919525"/>
              <a:ext cx="71700" cy="28950"/>
            </a:xfrm>
            <a:custGeom>
              <a:avLst/>
              <a:gdLst/>
              <a:ahLst/>
              <a:cxnLst/>
              <a:rect l="l" t="t" r="r" b="b"/>
              <a:pathLst>
                <a:path w="2868" h="1158" extrusionOk="0">
                  <a:moveTo>
                    <a:pt x="351" y="0"/>
                  </a:moveTo>
                  <a:cubicBezTo>
                    <a:pt x="253" y="0"/>
                    <a:pt x="158" y="39"/>
                    <a:pt x="95" y="118"/>
                  </a:cubicBezTo>
                  <a:cubicBezTo>
                    <a:pt x="1" y="213"/>
                    <a:pt x="1" y="465"/>
                    <a:pt x="95" y="622"/>
                  </a:cubicBezTo>
                  <a:cubicBezTo>
                    <a:pt x="473" y="969"/>
                    <a:pt x="946" y="1158"/>
                    <a:pt x="1418" y="1158"/>
                  </a:cubicBezTo>
                  <a:cubicBezTo>
                    <a:pt x="1891" y="1158"/>
                    <a:pt x="2395" y="969"/>
                    <a:pt x="2710" y="622"/>
                  </a:cubicBezTo>
                  <a:cubicBezTo>
                    <a:pt x="2868" y="465"/>
                    <a:pt x="2868" y="213"/>
                    <a:pt x="2710" y="118"/>
                  </a:cubicBezTo>
                  <a:cubicBezTo>
                    <a:pt x="2631" y="39"/>
                    <a:pt x="2529" y="0"/>
                    <a:pt x="2434" y="0"/>
                  </a:cubicBezTo>
                  <a:cubicBezTo>
                    <a:pt x="2340" y="0"/>
                    <a:pt x="2253" y="39"/>
                    <a:pt x="2206" y="118"/>
                  </a:cubicBezTo>
                  <a:cubicBezTo>
                    <a:pt x="1985" y="307"/>
                    <a:pt x="1670" y="433"/>
                    <a:pt x="1418" y="433"/>
                  </a:cubicBezTo>
                  <a:cubicBezTo>
                    <a:pt x="1135" y="433"/>
                    <a:pt x="820" y="307"/>
                    <a:pt x="631" y="118"/>
                  </a:cubicBezTo>
                  <a:cubicBezTo>
                    <a:pt x="552" y="39"/>
                    <a:pt x="450"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9" name="Google Shape;10189;p78"/>
            <p:cNvSpPr/>
            <p:nvPr/>
          </p:nvSpPr>
          <p:spPr>
            <a:xfrm>
              <a:off x="-53185625"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0" name="Google Shape;10190;p78"/>
            <p:cNvSpPr/>
            <p:nvPr/>
          </p:nvSpPr>
          <p:spPr>
            <a:xfrm>
              <a:off x="-5311080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1" name="Google Shape;10191;p78"/>
            <p:cNvSpPr/>
            <p:nvPr/>
          </p:nvSpPr>
          <p:spPr>
            <a:xfrm>
              <a:off x="-53278575" y="2687750"/>
              <a:ext cx="278850" cy="317450"/>
            </a:xfrm>
            <a:custGeom>
              <a:avLst/>
              <a:gdLst/>
              <a:ahLst/>
              <a:cxnLst/>
              <a:rect l="l" t="t" r="r" b="b"/>
              <a:pathLst>
                <a:path w="11154" h="12698" extrusionOk="0">
                  <a:moveTo>
                    <a:pt x="5577" y="725"/>
                  </a:moveTo>
                  <a:cubicBezTo>
                    <a:pt x="6112" y="725"/>
                    <a:pt x="6554" y="1103"/>
                    <a:pt x="6680" y="1607"/>
                  </a:cubicBezTo>
                  <a:cubicBezTo>
                    <a:pt x="6333" y="1544"/>
                    <a:pt x="5955" y="1450"/>
                    <a:pt x="5577" y="1450"/>
                  </a:cubicBezTo>
                  <a:cubicBezTo>
                    <a:pt x="5167" y="1450"/>
                    <a:pt x="4821" y="1513"/>
                    <a:pt x="4474" y="1607"/>
                  </a:cubicBezTo>
                  <a:cubicBezTo>
                    <a:pt x="4600" y="1072"/>
                    <a:pt x="5010" y="725"/>
                    <a:pt x="5577" y="725"/>
                  </a:cubicBezTo>
                  <a:close/>
                  <a:moveTo>
                    <a:pt x="5577" y="2206"/>
                  </a:moveTo>
                  <a:cubicBezTo>
                    <a:pt x="7373" y="2206"/>
                    <a:pt x="8853" y="3624"/>
                    <a:pt x="8916" y="5451"/>
                  </a:cubicBezTo>
                  <a:lnTo>
                    <a:pt x="8066" y="4569"/>
                  </a:lnTo>
                  <a:cubicBezTo>
                    <a:pt x="7995" y="4498"/>
                    <a:pt x="7904" y="4457"/>
                    <a:pt x="7811" y="4457"/>
                  </a:cubicBezTo>
                  <a:cubicBezTo>
                    <a:pt x="7737" y="4457"/>
                    <a:pt x="7662" y="4482"/>
                    <a:pt x="7593" y="4537"/>
                  </a:cubicBezTo>
                  <a:cubicBezTo>
                    <a:pt x="6979" y="4947"/>
                    <a:pt x="6270" y="5152"/>
                    <a:pt x="5561" y="5152"/>
                  </a:cubicBezTo>
                  <a:cubicBezTo>
                    <a:pt x="4852" y="5152"/>
                    <a:pt x="4143" y="4947"/>
                    <a:pt x="3529" y="4537"/>
                  </a:cubicBezTo>
                  <a:cubicBezTo>
                    <a:pt x="3460" y="4482"/>
                    <a:pt x="3385" y="4457"/>
                    <a:pt x="3312" y="4457"/>
                  </a:cubicBezTo>
                  <a:cubicBezTo>
                    <a:pt x="3218" y="4457"/>
                    <a:pt x="3127" y="4498"/>
                    <a:pt x="3056" y="4569"/>
                  </a:cubicBezTo>
                  <a:lnTo>
                    <a:pt x="2174" y="5451"/>
                  </a:lnTo>
                  <a:cubicBezTo>
                    <a:pt x="2300" y="3624"/>
                    <a:pt x="3750" y="2206"/>
                    <a:pt x="5577" y="2206"/>
                  </a:cubicBezTo>
                  <a:close/>
                  <a:moveTo>
                    <a:pt x="1481" y="6711"/>
                  </a:moveTo>
                  <a:lnTo>
                    <a:pt x="1481" y="8192"/>
                  </a:lnTo>
                  <a:cubicBezTo>
                    <a:pt x="1040" y="8192"/>
                    <a:pt x="725" y="7845"/>
                    <a:pt x="725" y="7436"/>
                  </a:cubicBezTo>
                  <a:cubicBezTo>
                    <a:pt x="725" y="7058"/>
                    <a:pt x="1072" y="6711"/>
                    <a:pt x="1481" y="6711"/>
                  </a:cubicBezTo>
                  <a:close/>
                  <a:moveTo>
                    <a:pt x="9673" y="6711"/>
                  </a:moveTo>
                  <a:cubicBezTo>
                    <a:pt x="10051" y="6711"/>
                    <a:pt x="10429" y="7026"/>
                    <a:pt x="10429" y="7436"/>
                  </a:cubicBezTo>
                  <a:cubicBezTo>
                    <a:pt x="10429" y="7845"/>
                    <a:pt x="10051" y="8192"/>
                    <a:pt x="9673" y="8192"/>
                  </a:cubicBezTo>
                  <a:lnTo>
                    <a:pt x="9673" y="6711"/>
                  </a:lnTo>
                  <a:close/>
                  <a:moveTo>
                    <a:pt x="1576" y="9452"/>
                  </a:moveTo>
                  <a:cubicBezTo>
                    <a:pt x="1796" y="10460"/>
                    <a:pt x="2395" y="11342"/>
                    <a:pt x="3214" y="11941"/>
                  </a:cubicBezTo>
                  <a:lnTo>
                    <a:pt x="725" y="11941"/>
                  </a:lnTo>
                  <a:cubicBezTo>
                    <a:pt x="788" y="11027"/>
                    <a:pt x="1072" y="10208"/>
                    <a:pt x="1576" y="9452"/>
                  </a:cubicBezTo>
                  <a:close/>
                  <a:moveTo>
                    <a:pt x="7751" y="5294"/>
                  </a:moveTo>
                  <a:lnTo>
                    <a:pt x="8916" y="6459"/>
                  </a:lnTo>
                  <a:lnTo>
                    <a:pt x="8916" y="8539"/>
                  </a:lnTo>
                  <a:cubicBezTo>
                    <a:pt x="8916" y="10397"/>
                    <a:pt x="7436" y="11941"/>
                    <a:pt x="5577" y="11941"/>
                  </a:cubicBezTo>
                  <a:cubicBezTo>
                    <a:pt x="3718" y="11941"/>
                    <a:pt x="2237" y="10397"/>
                    <a:pt x="2237" y="8539"/>
                  </a:cubicBezTo>
                  <a:lnTo>
                    <a:pt x="2237" y="6459"/>
                  </a:lnTo>
                  <a:lnTo>
                    <a:pt x="2174" y="6459"/>
                  </a:lnTo>
                  <a:lnTo>
                    <a:pt x="3372" y="5294"/>
                  </a:lnTo>
                  <a:cubicBezTo>
                    <a:pt x="4033" y="5687"/>
                    <a:pt x="4781" y="5884"/>
                    <a:pt x="5538" y="5884"/>
                  </a:cubicBezTo>
                  <a:cubicBezTo>
                    <a:pt x="6294" y="5884"/>
                    <a:pt x="7058" y="5687"/>
                    <a:pt x="7751" y="5294"/>
                  </a:cubicBezTo>
                  <a:close/>
                  <a:moveTo>
                    <a:pt x="9547" y="9452"/>
                  </a:moveTo>
                  <a:cubicBezTo>
                    <a:pt x="10051" y="10177"/>
                    <a:pt x="10334" y="11027"/>
                    <a:pt x="10366" y="11941"/>
                  </a:cubicBezTo>
                  <a:lnTo>
                    <a:pt x="7908" y="11941"/>
                  </a:lnTo>
                  <a:cubicBezTo>
                    <a:pt x="8727" y="11342"/>
                    <a:pt x="9326" y="10492"/>
                    <a:pt x="9547" y="9452"/>
                  </a:cubicBezTo>
                  <a:close/>
                  <a:moveTo>
                    <a:pt x="5577" y="1"/>
                  </a:moveTo>
                  <a:cubicBezTo>
                    <a:pt x="4506" y="1"/>
                    <a:pt x="3687" y="851"/>
                    <a:pt x="3718" y="1923"/>
                  </a:cubicBezTo>
                  <a:cubicBezTo>
                    <a:pt x="2395" y="2584"/>
                    <a:pt x="1481" y="4002"/>
                    <a:pt x="1481" y="5577"/>
                  </a:cubicBezTo>
                  <a:lnTo>
                    <a:pt x="1481" y="5955"/>
                  </a:lnTo>
                  <a:cubicBezTo>
                    <a:pt x="662" y="5955"/>
                    <a:pt x="1" y="6617"/>
                    <a:pt x="1" y="7436"/>
                  </a:cubicBezTo>
                  <a:cubicBezTo>
                    <a:pt x="1" y="8097"/>
                    <a:pt x="442" y="8696"/>
                    <a:pt x="1103" y="8885"/>
                  </a:cubicBezTo>
                  <a:cubicBezTo>
                    <a:pt x="379" y="9862"/>
                    <a:pt x="1" y="11027"/>
                    <a:pt x="1" y="12225"/>
                  </a:cubicBezTo>
                  <a:lnTo>
                    <a:pt x="1" y="12319"/>
                  </a:lnTo>
                  <a:cubicBezTo>
                    <a:pt x="1" y="12540"/>
                    <a:pt x="127" y="12697"/>
                    <a:pt x="347" y="12697"/>
                  </a:cubicBezTo>
                  <a:lnTo>
                    <a:pt x="10775" y="12697"/>
                  </a:lnTo>
                  <a:cubicBezTo>
                    <a:pt x="10964" y="12697"/>
                    <a:pt x="11122" y="12540"/>
                    <a:pt x="11122" y="12319"/>
                  </a:cubicBezTo>
                  <a:lnTo>
                    <a:pt x="11122" y="12225"/>
                  </a:lnTo>
                  <a:cubicBezTo>
                    <a:pt x="11122" y="11027"/>
                    <a:pt x="10744" y="9862"/>
                    <a:pt x="10019" y="8885"/>
                  </a:cubicBezTo>
                  <a:cubicBezTo>
                    <a:pt x="10681" y="8696"/>
                    <a:pt x="11153" y="8129"/>
                    <a:pt x="11153" y="7436"/>
                  </a:cubicBezTo>
                  <a:cubicBezTo>
                    <a:pt x="11153" y="6617"/>
                    <a:pt x="10492" y="5955"/>
                    <a:pt x="9673" y="5955"/>
                  </a:cubicBezTo>
                  <a:lnTo>
                    <a:pt x="9673" y="5577"/>
                  </a:lnTo>
                  <a:cubicBezTo>
                    <a:pt x="9673" y="3970"/>
                    <a:pt x="8759" y="2584"/>
                    <a:pt x="7436" y="1923"/>
                  </a:cubicBezTo>
                  <a:cubicBezTo>
                    <a:pt x="7467" y="851"/>
                    <a:pt x="6585"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92" name="Google Shape;10192;p78"/>
          <p:cNvGrpSpPr/>
          <p:nvPr/>
        </p:nvGrpSpPr>
        <p:grpSpPr>
          <a:xfrm>
            <a:off x="7986330" y="3831759"/>
            <a:ext cx="361998" cy="362310"/>
            <a:chOff x="-52101875" y="2687475"/>
            <a:chExt cx="319025" cy="319300"/>
          </a:xfrm>
        </p:grpSpPr>
        <p:sp>
          <p:nvSpPr>
            <p:cNvPr id="10193" name="Google Shape;10193;p78"/>
            <p:cNvSpPr/>
            <p:nvPr/>
          </p:nvSpPr>
          <p:spPr>
            <a:xfrm>
              <a:off x="-519782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1"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4" name="Google Shape;10194;p78"/>
            <p:cNvSpPr/>
            <p:nvPr/>
          </p:nvSpPr>
          <p:spPr>
            <a:xfrm>
              <a:off x="-51988450" y="2857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5" name="Google Shape;10195;p78"/>
            <p:cNvSpPr/>
            <p:nvPr/>
          </p:nvSpPr>
          <p:spPr>
            <a:xfrm>
              <a:off x="-51913625" y="28571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6" name="Google Shape;10196;p78"/>
            <p:cNvSpPr/>
            <p:nvPr/>
          </p:nvSpPr>
          <p:spPr>
            <a:xfrm>
              <a:off x="-52101875" y="2687475"/>
              <a:ext cx="319025" cy="319300"/>
            </a:xfrm>
            <a:custGeom>
              <a:avLst/>
              <a:gdLst/>
              <a:ahLst/>
              <a:cxnLst/>
              <a:rect l="l" t="t" r="r" b="b"/>
              <a:pathLst>
                <a:path w="12761" h="12772" extrusionOk="0">
                  <a:moveTo>
                    <a:pt x="788" y="1398"/>
                  </a:moveTo>
                  <a:cubicBezTo>
                    <a:pt x="1324" y="1902"/>
                    <a:pt x="1954" y="2312"/>
                    <a:pt x="2616" y="2564"/>
                  </a:cubicBezTo>
                  <a:cubicBezTo>
                    <a:pt x="2458" y="2942"/>
                    <a:pt x="2364" y="3288"/>
                    <a:pt x="2332" y="3666"/>
                  </a:cubicBezTo>
                  <a:cubicBezTo>
                    <a:pt x="1419" y="3572"/>
                    <a:pt x="788" y="2784"/>
                    <a:pt x="788" y="1871"/>
                  </a:cubicBezTo>
                  <a:lnTo>
                    <a:pt x="788" y="1398"/>
                  </a:lnTo>
                  <a:close/>
                  <a:moveTo>
                    <a:pt x="5294" y="957"/>
                  </a:moveTo>
                  <a:lnTo>
                    <a:pt x="5294" y="3761"/>
                  </a:lnTo>
                  <a:lnTo>
                    <a:pt x="3088" y="3761"/>
                  </a:lnTo>
                  <a:cubicBezTo>
                    <a:pt x="3214" y="2469"/>
                    <a:pt x="4097" y="1366"/>
                    <a:pt x="5294" y="957"/>
                  </a:cubicBezTo>
                  <a:close/>
                  <a:moveTo>
                    <a:pt x="7531" y="957"/>
                  </a:moveTo>
                  <a:cubicBezTo>
                    <a:pt x="8728" y="1366"/>
                    <a:pt x="9578" y="2469"/>
                    <a:pt x="9736" y="3761"/>
                  </a:cubicBezTo>
                  <a:lnTo>
                    <a:pt x="7531" y="3761"/>
                  </a:lnTo>
                  <a:lnTo>
                    <a:pt x="7531" y="957"/>
                  </a:lnTo>
                  <a:close/>
                  <a:moveTo>
                    <a:pt x="12036" y="1429"/>
                  </a:moveTo>
                  <a:lnTo>
                    <a:pt x="12036" y="1902"/>
                  </a:lnTo>
                  <a:cubicBezTo>
                    <a:pt x="12036" y="2816"/>
                    <a:pt x="11343" y="3572"/>
                    <a:pt x="10492" y="3761"/>
                  </a:cubicBezTo>
                  <a:cubicBezTo>
                    <a:pt x="10461" y="3351"/>
                    <a:pt x="10366" y="3005"/>
                    <a:pt x="10208" y="2658"/>
                  </a:cubicBezTo>
                  <a:cubicBezTo>
                    <a:pt x="10870" y="2343"/>
                    <a:pt x="11500" y="1902"/>
                    <a:pt x="12036" y="1429"/>
                  </a:cubicBezTo>
                  <a:close/>
                  <a:moveTo>
                    <a:pt x="6302" y="736"/>
                  </a:moveTo>
                  <a:cubicBezTo>
                    <a:pt x="6428" y="736"/>
                    <a:pt x="6680" y="768"/>
                    <a:pt x="6774" y="768"/>
                  </a:cubicBezTo>
                  <a:lnTo>
                    <a:pt x="6774" y="4107"/>
                  </a:lnTo>
                  <a:cubicBezTo>
                    <a:pt x="6774" y="4296"/>
                    <a:pt x="6932" y="4454"/>
                    <a:pt x="7152" y="4454"/>
                  </a:cubicBezTo>
                  <a:lnTo>
                    <a:pt x="9736" y="4454"/>
                  </a:lnTo>
                  <a:lnTo>
                    <a:pt x="9736" y="5242"/>
                  </a:lnTo>
                  <a:lnTo>
                    <a:pt x="2994" y="5242"/>
                  </a:lnTo>
                  <a:lnTo>
                    <a:pt x="2994" y="4454"/>
                  </a:lnTo>
                  <a:lnTo>
                    <a:pt x="5609" y="4454"/>
                  </a:lnTo>
                  <a:cubicBezTo>
                    <a:pt x="5798" y="4454"/>
                    <a:pt x="5955" y="4296"/>
                    <a:pt x="5955" y="4107"/>
                  </a:cubicBezTo>
                  <a:lnTo>
                    <a:pt x="5955" y="768"/>
                  </a:lnTo>
                  <a:cubicBezTo>
                    <a:pt x="6081" y="768"/>
                    <a:pt x="6207" y="736"/>
                    <a:pt x="6302" y="736"/>
                  </a:cubicBezTo>
                  <a:close/>
                  <a:moveTo>
                    <a:pt x="2301" y="6785"/>
                  </a:moveTo>
                  <a:lnTo>
                    <a:pt x="2301" y="8297"/>
                  </a:lnTo>
                  <a:cubicBezTo>
                    <a:pt x="1891" y="8297"/>
                    <a:pt x="1545" y="7919"/>
                    <a:pt x="1545" y="7541"/>
                  </a:cubicBezTo>
                  <a:cubicBezTo>
                    <a:pt x="1545" y="7132"/>
                    <a:pt x="1891" y="6785"/>
                    <a:pt x="2301" y="6785"/>
                  </a:cubicBezTo>
                  <a:close/>
                  <a:moveTo>
                    <a:pt x="9767" y="6029"/>
                  </a:moveTo>
                  <a:lnTo>
                    <a:pt x="9767" y="8297"/>
                  </a:lnTo>
                  <a:lnTo>
                    <a:pt x="8759" y="8297"/>
                  </a:lnTo>
                  <a:cubicBezTo>
                    <a:pt x="8035" y="7841"/>
                    <a:pt x="7215" y="7612"/>
                    <a:pt x="6400" y="7612"/>
                  </a:cubicBezTo>
                  <a:cubicBezTo>
                    <a:pt x="5585" y="7612"/>
                    <a:pt x="4774" y="7841"/>
                    <a:pt x="4065" y="8297"/>
                  </a:cubicBezTo>
                  <a:lnTo>
                    <a:pt x="3057" y="8297"/>
                  </a:lnTo>
                  <a:lnTo>
                    <a:pt x="3057" y="6029"/>
                  </a:lnTo>
                  <a:close/>
                  <a:moveTo>
                    <a:pt x="10524" y="6785"/>
                  </a:moveTo>
                  <a:cubicBezTo>
                    <a:pt x="10933" y="6785"/>
                    <a:pt x="11280" y="7100"/>
                    <a:pt x="11280" y="7541"/>
                  </a:cubicBezTo>
                  <a:cubicBezTo>
                    <a:pt x="11280" y="7919"/>
                    <a:pt x="10933" y="8297"/>
                    <a:pt x="10524" y="8297"/>
                  </a:cubicBezTo>
                  <a:lnTo>
                    <a:pt x="10524" y="6785"/>
                  </a:lnTo>
                  <a:close/>
                  <a:moveTo>
                    <a:pt x="6381" y="8290"/>
                  </a:moveTo>
                  <a:cubicBezTo>
                    <a:pt x="7089" y="8290"/>
                    <a:pt x="7798" y="8502"/>
                    <a:pt x="8413" y="8928"/>
                  </a:cubicBezTo>
                  <a:cubicBezTo>
                    <a:pt x="8476" y="8959"/>
                    <a:pt x="8507" y="8991"/>
                    <a:pt x="8602" y="8991"/>
                  </a:cubicBezTo>
                  <a:lnTo>
                    <a:pt x="9704" y="8991"/>
                  </a:lnTo>
                  <a:cubicBezTo>
                    <a:pt x="9547" y="10692"/>
                    <a:pt x="8129" y="11984"/>
                    <a:pt x="6396" y="11984"/>
                  </a:cubicBezTo>
                  <a:cubicBezTo>
                    <a:pt x="4664" y="11984"/>
                    <a:pt x="3246" y="10692"/>
                    <a:pt x="3057" y="8991"/>
                  </a:cubicBezTo>
                  <a:lnTo>
                    <a:pt x="4160" y="8991"/>
                  </a:lnTo>
                  <a:cubicBezTo>
                    <a:pt x="4223" y="8991"/>
                    <a:pt x="4317" y="8959"/>
                    <a:pt x="4349" y="8928"/>
                  </a:cubicBezTo>
                  <a:cubicBezTo>
                    <a:pt x="4963" y="8502"/>
                    <a:pt x="5672" y="8290"/>
                    <a:pt x="6381" y="8290"/>
                  </a:cubicBezTo>
                  <a:close/>
                  <a:moveTo>
                    <a:pt x="12402" y="1"/>
                  </a:moveTo>
                  <a:cubicBezTo>
                    <a:pt x="12282" y="1"/>
                    <a:pt x="12165" y="47"/>
                    <a:pt x="12067" y="169"/>
                  </a:cubicBezTo>
                  <a:cubicBezTo>
                    <a:pt x="11563" y="957"/>
                    <a:pt x="10776" y="1587"/>
                    <a:pt x="9862" y="1934"/>
                  </a:cubicBezTo>
                  <a:cubicBezTo>
                    <a:pt x="9106" y="768"/>
                    <a:pt x="7814" y="12"/>
                    <a:pt x="6396" y="12"/>
                  </a:cubicBezTo>
                  <a:cubicBezTo>
                    <a:pt x="4979" y="12"/>
                    <a:pt x="3687" y="768"/>
                    <a:pt x="2931" y="1934"/>
                  </a:cubicBezTo>
                  <a:cubicBezTo>
                    <a:pt x="2017" y="1587"/>
                    <a:pt x="1230" y="957"/>
                    <a:pt x="725" y="169"/>
                  </a:cubicBezTo>
                  <a:cubicBezTo>
                    <a:pt x="647" y="65"/>
                    <a:pt x="504" y="4"/>
                    <a:pt x="368" y="4"/>
                  </a:cubicBezTo>
                  <a:cubicBezTo>
                    <a:pt x="339" y="4"/>
                    <a:pt x="311" y="6"/>
                    <a:pt x="284" y="12"/>
                  </a:cubicBezTo>
                  <a:cubicBezTo>
                    <a:pt x="127" y="43"/>
                    <a:pt x="1" y="201"/>
                    <a:pt x="1" y="358"/>
                  </a:cubicBezTo>
                  <a:lnTo>
                    <a:pt x="1" y="1871"/>
                  </a:lnTo>
                  <a:cubicBezTo>
                    <a:pt x="1" y="3162"/>
                    <a:pt x="1009" y="4265"/>
                    <a:pt x="2269" y="4454"/>
                  </a:cubicBezTo>
                  <a:lnTo>
                    <a:pt x="2269" y="6029"/>
                  </a:lnTo>
                  <a:cubicBezTo>
                    <a:pt x="1419" y="6029"/>
                    <a:pt x="757" y="6722"/>
                    <a:pt x="757" y="7541"/>
                  </a:cubicBezTo>
                  <a:cubicBezTo>
                    <a:pt x="757" y="8360"/>
                    <a:pt x="1419" y="9022"/>
                    <a:pt x="2269" y="9022"/>
                  </a:cubicBezTo>
                  <a:cubicBezTo>
                    <a:pt x="2458" y="11133"/>
                    <a:pt x="4223" y="12771"/>
                    <a:pt x="6365" y="12771"/>
                  </a:cubicBezTo>
                  <a:cubicBezTo>
                    <a:pt x="8476" y="12771"/>
                    <a:pt x="10240" y="11133"/>
                    <a:pt x="10461" y="9022"/>
                  </a:cubicBezTo>
                  <a:cubicBezTo>
                    <a:pt x="11280" y="9022"/>
                    <a:pt x="11941" y="8360"/>
                    <a:pt x="11941" y="7541"/>
                  </a:cubicBezTo>
                  <a:cubicBezTo>
                    <a:pt x="11941" y="6722"/>
                    <a:pt x="11280" y="6029"/>
                    <a:pt x="10461" y="6029"/>
                  </a:cubicBezTo>
                  <a:cubicBezTo>
                    <a:pt x="10524" y="5840"/>
                    <a:pt x="10524" y="4611"/>
                    <a:pt x="10524" y="4454"/>
                  </a:cubicBezTo>
                  <a:cubicBezTo>
                    <a:pt x="11784" y="4265"/>
                    <a:pt x="12760" y="3194"/>
                    <a:pt x="12760" y="1871"/>
                  </a:cubicBezTo>
                  <a:lnTo>
                    <a:pt x="12760" y="358"/>
                  </a:lnTo>
                  <a:cubicBezTo>
                    <a:pt x="12760" y="201"/>
                    <a:pt x="12666" y="43"/>
                    <a:pt x="12508" y="12"/>
                  </a:cubicBezTo>
                  <a:cubicBezTo>
                    <a:pt x="12473" y="5"/>
                    <a:pt x="12438" y="1"/>
                    <a:pt x="124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97" name="Google Shape;10197;p78"/>
          <p:cNvGrpSpPr/>
          <p:nvPr/>
        </p:nvGrpSpPr>
        <p:grpSpPr>
          <a:xfrm>
            <a:off x="6201079" y="1533182"/>
            <a:ext cx="317290" cy="361090"/>
            <a:chOff x="-56774050" y="1904075"/>
            <a:chExt cx="279625" cy="318225"/>
          </a:xfrm>
        </p:grpSpPr>
        <p:sp>
          <p:nvSpPr>
            <p:cNvPr id="10198" name="Google Shape;10198;p78"/>
            <p:cNvSpPr/>
            <p:nvPr/>
          </p:nvSpPr>
          <p:spPr>
            <a:xfrm>
              <a:off x="-56671650" y="2135825"/>
              <a:ext cx="72475" cy="28975"/>
            </a:xfrm>
            <a:custGeom>
              <a:avLst/>
              <a:gdLst/>
              <a:ahLst/>
              <a:cxnLst/>
              <a:rect l="l" t="t" r="r" b="b"/>
              <a:pathLst>
                <a:path w="2899" h="1159" extrusionOk="0">
                  <a:moveTo>
                    <a:pt x="398" y="1"/>
                  </a:moveTo>
                  <a:cubicBezTo>
                    <a:pt x="307" y="1"/>
                    <a:pt x="221"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78"/>
            <p:cNvSpPr/>
            <p:nvPr/>
          </p:nvSpPr>
          <p:spPr>
            <a:xfrm>
              <a:off x="-56774050" y="1904075"/>
              <a:ext cx="279625" cy="318225"/>
            </a:xfrm>
            <a:custGeom>
              <a:avLst/>
              <a:gdLst/>
              <a:ahLst/>
              <a:cxnLst/>
              <a:rect l="l" t="t" r="r" b="b"/>
              <a:pathLst>
                <a:path w="11185" h="12729" extrusionOk="0">
                  <a:moveTo>
                    <a:pt x="5545" y="757"/>
                  </a:moveTo>
                  <a:cubicBezTo>
                    <a:pt x="7278" y="757"/>
                    <a:pt x="8696" y="2048"/>
                    <a:pt x="8885" y="3750"/>
                  </a:cubicBezTo>
                  <a:lnTo>
                    <a:pt x="4789" y="3750"/>
                  </a:lnTo>
                  <a:cubicBezTo>
                    <a:pt x="3056" y="3750"/>
                    <a:pt x="1639" y="2395"/>
                    <a:pt x="1450" y="757"/>
                  </a:cubicBezTo>
                  <a:close/>
                  <a:moveTo>
                    <a:pt x="2710" y="3844"/>
                  </a:moveTo>
                  <a:cubicBezTo>
                    <a:pt x="3277" y="4254"/>
                    <a:pt x="4002" y="4506"/>
                    <a:pt x="4789" y="4506"/>
                  </a:cubicBezTo>
                  <a:lnTo>
                    <a:pt x="8885" y="4506"/>
                  </a:lnTo>
                  <a:lnTo>
                    <a:pt x="8885" y="5608"/>
                  </a:lnTo>
                  <a:cubicBezTo>
                    <a:pt x="8570" y="5356"/>
                    <a:pt x="8192" y="5230"/>
                    <a:pt x="7782" y="5230"/>
                  </a:cubicBezTo>
                  <a:cubicBezTo>
                    <a:pt x="6900" y="5230"/>
                    <a:pt x="6144" y="5860"/>
                    <a:pt x="5986" y="6742"/>
                  </a:cubicBezTo>
                  <a:lnTo>
                    <a:pt x="5167" y="6742"/>
                  </a:lnTo>
                  <a:cubicBezTo>
                    <a:pt x="5010" y="5860"/>
                    <a:pt x="4222" y="5230"/>
                    <a:pt x="3340" y="5230"/>
                  </a:cubicBezTo>
                  <a:cubicBezTo>
                    <a:pt x="2899" y="5230"/>
                    <a:pt x="2552" y="5388"/>
                    <a:pt x="2237" y="5608"/>
                  </a:cubicBezTo>
                  <a:cubicBezTo>
                    <a:pt x="2237" y="4978"/>
                    <a:pt x="2395" y="4380"/>
                    <a:pt x="2710" y="3844"/>
                  </a:cubicBezTo>
                  <a:close/>
                  <a:moveTo>
                    <a:pt x="1450" y="5986"/>
                  </a:moveTo>
                  <a:lnTo>
                    <a:pt x="1450" y="7467"/>
                  </a:lnTo>
                  <a:cubicBezTo>
                    <a:pt x="1432" y="7468"/>
                    <a:pt x="1415" y="7469"/>
                    <a:pt x="1398" y="7469"/>
                  </a:cubicBezTo>
                  <a:cubicBezTo>
                    <a:pt x="984" y="7469"/>
                    <a:pt x="694" y="7106"/>
                    <a:pt x="694" y="6742"/>
                  </a:cubicBezTo>
                  <a:cubicBezTo>
                    <a:pt x="694" y="6333"/>
                    <a:pt x="1009" y="5986"/>
                    <a:pt x="1450" y="5986"/>
                  </a:cubicBezTo>
                  <a:close/>
                  <a:moveTo>
                    <a:pt x="9641" y="5986"/>
                  </a:moveTo>
                  <a:cubicBezTo>
                    <a:pt x="10051" y="5986"/>
                    <a:pt x="10397" y="6301"/>
                    <a:pt x="10397" y="6742"/>
                  </a:cubicBezTo>
                  <a:cubicBezTo>
                    <a:pt x="10397" y="7184"/>
                    <a:pt x="10051" y="7499"/>
                    <a:pt x="9641" y="7499"/>
                  </a:cubicBezTo>
                  <a:lnTo>
                    <a:pt x="9641" y="5986"/>
                  </a:lnTo>
                  <a:close/>
                  <a:moveTo>
                    <a:pt x="3309" y="5986"/>
                  </a:moveTo>
                  <a:cubicBezTo>
                    <a:pt x="3939" y="5986"/>
                    <a:pt x="4411" y="6490"/>
                    <a:pt x="4411" y="7089"/>
                  </a:cubicBezTo>
                  <a:cubicBezTo>
                    <a:pt x="4411" y="7719"/>
                    <a:pt x="3907" y="8192"/>
                    <a:pt x="3309" y="8192"/>
                  </a:cubicBezTo>
                  <a:cubicBezTo>
                    <a:pt x="2678" y="8192"/>
                    <a:pt x="2206" y="7688"/>
                    <a:pt x="2206" y="7089"/>
                  </a:cubicBezTo>
                  <a:cubicBezTo>
                    <a:pt x="2206" y="6459"/>
                    <a:pt x="2710" y="5986"/>
                    <a:pt x="3309" y="5986"/>
                  </a:cubicBezTo>
                  <a:close/>
                  <a:moveTo>
                    <a:pt x="7782" y="6018"/>
                  </a:moveTo>
                  <a:cubicBezTo>
                    <a:pt x="8412" y="6018"/>
                    <a:pt x="8885" y="6553"/>
                    <a:pt x="8885" y="7121"/>
                  </a:cubicBezTo>
                  <a:cubicBezTo>
                    <a:pt x="8885" y="7719"/>
                    <a:pt x="8381" y="8223"/>
                    <a:pt x="7782" y="8223"/>
                  </a:cubicBezTo>
                  <a:cubicBezTo>
                    <a:pt x="7152" y="8223"/>
                    <a:pt x="6680" y="7719"/>
                    <a:pt x="6680" y="7121"/>
                  </a:cubicBezTo>
                  <a:cubicBezTo>
                    <a:pt x="6680" y="6490"/>
                    <a:pt x="7215" y="6018"/>
                    <a:pt x="7782" y="6018"/>
                  </a:cubicBezTo>
                  <a:close/>
                  <a:moveTo>
                    <a:pt x="5955" y="7436"/>
                  </a:moveTo>
                  <a:cubicBezTo>
                    <a:pt x="6112" y="8318"/>
                    <a:pt x="6900" y="8948"/>
                    <a:pt x="7751" y="8948"/>
                  </a:cubicBezTo>
                  <a:cubicBezTo>
                    <a:pt x="8192" y="8948"/>
                    <a:pt x="8538" y="8790"/>
                    <a:pt x="8853" y="8601"/>
                  </a:cubicBezTo>
                  <a:lnTo>
                    <a:pt x="8853" y="8601"/>
                  </a:lnTo>
                  <a:cubicBezTo>
                    <a:pt x="8885" y="10334"/>
                    <a:pt x="7593" y="11783"/>
                    <a:pt x="5892" y="11941"/>
                  </a:cubicBezTo>
                  <a:lnTo>
                    <a:pt x="5892" y="11594"/>
                  </a:lnTo>
                  <a:cubicBezTo>
                    <a:pt x="5892" y="11374"/>
                    <a:pt x="5734" y="11216"/>
                    <a:pt x="5545" y="11216"/>
                  </a:cubicBezTo>
                  <a:cubicBezTo>
                    <a:pt x="5356" y="11216"/>
                    <a:pt x="5199" y="11374"/>
                    <a:pt x="5199" y="11594"/>
                  </a:cubicBezTo>
                  <a:lnTo>
                    <a:pt x="5199" y="11941"/>
                  </a:lnTo>
                  <a:cubicBezTo>
                    <a:pt x="3498" y="11752"/>
                    <a:pt x="2206" y="10334"/>
                    <a:pt x="2206" y="8601"/>
                  </a:cubicBezTo>
                  <a:lnTo>
                    <a:pt x="2206" y="8601"/>
                  </a:lnTo>
                  <a:cubicBezTo>
                    <a:pt x="2521" y="8822"/>
                    <a:pt x="2899" y="8948"/>
                    <a:pt x="3309" y="8948"/>
                  </a:cubicBezTo>
                  <a:cubicBezTo>
                    <a:pt x="4222" y="8948"/>
                    <a:pt x="4947" y="8318"/>
                    <a:pt x="5136" y="7436"/>
                  </a:cubicBezTo>
                  <a:close/>
                  <a:moveTo>
                    <a:pt x="1072" y="0"/>
                  </a:moveTo>
                  <a:cubicBezTo>
                    <a:pt x="851" y="0"/>
                    <a:pt x="725" y="158"/>
                    <a:pt x="725" y="347"/>
                  </a:cubicBezTo>
                  <a:cubicBezTo>
                    <a:pt x="725" y="1576"/>
                    <a:pt x="1229" y="2678"/>
                    <a:pt x="2080" y="3434"/>
                  </a:cubicBezTo>
                  <a:cubicBezTo>
                    <a:pt x="1733" y="3970"/>
                    <a:pt x="1544" y="4569"/>
                    <a:pt x="1513" y="5230"/>
                  </a:cubicBezTo>
                  <a:cubicBezTo>
                    <a:pt x="662" y="5230"/>
                    <a:pt x="0" y="5923"/>
                    <a:pt x="0" y="6742"/>
                  </a:cubicBezTo>
                  <a:cubicBezTo>
                    <a:pt x="0" y="7562"/>
                    <a:pt x="662" y="8223"/>
                    <a:pt x="1513" y="8223"/>
                  </a:cubicBezTo>
                  <a:lnTo>
                    <a:pt x="1513" y="8601"/>
                  </a:lnTo>
                  <a:cubicBezTo>
                    <a:pt x="1513" y="10870"/>
                    <a:pt x="3340" y="12728"/>
                    <a:pt x="5577" y="12728"/>
                  </a:cubicBezTo>
                  <a:cubicBezTo>
                    <a:pt x="7845" y="12728"/>
                    <a:pt x="9673" y="10870"/>
                    <a:pt x="9673" y="8601"/>
                  </a:cubicBezTo>
                  <a:lnTo>
                    <a:pt x="9673" y="8223"/>
                  </a:lnTo>
                  <a:cubicBezTo>
                    <a:pt x="10523" y="8223"/>
                    <a:pt x="11185" y="7562"/>
                    <a:pt x="11185" y="6742"/>
                  </a:cubicBezTo>
                  <a:cubicBezTo>
                    <a:pt x="11153" y="5923"/>
                    <a:pt x="10460" y="5230"/>
                    <a:pt x="9641" y="5230"/>
                  </a:cubicBezTo>
                  <a:lnTo>
                    <a:pt x="9641" y="4128"/>
                  </a:lnTo>
                  <a:cubicBezTo>
                    <a:pt x="9641" y="1859"/>
                    <a:pt x="7782" y="0"/>
                    <a:pt x="5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0" name="Google Shape;10200;p78"/>
          <p:cNvGrpSpPr/>
          <p:nvPr/>
        </p:nvGrpSpPr>
        <p:grpSpPr>
          <a:xfrm>
            <a:off x="6201079" y="2006443"/>
            <a:ext cx="317290" cy="361090"/>
            <a:chOff x="-56774850" y="2294725"/>
            <a:chExt cx="279625" cy="318225"/>
          </a:xfrm>
        </p:grpSpPr>
        <p:sp>
          <p:nvSpPr>
            <p:cNvPr id="10201" name="Google Shape;10201;p78"/>
            <p:cNvSpPr/>
            <p:nvPr/>
          </p:nvSpPr>
          <p:spPr>
            <a:xfrm>
              <a:off x="-56681100"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2" name="Google Shape;10202;p78"/>
            <p:cNvSpPr/>
            <p:nvPr/>
          </p:nvSpPr>
          <p:spPr>
            <a:xfrm>
              <a:off x="-56606275"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78"/>
            <p:cNvSpPr/>
            <p:nvPr/>
          </p:nvSpPr>
          <p:spPr>
            <a:xfrm>
              <a:off x="-56774850" y="2294725"/>
              <a:ext cx="279625" cy="318225"/>
            </a:xfrm>
            <a:custGeom>
              <a:avLst/>
              <a:gdLst/>
              <a:ahLst/>
              <a:cxnLst/>
              <a:rect l="l" t="t" r="r" b="b"/>
              <a:pathLst>
                <a:path w="11185" h="12729" extrusionOk="0">
                  <a:moveTo>
                    <a:pt x="5577" y="788"/>
                  </a:moveTo>
                  <a:cubicBezTo>
                    <a:pt x="6775" y="788"/>
                    <a:pt x="7783" y="1198"/>
                    <a:pt x="8665" y="1891"/>
                  </a:cubicBezTo>
                  <a:cubicBezTo>
                    <a:pt x="8098" y="2553"/>
                    <a:pt x="6932" y="3057"/>
                    <a:pt x="5577" y="3057"/>
                  </a:cubicBezTo>
                  <a:cubicBezTo>
                    <a:pt x="4254" y="3057"/>
                    <a:pt x="3057" y="2584"/>
                    <a:pt x="2521" y="1891"/>
                  </a:cubicBezTo>
                  <a:cubicBezTo>
                    <a:pt x="3341" y="1198"/>
                    <a:pt x="4412" y="788"/>
                    <a:pt x="5577" y="788"/>
                  </a:cubicBezTo>
                  <a:close/>
                  <a:moveTo>
                    <a:pt x="5577" y="5325"/>
                  </a:moveTo>
                  <a:lnTo>
                    <a:pt x="8917" y="7341"/>
                  </a:lnTo>
                  <a:lnTo>
                    <a:pt x="8917" y="8633"/>
                  </a:lnTo>
                  <a:cubicBezTo>
                    <a:pt x="8917" y="9830"/>
                    <a:pt x="8350" y="10838"/>
                    <a:pt x="7436" y="11437"/>
                  </a:cubicBezTo>
                  <a:lnTo>
                    <a:pt x="7436" y="9673"/>
                  </a:lnTo>
                  <a:cubicBezTo>
                    <a:pt x="7436" y="9547"/>
                    <a:pt x="7342" y="9421"/>
                    <a:pt x="7247" y="9358"/>
                  </a:cubicBezTo>
                  <a:cubicBezTo>
                    <a:pt x="6727" y="9090"/>
                    <a:pt x="6152" y="8956"/>
                    <a:pt x="5581" y="8956"/>
                  </a:cubicBezTo>
                  <a:cubicBezTo>
                    <a:pt x="5010" y="8956"/>
                    <a:pt x="4443" y="9090"/>
                    <a:pt x="3939" y="9358"/>
                  </a:cubicBezTo>
                  <a:cubicBezTo>
                    <a:pt x="3813" y="9421"/>
                    <a:pt x="3719" y="9547"/>
                    <a:pt x="3719" y="9673"/>
                  </a:cubicBezTo>
                  <a:lnTo>
                    <a:pt x="3719" y="11437"/>
                  </a:lnTo>
                  <a:cubicBezTo>
                    <a:pt x="2836" y="10838"/>
                    <a:pt x="2238" y="9767"/>
                    <a:pt x="2238" y="8633"/>
                  </a:cubicBezTo>
                  <a:lnTo>
                    <a:pt x="2238" y="7341"/>
                  </a:lnTo>
                  <a:lnTo>
                    <a:pt x="5577" y="5325"/>
                  </a:lnTo>
                  <a:close/>
                  <a:moveTo>
                    <a:pt x="5562" y="9736"/>
                  </a:moveTo>
                  <a:cubicBezTo>
                    <a:pt x="5948" y="9736"/>
                    <a:pt x="6333" y="9799"/>
                    <a:pt x="6680" y="9925"/>
                  </a:cubicBezTo>
                  <a:lnTo>
                    <a:pt x="6680" y="11815"/>
                  </a:lnTo>
                  <a:cubicBezTo>
                    <a:pt x="6333" y="11941"/>
                    <a:pt x="5987" y="12036"/>
                    <a:pt x="5577" y="12036"/>
                  </a:cubicBezTo>
                  <a:cubicBezTo>
                    <a:pt x="5199" y="12036"/>
                    <a:pt x="4790" y="11941"/>
                    <a:pt x="4443" y="11815"/>
                  </a:cubicBezTo>
                  <a:lnTo>
                    <a:pt x="4443" y="9925"/>
                  </a:lnTo>
                  <a:cubicBezTo>
                    <a:pt x="4790" y="9799"/>
                    <a:pt x="5176" y="9736"/>
                    <a:pt x="5562" y="9736"/>
                  </a:cubicBezTo>
                  <a:close/>
                  <a:moveTo>
                    <a:pt x="9200" y="2427"/>
                  </a:moveTo>
                  <a:cubicBezTo>
                    <a:pt x="9988" y="3277"/>
                    <a:pt x="10429" y="4411"/>
                    <a:pt x="10429" y="5640"/>
                  </a:cubicBezTo>
                  <a:lnTo>
                    <a:pt x="10429" y="12036"/>
                  </a:lnTo>
                  <a:lnTo>
                    <a:pt x="7940" y="12036"/>
                  </a:lnTo>
                  <a:cubicBezTo>
                    <a:pt x="9011" y="11280"/>
                    <a:pt x="9705" y="10051"/>
                    <a:pt x="9705" y="8633"/>
                  </a:cubicBezTo>
                  <a:lnTo>
                    <a:pt x="9705" y="7152"/>
                  </a:lnTo>
                  <a:cubicBezTo>
                    <a:pt x="9705" y="7026"/>
                    <a:pt x="9642" y="6900"/>
                    <a:pt x="9515" y="6837"/>
                  </a:cubicBezTo>
                  <a:lnTo>
                    <a:pt x="5766" y="4569"/>
                  </a:lnTo>
                  <a:cubicBezTo>
                    <a:pt x="5719" y="4538"/>
                    <a:pt x="5656" y="4522"/>
                    <a:pt x="5589" y="4522"/>
                  </a:cubicBezTo>
                  <a:cubicBezTo>
                    <a:pt x="5522" y="4522"/>
                    <a:pt x="5451" y="4538"/>
                    <a:pt x="5388" y="4569"/>
                  </a:cubicBezTo>
                  <a:lnTo>
                    <a:pt x="1639" y="6837"/>
                  </a:lnTo>
                  <a:cubicBezTo>
                    <a:pt x="1513" y="6900"/>
                    <a:pt x="1450" y="7026"/>
                    <a:pt x="1450" y="7152"/>
                  </a:cubicBezTo>
                  <a:lnTo>
                    <a:pt x="1450" y="8633"/>
                  </a:lnTo>
                  <a:cubicBezTo>
                    <a:pt x="1450" y="10019"/>
                    <a:pt x="2143" y="11280"/>
                    <a:pt x="3214" y="12036"/>
                  </a:cubicBezTo>
                  <a:lnTo>
                    <a:pt x="726" y="12036"/>
                  </a:lnTo>
                  <a:lnTo>
                    <a:pt x="726" y="5640"/>
                  </a:lnTo>
                  <a:cubicBezTo>
                    <a:pt x="726" y="4380"/>
                    <a:pt x="1198" y="3246"/>
                    <a:pt x="1954" y="2427"/>
                  </a:cubicBezTo>
                  <a:cubicBezTo>
                    <a:pt x="2679" y="3246"/>
                    <a:pt x="4034" y="3750"/>
                    <a:pt x="5577" y="3750"/>
                  </a:cubicBezTo>
                  <a:cubicBezTo>
                    <a:pt x="7121" y="3750"/>
                    <a:pt x="8507" y="3246"/>
                    <a:pt x="9200" y="2427"/>
                  </a:cubicBezTo>
                  <a:close/>
                  <a:moveTo>
                    <a:pt x="5577" y="1"/>
                  </a:moveTo>
                  <a:cubicBezTo>
                    <a:pt x="2521" y="1"/>
                    <a:pt x="1" y="2521"/>
                    <a:pt x="1" y="5640"/>
                  </a:cubicBezTo>
                  <a:lnTo>
                    <a:pt x="1" y="12382"/>
                  </a:lnTo>
                  <a:cubicBezTo>
                    <a:pt x="1" y="12571"/>
                    <a:pt x="159" y="12729"/>
                    <a:pt x="348" y="12729"/>
                  </a:cubicBezTo>
                  <a:lnTo>
                    <a:pt x="10776" y="12729"/>
                  </a:lnTo>
                  <a:cubicBezTo>
                    <a:pt x="10965" y="12729"/>
                    <a:pt x="11122" y="12571"/>
                    <a:pt x="11122" y="12382"/>
                  </a:cubicBezTo>
                  <a:lnTo>
                    <a:pt x="11122" y="5640"/>
                  </a:lnTo>
                  <a:cubicBezTo>
                    <a:pt x="11185" y="2584"/>
                    <a:pt x="8665"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4" name="Google Shape;10204;p78"/>
          <p:cNvGrpSpPr/>
          <p:nvPr/>
        </p:nvGrpSpPr>
        <p:grpSpPr>
          <a:xfrm>
            <a:off x="6222086" y="2459027"/>
            <a:ext cx="275278" cy="360182"/>
            <a:chOff x="-56756725" y="2686975"/>
            <a:chExt cx="242600" cy="317425"/>
          </a:xfrm>
        </p:grpSpPr>
        <p:sp>
          <p:nvSpPr>
            <p:cNvPr id="10205" name="Google Shape;10205;p78"/>
            <p:cNvSpPr/>
            <p:nvPr/>
          </p:nvSpPr>
          <p:spPr>
            <a:xfrm>
              <a:off x="-5668110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6" name="Google Shape;10206;p78"/>
            <p:cNvSpPr/>
            <p:nvPr/>
          </p:nvSpPr>
          <p:spPr>
            <a:xfrm>
              <a:off x="-566062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7" name="Google Shape;10207;p78"/>
            <p:cNvSpPr/>
            <p:nvPr/>
          </p:nvSpPr>
          <p:spPr>
            <a:xfrm>
              <a:off x="-56756725" y="2686975"/>
              <a:ext cx="242600" cy="317425"/>
            </a:xfrm>
            <a:custGeom>
              <a:avLst/>
              <a:gdLst/>
              <a:ahLst/>
              <a:cxnLst/>
              <a:rect l="l" t="t" r="r" b="b"/>
              <a:pathLst>
                <a:path w="9704" h="12697" extrusionOk="0">
                  <a:moveTo>
                    <a:pt x="5955" y="4442"/>
                  </a:moveTo>
                  <a:lnTo>
                    <a:pt x="7058" y="5199"/>
                  </a:lnTo>
                  <a:lnTo>
                    <a:pt x="5798" y="5199"/>
                  </a:lnTo>
                  <a:cubicBezTo>
                    <a:pt x="5924" y="5009"/>
                    <a:pt x="5955" y="4757"/>
                    <a:pt x="5955" y="4442"/>
                  </a:cubicBezTo>
                  <a:close/>
                  <a:moveTo>
                    <a:pt x="3750" y="4127"/>
                  </a:moveTo>
                  <a:lnTo>
                    <a:pt x="3750" y="4127"/>
                  </a:lnTo>
                  <a:cubicBezTo>
                    <a:pt x="3718" y="4253"/>
                    <a:pt x="3718" y="4379"/>
                    <a:pt x="3718" y="4474"/>
                  </a:cubicBezTo>
                  <a:cubicBezTo>
                    <a:pt x="3718" y="4757"/>
                    <a:pt x="3781" y="5009"/>
                    <a:pt x="3876" y="5230"/>
                  </a:cubicBezTo>
                  <a:lnTo>
                    <a:pt x="2363" y="5230"/>
                  </a:lnTo>
                  <a:lnTo>
                    <a:pt x="3750" y="4127"/>
                  </a:lnTo>
                  <a:close/>
                  <a:moveTo>
                    <a:pt x="4821" y="3749"/>
                  </a:moveTo>
                  <a:cubicBezTo>
                    <a:pt x="4947" y="3749"/>
                    <a:pt x="5167" y="4001"/>
                    <a:pt x="5167" y="4474"/>
                  </a:cubicBezTo>
                  <a:cubicBezTo>
                    <a:pt x="5167" y="4946"/>
                    <a:pt x="4947" y="5230"/>
                    <a:pt x="4821" y="5230"/>
                  </a:cubicBezTo>
                  <a:cubicBezTo>
                    <a:pt x="4695" y="5230"/>
                    <a:pt x="4474" y="4946"/>
                    <a:pt x="4474" y="4474"/>
                  </a:cubicBezTo>
                  <a:cubicBezTo>
                    <a:pt x="4474" y="4001"/>
                    <a:pt x="4695" y="3749"/>
                    <a:pt x="4821" y="3749"/>
                  </a:cubicBezTo>
                  <a:close/>
                  <a:moveTo>
                    <a:pt x="6806" y="756"/>
                  </a:moveTo>
                  <a:lnTo>
                    <a:pt x="757" y="5545"/>
                  </a:lnTo>
                  <a:lnTo>
                    <a:pt x="757" y="2584"/>
                  </a:lnTo>
                  <a:cubicBezTo>
                    <a:pt x="725" y="1607"/>
                    <a:pt x="1576" y="756"/>
                    <a:pt x="2616" y="756"/>
                  </a:cubicBezTo>
                  <a:close/>
                  <a:moveTo>
                    <a:pt x="7814" y="914"/>
                  </a:moveTo>
                  <a:cubicBezTo>
                    <a:pt x="8475" y="1166"/>
                    <a:pt x="8948" y="1859"/>
                    <a:pt x="8948" y="2647"/>
                  </a:cubicBezTo>
                  <a:lnTo>
                    <a:pt x="8948" y="5640"/>
                  </a:lnTo>
                  <a:lnTo>
                    <a:pt x="5167" y="2993"/>
                  </a:lnTo>
                  <a:lnTo>
                    <a:pt x="7814" y="914"/>
                  </a:lnTo>
                  <a:close/>
                  <a:moveTo>
                    <a:pt x="8160" y="5955"/>
                  </a:moveTo>
                  <a:lnTo>
                    <a:pt x="8255" y="5986"/>
                  </a:lnTo>
                  <a:lnTo>
                    <a:pt x="8255" y="8633"/>
                  </a:lnTo>
                  <a:lnTo>
                    <a:pt x="8192" y="8633"/>
                  </a:lnTo>
                  <a:cubicBezTo>
                    <a:pt x="8192" y="9767"/>
                    <a:pt x="7625" y="10838"/>
                    <a:pt x="6711" y="11405"/>
                  </a:cubicBezTo>
                  <a:lnTo>
                    <a:pt x="6711" y="9357"/>
                  </a:lnTo>
                  <a:cubicBezTo>
                    <a:pt x="6711" y="9200"/>
                    <a:pt x="6617" y="9105"/>
                    <a:pt x="6522" y="9042"/>
                  </a:cubicBezTo>
                  <a:cubicBezTo>
                    <a:pt x="6002" y="8790"/>
                    <a:pt x="5427" y="8664"/>
                    <a:pt x="4856" y="8664"/>
                  </a:cubicBezTo>
                  <a:cubicBezTo>
                    <a:pt x="4285" y="8664"/>
                    <a:pt x="3718" y="8790"/>
                    <a:pt x="3214" y="9042"/>
                  </a:cubicBezTo>
                  <a:cubicBezTo>
                    <a:pt x="3088" y="9137"/>
                    <a:pt x="2994" y="9263"/>
                    <a:pt x="2994" y="9357"/>
                  </a:cubicBezTo>
                  <a:lnTo>
                    <a:pt x="2994" y="11405"/>
                  </a:lnTo>
                  <a:cubicBezTo>
                    <a:pt x="2111" y="10838"/>
                    <a:pt x="1513" y="9798"/>
                    <a:pt x="1513" y="8633"/>
                  </a:cubicBezTo>
                  <a:lnTo>
                    <a:pt x="1513" y="5955"/>
                  </a:lnTo>
                  <a:close/>
                  <a:moveTo>
                    <a:pt x="4837" y="9428"/>
                  </a:moveTo>
                  <a:cubicBezTo>
                    <a:pt x="5223" y="9428"/>
                    <a:pt x="5608" y="9499"/>
                    <a:pt x="5955" y="9641"/>
                  </a:cubicBezTo>
                  <a:lnTo>
                    <a:pt x="5955" y="11815"/>
                  </a:lnTo>
                  <a:cubicBezTo>
                    <a:pt x="5608" y="11941"/>
                    <a:pt x="5262" y="12004"/>
                    <a:pt x="4852" y="12004"/>
                  </a:cubicBezTo>
                  <a:cubicBezTo>
                    <a:pt x="4474" y="12004"/>
                    <a:pt x="4065" y="11941"/>
                    <a:pt x="3718" y="11815"/>
                  </a:cubicBezTo>
                  <a:lnTo>
                    <a:pt x="3718" y="9641"/>
                  </a:lnTo>
                  <a:cubicBezTo>
                    <a:pt x="4065" y="9499"/>
                    <a:pt x="4451" y="9428"/>
                    <a:pt x="4837" y="9428"/>
                  </a:cubicBezTo>
                  <a:close/>
                  <a:moveTo>
                    <a:pt x="2616" y="0"/>
                  </a:moveTo>
                  <a:cubicBezTo>
                    <a:pt x="1166" y="0"/>
                    <a:pt x="1" y="1166"/>
                    <a:pt x="1" y="2584"/>
                  </a:cubicBezTo>
                  <a:lnTo>
                    <a:pt x="1" y="6333"/>
                  </a:lnTo>
                  <a:cubicBezTo>
                    <a:pt x="1" y="6554"/>
                    <a:pt x="188" y="6698"/>
                    <a:pt x="375" y="6698"/>
                  </a:cubicBezTo>
                  <a:cubicBezTo>
                    <a:pt x="454" y="6698"/>
                    <a:pt x="534" y="6672"/>
                    <a:pt x="599" y="6616"/>
                  </a:cubicBezTo>
                  <a:lnTo>
                    <a:pt x="757" y="6490"/>
                  </a:lnTo>
                  <a:lnTo>
                    <a:pt x="757" y="8601"/>
                  </a:lnTo>
                  <a:cubicBezTo>
                    <a:pt x="757" y="10869"/>
                    <a:pt x="2616" y="12697"/>
                    <a:pt x="4852" y="12697"/>
                  </a:cubicBezTo>
                  <a:cubicBezTo>
                    <a:pt x="7089" y="12697"/>
                    <a:pt x="8948" y="10869"/>
                    <a:pt x="8948" y="8601"/>
                  </a:cubicBezTo>
                  <a:lnTo>
                    <a:pt x="8948" y="6522"/>
                  </a:lnTo>
                  <a:lnTo>
                    <a:pt x="9106" y="6648"/>
                  </a:lnTo>
                  <a:cubicBezTo>
                    <a:pt x="9173" y="6690"/>
                    <a:pt x="9247" y="6710"/>
                    <a:pt x="9320" y="6710"/>
                  </a:cubicBezTo>
                  <a:cubicBezTo>
                    <a:pt x="9518" y="6710"/>
                    <a:pt x="9704" y="6563"/>
                    <a:pt x="9704" y="6333"/>
                  </a:cubicBezTo>
                  <a:lnTo>
                    <a:pt x="9704" y="2584"/>
                  </a:lnTo>
                  <a:cubicBezTo>
                    <a:pt x="9704" y="1166"/>
                    <a:pt x="8507"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8" name="Google Shape;10208;p78"/>
          <p:cNvGrpSpPr/>
          <p:nvPr/>
        </p:nvGrpSpPr>
        <p:grpSpPr>
          <a:xfrm>
            <a:off x="4870518" y="2911936"/>
            <a:ext cx="337346" cy="361998"/>
            <a:chOff x="-54826975" y="1903275"/>
            <a:chExt cx="297300" cy="319025"/>
          </a:xfrm>
        </p:grpSpPr>
        <p:sp>
          <p:nvSpPr>
            <p:cNvPr id="10209" name="Google Shape;10209;p78"/>
            <p:cNvSpPr/>
            <p:nvPr/>
          </p:nvSpPr>
          <p:spPr>
            <a:xfrm>
              <a:off x="-54712850" y="2135825"/>
              <a:ext cx="73275" cy="28975"/>
            </a:xfrm>
            <a:custGeom>
              <a:avLst/>
              <a:gdLst/>
              <a:ahLst/>
              <a:cxnLst/>
              <a:rect l="l" t="t" r="r" b="b"/>
              <a:pathLst>
                <a:path w="2931" h="1159" extrusionOk="0">
                  <a:moveTo>
                    <a:pt x="414" y="1"/>
                  </a:moveTo>
                  <a:cubicBezTo>
                    <a:pt x="316" y="1"/>
                    <a:pt x="222" y="40"/>
                    <a:pt x="159" y="119"/>
                  </a:cubicBezTo>
                  <a:cubicBezTo>
                    <a:pt x="1" y="276"/>
                    <a:pt x="1" y="497"/>
                    <a:pt x="159" y="623"/>
                  </a:cubicBezTo>
                  <a:cubicBezTo>
                    <a:pt x="537" y="970"/>
                    <a:pt x="1009" y="1159"/>
                    <a:pt x="1482" y="1159"/>
                  </a:cubicBezTo>
                  <a:cubicBezTo>
                    <a:pt x="1986" y="1159"/>
                    <a:pt x="2458" y="970"/>
                    <a:pt x="2773" y="623"/>
                  </a:cubicBezTo>
                  <a:cubicBezTo>
                    <a:pt x="2931" y="465"/>
                    <a:pt x="2931" y="213"/>
                    <a:pt x="2773" y="119"/>
                  </a:cubicBezTo>
                  <a:cubicBezTo>
                    <a:pt x="2695" y="40"/>
                    <a:pt x="2592" y="1"/>
                    <a:pt x="2498" y="1"/>
                  </a:cubicBezTo>
                  <a:cubicBezTo>
                    <a:pt x="2403" y="1"/>
                    <a:pt x="2317" y="40"/>
                    <a:pt x="2269" y="119"/>
                  </a:cubicBezTo>
                  <a:cubicBezTo>
                    <a:pt x="2049" y="308"/>
                    <a:pt x="1734" y="434"/>
                    <a:pt x="1482" y="434"/>
                  </a:cubicBezTo>
                  <a:cubicBezTo>
                    <a:pt x="1167" y="434"/>
                    <a:pt x="883" y="308"/>
                    <a:pt x="694" y="119"/>
                  </a:cubicBezTo>
                  <a:cubicBezTo>
                    <a:pt x="615" y="40"/>
                    <a:pt x="51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78"/>
            <p:cNvSpPr/>
            <p:nvPr/>
          </p:nvSpPr>
          <p:spPr>
            <a:xfrm>
              <a:off x="-54826975" y="1903275"/>
              <a:ext cx="297300" cy="319025"/>
            </a:xfrm>
            <a:custGeom>
              <a:avLst/>
              <a:gdLst/>
              <a:ahLst/>
              <a:cxnLst/>
              <a:rect l="l" t="t" r="r" b="b"/>
              <a:pathLst>
                <a:path w="11892" h="12761" extrusionOk="0">
                  <a:moveTo>
                    <a:pt x="3400" y="694"/>
                  </a:moveTo>
                  <a:cubicBezTo>
                    <a:pt x="3715" y="694"/>
                    <a:pt x="3999" y="915"/>
                    <a:pt x="4093" y="1167"/>
                  </a:cubicBezTo>
                  <a:cubicBezTo>
                    <a:pt x="2928" y="1797"/>
                    <a:pt x="2046" y="3025"/>
                    <a:pt x="1951" y="4443"/>
                  </a:cubicBezTo>
                  <a:cubicBezTo>
                    <a:pt x="1932" y="4444"/>
                    <a:pt x="1914" y="4445"/>
                    <a:pt x="1895" y="4445"/>
                  </a:cubicBezTo>
                  <a:cubicBezTo>
                    <a:pt x="1481" y="4445"/>
                    <a:pt x="1163" y="4112"/>
                    <a:pt x="1163" y="3750"/>
                  </a:cubicBezTo>
                  <a:cubicBezTo>
                    <a:pt x="1163" y="3498"/>
                    <a:pt x="1258" y="3340"/>
                    <a:pt x="1352" y="3214"/>
                  </a:cubicBezTo>
                  <a:cubicBezTo>
                    <a:pt x="1478" y="3057"/>
                    <a:pt x="1478" y="2868"/>
                    <a:pt x="1352" y="2710"/>
                  </a:cubicBezTo>
                  <a:cubicBezTo>
                    <a:pt x="1258" y="2584"/>
                    <a:pt x="1163" y="2427"/>
                    <a:pt x="1163" y="2206"/>
                  </a:cubicBezTo>
                  <a:cubicBezTo>
                    <a:pt x="1163" y="1797"/>
                    <a:pt x="1478" y="1450"/>
                    <a:pt x="1888" y="1450"/>
                  </a:cubicBezTo>
                  <a:cubicBezTo>
                    <a:pt x="1983" y="1450"/>
                    <a:pt x="2109" y="1450"/>
                    <a:pt x="2172" y="1482"/>
                  </a:cubicBezTo>
                  <a:cubicBezTo>
                    <a:pt x="2216" y="1504"/>
                    <a:pt x="2263" y="1514"/>
                    <a:pt x="2311" y="1514"/>
                  </a:cubicBezTo>
                  <a:cubicBezTo>
                    <a:pt x="2468" y="1514"/>
                    <a:pt x="2627" y="1406"/>
                    <a:pt x="2676" y="1261"/>
                  </a:cubicBezTo>
                  <a:cubicBezTo>
                    <a:pt x="2770" y="946"/>
                    <a:pt x="3085" y="694"/>
                    <a:pt x="3400" y="694"/>
                  </a:cubicBezTo>
                  <a:close/>
                  <a:moveTo>
                    <a:pt x="8504" y="757"/>
                  </a:moveTo>
                  <a:cubicBezTo>
                    <a:pt x="8819" y="757"/>
                    <a:pt x="9166" y="978"/>
                    <a:pt x="9229" y="1293"/>
                  </a:cubicBezTo>
                  <a:cubicBezTo>
                    <a:pt x="9255" y="1448"/>
                    <a:pt x="9430" y="1561"/>
                    <a:pt x="9614" y="1561"/>
                  </a:cubicBezTo>
                  <a:cubicBezTo>
                    <a:pt x="9654" y="1561"/>
                    <a:pt x="9694" y="1556"/>
                    <a:pt x="9733" y="1545"/>
                  </a:cubicBezTo>
                  <a:cubicBezTo>
                    <a:pt x="9827" y="1482"/>
                    <a:pt x="9953" y="1482"/>
                    <a:pt x="10016" y="1482"/>
                  </a:cubicBezTo>
                  <a:cubicBezTo>
                    <a:pt x="10394" y="1482"/>
                    <a:pt x="10772" y="1797"/>
                    <a:pt x="10772" y="2238"/>
                  </a:cubicBezTo>
                  <a:cubicBezTo>
                    <a:pt x="10772" y="2490"/>
                    <a:pt x="10646" y="2647"/>
                    <a:pt x="10552" y="2742"/>
                  </a:cubicBezTo>
                  <a:cubicBezTo>
                    <a:pt x="10457" y="2899"/>
                    <a:pt x="10457" y="3120"/>
                    <a:pt x="10552" y="3277"/>
                  </a:cubicBezTo>
                  <a:cubicBezTo>
                    <a:pt x="10646" y="3372"/>
                    <a:pt x="10772" y="3529"/>
                    <a:pt x="10772" y="3782"/>
                  </a:cubicBezTo>
                  <a:cubicBezTo>
                    <a:pt x="10772" y="4160"/>
                    <a:pt x="10489" y="4475"/>
                    <a:pt x="10079" y="4538"/>
                  </a:cubicBezTo>
                  <a:cubicBezTo>
                    <a:pt x="9985" y="3057"/>
                    <a:pt x="9071" y="1860"/>
                    <a:pt x="7842" y="1230"/>
                  </a:cubicBezTo>
                  <a:cubicBezTo>
                    <a:pt x="7969" y="915"/>
                    <a:pt x="8252" y="757"/>
                    <a:pt x="8504" y="757"/>
                  </a:cubicBezTo>
                  <a:close/>
                  <a:moveTo>
                    <a:pt x="6078" y="1482"/>
                  </a:moveTo>
                  <a:cubicBezTo>
                    <a:pt x="7874" y="1482"/>
                    <a:pt x="9386" y="2994"/>
                    <a:pt x="9386" y="4853"/>
                  </a:cubicBezTo>
                  <a:lnTo>
                    <a:pt x="9386" y="5640"/>
                  </a:lnTo>
                  <a:cubicBezTo>
                    <a:pt x="9071" y="5388"/>
                    <a:pt x="8662" y="5262"/>
                    <a:pt x="8284" y="5262"/>
                  </a:cubicBezTo>
                  <a:cubicBezTo>
                    <a:pt x="7370" y="5262"/>
                    <a:pt x="6614" y="5892"/>
                    <a:pt x="6456" y="6774"/>
                  </a:cubicBezTo>
                  <a:lnTo>
                    <a:pt x="5637" y="6774"/>
                  </a:lnTo>
                  <a:cubicBezTo>
                    <a:pt x="5480" y="5892"/>
                    <a:pt x="4692" y="5262"/>
                    <a:pt x="3841" y="5262"/>
                  </a:cubicBezTo>
                  <a:cubicBezTo>
                    <a:pt x="3400" y="5262"/>
                    <a:pt x="3054" y="5420"/>
                    <a:pt x="2739" y="5640"/>
                  </a:cubicBezTo>
                  <a:lnTo>
                    <a:pt x="2739" y="4853"/>
                  </a:lnTo>
                  <a:cubicBezTo>
                    <a:pt x="2739" y="2994"/>
                    <a:pt x="4219" y="1482"/>
                    <a:pt x="6078" y="1482"/>
                  </a:cubicBezTo>
                  <a:close/>
                  <a:moveTo>
                    <a:pt x="1888" y="6743"/>
                  </a:moveTo>
                  <a:lnTo>
                    <a:pt x="1888" y="7058"/>
                  </a:lnTo>
                  <a:lnTo>
                    <a:pt x="1857" y="7216"/>
                  </a:lnTo>
                  <a:cubicBezTo>
                    <a:pt x="1794" y="7531"/>
                    <a:pt x="1731" y="7877"/>
                    <a:pt x="1699" y="8192"/>
                  </a:cubicBezTo>
                  <a:cubicBezTo>
                    <a:pt x="1384" y="8098"/>
                    <a:pt x="1163" y="7783"/>
                    <a:pt x="1163" y="7468"/>
                  </a:cubicBezTo>
                  <a:cubicBezTo>
                    <a:pt x="1163" y="7090"/>
                    <a:pt x="1478" y="6743"/>
                    <a:pt x="1888" y="6743"/>
                  </a:cubicBezTo>
                  <a:close/>
                  <a:moveTo>
                    <a:pt x="3778" y="5987"/>
                  </a:moveTo>
                  <a:cubicBezTo>
                    <a:pt x="4440" y="5987"/>
                    <a:pt x="4881" y="6491"/>
                    <a:pt x="4881" y="7090"/>
                  </a:cubicBezTo>
                  <a:cubicBezTo>
                    <a:pt x="4881" y="7688"/>
                    <a:pt x="4377" y="8192"/>
                    <a:pt x="3778" y="8192"/>
                  </a:cubicBezTo>
                  <a:cubicBezTo>
                    <a:pt x="3211" y="8192"/>
                    <a:pt x="2676" y="7688"/>
                    <a:pt x="2676" y="7090"/>
                  </a:cubicBezTo>
                  <a:cubicBezTo>
                    <a:pt x="2676" y="6491"/>
                    <a:pt x="3148" y="5987"/>
                    <a:pt x="3778" y="5987"/>
                  </a:cubicBezTo>
                  <a:close/>
                  <a:moveTo>
                    <a:pt x="10142" y="6743"/>
                  </a:moveTo>
                  <a:cubicBezTo>
                    <a:pt x="10520" y="6743"/>
                    <a:pt x="10867" y="7058"/>
                    <a:pt x="10867" y="7468"/>
                  </a:cubicBezTo>
                  <a:cubicBezTo>
                    <a:pt x="10867" y="7846"/>
                    <a:pt x="10646" y="8098"/>
                    <a:pt x="10331" y="8192"/>
                  </a:cubicBezTo>
                  <a:cubicBezTo>
                    <a:pt x="10331" y="7877"/>
                    <a:pt x="10237" y="7531"/>
                    <a:pt x="10174" y="7216"/>
                  </a:cubicBezTo>
                  <a:lnTo>
                    <a:pt x="10142" y="7058"/>
                  </a:lnTo>
                  <a:lnTo>
                    <a:pt x="10142" y="6743"/>
                  </a:lnTo>
                  <a:close/>
                  <a:moveTo>
                    <a:pt x="8337" y="6017"/>
                  </a:moveTo>
                  <a:cubicBezTo>
                    <a:pt x="8912" y="6017"/>
                    <a:pt x="9386" y="6510"/>
                    <a:pt x="9386" y="7121"/>
                  </a:cubicBezTo>
                  <a:cubicBezTo>
                    <a:pt x="9386" y="7751"/>
                    <a:pt x="8882" y="8224"/>
                    <a:pt x="8284" y="8224"/>
                  </a:cubicBezTo>
                  <a:cubicBezTo>
                    <a:pt x="7653" y="8224"/>
                    <a:pt x="7181" y="7720"/>
                    <a:pt x="7181" y="7121"/>
                  </a:cubicBezTo>
                  <a:cubicBezTo>
                    <a:pt x="7181" y="6522"/>
                    <a:pt x="7685" y="6018"/>
                    <a:pt x="8284" y="6018"/>
                  </a:cubicBezTo>
                  <a:cubicBezTo>
                    <a:pt x="8301" y="6017"/>
                    <a:pt x="8319" y="6017"/>
                    <a:pt x="8337" y="6017"/>
                  </a:cubicBezTo>
                  <a:close/>
                  <a:moveTo>
                    <a:pt x="6456" y="7436"/>
                  </a:moveTo>
                  <a:cubicBezTo>
                    <a:pt x="6614" y="8318"/>
                    <a:pt x="7401" y="8948"/>
                    <a:pt x="8284" y="8948"/>
                  </a:cubicBezTo>
                  <a:cubicBezTo>
                    <a:pt x="8788" y="8948"/>
                    <a:pt x="9260" y="8728"/>
                    <a:pt x="9607" y="8381"/>
                  </a:cubicBezTo>
                  <a:lnTo>
                    <a:pt x="9607" y="8381"/>
                  </a:lnTo>
                  <a:cubicBezTo>
                    <a:pt x="9575" y="8476"/>
                    <a:pt x="9575" y="8507"/>
                    <a:pt x="9575" y="8539"/>
                  </a:cubicBezTo>
                  <a:lnTo>
                    <a:pt x="9575" y="8570"/>
                  </a:lnTo>
                  <a:cubicBezTo>
                    <a:pt x="9449" y="10398"/>
                    <a:pt x="7969" y="11973"/>
                    <a:pt x="6047" y="11973"/>
                  </a:cubicBezTo>
                  <a:cubicBezTo>
                    <a:pt x="4062" y="11973"/>
                    <a:pt x="2581" y="10398"/>
                    <a:pt x="2487" y="8570"/>
                  </a:cubicBezTo>
                  <a:lnTo>
                    <a:pt x="2487" y="8539"/>
                  </a:lnTo>
                  <a:lnTo>
                    <a:pt x="2487" y="8381"/>
                  </a:lnTo>
                  <a:cubicBezTo>
                    <a:pt x="2833" y="8728"/>
                    <a:pt x="3306" y="8948"/>
                    <a:pt x="3841" y="8948"/>
                  </a:cubicBezTo>
                  <a:cubicBezTo>
                    <a:pt x="4724" y="8948"/>
                    <a:pt x="5480" y="8318"/>
                    <a:pt x="5637" y="7436"/>
                  </a:cubicBezTo>
                  <a:close/>
                  <a:moveTo>
                    <a:pt x="3400" y="1"/>
                  </a:moveTo>
                  <a:cubicBezTo>
                    <a:pt x="2833" y="1"/>
                    <a:pt x="2361" y="316"/>
                    <a:pt x="2109" y="726"/>
                  </a:cubicBezTo>
                  <a:cubicBezTo>
                    <a:pt x="2041" y="717"/>
                    <a:pt x="1974" y="713"/>
                    <a:pt x="1909" y="713"/>
                  </a:cubicBezTo>
                  <a:cubicBezTo>
                    <a:pt x="784" y="713"/>
                    <a:pt x="1" y="1948"/>
                    <a:pt x="596" y="2931"/>
                  </a:cubicBezTo>
                  <a:cubicBezTo>
                    <a:pt x="470" y="3183"/>
                    <a:pt x="407" y="3403"/>
                    <a:pt x="407" y="3687"/>
                  </a:cubicBezTo>
                  <a:cubicBezTo>
                    <a:pt x="407" y="4506"/>
                    <a:pt x="1069" y="5199"/>
                    <a:pt x="1888" y="5199"/>
                  </a:cubicBezTo>
                  <a:lnTo>
                    <a:pt x="1888" y="5987"/>
                  </a:lnTo>
                  <a:cubicBezTo>
                    <a:pt x="1069" y="5987"/>
                    <a:pt x="407" y="6648"/>
                    <a:pt x="407" y="7468"/>
                  </a:cubicBezTo>
                  <a:cubicBezTo>
                    <a:pt x="407" y="8224"/>
                    <a:pt x="1006" y="8854"/>
                    <a:pt x="1699" y="8980"/>
                  </a:cubicBezTo>
                  <a:cubicBezTo>
                    <a:pt x="1983" y="11028"/>
                    <a:pt x="3715" y="12760"/>
                    <a:pt x="5984" y="12760"/>
                  </a:cubicBezTo>
                  <a:cubicBezTo>
                    <a:pt x="8252" y="12760"/>
                    <a:pt x="10016" y="11028"/>
                    <a:pt x="10300" y="8980"/>
                  </a:cubicBezTo>
                  <a:cubicBezTo>
                    <a:pt x="11024" y="8885"/>
                    <a:pt x="11592" y="8255"/>
                    <a:pt x="11592" y="7468"/>
                  </a:cubicBezTo>
                  <a:cubicBezTo>
                    <a:pt x="11623" y="6648"/>
                    <a:pt x="10961" y="5987"/>
                    <a:pt x="10142" y="5987"/>
                  </a:cubicBezTo>
                  <a:lnTo>
                    <a:pt x="10142" y="5199"/>
                  </a:lnTo>
                  <a:cubicBezTo>
                    <a:pt x="10930" y="5168"/>
                    <a:pt x="11497" y="4475"/>
                    <a:pt x="11497" y="3687"/>
                  </a:cubicBezTo>
                  <a:cubicBezTo>
                    <a:pt x="11497" y="3435"/>
                    <a:pt x="11434" y="3183"/>
                    <a:pt x="11308" y="2962"/>
                  </a:cubicBezTo>
                  <a:cubicBezTo>
                    <a:pt x="11892" y="1970"/>
                    <a:pt x="11150" y="733"/>
                    <a:pt x="10085" y="733"/>
                  </a:cubicBezTo>
                  <a:cubicBezTo>
                    <a:pt x="10001" y="733"/>
                    <a:pt x="9915" y="741"/>
                    <a:pt x="9827" y="757"/>
                  </a:cubicBezTo>
                  <a:cubicBezTo>
                    <a:pt x="9544" y="284"/>
                    <a:pt x="9071" y="1"/>
                    <a:pt x="8504" y="1"/>
                  </a:cubicBezTo>
                  <a:cubicBezTo>
                    <a:pt x="8126" y="1"/>
                    <a:pt x="7779" y="158"/>
                    <a:pt x="7496" y="379"/>
                  </a:cubicBezTo>
                  <a:cubicBezTo>
                    <a:pt x="7338" y="537"/>
                    <a:pt x="7212" y="694"/>
                    <a:pt x="7149" y="915"/>
                  </a:cubicBezTo>
                  <a:cubicBezTo>
                    <a:pt x="6771" y="789"/>
                    <a:pt x="6393" y="726"/>
                    <a:pt x="5984" y="726"/>
                  </a:cubicBezTo>
                  <a:cubicBezTo>
                    <a:pt x="5574" y="726"/>
                    <a:pt x="5165" y="820"/>
                    <a:pt x="4787" y="946"/>
                  </a:cubicBezTo>
                  <a:cubicBezTo>
                    <a:pt x="4534" y="379"/>
                    <a:pt x="4030" y="1"/>
                    <a:pt x="34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78"/>
            <p:cNvSpPr/>
            <p:nvPr/>
          </p:nvSpPr>
          <p:spPr>
            <a:xfrm>
              <a:off x="-54722300" y="1997800"/>
              <a:ext cx="92175" cy="17350"/>
            </a:xfrm>
            <a:custGeom>
              <a:avLst/>
              <a:gdLst/>
              <a:ahLst/>
              <a:cxnLst/>
              <a:rect l="l" t="t" r="r" b="b"/>
              <a:pathLst>
                <a:path w="3687" h="694" extrusionOk="0">
                  <a:moveTo>
                    <a:pt x="347" y="1"/>
                  </a:moveTo>
                  <a:cubicBezTo>
                    <a:pt x="158" y="1"/>
                    <a:pt x="1" y="158"/>
                    <a:pt x="1" y="347"/>
                  </a:cubicBezTo>
                  <a:cubicBezTo>
                    <a:pt x="1" y="536"/>
                    <a:pt x="158" y="694"/>
                    <a:pt x="347" y="694"/>
                  </a:cubicBezTo>
                  <a:lnTo>
                    <a:pt x="3340" y="694"/>
                  </a:lnTo>
                  <a:cubicBezTo>
                    <a:pt x="3529" y="694"/>
                    <a:pt x="3687" y="536"/>
                    <a:pt x="3687" y="347"/>
                  </a:cubicBezTo>
                  <a:cubicBezTo>
                    <a:pt x="3687" y="158"/>
                    <a:pt x="3529" y="1"/>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2" name="Google Shape;10212;p78"/>
          <p:cNvGrpSpPr/>
          <p:nvPr/>
        </p:nvGrpSpPr>
        <p:grpSpPr>
          <a:xfrm>
            <a:off x="4858206" y="3365399"/>
            <a:ext cx="361969" cy="359274"/>
            <a:chOff x="-54836500" y="2296300"/>
            <a:chExt cx="319000" cy="316625"/>
          </a:xfrm>
        </p:grpSpPr>
        <p:sp>
          <p:nvSpPr>
            <p:cNvPr id="10213" name="Google Shape;10213;p78"/>
            <p:cNvSpPr/>
            <p:nvPr/>
          </p:nvSpPr>
          <p:spPr>
            <a:xfrm>
              <a:off x="-54722300" y="2445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4" name="Google Shape;10214;p78"/>
            <p:cNvSpPr/>
            <p:nvPr/>
          </p:nvSpPr>
          <p:spPr>
            <a:xfrm>
              <a:off x="-54647475" y="24459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5" name="Google Shape;10215;p78"/>
            <p:cNvSpPr/>
            <p:nvPr/>
          </p:nvSpPr>
          <p:spPr>
            <a:xfrm>
              <a:off x="-54712850" y="2508375"/>
              <a:ext cx="73275" cy="29750"/>
            </a:xfrm>
            <a:custGeom>
              <a:avLst/>
              <a:gdLst/>
              <a:ahLst/>
              <a:cxnLst/>
              <a:rect l="l" t="t" r="r" b="b"/>
              <a:pathLst>
                <a:path w="2931" h="1190" extrusionOk="0">
                  <a:moveTo>
                    <a:pt x="414" y="0"/>
                  </a:moveTo>
                  <a:cubicBezTo>
                    <a:pt x="316" y="0"/>
                    <a:pt x="222" y="40"/>
                    <a:pt x="159" y="119"/>
                  </a:cubicBezTo>
                  <a:cubicBezTo>
                    <a:pt x="1" y="276"/>
                    <a:pt x="1" y="528"/>
                    <a:pt x="159" y="654"/>
                  </a:cubicBezTo>
                  <a:cubicBezTo>
                    <a:pt x="537" y="1001"/>
                    <a:pt x="1009" y="1190"/>
                    <a:pt x="1482" y="1190"/>
                  </a:cubicBezTo>
                  <a:cubicBezTo>
                    <a:pt x="1986" y="1190"/>
                    <a:pt x="2458" y="1001"/>
                    <a:pt x="2773" y="654"/>
                  </a:cubicBezTo>
                  <a:cubicBezTo>
                    <a:pt x="2931" y="497"/>
                    <a:pt x="2931" y="245"/>
                    <a:pt x="2773" y="119"/>
                  </a:cubicBezTo>
                  <a:cubicBezTo>
                    <a:pt x="2695" y="40"/>
                    <a:pt x="2592" y="0"/>
                    <a:pt x="2498" y="0"/>
                  </a:cubicBezTo>
                  <a:cubicBezTo>
                    <a:pt x="2403" y="0"/>
                    <a:pt x="2317" y="40"/>
                    <a:pt x="2269" y="119"/>
                  </a:cubicBezTo>
                  <a:cubicBezTo>
                    <a:pt x="2049" y="339"/>
                    <a:pt x="1734" y="434"/>
                    <a:pt x="1482" y="434"/>
                  </a:cubicBezTo>
                  <a:cubicBezTo>
                    <a:pt x="1167" y="434"/>
                    <a:pt x="883" y="339"/>
                    <a:pt x="694" y="119"/>
                  </a:cubicBezTo>
                  <a:cubicBezTo>
                    <a:pt x="615" y="40"/>
                    <a:pt x="513" y="0"/>
                    <a:pt x="4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78"/>
            <p:cNvSpPr/>
            <p:nvPr/>
          </p:nvSpPr>
          <p:spPr>
            <a:xfrm>
              <a:off x="-54836500" y="2296300"/>
              <a:ext cx="319000" cy="316625"/>
            </a:xfrm>
            <a:custGeom>
              <a:avLst/>
              <a:gdLst/>
              <a:ahLst/>
              <a:cxnLst/>
              <a:rect l="l" t="t" r="r" b="b"/>
              <a:pathLst>
                <a:path w="12760" h="12665" extrusionOk="0">
                  <a:moveTo>
                    <a:pt x="5672" y="694"/>
                  </a:moveTo>
                  <a:cubicBezTo>
                    <a:pt x="5577" y="883"/>
                    <a:pt x="5483" y="1167"/>
                    <a:pt x="5388" y="1450"/>
                  </a:cubicBezTo>
                  <a:lnTo>
                    <a:pt x="2742" y="1450"/>
                  </a:lnTo>
                  <a:lnTo>
                    <a:pt x="2427" y="694"/>
                  </a:lnTo>
                  <a:close/>
                  <a:moveTo>
                    <a:pt x="10303" y="694"/>
                  </a:moveTo>
                  <a:lnTo>
                    <a:pt x="10051" y="1450"/>
                  </a:lnTo>
                  <a:lnTo>
                    <a:pt x="7404" y="1450"/>
                  </a:lnTo>
                  <a:cubicBezTo>
                    <a:pt x="7310" y="1167"/>
                    <a:pt x="7215" y="883"/>
                    <a:pt x="7089" y="694"/>
                  </a:cubicBezTo>
                  <a:close/>
                  <a:moveTo>
                    <a:pt x="6428" y="977"/>
                  </a:moveTo>
                  <a:cubicBezTo>
                    <a:pt x="6585" y="1293"/>
                    <a:pt x="6774" y="1734"/>
                    <a:pt x="6774" y="2206"/>
                  </a:cubicBezTo>
                  <a:cubicBezTo>
                    <a:pt x="6774" y="2647"/>
                    <a:pt x="6585" y="3088"/>
                    <a:pt x="6428" y="3403"/>
                  </a:cubicBezTo>
                  <a:cubicBezTo>
                    <a:pt x="6270" y="3088"/>
                    <a:pt x="6050" y="2647"/>
                    <a:pt x="6050" y="2206"/>
                  </a:cubicBezTo>
                  <a:cubicBezTo>
                    <a:pt x="6018" y="1671"/>
                    <a:pt x="6207" y="1230"/>
                    <a:pt x="6428" y="977"/>
                  </a:cubicBezTo>
                  <a:close/>
                  <a:moveTo>
                    <a:pt x="5325" y="2206"/>
                  </a:moveTo>
                  <a:cubicBezTo>
                    <a:pt x="5325" y="2773"/>
                    <a:pt x="5514" y="3309"/>
                    <a:pt x="5735" y="3687"/>
                  </a:cubicBezTo>
                  <a:lnTo>
                    <a:pt x="3655" y="3687"/>
                  </a:lnTo>
                  <a:lnTo>
                    <a:pt x="3057" y="2206"/>
                  </a:lnTo>
                  <a:close/>
                  <a:moveTo>
                    <a:pt x="9799" y="2206"/>
                  </a:moveTo>
                  <a:lnTo>
                    <a:pt x="9169" y="3687"/>
                  </a:lnTo>
                  <a:lnTo>
                    <a:pt x="7121" y="3687"/>
                  </a:lnTo>
                  <a:cubicBezTo>
                    <a:pt x="7310" y="3309"/>
                    <a:pt x="7562" y="2773"/>
                    <a:pt x="7562" y="2206"/>
                  </a:cubicBezTo>
                  <a:close/>
                  <a:moveTo>
                    <a:pt x="9043" y="4380"/>
                  </a:moveTo>
                  <a:lnTo>
                    <a:pt x="9043" y="5136"/>
                  </a:lnTo>
                  <a:cubicBezTo>
                    <a:pt x="9043" y="6837"/>
                    <a:pt x="9515" y="7436"/>
                    <a:pt x="9736" y="8602"/>
                  </a:cubicBezTo>
                  <a:cubicBezTo>
                    <a:pt x="9326" y="10114"/>
                    <a:pt x="7940" y="11185"/>
                    <a:pt x="6428" y="11185"/>
                  </a:cubicBezTo>
                  <a:cubicBezTo>
                    <a:pt x="4852" y="11185"/>
                    <a:pt x="3498" y="10114"/>
                    <a:pt x="3120" y="8602"/>
                  </a:cubicBezTo>
                  <a:cubicBezTo>
                    <a:pt x="3309" y="7436"/>
                    <a:pt x="3781" y="6837"/>
                    <a:pt x="3781" y="5136"/>
                  </a:cubicBezTo>
                  <a:lnTo>
                    <a:pt x="3781" y="4380"/>
                  </a:lnTo>
                  <a:close/>
                  <a:moveTo>
                    <a:pt x="2301" y="2238"/>
                  </a:moveTo>
                  <a:lnTo>
                    <a:pt x="3025" y="4096"/>
                  </a:lnTo>
                  <a:lnTo>
                    <a:pt x="3025" y="5105"/>
                  </a:lnTo>
                  <a:cubicBezTo>
                    <a:pt x="3025" y="6711"/>
                    <a:pt x="2584" y="7184"/>
                    <a:pt x="2364" y="8539"/>
                  </a:cubicBezTo>
                  <a:cubicBezTo>
                    <a:pt x="2301" y="8917"/>
                    <a:pt x="2301" y="9326"/>
                    <a:pt x="2301" y="9704"/>
                  </a:cubicBezTo>
                  <a:lnTo>
                    <a:pt x="2301" y="11595"/>
                  </a:lnTo>
                  <a:lnTo>
                    <a:pt x="2269" y="11595"/>
                  </a:lnTo>
                  <a:lnTo>
                    <a:pt x="1733" y="11217"/>
                  </a:lnTo>
                  <a:cubicBezTo>
                    <a:pt x="1135" y="10807"/>
                    <a:pt x="788" y="10177"/>
                    <a:pt x="788" y="9484"/>
                  </a:cubicBezTo>
                  <a:cubicBezTo>
                    <a:pt x="788" y="8444"/>
                    <a:pt x="1040" y="7404"/>
                    <a:pt x="1513" y="6491"/>
                  </a:cubicBezTo>
                  <a:cubicBezTo>
                    <a:pt x="2017" y="5451"/>
                    <a:pt x="2301" y="4285"/>
                    <a:pt x="2301" y="3088"/>
                  </a:cubicBezTo>
                  <a:lnTo>
                    <a:pt x="2301" y="2238"/>
                  </a:lnTo>
                  <a:close/>
                  <a:moveTo>
                    <a:pt x="10555" y="2269"/>
                  </a:moveTo>
                  <a:lnTo>
                    <a:pt x="10555" y="3151"/>
                  </a:lnTo>
                  <a:cubicBezTo>
                    <a:pt x="10555" y="4317"/>
                    <a:pt x="10838" y="5514"/>
                    <a:pt x="11342" y="6522"/>
                  </a:cubicBezTo>
                  <a:cubicBezTo>
                    <a:pt x="11815" y="7436"/>
                    <a:pt x="12036" y="8507"/>
                    <a:pt x="12036" y="9515"/>
                  </a:cubicBezTo>
                  <a:cubicBezTo>
                    <a:pt x="12004" y="10177"/>
                    <a:pt x="11689" y="10870"/>
                    <a:pt x="11090" y="11217"/>
                  </a:cubicBezTo>
                  <a:lnTo>
                    <a:pt x="10555" y="11595"/>
                  </a:lnTo>
                  <a:lnTo>
                    <a:pt x="10555" y="9767"/>
                  </a:lnTo>
                  <a:cubicBezTo>
                    <a:pt x="10555" y="9358"/>
                    <a:pt x="10523" y="8980"/>
                    <a:pt x="10460" y="8570"/>
                  </a:cubicBezTo>
                  <a:cubicBezTo>
                    <a:pt x="10271" y="7247"/>
                    <a:pt x="9799" y="6774"/>
                    <a:pt x="9799" y="5136"/>
                  </a:cubicBezTo>
                  <a:lnTo>
                    <a:pt x="9799" y="4128"/>
                  </a:lnTo>
                  <a:lnTo>
                    <a:pt x="10555" y="2269"/>
                  </a:lnTo>
                  <a:close/>
                  <a:moveTo>
                    <a:pt x="1859" y="1"/>
                  </a:moveTo>
                  <a:cubicBezTo>
                    <a:pt x="1639" y="1"/>
                    <a:pt x="1481" y="158"/>
                    <a:pt x="1481" y="347"/>
                  </a:cubicBezTo>
                  <a:lnTo>
                    <a:pt x="1481" y="3151"/>
                  </a:lnTo>
                  <a:cubicBezTo>
                    <a:pt x="1481" y="4191"/>
                    <a:pt x="1261" y="5262"/>
                    <a:pt x="788" y="6176"/>
                  </a:cubicBezTo>
                  <a:cubicBezTo>
                    <a:pt x="284" y="7184"/>
                    <a:pt x="1" y="8350"/>
                    <a:pt x="1" y="9484"/>
                  </a:cubicBezTo>
                  <a:cubicBezTo>
                    <a:pt x="1" y="10429"/>
                    <a:pt x="473" y="11280"/>
                    <a:pt x="1261" y="11847"/>
                  </a:cubicBezTo>
                  <a:lnTo>
                    <a:pt x="2395" y="12603"/>
                  </a:lnTo>
                  <a:cubicBezTo>
                    <a:pt x="2463" y="12645"/>
                    <a:pt x="2537" y="12665"/>
                    <a:pt x="2610" y="12665"/>
                  </a:cubicBezTo>
                  <a:cubicBezTo>
                    <a:pt x="2808" y="12665"/>
                    <a:pt x="2994" y="12518"/>
                    <a:pt x="2994" y="12288"/>
                  </a:cubicBezTo>
                  <a:lnTo>
                    <a:pt x="2994" y="10145"/>
                  </a:lnTo>
                  <a:cubicBezTo>
                    <a:pt x="3781" y="11248"/>
                    <a:pt x="5041" y="11878"/>
                    <a:pt x="6365" y="11878"/>
                  </a:cubicBezTo>
                  <a:cubicBezTo>
                    <a:pt x="7719" y="11878"/>
                    <a:pt x="8980" y="11248"/>
                    <a:pt x="9767" y="10145"/>
                  </a:cubicBezTo>
                  <a:lnTo>
                    <a:pt x="9767" y="12288"/>
                  </a:lnTo>
                  <a:cubicBezTo>
                    <a:pt x="9767" y="12521"/>
                    <a:pt x="9941" y="12651"/>
                    <a:pt x="10146" y="12651"/>
                  </a:cubicBezTo>
                  <a:cubicBezTo>
                    <a:pt x="10217" y="12651"/>
                    <a:pt x="10293" y="12635"/>
                    <a:pt x="10366" y="12603"/>
                  </a:cubicBezTo>
                  <a:lnTo>
                    <a:pt x="11500" y="11847"/>
                  </a:lnTo>
                  <a:cubicBezTo>
                    <a:pt x="12288" y="11343"/>
                    <a:pt x="12760" y="10429"/>
                    <a:pt x="12760" y="9484"/>
                  </a:cubicBezTo>
                  <a:cubicBezTo>
                    <a:pt x="12760" y="8350"/>
                    <a:pt x="12477" y="7184"/>
                    <a:pt x="11973" y="6176"/>
                  </a:cubicBezTo>
                  <a:cubicBezTo>
                    <a:pt x="11500" y="5262"/>
                    <a:pt x="11248" y="4159"/>
                    <a:pt x="11248" y="3151"/>
                  </a:cubicBezTo>
                  <a:lnTo>
                    <a:pt x="11248" y="347"/>
                  </a:lnTo>
                  <a:cubicBezTo>
                    <a:pt x="11248" y="158"/>
                    <a:pt x="11090" y="1"/>
                    <a:pt x="109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78"/>
          <p:cNvGrpSpPr/>
          <p:nvPr/>
        </p:nvGrpSpPr>
        <p:grpSpPr>
          <a:xfrm>
            <a:off x="4879652" y="3832071"/>
            <a:ext cx="319078" cy="361090"/>
            <a:chOff x="-54817600" y="2687750"/>
            <a:chExt cx="281200" cy="318225"/>
          </a:xfrm>
        </p:grpSpPr>
        <p:sp>
          <p:nvSpPr>
            <p:cNvPr id="10218" name="Google Shape;10218;p78"/>
            <p:cNvSpPr/>
            <p:nvPr/>
          </p:nvSpPr>
          <p:spPr>
            <a:xfrm>
              <a:off x="-54712850" y="2919525"/>
              <a:ext cx="73275" cy="28950"/>
            </a:xfrm>
            <a:custGeom>
              <a:avLst/>
              <a:gdLst/>
              <a:ahLst/>
              <a:cxnLst/>
              <a:rect l="l" t="t" r="r" b="b"/>
              <a:pathLst>
                <a:path w="2931" h="1158" extrusionOk="0">
                  <a:moveTo>
                    <a:pt x="414" y="0"/>
                  </a:moveTo>
                  <a:cubicBezTo>
                    <a:pt x="316" y="0"/>
                    <a:pt x="222" y="39"/>
                    <a:pt x="159" y="118"/>
                  </a:cubicBezTo>
                  <a:cubicBezTo>
                    <a:pt x="1" y="276"/>
                    <a:pt x="1" y="496"/>
                    <a:pt x="159" y="622"/>
                  </a:cubicBezTo>
                  <a:cubicBezTo>
                    <a:pt x="537" y="969"/>
                    <a:pt x="1009" y="1158"/>
                    <a:pt x="1482" y="1158"/>
                  </a:cubicBezTo>
                  <a:cubicBezTo>
                    <a:pt x="1986" y="1158"/>
                    <a:pt x="2458" y="969"/>
                    <a:pt x="2773" y="622"/>
                  </a:cubicBezTo>
                  <a:cubicBezTo>
                    <a:pt x="2931" y="465"/>
                    <a:pt x="2931" y="213"/>
                    <a:pt x="2773" y="118"/>
                  </a:cubicBezTo>
                  <a:cubicBezTo>
                    <a:pt x="2695" y="39"/>
                    <a:pt x="2592" y="0"/>
                    <a:pt x="2498" y="0"/>
                  </a:cubicBezTo>
                  <a:cubicBezTo>
                    <a:pt x="2403" y="0"/>
                    <a:pt x="2317" y="39"/>
                    <a:pt x="2269" y="118"/>
                  </a:cubicBezTo>
                  <a:cubicBezTo>
                    <a:pt x="2049" y="307"/>
                    <a:pt x="1734" y="433"/>
                    <a:pt x="1482" y="433"/>
                  </a:cubicBezTo>
                  <a:cubicBezTo>
                    <a:pt x="1167" y="433"/>
                    <a:pt x="883" y="307"/>
                    <a:pt x="694" y="118"/>
                  </a:cubicBezTo>
                  <a:cubicBezTo>
                    <a:pt x="615" y="39"/>
                    <a:pt x="513" y="0"/>
                    <a:pt x="4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78"/>
            <p:cNvSpPr/>
            <p:nvPr/>
          </p:nvSpPr>
          <p:spPr>
            <a:xfrm>
              <a:off x="-54722300" y="28563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0" name="Google Shape;10220;p78"/>
            <p:cNvSpPr/>
            <p:nvPr/>
          </p:nvSpPr>
          <p:spPr>
            <a:xfrm>
              <a:off x="-54647475" y="28563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1" name="Google Shape;10221;p78"/>
            <p:cNvSpPr/>
            <p:nvPr/>
          </p:nvSpPr>
          <p:spPr>
            <a:xfrm>
              <a:off x="-54817600" y="2687750"/>
              <a:ext cx="281200" cy="318225"/>
            </a:xfrm>
            <a:custGeom>
              <a:avLst/>
              <a:gdLst/>
              <a:ahLst/>
              <a:cxnLst/>
              <a:rect l="l" t="t" r="r" b="b"/>
              <a:pathLst>
                <a:path w="11248" h="12729" extrusionOk="0">
                  <a:moveTo>
                    <a:pt x="5231" y="757"/>
                  </a:moveTo>
                  <a:lnTo>
                    <a:pt x="5231" y="4380"/>
                  </a:lnTo>
                  <a:lnTo>
                    <a:pt x="3782" y="4380"/>
                  </a:lnTo>
                  <a:cubicBezTo>
                    <a:pt x="3817" y="3414"/>
                    <a:pt x="4006" y="2482"/>
                    <a:pt x="4349" y="1765"/>
                  </a:cubicBezTo>
                  <a:cubicBezTo>
                    <a:pt x="4601" y="1261"/>
                    <a:pt x="4916" y="914"/>
                    <a:pt x="5231" y="757"/>
                  </a:cubicBezTo>
                  <a:close/>
                  <a:moveTo>
                    <a:pt x="3970" y="1072"/>
                  </a:moveTo>
                  <a:lnTo>
                    <a:pt x="3970" y="1072"/>
                  </a:lnTo>
                  <a:cubicBezTo>
                    <a:pt x="3876" y="1198"/>
                    <a:pt x="3813" y="1355"/>
                    <a:pt x="3718" y="1450"/>
                  </a:cubicBezTo>
                  <a:cubicBezTo>
                    <a:pt x="3340" y="2238"/>
                    <a:pt x="3088" y="3309"/>
                    <a:pt x="3057" y="4411"/>
                  </a:cubicBezTo>
                  <a:lnTo>
                    <a:pt x="1576" y="4411"/>
                  </a:lnTo>
                  <a:cubicBezTo>
                    <a:pt x="1671" y="2931"/>
                    <a:pt x="2616" y="1670"/>
                    <a:pt x="3970" y="1072"/>
                  </a:cubicBezTo>
                  <a:close/>
                  <a:moveTo>
                    <a:pt x="7310" y="1072"/>
                  </a:moveTo>
                  <a:cubicBezTo>
                    <a:pt x="8665" y="1670"/>
                    <a:pt x="9610" y="2931"/>
                    <a:pt x="9704" y="4411"/>
                  </a:cubicBezTo>
                  <a:lnTo>
                    <a:pt x="8224" y="4411"/>
                  </a:lnTo>
                  <a:cubicBezTo>
                    <a:pt x="8192" y="3309"/>
                    <a:pt x="7940" y="2238"/>
                    <a:pt x="7562" y="1450"/>
                  </a:cubicBezTo>
                  <a:cubicBezTo>
                    <a:pt x="7467" y="1292"/>
                    <a:pt x="7404" y="1198"/>
                    <a:pt x="7310" y="1072"/>
                  </a:cubicBezTo>
                  <a:close/>
                  <a:moveTo>
                    <a:pt x="6018" y="788"/>
                  </a:moveTo>
                  <a:cubicBezTo>
                    <a:pt x="6333" y="946"/>
                    <a:pt x="6648" y="1292"/>
                    <a:pt x="6869" y="1828"/>
                  </a:cubicBezTo>
                  <a:cubicBezTo>
                    <a:pt x="7247" y="2521"/>
                    <a:pt x="7436" y="3435"/>
                    <a:pt x="7467" y="4443"/>
                  </a:cubicBezTo>
                  <a:lnTo>
                    <a:pt x="5987" y="4443"/>
                  </a:lnTo>
                  <a:lnTo>
                    <a:pt x="5987" y="788"/>
                  </a:lnTo>
                  <a:close/>
                  <a:moveTo>
                    <a:pt x="1513" y="6711"/>
                  </a:moveTo>
                  <a:lnTo>
                    <a:pt x="1513" y="8192"/>
                  </a:lnTo>
                  <a:cubicBezTo>
                    <a:pt x="1135" y="8192"/>
                    <a:pt x="788" y="7877"/>
                    <a:pt x="788" y="7436"/>
                  </a:cubicBezTo>
                  <a:cubicBezTo>
                    <a:pt x="788" y="7058"/>
                    <a:pt x="1103" y="6711"/>
                    <a:pt x="1513" y="6711"/>
                  </a:cubicBezTo>
                  <a:close/>
                  <a:moveTo>
                    <a:pt x="9767" y="6711"/>
                  </a:moveTo>
                  <a:cubicBezTo>
                    <a:pt x="10145" y="6711"/>
                    <a:pt x="10492" y="7058"/>
                    <a:pt x="10492" y="7436"/>
                  </a:cubicBezTo>
                  <a:cubicBezTo>
                    <a:pt x="10492" y="7877"/>
                    <a:pt x="10145" y="8192"/>
                    <a:pt x="9767" y="8192"/>
                  </a:cubicBezTo>
                  <a:lnTo>
                    <a:pt x="9767" y="6711"/>
                  </a:lnTo>
                  <a:close/>
                  <a:moveTo>
                    <a:pt x="9043" y="5168"/>
                  </a:moveTo>
                  <a:lnTo>
                    <a:pt x="9043" y="8602"/>
                  </a:lnTo>
                  <a:cubicBezTo>
                    <a:pt x="9011" y="10429"/>
                    <a:pt x="7499" y="11941"/>
                    <a:pt x="5672" y="11941"/>
                  </a:cubicBezTo>
                  <a:cubicBezTo>
                    <a:pt x="3813" y="11941"/>
                    <a:pt x="2301" y="10429"/>
                    <a:pt x="2301" y="8602"/>
                  </a:cubicBezTo>
                  <a:lnTo>
                    <a:pt x="2301" y="5168"/>
                  </a:lnTo>
                  <a:close/>
                  <a:moveTo>
                    <a:pt x="5609" y="1"/>
                  </a:moveTo>
                  <a:cubicBezTo>
                    <a:pt x="2931" y="1"/>
                    <a:pt x="788" y="2175"/>
                    <a:pt x="788" y="4852"/>
                  </a:cubicBezTo>
                  <a:cubicBezTo>
                    <a:pt x="788" y="5041"/>
                    <a:pt x="946" y="5199"/>
                    <a:pt x="1135" y="5199"/>
                  </a:cubicBezTo>
                  <a:lnTo>
                    <a:pt x="1482" y="5199"/>
                  </a:lnTo>
                  <a:lnTo>
                    <a:pt x="1482" y="5987"/>
                  </a:lnTo>
                  <a:cubicBezTo>
                    <a:pt x="662" y="5987"/>
                    <a:pt x="1" y="6648"/>
                    <a:pt x="1" y="7499"/>
                  </a:cubicBezTo>
                  <a:cubicBezTo>
                    <a:pt x="1" y="8318"/>
                    <a:pt x="662" y="8980"/>
                    <a:pt x="1482" y="8980"/>
                  </a:cubicBezTo>
                  <a:cubicBezTo>
                    <a:pt x="1671" y="11059"/>
                    <a:pt x="3466" y="12729"/>
                    <a:pt x="5577" y="12729"/>
                  </a:cubicBezTo>
                  <a:cubicBezTo>
                    <a:pt x="7720" y="12729"/>
                    <a:pt x="9484" y="11059"/>
                    <a:pt x="9673" y="8980"/>
                  </a:cubicBezTo>
                  <a:cubicBezTo>
                    <a:pt x="10492" y="8980"/>
                    <a:pt x="11185" y="8318"/>
                    <a:pt x="11185" y="7499"/>
                  </a:cubicBezTo>
                  <a:cubicBezTo>
                    <a:pt x="11248" y="6648"/>
                    <a:pt x="10586" y="5987"/>
                    <a:pt x="9767" y="5987"/>
                  </a:cubicBezTo>
                  <a:lnTo>
                    <a:pt x="9767" y="5199"/>
                  </a:lnTo>
                  <a:lnTo>
                    <a:pt x="10114" y="5199"/>
                  </a:lnTo>
                  <a:cubicBezTo>
                    <a:pt x="10303" y="5199"/>
                    <a:pt x="10460" y="5041"/>
                    <a:pt x="10460" y="4852"/>
                  </a:cubicBezTo>
                  <a:cubicBezTo>
                    <a:pt x="10460" y="2175"/>
                    <a:pt x="8287" y="1"/>
                    <a:pt x="5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2" name="Google Shape;10222;p78"/>
          <p:cNvGrpSpPr/>
          <p:nvPr/>
        </p:nvGrpSpPr>
        <p:grpSpPr>
          <a:xfrm>
            <a:off x="7110476" y="2911936"/>
            <a:ext cx="317290" cy="359303"/>
            <a:chOff x="-52887125" y="1903275"/>
            <a:chExt cx="279625" cy="316650"/>
          </a:xfrm>
        </p:grpSpPr>
        <p:sp>
          <p:nvSpPr>
            <p:cNvPr id="10223" name="Google Shape;10223;p78"/>
            <p:cNvSpPr/>
            <p:nvPr/>
          </p:nvSpPr>
          <p:spPr>
            <a:xfrm>
              <a:off x="-52783950" y="2135825"/>
              <a:ext cx="73275" cy="28975"/>
            </a:xfrm>
            <a:custGeom>
              <a:avLst/>
              <a:gdLst/>
              <a:ahLst/>
              <a:cxnLst/>
              <a:rect l="l" t="t" r="r" b="b"/>
              <a:pathLst>
                <a:path w="2931" h="1159" extrusionOk="0">
                  <a:moveTo>
                    <a:pt x="398" y="1"/>
                  </a:moveTo>
                  <a:cubicBezTo>
                    <a:pt x="308" y="1"/>
                    <a:pt x="221" y="40"/>
                    <a:pt x="158" y="119"/>
                  </a:cubicBezTo>
                  <a:cubicBezTo>
                    <a:pt x="1" y="276"/>
                    <a:pt x="1" y="497"/>
                    <a:pt x="158" y="623"/>
                  </a:cubicBezTo>
                  <a:cubicBezTo>
                    <a:pt x="505" y="970"/>
                    <a:pt x="977" y="1159"/>
                    <a:pt x="1450" y="1159"/>
                  </a:cubicBezTo>
                  <a:cubicBezTo>
                    <a:pt x="1922" y="1159"/>
                    <a:pt x="2458" y="970"/>
                    <a:pt x="2773" y="623"/>
                  </a:cubicBezTo>
                  <a:cubicBezTo>
                    <a:pt x="2931" y="465"/>
                    <a:pt x="2931" y="213"/>
                    <a:pt x="2773" y="119"/>
                  </a:cubicBezTo>
                  <a:cubicBezTo>
                    <a:pt x="2694" y="40"/>
                    <a:pt x="2592" y="1"/>
                    <a:pt x="2493" y="1"/>
                  </a:cubicBezTo>
                  <a:cubicBezTo>
                    <a:pt x="2395" y="1"/>
                    <a:pt x="2300" y="40"/>
                    <a:pt x="2237" y="119"/>
                  </a:cubicBezTo>
                  <a:cubicBezTo>
                    <a:pt x="2048" y="308"/>
                    <a:pt x="1733" y="434"/>
                    <a:pt x="1450" y="434"/>
                  </a:cubicBezTo>
                  <a:cubicBezTo>
                    <a:pt x="1198" y="434"/>
                    <a:pt x="883" y="308"/>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4" name="Google Shape;10224;p78"/>
            <p:cNvSpPr/>
            <p:nvPr/>
          </p:nvSpPr>
          <p:spPr>
            <a:xfrm>
              <a:off x="-52887125" y="1903275"/>
              <a:ext cx="279625" cy="316650"/>
            </a:xfrm>
            <a:custGeom>
              <a:avLst/>
              <a:gdLst/>
              <a:ahLst/>
              <a:cxnLst/>
              <a:rect l="l" t="t" r="r" b="b"/>
              <a:pathLst>
                <a:path w="11185" h="12666" extrusionOk="0">
                  <a:moveTo>
                    <a:pt x="5545" y="2238"/>
                  </a:moveTo>
                  <a:cubicBezTo>
                    <a:pt x="5986" y="2238"/>
                    <a:pt x="6427" y="2332"/>
                    <a:pt x="6806" y="2490"/>
                  </a:cubicBezTo>
                  <a:cubicBezTo>
                    <a:pt x="6049" y="3687"/>
                    <a:pt x="4726" y="4443"/>
                    <a:pt x="3308" y="4443"/>
                  </a:cubicBezTo>
                  <a:lnTo>
                    <a:pt x="2407" y="4443"/>
                  </a:lnTo>
                  <a:cubicBezTo>
                    <a:pt x="2887" y="3168"/>
                    <a:pt x="4108" y="2238"/>
                    <a:pt x="5545" y="2238"/>
                  </a:cubicBezTo>
                  <a:close/>
                  <a:moveTo>
                    <a:pt x="5577" y="757"/>
                  </a:moveTo>
                  <a:cubicBezTo>
                    <a:pt x="7877" y="757"/>
                    <a:pt x="9799" y="2364"/>
                    <a:pt x="10303" y="4475"/>
                  </a:cubicBezTo>
                  <a:cubicBezTo>
                    <a:pt x="10240" y="4475"/>
                    <a:pt x="10145" y="4443"/>
                    <a:pt x="10082" y="4443"/>
                  </a:cubicBezTo>
                  <a:cubicBezTo>
                    <a:pt x="9893" y="4443"/>
                    <a:pt x="9736" y="4475"/>
                    <a:pt x="9578" y="4569"/>
                  </a:cubicBezTo>
                  <a:cubicBezTo>
                    <a:pt x="9137" y="2742"/>
                    <a:pt x="7467" y="1450"/>
                    <a:pt x="5577" y="1450"/>
                  </a:cubicBezTo>
                  <a:cubicBezTo>
                    <a:pt x="3655" y="1450"/>
                    <a:pt x="2048" y="2805"/>
                    <a:pt x="1607" y="4569"/>
                  </a:cubicBezTo>
                  <a:cubicBezTo>
                    <a:pt x="1450" y="4475"/>
                    <a:pt x="1292" y="4443"/>
                    <a:pt x="1103" y="4443"/>
                  </a:cubicBezTo>
                  <a:cubicBezTo>
                    <a:pt x="1009" y="4443"/>
                    <a:pt x="946" y="4443"/>
                    <a:pt x="851" y="4475"/>
                  </a:cubicBezTo>
                  <a:cubicBezTo>
                    <a:pt x="1324" y="2364"/>
                    <a:pt x="3277" y="757"/>
                    <a:pt x="5577" y="757"/>
                  </a:cubicBezTo>
                  <a:close/>
                  <a:moveTo>
                    <a:pt x="7530" y="2868"/>
                  </a:moveTo>
                  <a:cubicBezTo>
                    <a:pt x="8381" y="3466"/>
                    <a:pt x="8948" y="4475"/>
                    <a:pt x="8948" y="5640"/>
                  </a:cubicBezTo>
                  <a:lnTo>
                    <a:pt x="8948" y="6050"/>
                  </a:lnTo>
                  <a:lnTo>
                    <a:pt x="2206" y="6050"/>
                  </a:lnTo>
                  <a:lnTo>
                    <a:pt x="2206" y="6018"/>
                  </a:lnTo>
                  <a:lnTo>
                    <a:pt x="2206" y="5577"/>
                  </a:lnTo>
                  <a:cubicBezTo>
                    <a:pt x="2206" y="5483"/>
                    <a:pt x="2206" y="5357"/>
                    <a:pt x="2237" y="5231"/>
                  </a:cubicBezTo>
                  <a:lnTo>
                    <a:pt x="3340" y="5231"/>
                  </a:lnTo>
                  <a:cubicBezTo>
                    <a:pt x="4285" y="5231"/>
                    <a:pt x="5167" y="4947"/>
                    <a:pt x="5955" y="4475"/>
                  </a:cubicBezTo>
                  <a:cubicBezTo>
                    <a:pt x="6585" y="4097"/>
                    <a:pt x="7121" y="3529"/>
                    <a:pt x="7530" y="2868"/>
                  </a:cubicBezTo>
                  <a:close/>
                  <a:moveTo>
                    <a:pt x="10082" y="5231"/>
                  </a:moveTo>
                  <a:cubicBezTo>
                    <a:pt x="10271" y="5231"/>
                    <a:pt x="10429" y="5388"/>
                    <a:pt x="10429" y="5577"/>
                  </a:cubicBezTo>
                  <a:lnTo>
                    <a:pt x="10429" y="7877"/>
                  </a:lnTo>
                  <a:cubicBezTo>
                    <a:pt x="10429" y="8066"/>
                    <a:pt x="10271" y="8224"/>
                    <a:pt x="10082" y="8224"/>
                  </a:cubicBezTo>
                  <a:cubicBezTo>
                    <a:pt x="9893" y="8224"/>
                    <a:pt x="9736" y="8066"/>
                    <a:pt x="9736" y="7877"/>
                  </a:cubicBezTo>
                  <a:lnTo>
                    <a:pt x="9736" y="5577"/>
                  </a:lnTo>
                  <a:cubicBezTo>
                    <a:pt x="9736" y="5388"/>
                    <a:pt x="9893" y="5231"/>
                    <a:pt x="10082" y="5231"/>
                  </a:cubicBezTo>
                  <a:close/>
                  <a:moveTo>
                    <a:pt x="1103" y="5262"/>
                  </a:moveTo>
                  <a:cubicBezTo>
                    <a:pt x="1292" y="5262"/>
                    <a:pt x="1450" y="5420"/>
                    <a:pt x="1450" y="5640"/>
                  </a:cubicBezTo>
                  <a:lnTo>
                    <a:pt x="1450" y="7909"/>
                  </a:lnTo>
                  <a:cubicBezTo>
                    <a:pt x="1450" y="8066"/>
                    <a:pt x="1292" y="8255"/>
                    <a:pt x="1103" y="8255"/>
                  </a:cubicBezTo>
                  <a:cubicBezTo>
                    <a:pt x="914" y="8255"/>
                    <a:pt x="757" y="8098"/>
                    <a:pt x="757" y="7909"/>
                  </a:cubicBezTo>
                  <a:lnTo>
                    <a:pt x="757" y="5640"/>
                  </a:lnTo>
                  <a:cubicBezTo>
                    <a:pt x="757" y="5420"/>
                    <a:pt x="914" y="5262"/>
                    <a:pt x="1103" y="5262"/>
                  </a:cubicBezTo>
                  <a:close/>
                  <a:moveTo>
                    <a:pt x="5199" y="6774"/>
                  </a:moveTo>
                  <a:cubicBezTo>
                    <a:pt x="5199" y="7594"/>
                    <a:pt x="4537" y="8255"/>
                    <a:pt x="3687" y="8255"/>
                  </a:cubicBezTo>
                  <a:cubicBezTo>
                    <a:pt x="2867" y="8255"/>
                    <a:pt x="2206" y="7594"/>
                    <a:pt x="2206" y="6774"/>
                  </a:cubicBezTo>
                  <a:close/>
                  <a:moveTo>
                    <a:pt x="8948" y="6774"/>
                  </a:moveTo>
                  <a:cubicBezTo>
                    <a:pt x="8948" y="7594"/>
                    <a:pt x="8255" y="8255"/>
                    <a:pt x="7436" y="8255"/>
                  </a:cubicBezTo>
                  <a:cubicBezTo>
                    <a:pt x="6617" y="8255"/>
                    <a:pt x="5955" y="7594"/>
                    <a:pt x="5955" y="6774"/>
                  </a:cubicBezTo>
                  <a:close/>
                  <a:moveTo>
                    <a:pt x="5545" y="8035"/>
                  </a:moveTo>
                  <a:cubicBezTo>
                    <a:pt x="5955" y="8633"/>
                    <a:pt x="6648" y="9011"/>
                    <a:pt x="7404" y="9011"/>
                  </a:cubicBezTo>
                  <a:cubicBezTo>
                    <a:pt x="8003" y="9011"/>
                    <a:pt x="8507" y="8822"/>
                    <a:pt x="8885" y="8413"/>
                  </a:cubicBezTo>
                  <a:lnTo>
                    <a:pt x="8885" y="8476"/>
                  </a:lnTo>
                  <a:cubicBezTo>
                    <a:pt x="8948" y="10272"/>
                    <a:pt x="7593" y="11815"/>
                    <a:pt x="5892" y="11973"/>
                  </a:cubicBezTo>
                  <a:cubicBezTo>
                    <a:pt x="5782" y="11983"/>
                    <a:pt x="5673" y="11988"/>
                    <a:pt x="5565" y="11988"/>
                  </a:cubicBezTo>
                  <a:cubicBezTo>
                    <a:pt x="3672" y="11988"/>
                    <a:pt x="2206" y="10452"/>
                    <a:pt x="2206" y="8633"/>
                  </a:cubicBezTo>
                  <a:lnTo>
                    <a:pt x="2206" y="8413"/>
                  </a:lnTo>
                  <a:cubicBezTo>
                    <a:pt x="2584" y="8791"/>
                    <a:pt x="3119" y="9011"/>
                    <a:pt x="3687" y="9011"/>
                  </a:cubicBezTo>
                  <a:cubicBezTo>
                    <a:pt x="4474" y="9011"/>
                    <a:pt x="5167" y="8633"/>
                    <a:pt x="5545" y="8035"/>
                  </a:cubicBezTo>
                  <a:close/>
                  <a:moveTo>
                    <a:pt x="5577" y="1"/>
                  </a:moveTo>
                  <a:cubicBezTo>
                    <a:pt x="2489" y="1"/>
                    <a:pt x="0" y="2521"/>
                    <a:pt x="0" y="5577"/>
                  </a:cubicBezTo>
                  <a:lnTo>
                    <a:pt x="0" y="7877"/>
                  </a:lnTo>
                  <a:cubicBezTo>
                    <a:pt x="0" y="8507"/>
                    <a:pt x="505" y="8980"/>
                    <a:pt x="1103" y="8980"/>
                  </a:cubicBezTo>
                  <a:cubicBezTo>
                    <a:pt x="1229" y="8980"/>
                    <a:pt x="1387" y="8948"/>
                    <a:pt x="1481" y="8885"/>
                  </a:cubicBezTo>
                  <a:cubicBezTo>
                    <a:pt x="1639" y="10996"/>
                    <a:pt x="3372" y="12666"/>
                    <a:pt x="5577" y="12666"/>
                  </a:cubicBezTo>
                  <a:lnTo>
                    <a:pt x="5986" y="12666"/>
                  </a:lnTo>
                  <a:cubicBezTo>
                    <a:pt x="7940" y="12477"/>
                    <a:pt x="9452" y="10870"/>
                    <a:pt x="9641" y="8885"/>
                  </a:cubicBezTo>
                  <a:cubicBezTo>
                    <a:pt x="9767" y="8948"/>
                    <a:pt x="9925" y="8980"/>
                    <a:pt x="10051" y="8980"/>
                  </a:cubicBezTo>
                  <a:cubicBezTo>
                    <a:pt x="10681" y="8980"/>
                    <a:pt x="11153" y="8476"/>
                    <a:pt x="11153" y="7877"/>
                  </a:cubicBezTo>
                  <a:lnTo>
                    <a:pt x="11153" y="5577"/>
                  </a:lnTo>
                  <a:cubicBezTo>
                    <a:pt x="11185" y="2521"/>
                    <a:pt x="8664"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5" name="Google Shape;10225;p78"/>
          <p:cNvGrpSpPr/>
          <p:nvPr/>
        </p:nvGrpSpPr>
        <p:grpSpPr>
          <a:xfrm>
            <a:off x="7089030" y="3362733"/>
            <a:ext cx="360182" cy="361969"/>
            <a:chOff x="-52906025" y="2293950"/>
            <a:chExt cx="317425" cy="319000"/>
          </a:xfrm>
        </p:grpSpPr>
        <p:sp>
          <p:nvSpPr>
            <p:cNvPr id="10226" name="Google Shape;10226;p78"/>
            <p:cNvSpPr/>
            <p:nvPr/>
          </p:nvSpPr>
          <p:spPr>
            <a:xfrm>
              <a:off x="-52783950" y="2526500"/>
              <a:ext cx="73275" cy="29750"/>
            </a:xfrm>
            <a:custGeom>
              <a:avLst/>
              <a:gdLst/>
              <a:ahLst/>
              <a:cxnLst/>
              <a:rect l="l" t="t" r="r" b="b"/>
              <a:pathLst>
                <a:path w="2931" h="1190" extrusionOk="0">
                  <a:moveTo>
                    <a:pt x="398" y="0"/>
                  </a:moveTo>
                  <a:cubicBezTo>
                    <a:pt x="308" y="0"/>
                    <a:pt x="221" y="39"/>
                    <a:pt x="158" y="118"/>
                  </a:cubicBezTo>
                  <a:cubicBezTo>
                    <a:pt x="1" y="276"/>
                    <a:pt x="1" y="496"/>
                    <a:pt x="158" y="622"/>
                  </a:cubicBezTo>
                  <a:cubicBezTo>
                    <a:pt x="505" y="969"/>
                    <a:pt x="977" y="1189"/>
                    <a:pt x="1450" y="1189"/>
                  </a:cubicBezTo>
                  <a:cubicBezTo>
                    <a:pt x="1922" y="1189"/>
                    <a:pt x="2458" y="969"/>
                    <a:pt x="2773" y="622"/>
                  </a:cubicBezTo>
                  <a:cubicBezTo>
                    <a:pt x="2931" y="465"/>
                    <a:pt x="2931" y="244"/>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78"/>
            <p:cNvSpPr/>
            <p:nvPr/>
          </p:nvSpPr>
          <p:spPr>
            <a:xfrm>
              <a:off x="-52718575"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78"/>
            <p:cNvSpPr/>
            <p:nvPr/>
          </p:nvSpPr>
          <p:spPr>
            <a:xfrm>
              <a:off x="-52906025" y="2293950"/>
              <a:ext cx="317425" cy="319000"/>
            </a:xfrm>
            <a:custGeom>
              <a:avLst/>
              <a:gdLst/>
              <a:ahLst/>
              <a:cxnLst/>
              <a:rect l="l" t="t" r="r" b="b"/>
              <a:pathLst>
                <a:path w="12697" h="12760" extrusionOk="0">
                  <a:moveTo>
                    <a:pt x="6333" y="788"/>
                  </a:moveTo>
                  <a:cubicBezTo>
                    <a:pt x="7877" y="788"/>
                    <a:pt x="9231" y="1607"/>
                    <a:pt x="9609" y="2773"/>
                  </a:cubicBezTo>
                  <a:cubicBezTo>
                    <a:pt x="8633" y="2458"/>
                    <a:pt x="7530" y="2300"/>
                    <a:pt x="6333" y="2300"/>
                  </a:cubicBezTo>
                  <a:cubicBezTo>
                    <a:pt x="5167" y="2300"/>
                    <a:pt x="4064" y="2458"/>
                    <a:pt x="3088" y="2773"/>
                  </a:cubicBezTo>
                  <a:cubicBezTo>
                    <a:pt x="3434" y="1607"/>
                    <a:pt x="4758" y="788"/>
                    <a:pt x="6333" y="788"/>
                  </a:cubicBezTo>
                  <a:close/>
                  <a:moveTo>
                    <a:pt x="6301" y="3025"/>
                  </a:moveTo>
                  <a:cubicBezTo>
                    <a:pt x="9515" y="3025"/>
                    <a:pt x="11941" y="4285"/>
                    <a:pt x="11941" y="5640"/>
                  </a:cubicBezTo>
                  <a:cubicBezTo>
                    <a:pt x="11941" y="5986"/>
                    <a:pt x="11783" y="6270"/>
                    <a:pt x="11594" y="6553"/>
                  </a:cubicBezTo>
                  <a:cubicBezTo>
                    <a:pt x="11311" y="6238"/>
                    <a:pt x="10901" y="6018"/>
                    <a:pt x="10429" y="6018"/>
                  </a:cubicBezTo>
                  <a:lnTo>
                    <a:pt x="10429" y="5671"/>
                  </a:lnTo>
                  <a:cubicBezTo>
                    <a:pt x="10429" y="5514"/>
                    <a:pt x="10365" y="5388"/>
                    <a:pt x="10208" y="5325"/>
                  </a:cubicBezTo>
                  <a:cubicBezTo>
                    <a:pt x="10113" y="5262"/>
                    <a:pt x="8444" y="4537"/>
                    <a:pt x="6301" y="4537"/>
                  </a:cubicBezTo>
                  <a:cubicBezTo>
                    <a:pt x="4254" y="4537"/>
                    <a:pt x="2552" y="5230"/>
                    <a:pt x="2426" y="5325"/>
                  </a:cubicBezTo>
                  <a:cubicBezTo>
                    <a:pt x="2269" y="5356"/>
                    <a:pt x="2174" y="5514"/>
                    <a:pt x="2174" y="5671"/>
                  </a:cubicBezTo>
                  <a:lnTo>
                    <a:pt x="2174" y="6018"/>
                  </a:lnTo>
                  <a:cubicBezTo>
                    <a:pt x="1733" y="6018"/>
                    <a:pt x="1292" y="6238"/>
                    <a:pt x="1040" y="6553"/>
                  </a:cubicBezTo>
                  <a:cubicBezTo>
                    <a:pt x="851" y="6301"/>
                    <a:pt x="693" y="5986"/>
                    <a:pt x="693" y="5640"/>
                  </a:cubicBezTo>
                  <a:cubicBezTo>
                    <a:pt x="693" y="4285"/>
                    <a:pt x="3119" y="3025"/>
                    <a:pt x="6301" y="3025"/>
                  </a:cubicBezTo>
                  <a:close/>
                  <a:moveTo>
                    <a:pt x="6364" y="5230"/>
                  </a:moveTo>
                  <a:cubicBezTo>
                    <a:pt x="6585" y="5230"/>
                    <a:pt x="6805" y="5230"/>
                    <a:pt x="7026" y="5262"/>
                  </a:cubicBezTo>
                  <a:cubicBezTo>
                    <a:pt x="6270" y="6616"/>
                    <a:pt x="4821" y="7498"/>
                    <a:pt x="3245" y="7498"/>
                  </a:cubicBezTo>
                  <a:lnTo>
                    <a:pt x="2930" y="7498"/>
                  </a:lnTo>
                  <a:cubicBezTo>
                    <a:pt x="2962" y="7341"/>
                    <a:pt x="2962" y="6049"/>
                    <a:pt x="2962" y="5860"/>
                  </a:cubicBezTo>
                  <a:cubicBezTo>
                    <a:pt x="3466" y="5671"/>
                    <a:pt x="4821" y="5230"/>
                    <a:pt x="6364" y="5230"/>
                  </a:cubicBezTo>
                  <a:close/>
                  <a:moveTo>
                    <a:pt x="2206" y="6742"/>
                  </a:moveTo>
                  <a:lnTo>
                    <a:pt x="2206" y="8223"/>
                  </a:lnTo>
                  <a:cubicBezTo>
                    <a:pt x="1765" y="8223"/>
                    <a:pt x="1450" y="7908"/>
                    <a:pt x="1450" y="7498"/>
                  </a:cubicBezTo>
                  <a:cubicBezTo>
                    <a:pt x="1450" y="7089"/>
                    <a:pt x="1765" y="6742"/>
                    <a:pt x="2206" y="6742"/>
                  </a:cubicBezTo>
                  <a:close/>
                  <a:moveTo>
                    <a:pt x="10429" y="6742"/>
                  </a:moveTo>
                  <a:cubicBezTo>
                    <a:pt x="10838" y="6742"/>
                    <a:pt x="11185" y="7057"/>
                    <a:pt x="11185" y="7498"/>
                  </a:cubicBezTo>
                  <a:cubicBezTo>
                    <a:pt x="11185" y="7908"/>
                    <a:pt x="10870" y="8223"/>
                    <a:pt x="10429" y="8223"/>
                  </a:cubicBezTo>
                  <a:lnTo>
                    <a:pt x="10429" y="6742"/>
                  </a:lnTo>
                  <a:close/>
                  <a:moveTo>
                    <a:pt x="7845" y="5356"/>
                  </a:moveTo>
                  <a:cubicBezTo>
                    <a:pt x="8696" y="5514"/>
                    <a:pt x="9420" y="5766"/>
                    <a:pt x="9767" y="5860"/>
                  </a:cubicBezTo>
                  <a:lnTo>
                    <a:pt x="9767" y="8601"/>
                  </a:lnTo>
                  <a:cubicBezTo>
                    <a:pt x="9735" y="10491"/>
                    <a:pt x="8160" y="12004"/>
                    <a:pt x="6333" y="12004"/>
                  </a:cubicBezTo>
                  <a:cubicBezTo>
                    <a:pt x="4506" y="12004"/>
                    <a:pt x="2962" y="10428"/>
                    <a:pt x="2962" y="8601"/>
                  </a:cubicBezTo>
                  <a:lnTo>
                    <a:pt x="2962" y="8223"/>
                  </a:lnTo>
                  <a:lnTo>
                    <a:pt x="3277" y="8223"/>
                  </a:lnTo>
                  <a:cubicBezTo>
                    <a:pt x="5293" y="8223"/>
                    <a:pt x="7026" y="7057"/>
                    <a:pt x="7845" y="5356"/>
                  </a:cubicBezTo>
                  <a:close/>
                  <a:moveTo>
                    <a:pt x="6364" y="0"/>
                  </a:moveTo>
                  <a:cubicBezTo>
                    <a:pt x="4254" y="0"/>
                    <a:pt x="2458" y="1292"/>
                    <a:pt x="2269" y="3025"/>
                  </a:cubicBezTo>
                  <a:cubicBezTo>
                    <a:pt x="1103" y="3560"/>
                    <a:pt x="0" y="4379"/>
                    <a:pt x="0" y="5640"/>
                  </a:cubicBezTo>
                  <a:cubicBezTo>
                    <a:pt x="0" y="6238"/>
                    <a:pt x="284" y="6774"/>
                    <a:pt x="756" y="7246"/>
                  </a:cubicBezTo>
                  <a:cubicBezTo>
                    <a:pt x="599" y="8160"/>
                    <a:pt x="1292" y="8979"/>
                    <a:pt x="2206" y="8979"/>
                  </a:cubicBezTo>
                  <a:cubicBezTo>
                    <a:pt x="2426" y="11059"/>
                    <a:pt x="4191" y="12760"/>
                    <a:pt x="6301" y="12760"/>
                  </a:cubicBezTo>
                  <a:cubicBezTo>
                    <a:pt x="8475" y="12760"/>
                    <a:pt x="10239" y="11059"/>
                    <a:pt x="10397" y="8979"/>
                  </a:cubicBezTo>
                  <a:cubicBezTo>
                    <a:pt x="11216" y="8979"/>
                    <a:pt x="11909" y="8318"/>
                    <a:pt x="11909" y="7498"/>
                  </a:cubicBezTo>
                  <a:lnTo>
                    <a:pt x="11909" y="7246"/>
                  </a:lnTo>
                  <a:cubicBezTo>
                    <a:pt x="12445" y="6774"/>
                    <a:pt x="12697" y="6238"/>
                    <a:pt x="12697" y="5640"/>
                  </a:cubicBezTo>
                  <a:cubicBezTo>
                    <a:pt x="12697" y="4411"/>
                    <a:pt x="11531" y="3529"/>
                    <a:pt x="10429" y="3025"/>
                  </a:cubicBezTo>
                  <a:cubicBezTo>
                    <a:pt x="10239" y="1292"/>
                    <a:pt x="844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9" name="Google Shape;10229;p78"/>
          <p:cNvGrpSpPr/>
          <p:nvPr/>
        </p:nvGrpSpPr>
        <p:grpSpPr>
          <a:xfrm>
            <a:off x="7110476" y="3831192"/>
            <a:ext cx="317290" cy="361090"/>
            <a:chOff x="-52887125" y="2686975"/>
            <a:chExt cx="279625" cy="318225"/>
          </a:xfrm>
        </p:grpSpPr>
        <p:sp>
          <p:nvSpPr>
            <p:cNvPr id="10230" name="Google Shape;10230;p78"/>
            <p:cNvSpPr/>
            <p:nvPr/>
          </p:nvSpPr>
          <p:spPr>
            <a:xfrm>
              <a:off x="-52783950" y="2919525"/>
              <a:ext cx="73275" cy="28950"/>
            </a:xfrm>
            <a:custGeom>
              <a:avLst/>
              <a:gdLst/>
              <a:ahLst/>
              <a:cxnLst/>
              <a:rect l="l" t="t" r="r" b="b"/>
              <a:pathLst>
                <a:path w="2931" h="1158" extrusionOk="0">
                  <a:moveTo>
                    <a:pt x="398" y="0"/>
                  </a:moveTo>
                  <a:cubicBezTo>
                    <a:pt x="308" y="0"/>
                    <a:pt x="221" y="39"/>
                    <a:pt x="158" y="118"/>
                  </a:cubicBezTo>
                  <a:cubicBezTo>
                    <a:pt x="1" y="276"/>
                    <a:pt x="1" y="496"/>
                    <a:pt x="158" y="622"/>
                  </a:cubicBezTo>
                  <a:cubicBezTo>
                    <a:pt x="505" y="969"/>
                    <a:pt x="977" y="1158"/>
                    <a:pt x="1450" y="1158"/>
                  </a:cubicBezTo>
                  <a:cubicBezTo>
                    <a:pt x="1922" y="1158"/>
                    <a:pt x="2458" y="969"/>
                    <a:pt x="2773" y="622"/>
                  </a:cubicBezTo>
                  <a:cubicBezTo>
                    <a:pt x="2931" y="465"/>
                    <a:pt x="2931" y="213"/>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1" name="Google Shape;10231;p78"/>
            <p:cNvSpPr/>
            <p:nvPr/>
          </p:nvSpPr>
          <p:spPr>
            <a:xfrm>
              <a:off x="-52793400"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2" name="Google Shape;10232;p78"/>
            <p:cNvSpPr/>
            <p:nvPr/>
          </p:nvSpPr>
          <p:spPr>
            <a:xfrm>
              <a:off x="-5271857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78"/>
            <p:cNvSpPr/>
            <p:nvPr/>
          </p:nvSpPr>
          <p:spPr>
            <a:xfrm>
              <a:off x="-52887125" y="2686975"/>
              <a:ext cx="279625" cy="318225"/>
            </a:xfrm>
            <a:custGeom>
              <a:avLst/>
              <a:gdLst/>
              <a:ahLst/>
              <a:cxnLst/>
              <a:rect l="l" t="t" r="r" b="b"/>
              <a:pathLst>
                <a:path w="11185" h="12729" extrusionOk="0">
                  <a:moveTo>
                    <a:pt x="5577" y="756"/>
                  </a:moveTo>
                  <a:cubicBezTo>
                    <a:pt x="7404" y="756"/>
                    <a:pt x="8885" y="2206"/>
                    <a:pt x="8948" y="3970"/>
                  </a:cubicBezTo>
                  <a:cubicBezTo>
                    <a:pt x="8192" y="2899"/>
                    <a:pt x="6963" y="2206"/>
                    <a:pt x="5577" y="2206"/>
                  </a:cubicBezTo>
                  <a:cubicBezTo>
                    <a:pt x="4222" y="2206"/>
                    <a:pt x="2993" y="2899"/>
                    <a:pt x="2237" y="3970"/>
                  </a:cubicBezTo>
                  <a:cubicBezTo>
                    <a:pt x="2269" y="2174"/>
                    <a:pt x="3781" y="756"/>
                    <a:pt x="5577" y="756"/>
                  </a:cubicBezTo>
                  <a:close/>
                  <a:moveTo>
                    <a:pt x="5604" y="2993"/>
                  </a:moveTo>
                  <a:cubicBezTo>
                    <a:pt x="7435" y="2993"/>
                    <a:pt x="8886" y="4462"/>
                    <a:pt x="8948" y="6270"/>
                  </a:cubicBezTo>
                  <a:cubicBezTo>
                    <a:pt x="8696" y="5860"/>
                    <a:pt x="8412" y="5514"/>
                    <a:pt x="8066" y="5199"/>
                  </a:cubicBezTo>
                  <a:cubicBezTo>
                    <a:pt x="7089" y="4253"/>
                    <a:pt x="5797" y="3749"/>
                    <a:pt x="4443" y="3749"/>
                  </a:cubicBezTo>
                  <a:cubicBezTo>
                    <a:pt x="4065" y="3749"/>
                    <a:pt x="3687" y="3781"/>
                    <a:pt x="3308" y="3844"/>
                  </a:cubicBezTo>
                  <a:cubicBezTo>
                    <a:pt x="3907" y="3308"/>
                    <a:pt x="4695" y="2993"/>
                    <a:pt x="5545" y="2993"/>
                  </a:cubicBezTo>
                  <a:cubicBezTo>
                    <a:pt x="5565" y="2993"/>
                    <a:pt x="5584" y="2993"/>
                    <a:pt x="5604" y="2993"/>
                  </a:cubicBezTo>
                  <a:close/>
                  <a:moveTo>
                    <a:pt x="1450" y="6742"/>
                  </a:moveTo>
                  <a:lnTo>
                    <a:pt x="1450" y="8223"/>
                  </a:lnTo>
                  <a:cubicBezTo>
                    <a:pt x="1072" y="8223"/>
                    <a:pt x="694" y="7876"/>
                    <a:pt x="694" y="7467"/>
                  </a:cubicBezTo>
                  <a:cubicBezTo>
                    <a:pt x="694" y="7089"/>
                    <a:pt x="1072" y="6742"/>
                    <a:pt x="1450" y="6742"/>
                  </a:cubicBezTo>
                  <a:close/>
                  <a:moveTo>
                    <a:pt x="9673" y="6742"/>
                  </a:moveTo>
                  <a:cubicBezTo>
                    <a:pt x="10082" y="6742"/>
                    <a:pt x="10429" y="7057"/>
                    <a:pt x="10429" y="7467"/>
                  </a:cubicBezTo>
                  <a:cubicBezTo>
                    <a:pt x="10429" y="7876"/>
                    <a:pt x="10082" y="8223"/>
                    <a:pt x="9673" y="8223"/>
                  </a:cubicBezTo>
                  <a:lnTo>
                    <a:pt x="9673" y="6742"/>
                  </a:lnTo>
                  <a:close/>
                  <a:moveTo>
                    <a:pt x="4443" y="4442"/>
                  </a:moveTo>
                  <a:cubicBezTo>
                    <a:pt x="6837" y="4442"/>
                    <a:pt x="8822" y="6333"/>
                    <a:pt x="8948" y="8727"/>
                  </a:cubicBezTo>
                  <a:cubicBezTo>
                    <a:pt x="8822" y="10554"/>
                    <a:pt x="7373" y="11972"/>
                    <a:pt x="5577" y="11972"/>
                  </a:cubicBezTo>
                  <a:cubicBezTo>
                    <a:pt x="3750" y="11972"/>
                    <a:pt x="2237" y="10428"/>
                    <a:pt x="2237" y="8570"/>
                  </a:cubicBezTo>
                  <a:lnTo>
                    <a:pt x="2237" y="6333"/>
                  </a:lnTo>
                  <a:cubicBezTo>
                    <a:pt x="2237" y="5829"/>
                    <a:pt x="2363" y="5325"/>
                    <a:pt x="2552" y="4883"/>
                  </a:cubicBezTo>
                  <a:cubicBezTo>
                    <a:pt x="3151" y="4600"/>
                    <a:pt x="3781" y="4442"/>
                    <a:pt x="4443" y="4442"/>
                  </a:cubicBezTo>
                  <a:close/>
                  <a:moveTo>
                    <a:pt x="5608" y="0"/>
                  </a:moveTo>
                  <a:cubicBezTo>
                    <a:pt x="3340" y="0"/>
                    <a:pt x="1513" y="1827"/>
                    <a:pt x="1513" y="4096"/>
                  </a:cubicBezTo>
                  <a:lnTo>
                    <a:pt x="1513" y="5986"/>
                  </a:lnTo>
                  <a:cubicBezTo>
                    <a:pt x="662" y="5986"/>
                    <a:pt x="0" y="6648"/>
                    <a:pt x="0" y="7467"/>
                  </a:cubicBezTo>
                  <a:cubicBezTo>
                    <a:pt x="0" y="8317"/>
                    <a:pt x="662" y="8979"/>
                    <a:pt x="1513" y="8979"/>
                  </a:cubicBezTo>
                  <a:cubicBezTo>
                    <a:pt x="1702" y="11058"/>
                    <a:pt x="3435" y="12728"/>
                    <a:pt x="5608" y="12728"/>
                  </a:cubicBezTo>
                  <a:cubicBezTo>
                    <a:pt x="7751" y="12728"/>
                    <a:pt x="9483" y="11058"/>
                    <a:pt x="9673" y="8979"/>
                  </a:cubicBezTo>
                  <a:cubicBezTo>
                    <a:pt x="10523" y="8979"/>
                    <a:pt x="11185" y="8317"/>
                    <a:pt x="11185" y="7467"/>
                  </a:cubicBezTo>
                  <a:cubicBezTo>
                    <a:pt x="11185" y="6648"/>
                    <a:pt x="10523" y="5986"/>
                    <a:pt x="9673" y="5986"/>
                  </a:cubicBezTo>
                  <a:lnTo>
                    <a:pt x="9673" y="4096"/>
                  </a:lnTo>
                  <a:cubicBezTo>
                    <a:pt x="9673" y="1859"/>
                    <a:pt x="7845" y="0"/>
                    <a:pt x="5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4" name="Google Shape;10234;p78"/>
          <p:cNvGrpSpPr/>
          <p:nvPr/>
        </p:nvGrpSpPr>
        <p:grpSpPr>
          <a:xfrm>
            <a:off x="6220848" y="4290810"/>
            <a:ext cx="318170" cy="359303"/>
            <a:chOff x="-51722225" y="1915100"/>
            <a:chExt cx="280400" cy="316650"/>
          </a:xfrm>
        </p:grpSpPr>
        <p:sp>
          <p:nvSpPr>
            <p:cNvPr id="10235" name="Google Shape;10235;p78"/>
            <p:cNvSpPr/>
            <p:nvPr/>
          </p:nvSpPr>
          <p:spPr>
            <a:xfrm>
              <a:off x="-51618275" y="2146075"/>
              <a:ext cx="73275" cy="29750"/>
            </a:xfrm>
            <a:custGeom>
              <a:avLst/>
              <a:gdLst/>
              <a:ahLst/>
              <a:cxnLst/>
              <a:rect l="l" t="t" r="r" b="b"/>
              <a:pathLst>
                <a:path w="2931" h="1190" extrusionOk="0">
                  <a:moveTo>
                    <a:pt x="410" y="0"/>
                  </a:moveTo>
                  <a:cubicBezTo>
                    <a:pt x="316" y="0"/>
                    <a:pt x="221" y="40"/>
                    <a:pt x="158" y="118"/>
                  </a:cubicBezTo>
                  <a:cubicBezTo>
                    <a:pt x="1" y="276"/>
                    <a:pt x="1" y="528"/>
                    <a:pt x="158" y="654"/>
                  </a:cubicBezTo>
                  <a:cubicBezTo>
                    <a:pt x="505" y="1001"/>
                    <a:pt x="978" y="1190"/>
                    <a:pt x="1450" y="1190"/>
                  </a:cubicBezTo>
                  <a:cubicBezTo>
                    <a:pt x="1923" y="1190"/>
                    <a:pt x="2458" y="1001"/>
                    <a:pt x="2773" y="654"/>
                  </a:cubicBezTo>
                  <a:cubicBezTo>
                    <a:pt x="2931" y="496"/>
                    <a:pt x="2931" y="244"/>
                    <a:pt x="2773" y="118"/>
                  </a:cubicBezTo>
                  <a:cubicBezTo>
                    <a:pt x="2710" y="40"/>
                    <a:pt x="2616" y="0"/>
                    <a:pt x="2517" y="0"/>
                  </a:cubicBezTo>
                  <a:cubicBezTo>
                    <a:pt x="2419" y="0"/>
                    <a:pt x="2317" y="40"/>
                    <a:pt x="2238" y="118"/>
                  </a:cubicBezTo>
                  <a:cubicBezTo>
                    <a:pt x="2049" y="339"/>
                    <a:pt x="1734" y="433"/>
                    <a:pt x="1450" y="433"/>
                  </a:cubicBezTo>
                  <a:cubicBezTo>
                    <a:pt x="1198" y="433"/>
                    <a:pt x="883" y="339"/>
                    <a:pt x="663" y="118"/>
                  </a:cubicBezTo>
                  <a:cubicBezTo>
                    <a:pt x="600" y="40"/>
                    <a:pt x="505"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6" name="Google Shape;10236;p78"/>
            <p:cNvSpPr/>
            <p:nvPr/>
          </p:nvSpPr>
          <p:spPr>
            <a:xfrm>
              <a:off x="-51627725"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7" name="Google Shape;10237;p78"/>
            <p:cNvSpPr/>
            <p:nvPr/>
          </p:nvSpPr>
          <p:spPr>
            <a:xfrm>
              <a:off x="-51552900"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78"/>
            <p:cNvSpPr/>
            <p:nvPr/>
          </p:nvSpPr>
          <p:spPr>
            <a:xfrm>
              <a:off x="-51722225" y="1915100"/>
              <a:ext cx="280400" cy="316650"/>
            </a:xfrm>
            <a:custGeom>
              <a:avLst/>
              <a:gdLst/>
              <a:ahLst/>
              <a:cxnLst/>
              <a:rect l="l" t="t" r="r" b="b"/>
              <a:pathLst>
                <a:path w="11216" h="12666" extrusionOk="0">
                  <a:moveTo>
                    <a:pt x="5608" y="662"/>
                  </a:moveTo>
                  <a:cubicBezTo>
                    <a:pt x="5766" y="662"/>
                    <a:pt x="6081" y="914"/>
                    <a:pt x="6333" y="1544"/>
                  </a:cubicBezTo>
                  <a:cubicBezTo>
                    <a:pt x="6585" y="2111"/>
                    <a:pt x="6679" y="2867"/>
                    <a:pt x="6711" y="3655"/>
                  </a:cubicBezTo>
                  <a:lnTo>
                    <a:pt x="4505" y="3655"/>
                  </a:lnTo>
                  <a:cubicBezTo>
                    <a:pt x="4568" y="2836"/>
                    <a:pt x="4663" y="2080"/>
                    <a:pt x="4915" y="1544"/>
                  </a:cubicBezTo>
                  <a:cubicBezTo>
                    <a:pt x="5199" y="914"/>
                    <a:pt x="5451" y="662"/>
                    <a:pt x="5608" y="662"/>
                  </a:cubicBezTo>
                  <a:close/>
                  <a:moveTo>
                    <a:pt x="4411" y="946"/>
                  </a:moveTo>
                  <a:lnTo>
                    <a:pt x="4411" y="946"/>
                  </a:lnTo>
                  <a:cubicBezTo>
                    <a:pt x="4348" y="1072"/>
                    <a:pt x="4285" y="1166"/>
                    <a:pt x="4253" y="1292"/>
                  </a:cubicBezTo>
                  <a:cubicBezTo>
                    <a:pt x="3970" y="1954"/>
                    <a:pt x="3812" y="2804"/>
                    <a:pt x="3781" y="3687"/>
                  </a:cubicBezTo>
                  <a:lnTo>
                    <a:pt x="2269" y="3687"/>
                  </a:lnTo>
                  <a:cubicBezTo>
                    <a:pt x="2426" y="2426"/>
                    <a:pt x="3245" y="1387"/>
                    <a:pt x="4411" y="946"/>
                  </a:cubicBezTo>
                  <a:close/>
                  <a:moveTo>
                    <a:pt x="6837" y="946"/>
                  </a:moveTo>
                  <a:cubicBezTo>
                    <a:pt x="8034" y="1387"/>
                    <a:pt x="8853" y="2426"/>
                    <a:pt x="8979" y="3687"/>
                  </a:cubicBezTo>
                  <a:lnTo>
                    <a:pt x="7467" y="3687"/>
                  </a:lnTo>
                  <a:cubicBezTo>
                    <a:pt x="7435" y="2804"/>
                    <a:pt x="7278" y="1954"/>
                    <a:pt x="6994" y="1292"/>
                  </a:cubicBezTo>
                  <a:cubicBezTo>
                    <a:pt x="6963" y="1166"/>
                    <a:pt x="6868" y="1072"/>
                    <a:pt x="6837" y="946"/>
                  </a:cubicBezTo>
                  <a:close/>
                  <a:moveTo>
                    <a:pt x="9357" y="4443"/>
                  </a:moveTo>
                  <a:cubicBezTo>
                    <a:pt x="9830" y="4443"/>
                    <a:pt x="10271" y="4758"/>
                    <a:pt x="10428" y="5199"/>
                  </a:cubicBezTo>
                  <a:lnTo>
                    <a:pt x="851" y="5199"/>
                  </a:lnTo>
                  <a:cubicBezTo>
                    <a:pt x="1008" y="4758"/>
                    <a:pt x="1418" y="4443"/>
                    <a:pt x="1922" y="4443"/>
                  </a:cubicBezTo>
                  <a:close/>
                  <a:moveTo>
                    <a:pt x="1512" y="6680"/>
                  </a:moveTo>
                  <a:lnTo>
                    <a:pt x="1512" y="8192"/>
                  </a:lnTo>
                  <a:cubicBezTo>
                    <a:pt x="1134" y="8192"/>
                    <a:pt x="788" y="7814"/>
                    <a:pt x="788" y="7436"/>
                  </a:cubicBezTo>
                  <a:cubicBezTo>
                    <a:pt x="788" y="7058"/>
                    <a:pt x="1134" y="6680"/>
                    <a:pt x="1512" y="6680"/>
                  </a:cubicBezTo>
                  <a:close/>
                  <a:moveTo>
                    <a:pt x="9767" y="6680"/>
                  </a:moveTo>
                  <a:cubicBezTo>
                    <a:pt x="10145" y="6680"/>
                    <a:pt x="10491" y="6995"/>
                    <a:pt x="10491" y="7436"/>
                  </a:cubicBezTo>
                  <a:cubicBezTo>
                    <a:pt x="10460" y="7814"/>
                    <a:pt x="10145" y="8192"/>
                    <a:pt x="9767" y="8192"/>
                  </a:cubicBezTo>
                  <a:lnTo>
                    <a:pt x="9767" y="6680"/>
                  </a:lnTo>
                  <a:close/>
                  <a:moveTo>
                    <a:pt x="9011" y="5955"/>
                  </a:moveTo>
                  <a:lnTo>
                    <a:pt x="9011" y="8538"/>
                  </a:lnTo>
                  <a:cubicBezTo>
                    <a:pt x="9011" y="10397"/>
                    <a:pt x="7467" y="11941"/>
                    <a:pt x="5608" y="11941"/>
                  </a:cubicBezTo>
                  <a:cubicBezTo>
                    <a:pt x="3781" y="11941"/>
                    <a:pt x="2269" y="10397"/>
                    <a:pt x="2269" y="8538"/>
                  </a:cubicBezTo>
                  <a:lnTo>
                    <a:pt x="2269" y="5955"/>
                  </a:lnTo>
                  <a:close/>
                  <a:moveTo>
                    <a:pt x="5608" y="1"/>
                  </a:moveTo>
                  <a:cubicBezTo>
                    <a:pt x="3466" y="1"/>
                    <a:pt x="1733" y="1639"/>
                    <a:pt x="1544" y="3781"/>
                  </a:cubicBezTo>
                  <a:cubicBezTo>
                    <a:pt x="662" y="3939"/>
                    <a:pt x="32" y="4695"/>
                    <a:pt x="32" y="5577"/>
                  </a:cubicBezTo>
                  <a:cubicBezTo>
                    <a:pt x="32" y="5797"/>
                    <a:pt x="189" y="5955"/>
                    <a:pt x="378" y="5955"/>
                  </a:cubicBezTo>
                  <a:lnTo>
                    <a:pt x="1481" y="5955"/>
                  </a:lnTo>
                  <a:cubicBezTo>
                    <a:pt x="662" y="5955"/>
                    <a:pt x="0" y="6617"/>
                    <a:pt x="0" y="7436"/>
                  </a:cubicBezTo>
                  <a:cubicBezTo>
                    <a:pt x="0" y="8255"/>
                    <a:pt x="662" y="8948"/>
                    <a:pt x="1481" y="8948"/>
                  </a:cubicBezTo>
                  <a:cubicBezTo>
                    <a:pt x="1670" y="11027"/>
                    <a:pt x="3403" y="12665"/>
                    <a:pt x="5577" y="12665"/>
                  </a:cubicBezTo>
                  <a:cubicBezTo>
                    <a:pt x="7750" y="12665"/>
                    <a:pt x="9483" y="11027"/>
                    <a:pt x="9672" y="8948"/>
                  </a:cubicBezTo>
                  <a:cubicBezTo>
                    <a:pt x="10491" y="8948"/>
                    <a:pt x="11185" y="8255"/>
                    <a:pt x="11185" y="7436"/>
                  </a:cubicBezTo>
                  <a:cubicBezTo>
                    <a:pt x="11216" y="6617"/>
                    <a:pt x="10554" y="5955"/>
                    <a:pt x="9767" y="5955"/>
                  </a:cubicBezTo>
                  <a:lnTo>
                    <a:pt x="10869" y="5955"/>
                  </a:lnTo>
                  <a:cubicBezTo>
                    <a:pt x="11058" y="5955"/>
                    <a:pt x="11216" y="5797"/>
                    <a:pt x="11216" y="5577"/>
                  </a:cubicBezTo>
                  <a:cubicBezTo>
                    <a:pt x="11216" y="4695"/>
                    <a:pt x="10586" y="3939"/>
                    <a:pt x="9704" y="3781"/>
                  </a:cubicBezTo>
                  <a:cubicBezTo>
                    <a:pt x="9546" y="1639"/>
                    <a:pt x="7782" y="1"/>
                    <a:pt x="56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9" name="Google Shape;10239;p78"/>
          <p:cNvGrpSpPr/>
          <p:nvPr/>
        </p:nvGrpSpPr>
        <p:grpSpPr>
          <a:xfrm>
            <a:off x="6616678" y="1531508"/>
            <a:ext cx="370905" cy="360976"/>
            <a:chOff x="-56407800" y="1902600"/>
            <a:chExt cx="326875" cy="318125"/>
          </a:xfrm>
        </p:grpSpPr>
        <p:sp>
          <p:nvSpPr>
            <p:cNvPr id="10240" name="Google Shape;10240;p78"/>
            <p:cNvSpPr/>
            <p:nvPr/>
          </p:nvSpPr>
          <p:spPr>
            <a:xfrm>
              <a:off x="-562896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1" name="Google Shape;10241;p78"/>
            <p:cNvSpPr/>
            <p:nvPr/>
          </p:nvSpPr>
          <p:spPr>
            <a:xfrm>
              <a:off x="-562156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2" name="Google Shape;10242;p78"/>
            <p:cNvSpPr/>
            <p:nvPr/>
          </p:nvSpPr>
          <p:spPr>
            <a:xfrm>
              <a:off x="-56407800" y="1902600"/>
              <a:ext cx="326875" cy="318125"/>
            </a:xfrm>
            <a:custGeom>
              <a:avLst/>
              <a:gdLst/>
              <a:ahLst/>
              <a:cxnLst/>
              <a:rect l="l" t="t" r="r" b="b"/>
              <a:pathLst>
                <a:path w="13075" h="12725" extrusionOk="0">
                  <a:moveTo>
                    <a:pt x="8371" y="824"/>
                  </a:moveTo>
                  <a:cubicBezTo>
                    <a:pt x="8854" y="824"/>
                    <a:pt x="9303" y="1142"/>
                    <a:pt x="9420" y="1635"/>
                  </a:cubicBezTo>
                  <a:lnTo>
                    <a:pt x="9924" y="3714"/>
                  </a:lnTo>
                  <a:cubicBezTo>
                    <a:pt x="9641" y="3777"/>
                    <a:pt x="9420" y="3809"/>
                    <a:pt x="9137" y="3809"/>
                  </a:cubicBezTo>
                  <a:lnTo>
                    <a:pt x="3907" y="3809"/>
                  </a:lnTo>
                  <a:cubicBezTo>
                    <a:pt x="3623" y="3809"/>
                    <a:pt x="3340" y="3777"/>
                    <a:pt x="3119" y="3714"/>
                  </a:cubicBezTo>
                  <a:lnTo>
                    <a:pt x="3655" y="1635"/>
                  </a:lnTo>
                  <a:cubicBezTo>
                    <a:pt x="3772" y="1142"/>
                    <a:pt x="4239" y="824"/>
                    <a:pt x="4717" y="824"/>
                  </a:cubicBezTo>
                  <a:cubicBezTo>
                    <a:pt x="4881" y="824"/>
                    <a:pt x="5046" y="861"/>
                    <a:pt x="5199" y="942"/>
                  </a:cubicBezTo>
                  <a:lnTo>
                    <a:pt x="6364" y="1509"/>
                  </a:lnTo>
                  <a:cubicBezTo>
                    <a:pt x="6427" y="1540"/>
                    <a:pt x="6490" y="1556"/>
                    <a:pt x="6545" y="1556"/>
                  </a:cubicBezTo>
                  <a:cubicBezTo>
                    <a:pt x="6601" y="1556"/>
                    <a:pt x="6648" y="1540"/>
                    <a:pt x="6679" y="1509"/>
                  </a:cubicBezTo>
                  <a:lnTo>
                    <a:pt x="7877" y="942"/>
                  </a:lnTo>
                  <a:cubicBezTo>
                    <a:pt x="8037" y="861"/>
                    <a:pt x="8206" y="824"/>
                    <a:pt x="8371" y="824"/>
                  </a:cubicBezTo>
                  <a:close/>
                  <a:moveTo>
                    <a:pt x="1299" y="3783"/>
                  </a:moveTo>
                  <a:cubicBezTo>
                    <a:pt x="1359" y="3783"/>
                    <a:pt x="1422" y="3800"/>
                    <a:pt x="1481" y="3840"/>
                  </a:cubicBezTo>
                  <a:lnTo>
                    <a:pt x="2017" y="4092"/>
                  </a:lnTo>
                  <a:cubicBezTo>
                    <a:pt x="2584" y="4344"/>
                    <a:pt x="3308" y="4565"/>
                    <a:pt x="3970" y="4565"/>
                  </a:cubicBezTo>
                  <a:lnTo>
                    <a:pt x="9200" y="4565"/>
                  </a:lnTo>
                  <a:cubicBezTo>
                    <a:pt x="9893" y="4565"/>
                    <a:pt x="10586" y="4376"/>
                    <a:pt x="11185" y="4092"/>
                  </a:cubicBezTo>
                  <a:lnTo>
                    <a:pt x="11689" y="3840"/>
                  </a:lnTo>
                  <a:cubicBezTo>
                    <a:pt x="11737" y="3824"/>
                    <a:pt x="11788" y="3816"/>
                    <a:pt x="11839" y="3816"/>
                  </a:cubicBezTo>
                  <a:cubicBezTo>
                    <a:pt x="11983" y="3816"/>
                    <a:pt x="12123" y="3881"/>
                    <a:pt x="12193" y="3998"/>
                  </a:cubicBezTo>
                  <a:cubicBezTo>
                    <a:pt x="12256" y="4187"/>
                    <a:pt x="12161" y="4439"/>
                    <a:pt x="11972" y="4502"/>
                  </a:cubicBezTo>
                  <a:lnTo>
                    <a:pt x="11468" y="4754"/>
                  </a:lnTo>
                  <a:cubicBezTo>
                    <a:pt x="10743" y="5100"/>
                    <a:pt x="9924" y="5289"/>
                    <a:pt x="9168" y="5289"/>
                  </a:cubicBezTo>
                  <a:lnTo>
                    <a:pt x="3938" y="5289"/>
                  </a:lnTo>
                  <a:cubicBezTo>
                    <a:pt x="3182" y="5289"/>
                    <a:pt x="2363" y="5100"/>
                    <a:pt x="1639" y="4754"/>
                  </a:cubicBezTo>
                  <a:lnTo>
                    <a:pt x="1134" y="4502"/>
                  </a:lnTo>
                  <a:cubicBezTo>
                    <a:pt x="945" y="4439"/>
                    <a:pt x="851" y="4187"/>
                    <a:pt x="977" y="3998"/>
                  </a:cubicBezTo>
                  <a:cubicBezTo>
                    <a:pt x="1042" y="3868"/>
                    <a:pt x="1166" y="3783"/>
                    <a:pt x="1299" y="3783"/>
                  </a:cubicBezTo>
                  <a:close/>
                  <a:moveTo>
                    <a:pt x="2426" y="6801"/>
                  </a:moveTo>
                  <a:lnTo>
                    <a:pt x="2426" y="8282"/>
                  </a:lnTo>
                  <a:cubicBezTo>
                    <a:pt x="2048" y="8282"/>
                    <a:pt x="1702" y="7936"/>
                    <a:pt x="1702" y="7558"/>
                  </a:cubicBezTo>
                  <a:cubicBezTo>
                    <a:pt x="1702" y="7148"/>
                    <a:pt x="2017" y="6801"/>
                    <a:pt x="2426" y="6801"/>
                  </a:cubicBezTo>
                  <a:close/>
                  <a:moveTo>
                    <a:pt x="10680" y="6801"/>
                  </a:moveTo>
                  <a:cubicBezTo>
                    <a:pt x="11059" y="6801"/>
                    <a:pt x="11405" y="7117"/>
                    <a:pt x="11405" y="7558"/>
                  </a:cubicBezTo>
                  <a:cubicBezTo>
                    <a:pt x="11405" y="7936"/>
                    <a:pt x="11059" y="8282"/>
                    <a:pt x="10680" y="8282"/>
                  </a:cubicBezTo>
                  <a:lnTo>
                    <a:pt x="10680" y="6801"/>
                  </a:lnTo>
                  <a:close/>
                  <a:moveTo>
                    <a:pt x="3214" y="5982"/>
                  </a:moveTo>
                  <a:cubicBezTo>
                    <a:pt x="3466" y="6014"/>
                    <a:pt x="3686" y="6014"/>
                    <a:pt x="3970" y="6014"/>
                  </a:cubicBezTo>
                  <a:lnTo>
                    <a:pt x="9200" y="6014"/>
                  </a:lnTo>
                  <a:cubicBezTo>
                    <a:pt x="9452" y="6014"/>
                    <a:pt x="9672" y="6014"/>
                    <a:pt x="9956" y="5982"/>
                  </a:cubicBezTo>
                  <a:lnTo>
                    <a:pt x="9956" y="5982"/>
                  </a:lnTo>
                  <a:cubicBezTo>
                    <a:pt x="9924" y="6297"/>
                    <a:pt x="9924" y="8219"/>
                    <a:pt x="9924" y="8503"/>
                  </a:cubicBezTo>
                  <a:lnTo>
                    <a:pt x="9924" y="8849"/>
                  </a:lnTo>
                  <a:lnTo>
                    <a:pt x="6742" y="7558"/>
                  </a:lnTo>
                  <a:cubicBezTo>
                    <a:pt x="6695" y="7526"/>
                    <a:pt x="6640" y="7510"/>
                    <a:pt x="6589" y="7510"/>
                  </a:cubicBezTo>
                  <a:cubicBezTo>
                    <a:pt x="6538" y="7510"/>
                    <a:pt x="6490" y="7526"/>
                    <a:pt x="6459" y="7558"/>
                  </a:cubicBezTo>
                  <a:lnTo>
                    <a:pt x="3214" y="8849"/>
                  </a:lnTo>
                  <a:lnTo>
                    <a:pt x="3214" y="8660"/>
                  </a:lnTo>
                  <a:lnTo>
                    <a:pt x="3214" y="5982"/>
                  </a:lnTo>
                  <a:close/>
                  <a:moveTo>
                    <a:pt x="6585" y="8282"/>
                  </a:moveTo>
                  <a:lnTo>
                    <a:pt x="9767" y="9542"/>
                  </a:lnTo>
                  <a:cubicBezTo>
                    <a:pt x="9262" y="11157"/>
                    <a:pt x="7905" y="12034"/>
                    <a:pt x="6522" y="12034"/>
                  </a:cubicBezTo>
                  <a:cubicBezTo>
                    <a:pt x="5746" y="12034"/>
                    <a:pt x="4962" y="11758"/>
                    <a:pt x="4316" y="11181"/>
                  </a:cubicBezTo>
                  <a:cubicBezTo>
                    <a:pt x="3844" y="10740"/>
                    <a:pt x="3529" y="10172"/>
                    <a:pt x="3340" y="9605"/>
                  </a:cubicBezTo>
                  <a:lnTo>
                    <a:pt x="6585" y="8282"/>
                  </a:lnTo>
                  <a:close/>
                  <a:moveTo>
                    <a:pt x="8390" y="1"/>
                  </a:moveTo>
                  <a:cubicBezTo>
                    <a:pt x="8109" y="1"/>
                    <a:pt x="7824" y="69"/>
                    <a:pt x="7561" y="217"/>
                  </a:cubicBezTo>
                  <a:lnTo>
                    <a:pt x="6522" y="721"/>
                  </a:lnTo>
                  <a:lnTo>
                    <a:pt x="5514" y="217"/>
                  </a:lnTo>
                  <a:cubicBezTo>
                    <a:pt x="5240" y="88"/>
                    <a:pt x="4955" y="27"/>
                    <a:pt x="4676" y="27"/>
                  </a:cubicBezTo>
                  <a:cubicBezTo>
                    <a:pt x="3863" y="27"/>
                    <a:pt x="3110" y="546"/>
                    <a:pt x="2899" y="1414"/>
                  </a:cubicBezTo>
                  <a:lnTo>
                    <a:pt x="2395" y="3462"/>
                  </a:lnTo>
                  <a:lnTo>
                    <a:pt x="1765" y="3147"/>
                  </a:lnTo>
                  <a:cubicBezTo>
                    <a:pt x="1607" y="3063"/>
                    <a:pt x="1435" y="3024"/>
                    <a:pt x="1265" y="3024"/>
                  </a:cubicBezTo>
                  <a:cubicBezTo>
                    <a:pt x="859" y="3024"/>
                    <a:pt x="462" y="3251"/>
                    <a:pt x="284" y="3651"/>
                  </a:cubicBezTo>
                  <a:cubicBezTo>
                    <a:pt x="0" y="4187"/>
                    <a:pt x="221" y="4880"/>
                    <a:pt x="788" y="5132"/>
                  </a:cubicBezTo>
                  <a:lnTo>
                    <a:pt x="1292" y="5384"/>
                  </a:lnTo>
                  <a:cubicBezTo>
                    <a:pt x="1639" y="5573"/>
                    <a:pt x="2048" y="5699"/>
                    <a:pt x="2426" y="5793"/>
                  </a:cubicBezTo>
                  <a:lnTo>
                    <a:pt x="2426" y="6014"/>
                  </a:lnTo>
                  <a:cubicBezTo>
                    <a:pt x="1607" y="6014"/>
                    <a:pt x="945" y="6675"/>
                    <a:pt x="945" y="7495"/>
                  </a:cubicBezTo>
                  <a:cubicBezTo>
                    <a:pt x="945" y="8282"/>
                    <a:pt x="1576" y="9007"/>
                    <a:pt x="2426" y="9007"/>
                  </a:cubicBezTo>
                  <a:cubicBezTo>
                    <a:pt x="2521" y="10015"/>
                    <a:pt x="3025" y="10992"/>
                    <a:pt x="3781" y="11685"/>
                  </a:cubicBezTo>
                  <a:cubicBezTo>
                    <a:pt x="4537" y="12378"/>
                    <a:pt x="5514" y="12724"/>
                    <a:pt x="6522" y="12724"/>
                  </a:cubicBezTo>
                  <a:cubicBezTo>
                    <a:pt x="8696" y="12724"/>
                    <a:pt x="10365" y="11055"/>
                    <a:pt x="10586" y="9007"/>
                  </a:cubicBezTo>
                  <a:cubicBezTo>
                    <a:pt x="11500" y="9007"/>
                    <a:pt x="12130" y="8282"/>
                    <a:pt x="12130" y="7495"/>
                  </a:cubicBezTo>
                  <a:cubicBezTo>
                    <a:pt x="12130" y="6675"/>
                    <a:pt x="11468" y="6014"/>
                    <a:pt x="10617" y="6014"/>
                  </a:cubicBezTo>
                  <a:lnTo>
                    <a:pt x="10617" y="5793"/>
                  </a:lnTo>
                  <a:cubicBezTo>
                    <a:pt x="11027" y="5699"/>
                    <a:pt x="11405" y="5573"/>
                    <a:pt x="11783" y="5384"/>
                  </a:cubicBezTo>
                  <a:lnTo>
                    <a:pt x="12287" y="5132"/>
                  </a:lnTo>
                  <a:cubicBezTo>
                    <a:pt x="12886" y="4911"/>
                    <a:pt x="13075" y="4250"/>
                    <a:pt x="12791" y="3682"/>
                  </a:cubicBezTo>
                  <a:cubicBezTo>
                    <a:pt x="12588" y="3299"/>
                    <a:pt x="12191" y="3061"/>
                    <a:pt x="11785" y="3061"/>
                  </a:cubicBezTo>
                  <a:cubicBezTo>
                    <a:pt x="11625" y="3061"/>
                    <a:pt x="11462" y="3098"/>
                    <a:pt x="11311" y="3178"/>
                  </a:cubicBezTo>
                  <a:lnTo>
                    <a:pt x="10775" y="3399"/>
                  </a:lnTo>
                  <a:cubicBezTo>
                    <a:pt x="10743" y="3399"/>
                    <a:pt x="10712" y="3462"/>
                    <a:pt x="10680" y="3462"/>
                  </a:cubicBezTo>
                  <a:lnTo>
                    <a:pt x="10145" y="1414"/>
                  </a:lnTo>
                  <a:cubicBezTo>
                    <a:pt x="9959" y="552"/>
                    <a:pt x="9187" y="1"/>
                    <a:pt x="83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3" name="Google Shape;10243;p78"/>
          <p:cNvGrpSpPr/>
          <p:nvPr/>
        </p:nvGrpSpPr>
        <p:grpSpPr>
          <a:xfrm>
            <a:off x="6622479" y="2018074"/>
            <a:ext cx="359303" cy="338736"/>
            <a:chOff x="-56401500" y="2304975"/>
            <a:chExt cx="316650" cy="298525"/>
          </a:xfrm>
        </p:grpSpPr>
        <p:sp>
          <p:nvSpPr>
            <p:cNvPr id="10244" name="Google Shape;10244;p78"/>
            <p:cNvSpPr/>
            <p:nvPr/>
          </p:nvSpPr>
          <p:spPr>
            <a:xfrm>
              <a:off x="-56289650" y="2436500"/>
              <a:ext cx="17325" cy="18150"/>
            </a:xfrm>
            <a:custGeom>
              <a:avLst/>
              <a:gdLst/>
              <a:ahLst/>
              <a:cxnLst/>
              <a:rect l="l" t="t" r="r" b="b"/>
              <a:pathLst>
                <a:path w="693"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78"/>
            <p:cNvSpPr/>
            <p:nvPr/>
          </p:nvSpPr>
          <p:spPr>
            <a:xfrm>
              <a:off x="-56215625" y="243650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78"/>
            <p:cNvSpPr/>
            <p:nvPr/>
          </p:nvSpPr>
          <p:spPr>
            <a:xfrm>
              <a:off x="-56280200" y="2499700"/>
              <a:ext cx="73250" cy="29775"/>
            </a:xfrm>
            <a:custGeom>
              <a:avLst/>
              <a:gdLst/>
              <a:ahLst/>
              <a:cxnLst/>
              <a:rect l="l" t="t" r="r" b="b"/>
              <a:pathLst>
                <a:path w="2930" h="1191" extrusionOk="0">
                  <a:moveTo>
                    <a:pt x="414" y="1"/>
                  </a:moveTo>
                  <a:cubicBezTo>
                    <a:pt x="315" y="1"/>
                    <a:pt x="221" y="40"/>
                    <a:pt x="158" y="119"/>
                  </a:cubicBezTo>
                  <a:cubicBezTo>
                    <a:pt x="0" y="277"/>
                    <a:pt x="0" y="529"/>
                    <a:pt x="158" y="623"/>
                  </a:cubicBezTo>
                  <a:cubicBezTo>
                    <a:pt x="536" y="1001"/>
                    <a:pt x="1008" y="1190"/>
                    <a:pt x="1481" y="1190"/>
                  </a:cubicBezTo>
                  <a:cubicBezTo>
                    <a:pt x="1953" y="1190"/>
                    <a:pt x="2457" y="1001"/>
                    <a:pt x="2773" y="623"/>
                  </a:cubicBezTo>
                  <a:cubicBezTo>
                    <a:pt x="2930" y="466"/>
                    <a:pt x="2930" y="245"/>
                    <a:pt x="2773" y="119"/>
                  </a:cubicBezTo>
                  <a:cubicBezTo>
                    <a:pt x="2694" y="40"/>
                    <a:pt x="2591" y="1"/>
                    <a:pt x="2497" y="1"/>
                  </a:cubicBezTo>
                  <a:cubicBezTo>
                    <a:pt x="2402" y="1"/>
                    <a:pt x="2316" y="40"/>
                    <a:pt x="2268" y="119"/>
                  </a:cubicBezTo>
                  <a:cubicBezTo>
                    <a:pt x="2048" y="308"/>
                    <a:pt x="1733" y="434"/>
                    <a:pt x="1481" y="434"/>
                  </a:cubicBezTo>
                  <a:cubicBezTo>
                    <a:pt x="1166" y="434"/>
                    <a:pt x="882" y="308"/>
                    <a:pt x="693" y="119"/>
                  </a:cubicBezTo>
                  <a:cubicBezTo>
                    <a:pt x="614" y="40"/>
                    <a:pt x="512"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78"/>
            <p:cNvSpPr/>
            <p:nvPr/>
          </p:nvSpPr>
          <p:spPr>
            <a:xfrm>
              <a:off x="-56401500" y="2304975"/>
              <a:ext cx="316650" cy="298525"/>
            </a:xfrm>
            <a:custGeom>
              <a:avLst/>
              <a:gdLst/>
              <a:ahLst/>
              <a:cxnLst/>
              <a:rect l="l" t="t" r="r" b="b"/>
              <a:pathLst>
                <a:path w="12666" h="11941" extrusionOk="0">
                  <a:moveTo>
                    <a:pt x="6411" y="785"/>
                  </a:moveTo>
                  <a:cubicBezTo>
                    <a:pt x="7105" y="785"/>
                    <a:pt x="7692" y="1003"/>
                    <a:pt x="8223" y="1387"/>
                  </a:cubicBezTo>
                  <a:lnTo>
                    <a:pt x="6270" y="2899"/>
                  </a:lnTo>
                  <a:lnTo>
                    <a:pt x="4348" y="1387"/>
                  </a:lnTo>
                  <a:cubicBezTo>
                    <a:pt x="4915" y="977"/>
                    <a:pt x="5577" y="788"/>
                    <a:pt x="6270" y="788"/>
                  </a:cubicBezTo>
                  <a:cubicBezTo>
                    <a:pt x="6317" y="786"/>
                    <a:pt x="6365" y="785"/>
                    <a:pt x="6411" y="785"/>
                  </a:cubicBezTo>
                  <a:close/>
                  <a:moveTo>
                    <a:pt x="2174" y="4474"/>
                  </a:moveTo>
                  <a:lnTo>
                    <a:pt x="2174" y="5986"/>
                  </a:lnTo>
                  <a:cubicBezTo>
                    <a:pt x="1796" y="5986"/>
                    <a:pt x="1450" y="5640"/>
                    <a:pt x="1450" y="5230"/>
                  </a:cubicBezTo>
                  <a:cubicBezTo>
                    <a:pt x="1450" y="4821"/>
                    <a:pt x="1765" y="4474"/>
                    <a:pt x="2174" y="4474"/>
                  </a:cubicBezTo>
                  <a:close/>
                  <a:moveTo>
                    <a:pt x="10428" y="4474"/>
                  </a:moveTo>
                  <a:cubicBezTo>
                    <a:pt x="10838" y="4474"/>
                    <a:pt x="11153" y="4821"/>
                    <a:pt x="11153" y="5230"/>
                  </a:cubicBezTo>
                  <a:cubicBezTo>
                    <a:pt x="11153" y="5608"/>
                    <a:pt x="10807" y="5986"/>
                    <a:pt x="10428" y="5986"/>
                  </a:cubicBezTo>
                  <a:lnTo>
                    <a:pt x="10428" y="4474"/>
                  </a:lnTo>
                  <a:close/>
                  <a:moveTo>
                    <a:pt x="1008" y="6144"/>
                  </a:moveTo>
                  <a:cubicBezTo>
                    <a:pt x="1292" y="6490"/>
                    <a:pt x="1702" y="6742"/>
                    <a:pt x="2174" y="6742"/>
                  </a:cubicBezTo>
                  <a:cubicBezTo>
                    <a:pt x="2174" y="7152"/>
                    <a:pt x="1828" y="7467"/>
                    <a:pt x="1450" y="7467"/>
                  </a:cubicBezTo>
                  <a:cubicBezTo>
                    <a:pt x="1040" y="7467"/>
                    <a:pt x="693" y="7120"/>
                    <a:pt x="693" y="6742"/>
                  </a:cubicBezTo>
                  <a:cubicBezTo>
                    <a:pt x="693" y="6490"/>
                    <a:pt x="819" y="6270"/>
                    <a:pt x="1008" y="6144"/>
                  </a:cubicBezTo>
                  <a:close/>
                  <a:moveTo>
                    <a:pt x="11594" y="6144"/>
                  </a:moveTo>
                  <a:cubicBezTo>
                    <a:pt x="11783" y="6301"/>
                    <a:pt x="11909" y="6490"/>
                    <a:pt x="11909" y="6742"/>
                  </a:cubicBezTo>
                  <a:cubicBezTo>
                    <a:pt x="11909" y="7152"/>
                    <a:pt x="11594" y="7467"/>
                    <a:pt x="11153" y="7467"/>
                  </a:cubicBezTo>
                  <a:cubicBezTo>
                    <a:pt x="10775" y="7467"/>
                    <a:pt x="10428" y="7120"/>
                    <a:pt x="10428" y="6742"/>
                  </a:cubicBezTo>
                  <a:cubicBezTo>
                    <a:pt x="10901" y="6742"/>
                    <a:pt x="11311" y="6490"/>
                    <a:pt x="11594" y="6144"/>
                  </a:cubicBezTo>
                  <a:close/>
                  <a:moveTo>
                    <a:pt x="8759" y="1859"/>
                  </a:moveTo>
                  <a:cubicBezTo>
                    <a:pt x="9326" y="2426"/>
                    <a:pt x="9672" y="3214"/>
                    <a:pt x="9672" y="4128"/>
                  </a:cubicBezTo>
                  <a:lnTo>
                    <a:pt x="9672" y="7120"/>
                  </a:lnTo>
                  <a:cubicBezTo>
                    <a:pt x="9672" y="8507"/>
                    <a:pt x="8853" y="9735"/>
                    <a:pt x="7562" y="10239"/>
                  </a:cubicBezTo>
                  <a:cubicBezTo>
                    <a:pt x="7215" y="9924"/>
                    <a:pt x="6774" y="9735"/>
                    <a:pt x="6301" y="9735"/>
                  </a:cubicBezTo>
                  <a:cubicBezTo>
                    <a:pt x="5829" y="9735"/>
                    <a:pt x="5356" y="9924"/>
                    <a:pt x="5041" y="10239"/>
                  </a:cubicBezTo>
                  <a:cubicBezTo>
                    <a:pt x="3781" y="9735"/>
                    <a:pt x="2899" y="8507"/>
                    <a:pt x="2899" y="7120"/>
                  </a:cubicBezTo>
                  <a:lnTo>
                    <a:pt x="2899" y="4128"/>
                  </a:lnTo>
                  <a:cubicBezTo>
                    <a:pt x="2899" y="3277"/>
                    <a:pt x="3245" y="2489"/>
                    <a:pt x="3812" y="1859"/>
                  </a:cubicBezTo>
                  <a:lnTo>
                    <a:pt x="6049" y="3655"/>
                  </a:lnTo>
                  <a:cubicBezTo>
                    <a:pt x="6112" y="3718"/>
                    <a:pt x="6191" y="3749"/>
                    <a:pt x="6274" y="3749"/>
                  </a:cubicBezTo>
                  <a:cubicBezTo>
                    <a:pt x="6356" y="3749"/>
                    <a:pt x="6443" y="3718"/>
                    <a:pt x="6522" y="3655"/>
                  </a:cubicBezTo>
                  <a:lnTo>
                    <a:pt x="8759" y="1859"/>
                  </a:lnTo>
                  <a:close/>
                  <a:moveTo>
                    <a:pt x="6333" y="10460"/>
                  </a:moveTo>
                  <a:cubicBezTo>
                    <a:pt x="6805" y="10460"/>
                    <a:pt x="7215" y="10775"/>
                    <a:pt x="7373" y="11216"/>
                  </a:cubicBezTo>
                  <a:lnTo>
                    <a:pt x="5262" y="11216"/>
                  </a:lnTo>
                  <a:cubicBezTo>
                    <a:pt x="5419" y="10775"/>
                    <a:pt x="5797" y="10460"/>
                    <a:pt x="6333" y="10460"/>
                  </a:cubicBezTo>
                  <a:close/>
                  <a:moveTo>
                    <a:pt x="6333" y="0"/>
                  </a:moveTo>
                  <a:cubicBezTo>
                    <a:pt x="4159" y="0"/>
                    <a:pt x="2395" y="1639"/>
                    <a:pt x="2237" y="3718"/>
                  </a:cubicBezTo>
                  <a:cubicBezTo>
                    <a:pt x="1324" y="3718"/>
                    <a:pt x="599" y="4506"/>
                    <a:pt x="725" y="5419"/>
                  </a:cubicBezTo>
                  <a:cubicBezTo>
                    <a:pt x="252" y="5703"/>
                    <a:pt x="0" y="6175"/>
                    <a:pt x="0" y="6742"/>
                  </a:cubicBezTo>
                  <a:cubicBezTo>
                    <a:pt x="0" y="7562"/>
                    <a:pt x="662" y="8223"/>
                    <a:pt x="1481" y="8223"/>
                  </a:cubicBezTo>
                  <a:cubicBezTo>
                    <a:pt x="1796" y="8223"/>
                    <a:pt x="2080" y="8160"/>
                    <a:pt x="2300" y="7940"/>
                  </a:cubicBezTo>
                  <a:cubicBezTo>
                    <a:pt x="2584" y="9263"/>
                    <a:pt x="3497" y="10271"/>
                    <a:pt x="4632" y="10838"/>
                  </a:cubicBezTo>
                  <a:cubicBezTo>
                    <a:pt x="4506" y="11059"/>
                    <a:pt x="4474" y="11311"/>
                    <a:pt x="4474" y="11563"/>
                  </a:cubicBezTo>
                  <a:cubicBezTo>
                    <a:pt x="4474" y="11783"/>
                    <a:pt x="4632" y="11941"/>
                    <a:pt x="4821" y="11941"/>
                  </a:cubicBezTo>
                  <a:lnTo>
                    <a:pt x="7814" y="11941"/>
                  </a:lnTo>
                  <a:cubicBezTo>
                    <a:pt x="8034" y="11941"/>
                    <a:pt x="8192" y="11783"/>
                    <a:pt x="8192" y="11563"/>
                  </a:cubicBezTo>
                  <a:cubicBezTo>
                    <a:pt x="8192" y="11311"/>
                    <a:pt x="8129" y="11059"/>
                    <a:pt x="8034" y="10838"/>
                  </a:cubicBezTo>
                  <a:cubicBezTo>
                    <a:pt x="9168" y="10302"/>
                    <a:pt x="10082" y="9263"/>
                    <a:pt x="10334" y="7940"/>
                  </a:cubicBezTo>
                  <a:cubicBezTo>
                    <a:pt x="10586" y="8097"/>
                    <a:pt x="10870" y="8223"/>
                    <a:pt x="11185" y="8223"/>
                  </a:cubicBezTo>
                  <a:cubicBezTo>
                    <a:pt x="12004" y="8223"/>
                    <a:pt x="12665" y="7562"/>
                    <a:pt x="12665" y="6742"/>
                  </a:cubicBezTo>
                  <a:cubicBezTo>
                    <a:pt x="12665" y="6175"/>
                    <a:pt x="12382" y="5703"/>
                    <a:pt x="11909" y="5419"/>
                  </a:cubicBezTo>
                  <a:cubicBezTo>
                    <a:pt x="12035" y="4506"/>
                    <a:pt x="11311" y="3718"/>
                    <a:pt x="10428" y="3718"/>
                  </a:cubicBezTo>
                  <a:cubicBezTo>
                    <a:pt x="10208" y="1639"/>
                    <a:pt x="8444"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8" name="Google Shape;10248;p78"/>
          <p:cNvGrpSpPr/>
          <p:nvPr/>
        </p:nvGrpSpPr>
        <p:grpSpPr>
          <a:xfrm>
            <a:off x="5328863" y="2910149"/>
            <a:ext cx="319985" cy="361090"/>
            <a:chOff x="-54426150" y="1901700"/>
            <a:chExt cx="282000" cy="318225"/>
          </a:xfrm>
        </p:grpSpPr>
        <p:sp>
          <p:nvSpPr>
            <p:cNvPr id="10249" name="Google Shape;10249;p78"/>
            <p:cNvSpPr/>
            <p:nvPr/>
          </p:nvSpPr>
          <p:spPr>
            <a:xfrm>
              <a:off x="-54330850" y="2072625"/>
              <a:ext cx="18150" cy="17350"/>
            </a:xfrm>
            <a:custGeom>
              <a:avLst/>
              <a:gdLst/>
              <a:ahLst/>
              <a:cxnLst/>
              <a:rect l="l" t="t" r="r" b="b"/>
              <a:pathLst>
                <a:path w="726" h="694" extrusionOk="0">
                  <a:moveTo>
                    <a:pt x="379" y="0"/>
                  </a:moveTo>
                  <a:cubicBezTo>
                    <a:pt x="190" y="0"/>
                    <a:pt x="1" y="158"/>
                    <a:pt x="1" y="347"/>
                  </a:cubicBezTo>
                  <a:cubicBezTo>
                    <a:pt x="1" y="536"/>
                    <a:pt x="190"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78"/>
            <p:cNvSpPr/>
            <p:nvPr/>
          </p:nvSpPr>
          <p:spPr>
            <a:xfrm>
              <a:off x="-54256800" y="20726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7" y="694"/>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78"/>
            <p:cNvSpPr/>
            <p:nvPr/>
          </p:nvSpPr>
          <p:spPr>
            <a:xfrm>
              <a:off x="-54320600" y="2135825"/>
              <a:ext cx="72475" cy="28975"/>
            </a:xfrm>
            <a:custGeom>
              <a:avLst/>
              <a:gdLst/>
              <a:ahLst/>
              <a:cxnLst/>
              <a:rect l="l" t="t" r="r" b="b"/>
              <a:pathLst>
                <a:path w="2899" h="1159" extrusionOk="0">
                  <a:moveTo>
                    <a:pt x="398" y="1"/>
                  </a:moveTo>
                  <a:cubicBezTo>
                    <a:pt x="308" y="1"/>
                    <a:pt x="221" y="40"/>
                    <a:pt x="158" y="119"/>
                  </a:cubicBezTo>
                  <a:cubicBezTo>
                    <a:pt x="0" y="276"/>
                    <a:pt x="0" y="497"/>
                    <a:pt x="158" y="623"/>
                  </a:cubicBezTo>
                  <a:cubicBezTo>
                    <a:pt x="505" y="970"/>
                    <a:pt x="977" y="1159"/>
                    <a:pt x="1450" y="1159"/>
                  </a:cubicBezTo>
                  <a:cubicBezTo>
                    <a:pt x="1922" y="1159"/>
                    <a:pt x="2426" y="970"/>
                    <a:pt x="2741" y="623"/>
                  </a:cubicBezTo>
                  <a:cubicBezTo>
                    <a:pt x="2899" y="465"/>
                    <a:pt x="2899" y="213"/>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2" name="Google Shape;10252;p78"/>
            <p:cNvSpPr/>
            <p:nvPr/>
          </p:nvSpPr>
          <p:spPr>
            <a:xfrm>
              <a:off x="-54426150" y="1901700"/>
              <a:ext cx="282000" cy="318225"/>
            </a:xfrm>
            <a:custGeom>
              <a:avLst/>
              <a:gdLst/>
              <a:ahLst/>
              <a:cxnLst/>
              <a:rect l="l" t="t" r="r" b="b"/>
              <a:pathLst>
                <a:path w="11280" h="12729" extrusionOk="0">
                  <a:moveTo>
                    <a:pt x="5672" y="820"/>
                  </a:moveTo>
                  <a:cubicBezTo>
                    <a:pt x="6648" y="820"/>
                    <a:pt x="7562" y="1072"/>
                    <a:pt x="8381" y="1639"/>
                  </a:cubicBezTo>
                  <a:cubicBezTo>
                    <a:pt x="8350" y="1828"/>
                    <a:pt x="8318" y="2049"/>
                    <a:pt x="8318" y="2301"/>
                  </a:cubicBezTo>
                  <a:cubicBezTo>
                    <a:pt x="8318" y="2584"/>
                    <a:pt x="8350" y="2805"/>
                    <a:pt x="8444" y="3057"/>
                  </a:cubicBezTo>
                  <a:lnTo>
                    <a:pt x="1671" y="3057"/>
                  </a:lnTo>
                  <a:cubicBezTo>
                    <a:pt x="2458" y="1702"/>
                    <a:pt x="3939" y="820"/>
                    <a:pt x="5672" y="820"/>
                  </a:cubicBezTo>
                  <a:close/>
                  <a:moveTo>
                    <a:pt x="9389" y="1072"/>
                  </a:moveTo>
                  <a:cubicBezTo>
                    <a:pt x="9547" y="1387"/>
                    <a:pt x="9736" y="1828"/>
                    <a:pt x="9736" y="2301"/>
                  </a:cubicBezTo>
                  <a:cubicBezTo>
                    <a:pt x="9736" y="2773"/>
                    <a:pt x="9547" y="3214"/>
                    <a:pt x="9389" y="3529"/>
                  </a:cubicBezTo>
                  <a:cubicBezTo>
                    <a:pt x="9232" y="3214"/>
                    <a:pt x="9011" y="2773"/>
                    <a:pt x="9011" y="2301"/>
                  </a:cubicBezTo>
                  <a:cubicBezTo>
                    <a:pt x="9011" y="1828"/>
                    <a:pt x="9232" y="1356"/>
                    <a:pt x="9389" y="1072"/>
                  </a:cubicBezTo>
                  <a:close/>
                  <a:moveTo>
                    <a:pt x="5262" y="3750"/>
                  </a:moveTo>
                  <a:cubicBezTo>
                    <a:pt x="5136" y="4065"/>
                    <a:pt x="4853" y="4443"/>
                    <a:pt x="4474" y="4695"/>
                  </a:cubicBezTo>
                  <a:cubicBezTo>
                    <a:pt x="3907" y="5105"/>
                    <a:pt x="3246" y="5325"/>
                    <a:pt x="2742" y="5325"/>
                  </a:cubicBezTo>
                  <a:lnTo>
                    <a:pt x="1923" y="5325"/>
                  </a:lnTo>
                  <a:cubicBezTo>
                    <a:pt x="1734" y="5325"/>
                    <a:pt x="1576" y="5483"/>
                    <a:pt x="1576" y="5703"/>
                  </a:cubicBezTo>
                  <a:lnTo>
                    <a:pt x="1576" y="6806"/>
                  </a:lnTo>
                  <a:lnTo>
                    <a:pt x="851" y="6806"/>
                  </a:lnTo>
                  <a:lnTo>
                    <a:pt x="851" y="5703"/>
                  </a:lnTo>
                  <a:cubicBezTo>
                    <a:pt x="851" y="5010"/>
                    <a:pt x="946" y="4349"/>
                    <a:pt x="1229" y="3750"/>
                  </a:cubicBezTo>
                  <a:close/>
                  <a:moveTo>
                    <a:pt x="10177" y="3750"/>
                  </a:moveTo>
                  <a:cubicBezTo>
                    <a:pt x="10397" y="4349"/>
                    <a:pt x="10555" y="5042"/>
                    <a:pt x="10555" y="5735"/>
                  </a:cubicBezTo>
                  <a:lnTo>
                    <a:pt x="10555" y="6837"/>
                  </a:lnTo>
                  <a:lnTo>
                    <a:pt x="9767" y="6837"/>
                  </a:lnTo>
                  <a:lnTo>
                    <a:pt x="9767" y="5735"/>
                  </a:lnTo>
                  <a:cubicBezTo>
                    <a:pt x="9767" y="5546"/>
                    <a:pt x="9610" y="5388"/>
                    <a:pt x="9421" y="5388"/>
                  </a:cubicBezTo>
                  <a:lnTo>
                    <a:pt x="8665" y="5388"/>
                  </a:lnTo>
                  <a:cubicBezTo>
                    <a:pt x="8129" y="5388"/>
                    <a:pt x="7436" y="5136"/>
                    <a:pt x="6932" y="4758"/>
                  </a:cubicBezTo>
                  <a:cubicBezTo>
                    <a:pt x="6554" y="4475"/>
                    <a:pt x="6270" y="4160"/>
                    <a:pt x="6144" y="3813"/>
                  </a:cubicBezTo>
                  <a:lnTo>
                    <a:pt x="8759" y="3813"/>
                  </a:lnTo>
                  <a:cubicBezTo>
                    <a:pt x="8948" y="4160"/>
                    <a:pt x="9137" y="4380"/>
                    <a:pt x="9200" y="4412"/>
                  </a:cubicBezTo>
                  <a:cubicBezTo>
                    <a:pt x="9279" y="4506"/>
                    <a:pt x="9374" y="4553"/>
                    <a:pt x="9468" y="4553"/>
                  </a:cubicBezTo>
                  <a:cubicBezTo>
                    <a:pt x="9563" y="4553"/>
                    <a:pt x="9657" y="4506"/>
                    <a:pt x="9736" y="4412"/>
                  </a:cubicBezTo>
                  <a:cubicBezTo>
                    <a:pt x="9736" y="4412"/>
                    <a:pt x="9988" y="4160"/>
                    <a:pt x="10177" y="3750"/>
                  </a:cubicBezTo>
                  <a:close/>
                  <a:moveTo>
                    <a:pt x="1545" y="7562"/>
                  </a:moveTo>
                  <a:lnTo>
                    <a:pt x="1545" y="8318"/>
                  </a:lnTo>
                  <a:lnTo>
                    <a:pt x="788" y="8318"/>
                  </a:lnTo>
                  <a:lnTo>
                    <a:pt x="788" y="7562"/>
                  </a:lnTo>
                  <a:close/>
                  <a:moveTo>
                    <a:pt x="10523" y="7562"/>
                  </a:moveTo>
                  <a:lnTo>
                    <a:pt x="10523" y="8318"/>
                  </a:lnTo>
                  <a:lnTo>
                    <a:pt x="9767" y="8318"/>
                  </a:lnTo>
                  <a:lnTo>
                    <a:pt x="9767" y="7562"/>
                  </a:lnTo>
                  <a:close/>
                  <a:moveTo>
                    <a:pt x="1576" y="9074"/>
                  </a:moveTo>
                  <a:lnTo>
                    <a:pt x="1576" y="9421"/>
                  </a:lnTo>
                  <a:lnTo>
                    <a:pt x="1545" y="9421"/>
                  </a:lnTo>
                  <a:cubicBezTo>
                    <a:pt x="1545" y="9641"/>
                    <a:pt x="1387" y="9799"/>
                    <a:pt x="1198" y="9799"/>
                  </a:cubicBezTo>
                  <a:cubicBezTo>
                    <a:pt x="1009" y="9799"/>
                    <a:pt x="851" y="9641"/>
                    <a:pt x="851" y="9421"/>
                  </a:cubicBezTo>
                  <a:lnTo>
                    <a:pt x="851" y="9074"/>
                  </a:lnTo>
                  <a:close/>
                  <a:moveTo>
                    <a:pt x="10555" y="9074"/>
                  </a:moveTo>
                  <a:lnTo>
                    <a:pt x="10555" y="9421"/>
                  </a:lnTo>
                  <a:lnTo>
                    <a:pt x="10523" y="9421"/>
                  </a:lnTo>
                  <a:cubicBezTo>
                    <a:pt x="10523" y="9641"/>
                    <a:pt x="10366" y="9799"/>
                    <a:pt x="10177" y="9799"/>
                  </a:cubicBezTo>
                  <a:cubicBezTo>
                    <a:pt x="9956" y="9799"/>
                    <a:pt x="9799" y="9641"/>
                    <a:pt x="9799" y="9421"/>
                  </a:cubicBezTo>
                  <a:lnTo>
                    <a:pt x="9799" y="9074"/>
                  </a:lnTo>
                  <a:close/>
                  <a:moveTo>
                    <a:pt x="1198" y="10555"/>
                  </a:moveTo>
                  <a:cubicBezTo>
                    <a:pt x="1387" y="10555"/>
                    <a:pt x="1545" y="10713"/>
                    <a:pt x="1545" y="10933"/>
                  </a:cubicBezTo>
                  <a:cubicBezTo>
                    <a:pt x="1545" y="11059"/>
                    <a:pt x="1545" y="11059"/>
                    <a:pt x="1198" y="11689"/>
                  </a:cubicBezTo>
                  <a:cubicBezTo>
                    <a:pt x="820" y="11059"/>
                    <a:pt x="820" y="11059"/>
                    <a:pt x="820" y="10933"/>
                  </a:cubicBezTo>
                  <a:cubicBezTo>
                    <a:pt x="820" y="10713"/>
                    <a:pt x="977" y="10555"/>
                    <a:pt x="1198" y="10555"/>
                  </a:cubicBezTo>
                  <a:close/>
                  <a:moveTo>
                    <a:pt x="10114" y="10618"/>
                  </a:moveTo>
                  <a:cubicBezTo>
                    <a:pt x="10334" y="10618"/>
                    <a:pt x="10492" y="10776"/>
                    <a:pt x="10492" y="10965"/>
                  </a:cubicBezTo>
                  <a:cubicBezTo>
                    <a:pt x="10523" y="10965"/>
                    <a:pt x="10492" y="11059"/>
                    <a:pt x="10492" y="11091"/>
                  </a:cubicBezTo>
                  <a:lnTo>
                    <a:pt x="10177" y="11689"/>
                  </a:lnTo>
                  <a:lnTo>
                    <a:pt x="9799" y="11091"/>
                  </a:lnTo>
                  <a:cubicBezTo>
                    <a:pt x="9799" y="11059"/>
                    <a:pt x="9767" y="10996"/>
                    <a:pt x="9767" y="10965"/>
                  </a:cubicBezTo>
                  <a:cubicBezTo>
                    <a:pt x="9767" y="10776"/>
                    <a:pt x="9925" y="10618"/>
                    <a:pt x="10114" y="10618"/>
                  </a:cubicBezTo>
                  <a:close/>
                  <a:moveTo>
                    <a:pt x="5672" y="4538"/>
                  </a:moveTo>
                  <a:cubicBezTo>
                    <a:pt x="5861" y="4821"/>
                    <a:pt x="6144" y="5105"/>
                    <a:pt x="6522" y="5325"/>
                  </a:cubicBezTo>
                  <a:cubicBezTo>
                    <a:pt x="7184" y="5798"/>
                    <a:pt x="7972" y="6081"/>
                    <a:pt x="8665" y="6081"/>
                  </a:cubicBezTo>
                  <a:lnTo>
                    <a:pt x="9011" y="6081"/>
                  </a:lnTo>
                  <a:lnTo>
                    <a:pt x="9011" y="8696"/>
                  </a:lnTo>
                  <a:cubicBezTo>
                    <a:pt x="9011" y="10524"/>
                    <a:pt x="7530" y="12036"/>
                    <a:pt x="5672" y="12036"/>
                  </a:cubicBezTo>
                  <a:cubicBezTo>
                    <a:pt x="3813" y="12036"/>
                    <a:pt x="2332" y="10524"/>
                    <a:pt x="2332" y="8696"/>
                  </a:cubicBezTo>
                  <a:lnTo>
                    <a:pt x="2332" y="6081"/>
                  </a:lnTo>
                  <a:lnTo>
                    <a:pt x="2679" y="6081"/>
                  </a:lnTo>
                  <a:cubicBezTo>
                    <a:pt x="3403" y="6081"/>
                    <a:pt x="4191" y="5798"/>
                    <a:pt x="4853" y="5325"/>
                  </a:cubicBezTo>
                  <a:cubicBezTo>
                    <a:pt x="5199" y="5105"/>
                    <a:pt x="5483" y="4821"/>
                    <a:pt x="5672" y="4538"/>
                  </a:cubicBezTo>
                  <a:close/>
                  <a:moveTo>
                    <a:pt x="5672" y="1"/>
                  </a:moveTo>
                  <a:cubicBezTo>
                    <a:pt x="2584" y="1"/>
                    <a:pt x="95" y="2584"/>
                    <a:pt x="95" y="5640"/>
                  </a:cubicBezTo>
                  <a:lnTo>
                    <a:pt x="95" y="9389"/>
                  </a:lnTo>
                  <a:cubicBezTo>
                    <a:pt x="95" y="9673"/>
                    <a:pt x="221" y="9925"/>
                    <a:pt x="347" y="10145"/>
                  </a:cubicBezTo>
                  <a:cubicBezTo>
                    <a:pt x="1" y="10524"/>
                    <a:pt x="1" y="11091"/>
                    <a:pt x="221" y="11343"/>
                  </a:cubicBezTo>
                  <a:lnTo>
                    <a:pt x="883" y="12540"/>
                  </a:lnTo>
                  <a:cubicBezTo>
                    <a:pt x="946" y="12666"/>
                    <a:pt x="1072" y="12729"/>
                    <a:pt x="1198" y="12729"/>
                  </a:cubicBezTo>
                  <a:cubicBezTo>
                    <a:pt x="1324" y="12729"/>
                    <a:pt x="1450" y="12666"/>
                    <a:pt x="1513" y="12540"/>
                  </a:cubicBezTo>
                  <a:cubicBezTo>
                    <a:pt x="2175" y="11343"/>
                    <a:pt x="2238" y="11311"/>
                    <a:pt x="2301" y="10965"/>
                  </a:cubicBezTo>
                  <a:cubicBezTo>
                    <a:pt x="3025" y="12036"/>
                    <a:pt x="4254" y="12729"/>
                    <a:pt x="5640" y="12729"/>
                  </a:cubicBezTo>
                  <a:cubicBezTo>
                    <a:pt x="7026" y="12729"/>
                    <a:pt x="8287" y="12036"/>
                    <a:pt x="8980" y="10965"/>
                  </a:cubicBezTo>
                  <a:cubicBezTo>
                    <a:pt x="8980" y="11091"/>
                    <a:pt x="9043" y="11185"/>
                    <a:pt x="9074" y="11311"/>
                  </a:cubicBezTo>
                  <a:lnTo>
                    <a:pt x="9074" y="11343"/>
                  </a:lnTo>
                  <a:lnTo>
                    <a:pt x="9736" y="12540"/>
                  </a:lnTo>
                  <a:cubicBezTo>
                    <a:pt x="9799" y="12666"/>
                    <a:pt x="9925" y="12729"/>
                    <a:pt x="10051" y="12729"/>
                  </a:cubicBezTo>
                  <a:cubicBezTo>
                    <a:pt x="10177" y="12729"/>
                    <a:pt x="10334" y="12666"/>
                    <a:pt x="10366" y="12540"/>
                  </a:cubicBezTo>
                  <a:lnTo>
                    <a:pt x="11028" y="11406"/>
                  </a:lnTo>
                  <a:cubicBezTo>
                    <a:pt x="11122" y="11248"/>
                    <a:pt x="11154" y="11028"/>
                    <a:pt x="11154" y="10870"/>
                  </a:cubicBezTo>
                  <a:cubicBezTo>
                    <a:pt x="11154" y="10618"/>
                    <a:pt x="11028" y="10335"/>
                    <a:pt x="10870" y="10145"/>
                  </a:cubicBezTo>
                  <a:cubicBezTo>
                    <a:pt x="11091" y="9925"/>
                    <a:pt x="11154" y="9673"/>
                    <a:pt x="11154" y="9389"/>
                  </a:cubicBezTo>
                  <a:cubicBezTo>
                    <a:pt x="11280" y="4979"/>
                    <a:pt x="11280" y="5294"/>
                    <a:pt x="11217" y="5168"/>
                  </a:cubicBezTo>
                  <a:cubicBezTo>
                    <a:pt x="11154" y="4317"/>
                    <a:pt x="10870" y="3498"/>
                    <a:pt x="10429" y="2773"/>
                  </a:cubicBezTo>
                  <a:cubicBezTo>
                    <a:pt x="10492" y="2616"/>
                    <a:pt x="10492" y="2458"/>
                    <a:pt x="10492" y="2301"/>
                  </a:cubicBezTo>
                  <a:cubicBezTo>
                    <a:pt x="10492" y="1167"/>
                    <a:pt x="9704" y="221"/>
                    <a:pt x="9641" y="190"/>
                  </a:cubicBezTo>
                  <a:cubicBezTo>
                    <a:pt x="9578" y="95"/>
                    <a:pt x="9484" y="64"/>
                    <a:pt x="9389" y="64"/>
                  </a:cubicBezTo>
                  <a:cubicBezTo>
                    <a:pt x="9263" y="64"/>
                    <a:pt x="9169" y="95"/>
                    <a:pt x="9106" y="190"/>
                  </a:cubicBezTo>
                  <a:cubicBezTo>
                    <a:pt x="9106" y="221"/>
                    <a:pt x="8822" y="473"/>
                    <a:pt x="8633" y="883"/>
                  </a:cubicBezTo>
                  <a:cubicBezTo>
                    <a:pt x="7719" y="316"/>
                    <a:pt x="6743" y="1"/>
                    <a:pt x="56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3" name="Google Shape;10253;p78"/>
          <p:cNvGrpSpPr/>
          <p:nvPr/>
        </p:nvGrpSpPr>
        <p:grpSpPr>
          <a:xfrm>
            <a:off x="5328863" y="3363612"/>
            <a:ext cx="319985" cy="361998"/>
            <a:chOff x="-54426150" y="2294725"/>
            <a:chExt cx="282000" cy="319025"/>
          </a:xfrm>
        </p:grpSpPr>
        <p:sp>
          <p:nvSpPr>
            <p:cNvPr id="10254" name="Google Shape;10254;p78"/>
            <p:cNvSpPr/>
            <p:nvPr/>
          </p:nvSpPr>
          <p:spPr>
            <a:xfrm>
              <a:off x="-54320600" y="2527275"/>
              <a:ext cx="72475" cy="29750"/>
            </a:xfrm>
            <a:custGeom>
              <a:avLst/>
              <a:gdLst/>
              <a:ahLst/>
              <a:cxnLst/>
              <a:rect l="l" t="t" r="r" b="b"/>
              <a:pathLst>
                <a:path w="2899" h="1190" extrusionOk="0">
                  <a:moveTo>
                    <a:pt x="398" y="1"/>
                  </a:moveTo>
                  <a:cubicBezTo>
                    <a:pt x="308" y="1"/>
                    <a:pt x="221" y="40"/>
                    <a:pt x="158" y="119"/>
                  </a:cubicBezTo>
                  <a:cubicBezTo>
                    <a:pt x="0" y="276"/>
                    <a:pt x="0" y="528"/>
                    <a:pt x="158" y="623"/>
                  </a:cubicBezTo>
                  <a:cubicBezTo>
                    <a:pt x="505" y="1001"/>
                    <a:pt x="977" y="1190"/>
                    <a:pt x="1450" y="1190"/>
                  </a:cubicBezTo>
                  <a:cubicBezTo>
                    <a:pt x="1922" y="1190"/>
                    <a:pt x="2426" y="1001"/>
                    <a:pt x="2741" y="623"/>
                  </a:cubicBezTo>
                  <a:cubicBezTo>
                    <a:pt x="2899" y="465"/>
                    <a:pt x="2899" y="245"/>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78"/>
            <p:cNvSpPr/>
            <p:nvPr/>
          </p:nvSpPr>
          <p:spPr>
            <a:xfrm>
              <a:off x="-54330850" y="2464075"/>
              <a:ext cx="18150" cy="18125"/>
            </a:xfrm>
            <a:custGeom>
              <a:avLst/>
              <a:gdLst/>
              <a:ahLst/>
              <a:cxnLst/>
              <a:rect l="l" t="t" r="r" b="b"/>
              <a:pathLst>
                <a:path w="726" h="725" extrusionOk="0">
                  <a:moveTo>
                    <a:pt x="379" y="0"/>
                  </a:moveTo>
                  <a:cubicBezTo>
                    <a:pt x="190" y="0"/>
                    <a:pt x="1" y="158"/>
                    <a:pt x="1" y="378"/>
                  </a:cubicBezTo>
                  <a:cubicBezTo>
                    <a:pt x="1" y="567"/>
                    <a:pt x="190" y="725"/>
                    <a:pt x="379" y="725"/>
                  </a:cubicBezTo>
                  <a:cubicBezTo>
                    <a:pt x="568" y="725"/>
                    <a:pt x="725" y="567"/>
                    <a:pt x="725" y="378"/>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78"/>
            <p:cNvSpPr/>
            <p:nvPr/>
          </p:nvSpPr>
          <p:spPr>
            <a:xfrm>
              <a:off x="-54256800" y="2464075"/>
              <a:ext cx="18125" cy="18125"/>
            </a:xfrm>
            <a:custGeom>
              <a:avLst/>
              <a:gdLst/>
              <a:ahLst/>
              <a:cxnLst/>
              <a:rect l="l" t="t" r="r" b="b"/>
              <a:pathLst>
                <a:path w="725" h="725" extrusionOk="0">
                  <a:moveTo>
                    <a:pt x="347" y="0"/>
                  </a:moveTo>
                  <a:cubicBezTo>
                    <a:pt x="158" y="0"/>
                    <a:pt x="0" y="158"/>
                    <a:pt x="0" y="378"/>
                  </a:cubicBezTo>
                  <a:cubicBezTo>
                    <a:pt x="0" y="567"/>
                    <a:pt x="158" y="725"/>
                    <a:pt x="347" y="725"/>
                  </a:cubicBezTo>
                  <a:cubicBezTo>
                    <a:pt x="567" y="725"/>
                    <a:pt x="725" y="567"/>
                    <a:pt x="725" y="378"/>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78"/>
            <p:cNvSpPr/>
            <p:nvPr/>
          </p:nvSpPr>
          <p:spPr>
            <a:xfrm>
              <a:off x="-54426150" y="2294725"/>
              <a:ext cx="282000" cy="319025"/>
            </a:xfrm>
            <a:custGeom>
              <a:avLst/>
              <a:gdLst/>
              <a:ahLst/>
              <a:cxnLst/>
              <a:rect l="l" t="t" r="r" b="b"/>
              <a:pathLst>
                <a:path w="11280" h="12761" extrusionOk="0">
                  <a:moveTo>
                    <a:pt x="8381" y="757"/>
                  </a:moveTo>
                  <a:cubicBezTo>
                    <a:pt x="9106" y="757"/>
                    <a:pt x="9610" y="1387"/>
                    <a:pt x="9484" y="2049"/>
                  </a:cubicBezTo>
                  <a:lnTo>
                    <a:pt x="9106" y="4538"/>
                  </a:lnTo>
                  <a:lnTo>
                    <a:pt x="2301" y="4538"/>
                  </a:lnTo>
                  <a:lnTo>
                    <a:pt x="1891" y="2049"/>
                  </a:lnTo>
                  <a:cubicBezTo>
                    <a:pt x="1734" y="1387"/>
                    <a:pt x="2238" y="757"/>
                    <a:pt x="2962" y="757"/>
                  </a:cubicBezTo>
                  <a:close/>
                  <a:moveTo>
                    <a:pt x="2962" y="5294"/>
                  </a:moveTo>
                  <a:cubicBezTo>
                    <a:pt x="2836" y="5609"/>
                    <a:pt x="2616" y="5829"/>
                    <a:pt x="2301" y="5955"/>
                  </a:cubicBezTo>
                  <a:lnTo>
                    <a:pt x="2301" y="5294"/>
                  </a:lnTo>
                  <a:close/>
                  <a:moveTo>
                    <a:pt x="9011" y="5294"/>
                  </a:moveTo>
                  <a:lnTo>
                    <a:pt x="9011" y="5955"/>
                  </a:lnTo>
                  <a:cubicBezTo>
                    <a:pt x="8696" y="5829"/>
                    <a:pt x="8476" y="5609"/>
                    <a:pt x="8350" y="5294"/>
                  </a:cubicBezTo>
                  <a:close/>
                  <a:moveTo>
                    <a:pt x="9767" y="6743"/>
                  </a:moveTo>
                  <a:cubicBezTo>
                    <a:pt x="10177" y="6743"/>
                    <a:pt x="10523" y="7058"/>
                    <a:pt x="10523" y="7499"/>
                  </a:cubicBezTo>
                  <a:cubicBezTo>
                    <a:pt x="10523" y="7940"/>
                    <a:pt x="10177" y="8255"/>
                    <a:pt x="9767" y="8255"/>
                  </a:cubicBezTo>
                  <a:lnTo>
                    <a:pt x="9767" y="6743"/>
                  </a:lnTo>
                  <a:close/>
                  <a:moveTo>
                    <a:pt x="1545" y="6774"/>
                  </a:moveTo>
                  <a:lnTo>
                    <a:pt x="1545" y="8287"/>
                  </a:lnTo>
                  <a:cubicBezTo>
                    <a:pt x="1135" y="8255"/>
                    <a:pt x="788" y="7940"/>
                    <a:pt x="788" y="7530"/>
                  </a:cubicBezTo>
                  <a:cubicBezTo>
                    <a:pt x="788" y="7152"/>
                    <a:pt x="1103" y="6774"/>
                    <a:pt x="1545" y="6774"/>
                  </a:cubicBezTo>
                  <a:close/>
                  <a:moveTo>
                    <a:pt x="7593" y="5294"/>
                  </a:moveTo>
                  <a:cubicBezTo>
                    <a:pt x="7751" y="6050"/>
                    <a:pt x="8318" y="6585"/>
                    <a:pt x="9074" y="6743"/>
                  </a:cubicBezTo>
                  <a:lnTo>
                    <a:pt x="9074" y="8633"/>
                  </a:lnTo>
                  <a:cubicBezTo>
                    <a:pt x="9011" y="10492"/>
                    <a:pt x="7530" y="11973"/>
                    <a:pt x="5672" y="11973"/>
                  </a:cubicBezTo>
                  <a:cubicBezTo>
                    <a:pt x="3813" y="11973"/>
                    <a:pt x="2332" y="10492"/>
                    <a:pt x="2332" y="8633"/>
                  </a:cubicBezTo>
                  <a:lnTo>
                    <a:pt x="2332" y="6743"/>
                  </a:lnTo>
                  <a:cubicBezTo>
                    <a:pt x="3088" y="6585"/>
                    <a:pt x="3624" y="6018"/>
                    <a:pt x="3781" y="5294"/>
                  </a:cubicBezTo>
                  <a:close/>
                  <a:moveTo>
                    <a:pt x="2931" y="1"/>
                  </a:moveTo>
                  <a:cubicBezTo>
                    <a:pt x="1797" y="1"/>
                    <a:pt x="883" y="1040"/>
                    <a:pt x="1072" y="2175"/>
                  </a:cubicBezTo>
                  <a:lnTo>
                    <a:pt x="1513" y="4916"/>
                  </a:lnTo>
                  <a:lnTo>
                    <a:pt x="1513" y="6018"/>
                  </a:lnTo>
                  <a:cubicBezTo>
                    <a:pt x="662" y="6018"/>
                    <a:pt x="1" y="6711"/>
                    <a:pt x="1" y="7530"/>
                  </a:cubicBezTo>
                  <a:cubicBezTo>
                    <a:pt x="1" y="8350"/>
                    <a:pt x="662" y="9043"/>
                    <a:pt x="1513" y="9043"/>
                  </a:cubicBezTo>
                  <a:cubicBezTo>
                    <a:pt x="1702" y="11122"/>
                    <a:pt x="3466" y="12760"/>
                    <a:pt x="5609" y="12760"/>
                  </a:cubicBezTo>
                  <a:cubicBezTo>
                    <a:pt x="7719" y="12760"/>
                    <a:pt x="9484" y="11122"/>
                    <a:pt x="9704" y="9043"/>
                  </a:cubicBezTo>
                  <a:cubicBezTo>
                    <a:pt x="10523" y="9043"/>
                    <a:pt x="11185" y="8350"/>
                    <a:pt x="11185" y="7530"/>
                  </a:cubicBezTo>
                  <a:cubicBezTo>
                    <a:pt x="11280" y="6711"/>
                    <a:pt x="10586" y="6018"/>
                    <a:pt x="9767" y="6018"/>
                  </a:cubicBezTo>
                  <a:lnTo>
                    <a:pt x="9767" y="4916"/>
                  </a:lnTo>
                  <a:lnTo>
                    <a:pt x="10208" y="2175"/>
                  </a:lnTo>
                  <a:cubicBezTo>
                    <a:pt x="10397" y="1040"/>
                    <a:pt x="9547" y="1"/>
                    <a:pt x="83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78"/>
            <p:cNvSpPr/>
            <p:nvPr/>
          </p:nvSpPr>
          <p:spPr>
            <a:xfrm>
              <a:off x="-54312725" y="2334125"/>
              <a:ext cx="54375" cy="53575"/>
            </a:xfrm>
            <a:custGeom>
              <a:avLst/>
              <a:gdLst/>
              <a:ahLst/>
              <a:cxnLst/>
              <a:rect l="l" t="t" r="r" b="b"/>
              <a:pathLst>
                <a:path w="2175" h="2143" extrusionOk="0">
                  <a:moveTo>
                    <a:pt x="1103" y="0"/>
                  </a:moveTo>
                  <a:cubicBezTo>
                    <a:pt x="914" y="0"/>
                    <a:pt x="757" y="158"/>
                    <a:pt x="757" y="347"/>
                  </a:cubicBezTo>
                  <a:lnTo>
                    <a:pt x="757" y="725"/>
                  </a:lnTo>
                  <a:lnTo>
                    <a:pt x="379" y="725"/>
                  </a:lnTo>
                  <a:cubicBezTo>
                    <a:pt x="190" y="725"/>
                    <a:pt x="32" y="882"/>
                    <a:pt x="32" y="1071"/>
                  </a:cubicBezTo>
                  <a:cubicBezTo>
                    <a:pt x="0" y="1229"/>
                    <a:pt x="158" y="1418"/>
                    <a:pt x="379" y="1418"/>
                  </a:cubicBezTo>
                  <a:lnTo>
                    <a:pt x="757" y="1418"/>
                  </a:lnTo>
                  <a:lnTo>
                    <a:pt x="757" y="1796"/>
                  </a:lnTo>
                  <a:cubicBezTo>
                    <a:pt x="757" y="1985"/>
                    <a:pt x="914" y="2142"/>
                    <a:pt x="1103" y="2142"/>
                  </a:cubicBezTo>
                  <a:cubicBezTo>
                    <a:pt x="1292" y="2142"/>
                    <a:pt x="1450" y="1985"/>
                    <a:pt x="1450" y="1796"/>
                  </a:cubicBezTo>
                  <a:lnTo>
                    <a:pt x="1450" y="1418"/>
                  </a:lnTo>
                  <a:lnTo>
                    <a:pt x="1796" y="1418"/>
                  </a:lnTo>
                  <a:cubicBezTo>
                    <a:pt x="2017" y="1418"/>
                    <a:pt x="2174" y="1260"/>
                    <a:pt x="2174" y="1071"/>
                  </a:cubicBezTo>
                  <a:cubicBezTo>
                    <a:pt x="2174" y="882"/>
                    <a:pt x="2017" y="725"/>
                    <a:pt x="1796" y="725"/>
                  </a:cubicBezTo>
                  <a:lnTo>
                    <a:pt x="1450" y="725"/>
                  </a:lnTo>
                  <a:lnTo>
                    <a:pt x="1450" y="347"/>
                  </a:lnTo>
                  <a:cubicBezTo>
                    <a:pt x="1450" y="158"/>
                    <a:pt x="1292"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9" name="Google Shape;10259;p78"/>
          <p:cNvGrpSpPr/>
          <p:nvPr/>
        </p:nvGrpSpPr>
        <p:grpSpPr>
          <a:xfrm>
            <a:off x="5327076" y="3831192"/>
            <a:ext cx="323560" cy="361969"/>
            <a:chOff x="-54427725" y="2686975"/>
            <a:chExt cx="285150" cy="319000"/>
          </a:xfrm>
        </p:grpSpPr>
        <p:sp>
          <p:nvSpPr>
            <p:cNvPr id="10260" name="Google Shape;10260;p78"/>
            <p:cNvSpPr/>
            <p:nvPr/>
          </p:nvSpPr>
          <p:spPr>
            <a:xfrm>
              <a:off x="-54320600" y="2919525"/>
              <a:ext cx="72475" cy="28950"/>
            </a:xfrm>
            <a:custGeom>
              <a:avLst/>
              <a:gdLst/>
              <a:ahLst/>
              <a:cxnLst/>
              <a:rect l="l" t="t" r="r" b="b"/>
              <a:pathLst>
                <a:path w="2899" h="1158" extrusionOk="0">
                  <a:moveTo>
                    <a:pt x="398" y="0"/>
                  </a:moveTo>
                  <a:cubicBezTo>
                    <a:pt x="308" y="0"/>
                    <a:pt x="221" y="39"/>
                    <a:pt x="158" y="118"/>
                  </a:cubicBezTo>
                  <a:cubicBezTo>
                    <a:pt x="0" y="276"/>
                    <a:pt x="0" y="496"/>
                    <a:pt x="158" y="622"/>
                  </a:cubicBezTo>
                  <a:cubicBezTo>
                    <a:pt x="505" y="969"/>
                    <a:pt x="977" y="1158"/>
                    <a:pt x="1450" y="1158"/>
                  </a:cubicBezTo>
                  <a:cubicBezTo>
                    <a:pt x="1922" y="1158"/>
                    <a:pt x="2426" y="969"/>
                    <a:pt x="2741" y="622"/>
                  </a:cubicBezTo>
                  <a:cubicBezTo>
                    <a:pt x="2899" y="465"/>
                    <a:pt x="2899" y="213"/>
                    <a:pt x="2741" y="118"/>
                  </a:cubicBezTo>
                  <a:cubicBezTo>
                    <a:pt x="2663" y="39"/>
                    <a:pt x="2568" y="0"/>
                    <a:pt x="2478" y="0"/>
                  </a:cubicBezTo>
                  <a:cubicBezTo>
                    <a:pt x="2387" y="0"/>
                    <a:pt x="2300" y="39"/>
                    <a:pt x="2237" y="118"/>
                  </a:cubicBezTo>
                  <a:cubicBezTo>
                    <a:pt x="2048" y="307"/>
                    <a:pt x="1733" y="433"/>
                    <a:pt x="1450" y="433"/>
                  </a:cubicBezTo>
                  <a:cubicBezTo>
                    <a:pt x="1135" y="433"/>
                    <a:pt x="851" y="307"/>
                    <a:pt x="662" y="118"/>
                  </a:cubicBezTo>
                  <a:cubicBezTo>
                    <a:pt x="583" y="39"/>
                    <a:pt x="489"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78"/>
            <p:cNvSpPr/>
            <p:nvPr/>
          </p:nvSpPr>
          <p:spPr>
            <a:xfrm>
              <a:off x="-54256800" y="28563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2" name="Google Shape;10262;p78"/>
            <p:cNvSpPr/>
            <p:nvPr/>
          </p:nvSpPr>
          <p:spPr>
            <a:xfrm>
              <a:off x="-54330850" y="2856300"/>
              <a:ext cx="18150" cy="17350"/>
            </a:xfrm>
            <a:custGeom>
              <a:avLst/>
              <a:gdLst/>
              <a:ahLst/>
              <a:cxnLst/>
              <a:rect l="l" t="t" r="r" b="b"/>
              <a:pathLst>
                <a:path w="726" h="694" extrusionOk="0">
                  <a:moveTo>
                    <a:pt x="379" y="1"/>
                  </a:moveTo>
                  <a:cubicBezTo>
                    <a:pt x="190" y="1"/>
                    <a:pt x="1" y="158"/>
                    <a:pt x="1" y="347"/>
                  </a:cubicBezTo>
                  <a:cubicBezTo>
                    <a:pt x="1" y="536"/>
                    <a:pt x="190"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3" name="Google Shape;10263;p78"/>
            <p:cNvSpPr/>
            <p:nvPr/>
          </p:nvSpPr>
          <p:spPr>
            <a:xfrm>
              <a:off x="-54427725" y="2686975"/>
              <a:ext cx="285150" cy="319000"/>
            </a:xfrm>
            <a:custGeom>
              <a:avLst/>
              <a:gdLst/>
              <a:ahLst/>
              <a:cxnLst/>
              <a:rect l="l" t="t" r="r" b="b"/>
              <a:pathLst>
                <a:path w="11406" h="12760" extrusionOk="0">
                  <a:moveTo>
                    <a:pt x="8696" y="756"/>
                  </a:moveTo>
                  <a:cubicBezTo>
                    <a:pt x="9326" y="756"/>
                    <a:pt x="9799" y="1260"/>
                    <a:pt x="9799" y="1859"/>
                  </a:cubicBezTo>
                  <a:lnTo>
                    <a:pt x="9799" y="4883"/>
                  </a:lnTo>
                  <a:cubicBezTo>
                    <a:pt x="9799" y="5072"/>
                    <a:pt x="9641" y="5230"/>
                    <a:pt x="9452" y="5230"/>
                  </a:cubicBezTo>
                  <a:lnTo>
                    <a:pt x="2017" y="5230"/>
                  </a:lnTo>
                  <a:cubicBezTo>
                    <a:pt x="1797" y="5230"/>
                    <a:pt x="1639" y="5072"/>
                    <a:pt x="1639" y="4883"/>
                  </a:cubicBezTo>
                  <a:cubicBezTo>
                    <a:pt x="1608" y="4852"/>
                    <a:pt x="1608" y="1922"/>
                    <a:pt x="1608" y="1859"/>
                  </a:cubicBezTo>
                  <a:cubicBezTo>
                    <a:pt x="1608" y="1229"/>
                    <a:pt x="2112" y="756"/>
                    <a:pt x="2710" y="756"/>
                  </a:cubicBezTo>
                  <a:close/>
                  <a:moveTo>
                    <a:pt x="1608" y="5955"/>
                  </a:moveTo>
                  <a:cubicBezTo>
                    <a:pt x="1734" y="5986"/>
                    <a:pt x="1860" y="6018"/>
                    <a:pt x="1954" y="6018"/>
                  </a:cubicBezTo>
                  <a:lnTo>
                    <a:pt x="2301" y="6018"/>
                  </a:lnTo>
                  <a:lnTo>
                    <a:pt x="2301" y="8317"/>
                  </a:lnTo>
                  <a:cubicBezTo>
                    <a:pt x="2301" y="9105"/>
                    <a:pt x="1986" y="9798"/>
                    <a:pt x="1450" y="10334"/>
                  </a:cubicBezTo>
                  <a:cubicBezTo>
                    <a:pt x="1401" y="10433"/>
                    <a:pt x="1317" y="10480"/>
                    <a:pt x="1225" y="10480"/>
                  </a:cubicBezTo>
                  <a:cubicBezTo>
                    <a:pt x="1142" y="10480"/>
                    <a:pt x="1053" y="10440"/>
                    <a:pt x="977" y="10365"/>
                  </a:cubicBezTo>
                  <a:cubicBezTo>
                    <a:pt x="820" y="10208"/>
                    <a:pt x="820" y="9956"/>
                    <a:pt x="977" y="9830"/>
                  </a:cubicBezTo>
                  <a:cubicBezTo>
                    <a:pt x="1355" y="9452"/>
                    <a:pt x="1608" y="8853"/>
                    <a:pt x="1608" y="8317"/>
                  </a:cubicBezTo>
                  <a:lnTo>
                    <a:pt x="1608" y="5955"/>
                  </a:lnTo>
                  <a:close/>
                  <a:moveTo>
                    <a:pt x="9799" y="5955"/>
                  </a:moveTo>
                  <a:lnTo>
                    <a:pt x="9799" y="6805"/>
                  </a:lnTo>
                  <a:cubicBezTo>
                    <a:pt x="9799" y="8853"/>
                    <a:pt x="9988" y="9420"/>
                    <a:pt x="10429" y="9830"/>
                  </a:cubicBezTo>
                  <a:cubicBezTo>
                    <a:pt x="10618" y="9987"/>
                    <a:pt x="10618" y="10239"/>
                    <a:pt x="10460" y="10365"/>
                  </a:cubicBezTo>
                  <a:cubicBezTo>
                    <a:pt x="10382" y="10444"/>
                    <a:pt x="10287" y="10483"/>
                    <a:pt x="10197" y="10483"/>
                  </a:cubicBezTo>
                  <a:cubicBezTo>
                    <a:pt x="10106" y="10483"/>
                    <a:pt x="10019" y="10444"/>
                    <a:pt x="9956" y="10365"/>
                  </a:cubicBezTo>
                  <a:cubicBezTo>
                    <a:pt x="9389" y="9798"/>
                    <a:pt x="9074" y="9042"/>
                    <a:pt x="9074" y="8317"/>
                  </a:cubicBezTo>
                  <a:lnTo>
                    <a:pt x="9074" y="6018"/>
                  </a:lnTo>
                  <a:lnTo>
                    <a:pt x="9452" y="6018"/>
                  </a:lnTo>
                  <a:cubicBezTo>
                    <a:pt x="9547" y="6018"/>
                    <a:pt x="9704" y="5986"/>
                    <a:pt x="9799" y="5955"/>
                  </a:cubicBezTo>
                  <a:close/>
                  <a:moveTo>
                    <a:pt x="8381" y="6018"/>
                  </a:moveTo>
                  <a:lnTo>
                    <a:pt x="8381" y="8317"/>
                  </a:lnTo>
                  <a:cubicBezTo>
                    <a:pt x="8381" y="8948"/>
                    <a:pt x="8539" y="9515"/>
                    <a:pt x="8822" y="10050"/>
                  </a:cubicBezTo>
                  <a:cubicBezTo>
                    <a:pt x="8224" y="11216"/>
                    <a:pt x="7026" y="11972"/>
                    <a:pt x="5735" y="11972"/>
                  </a:cubicBezTo>
                  <a:cubicBezTo>
                    <a:pt x="4443" y="11972"/>
                    <a:pt x="3246" y="11216"/>
                    <a:pt x="2710" y="10050"/>
                  </a:cubicBezTo>
                  <a:cubicBezTo>
                    <a:pt x="2994" y="9515"/>
                    <a:pt x="3151" y="8916"/>
                    <a:pt x="3151" y="8317"/>
                  </a:cubicBezTo>
                  <a:lnTo>
                    <a:pt x="3151" y="6018"/>
                  </a:lnTo>
                  <a:close/>
                  <a:moveTo>
                    <a:pt x="2710" y="0"/>
                  </a:moveTo>
                  <a:cubicBezTo>
                    <a:pt x="1671" y="0"/>
                    <a:pt x="851" y="819"/>
                    <a:pt x="851" y="1859"/>
                  </a:cubicBezTo>
                  <a:lnTo>
                    <a:pt x="851" y="8317"/>
                  </a:lnTo>
                  <a:cubicBezTo>
                    <a:pt x="851" y="8696"/>
                    <a:pt x="694" y="9042"/>
                    <a:pt x="410" y="9326"/>
                  </a:cubicBezTo>
                  <a:cubicBezTo>
                    <a:pt x="1" y="9767"/>
                    <a:pt x="1" y="10460"/>
                    <a:pt x="410" y="10901"/>
                  </a:cubicBezTo>
                  <a:cubicBezTo>
                    <a:pt x="631" y="11121"/>
                    <a:pt x="922" y="11232"/>
                    <a:pt x="1210" y="11232"/>
                  </a:cubicBezTo>
                  <a:cubicBezTo>
                    <a:pt x="1497" y="11232"/>
                    <a:pt x="1781" y="11121"/>
                    <a:pt x="1986" y="10901"/>
                  </a:cubicBezTo>
                  <a:lnTo>
                    <a:pt x="2143" y="10743"/>
                  </a:lnTo>
                  <a:cubicBezTo>
                    <a:pt x="2868" y="11972"/>
                    <a:pt x="4191" y="12760"/>
                    <a:pt x="5672" y="12760"/>
                  </a:cubicBezTo>
                  <a:cubicBezTo>
                    <a:pt x="7152" y="12760"/>
                    <a:pt x="8444" y="11972"/>
                    <a:pt x="9169" y="10743"/>
                  </a:cubicBezTo>
                  <a:cubicBezTo>
                    <a:pt x="9200" y="10838"/>
                    <a:pt x="9295" y="10869"/>
                    <a:pt x="9326" y="10901"/>
                  </a:cubicBezTo>
                  <a:cubicBezTo>
                    <a:pt x="9547" y="11121"/>
                    <a:pt x="9830" y="11232"/>
                    <a:pt x="10114" y="11232"/>
                  </a:cubicBezTo>
                  <a:cubicBezTo>
                    <a:pt x="10397" y="11232"/>
                    <a:pt x="10681" y="11121"/>
                    <a:pt x="10901" y="10901"/>
                  </a:cubicBezTo>
                  <a:cubicBezTo>
                    <a:pt x="11406" y="10460"/>
                    <a:pt x="11406" y="9767"/>
                    <a:pt x="10964" y="9326"/>
                  </a:cubicBezTo>
                  <a:cubicBezTo>
                    <a:pt x="10744" y="9105"/>
                    <a:pt x="10555" y="8727"/>
                    <a:pt x="10555" y="6805"/>
                  </a:cubicBezTo>
                  <a:lnTo>
                    <a:pt x="10555" y="1859"/>
                  </a:lnTo>
                  <a:cubicBezTo>
                    <a:pt x="10555" y="819"/>
                    <a:pt x="9704" y="0"/>
                    <a:pt x="8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4" name="Google Shape;10264;p78"/>
            <p:cNvSpPr/>
            <p:nvPr/>
          </p:nvSpPr>
          <p:spPr>
            <a:xfrm>
              <a:off x="-54330850" y="2717875"/>
              <a:ext cx="93750" cy="85425"/>
            </a:xfrm>
            <a:custGeom>
              <a:avLst/>
              <a:gdLst/>
              <a:ahLst/>
              <a:cxnLst/>
              <a:rect l="l" t="t" r="r" b="b"/>
              <a:pathLst>
                <a:path w="3750" h="3417" extrusionOk="0">
                  <a:moveTo>
                    <a:pt x="1828" y="1285"/>
                  </a:moveTo>
                  <a:lnTo>
                    <a:pt x="1891" y="1474"/>
                  </a:lnTo>
                  <a:cubicBezTo>
                    <a:pt x="1954" y="1600"/>
                    <a:pt x="2049" y="1663"/>
                    <a:pt x="2175" y="1663"/>
                  </a:cubicBezTo>
                  <a:lnTo>
                    <a:pt x="2364" y="1726"/>
                  </a:lnTo>
                  <a:lnTo>
                    <a:pt x="2206" y="1883"/>
                  </a:lnTo>
                  <a:cubicBezTo>
                    <a:pt x="2143" y="1946"/>
                    <a:pt x="2112" y="2072"/>
                    <a:pt x="2112" y="2198"/>
                  </a:cubicBezTo>
                  <a:lnTo>
                    <a:pt x="2143" y="2387"/>
                  </a:lnTo>
                  <a:lnTo>
                    <a:pt x="1954" y="2293"/>
                  </a:lnTo>
                  <a:cubicBezTo>
                    <a:pt x="1891" y="2277"/>
                    <a:pt x="1828" y="2269"/>
                    <a:pt x="1765" y="2269"/>
                  </a:cubicBezTo>
                  <a:cubicBezTo>
                    <a:pt x="1702" y="2269"/>
                    <a:pt x="1639" y="2277"/>
                    <a:pt x="1576" y="2293"/>
                  </a:cubicBezTo>
                  <a:lnTo>
                    <a:pt x="1387" y="2387"/>
                  </a:lnTo>
                  <a:lnTo>
                    <a:pt x="1450" y="2198"/>
                  </a:lnTo>
                  <a:cubicBezTo>
                    <a:pt x="1482" y="2072"/>
                    <a:pt x="1450" y="1946"/>
                    <a:pt x="1324" y="1883"/>
                  </a:cubicBezTo>
                  <a:lnTo>
                    <a:pt x="1167" y="1726"/>
                  </a:lnTo>
                  <a:lnTo>
                    <a:pt x="1482" y="1663"/>
                  </a:lnTo>
                  <a:cubicBezTo>
                    <a:pt x="1576" y="1663"/>
                    <a:pt x="1702" y="1600"/>
                    <a:pt x="1734" y="1474"/>
                  </a:cubicBezTo>
                  <a:lnTo>
                    <a:pt x="1828" y="1285"/>
                  </a:lnTo>
                  <a:close/>
                  <a:moveTo>
                    <a:pt x="1887" y="1"/>
                  </a:moveTo>
                  <a:cubicBezTo>
                    <a:pt x="1749" y="1"/>
                    <a:pt x="1608" y="72"/>
                    <a:pt x="1545" y="213"/>
                  </a:cubicBezTo>
                  <a:lnTo>
                    <a:pt x="1198" y="938"/>
                  </a:lnTo>
                  <a:lnTo>
                    <a:pt x="442" y="1033"/>
                  </a:lnTo>
                  <a:cubicBezTo>
                    <a:pt x="127" y="1096"/>
                    <a:pt x="1" y="1474"/>
                    <a:pt x="253" y="1663"/>
                  </a:cubicBezTo>
                  <a:lnTo>
                    <a:pt x="757" y="2230"/>
                  </a:lnTo>
                  <a:lnTo>
                    <a:pt x="631" y="2986"/>
                  </a:lnTo>
                  <a:cubicBezTo>
                    <a:pt x="607" y="3229"/>
                    <a:pt x="789" y="3416"/>
                    <a:pt x="1004" y="3416"/>
                  </a:cubicBezTo>
                  <a:cubicBezTo>
                    <a:pt x="1067" y="3416"/>
                    <a:pt x="1133" y="3400"/>
                    <a:pt x="1198" y="3364"/>
                  </a:cubicBezTo>
                  <a:lnTo>
                    <a:pt x="1860" y="3017"/>
                  </a:lnTo>
                  <a:lnTo>
                    <a:pt x="2521" y="3364"/>
                  </a:lnTo>
                  <a:cubicBezTo>
                    <a:pt x="2586" y="3400"/>
                    <a:pt x="2652" y="3416"/>
                    <a:pt x="2715" y="3416"/>
                  </a:cubicBezTo>
                  <a:cubicBezTo>
                    <a:pt x="2930" y="3416"/>
                    <a:pt x="3113" y="3229"/>
                    <a:pt x="3088" y="2986"/>
                  </a:cubicBezTo>
                  <a:lnTo>
                    <a:pt x="2962" y="2230"/>
                  </a:lnTo>
                  <a:lnTo>
                    <a:pt x="3529" y="1663"/>
                  </a:lnTo>
                  <a:cubicBezTo>
                    <a:pt x="3750" y="1474"/>
                    <a:pt x="3624" y="1096"/>
                    <a:pt x="3309" y="1033"/>
                  </a:cubicBezTo>
                  <a:lnTo>
                    <a:pt x="2584" y="938"/>
                  </a:lnTo>
                  <a:lnTo>
                    <a:pt x="2206" y="213"/>
                  </a:lnTo>
                  <a:cubicBezTo>
                    <a:pt x="2159" y="72"/>
                    <a:pt x="2025" y="1"/>
                    <a:pt x="18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5" name="Google Shape;10265;p78"/>
          <p:cNvGrpSpPr/>
          <p:nvPr/>
        </p:nvGrpSpPr>
        <p:grpSpPr>
          <a:xfrm>
            <a:off x="7533634" y="2912163"/>
            <a:ext cx="359303" cy="359984"/>
            <a:chOff x="-52513800" y="1903475"/>
            <a:chExt cx="316650" cy="317250"/>
          </a:xfrm>
        </p:grpSpPr>
        <p:sp>
          <p:nvSpPr>
            <p:cNvPr id="10266" name="Google Shape;10266;p78"/>
            <p:cNvSpPr/>
            <p:nvPr/>
          </p:nvSpPr>
          <p:spPr>
            <a:xfrm>
              <a:off x="-52391700" y="2135825"/>
              <a:ext cx="72475" cy="28975"/>
            </a:xfrm>
            <a:custGeom>
              <a:avLst/>
              <a:gdLst/>
              <a:ahLst/>
              <a:cxnLst/>
              <a:rect l="l" t="t" r="r" b="b"/>
              <a:pathLst>
                <a:path w="2899" h="1159" extrusionOk="0">
                  <a:moveTo>
                    <a:pt x="386" y="1"/>
                  </a:moveTo>
                  <a:cubicBezTo>
                    <a:pt x="291" y="1"/>
                    <a:pt x="205" y="40"/>
                    <a:pt x="158" y="119"/>
                  </a:cubicBezTo>
                  <a:cubicBezTo>
                    <a:pt x="0" y="276"/>
                    <a:pt x="0" y="497"/>
                    <a:pt x="158" y="623"/>
                  </a:cubicBezTo>
                  <a:cubicBezTo>
                    <a:pt x="504" y="970"/>
                    <a:pt x="977" y="1159"/>
                    <a:pt x="1449" y="1159"/>
                  </a:cubicBezTo>
                  <a:cubicBezTo>
                    <a:pt x="1922" y="1159"/>
                    <a:pt x="2426" y="970"/>
                    <a:pt x="2741" y="623"/>
                  </a:cubicBezTo>
                  <a:cubicBezTo>
                    <a:pt x="2898" y="465"/>
                    <a:pt x="2898"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0" y="1"/>
                    <a:pt x="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7" name="Google Shape;10267;p78"/>
            <p:cNvSpPr/>
            <p:nvPr/>
          </p:nvSpPr>
          <p:spPr>
            <a:xfrm>
              <a:off x="-52513800" y="1903475"/>
              <a:ext cx="316650" cy="317250"/>
            </a:xfrm>
            <a:custGeom>
              <a:avLst/>
              <a:gdLst/>
              <a:ahLst/>
              <a:cxnLst/>
              <a:rect l="l" t="t" r="r" b="b"/>
              <a:pathLst>
                <a:path w="12666" h="12690" extrusionOk="0">
                  <a:moveTo>
                    <a:pt x="6333" y="781"/>
                  </a:moveTo>
                  <a:lnTo>
                    <a:pt x="11500" y="3332"/>
                  </a:lnTo>
                  <a:lnTo>
                    <a:pt x="10082" y="4057"/>
                  </a:lnTo>
                  <a:lnTo>
                    <a:pt x="9641" y="3175"/>
                  </a:lnTo>
                  <a:cubicBezTo>
                    <a:pt x="9547" y="3049"/>
                    <a:pt x="9452" y="2986"/>
                    <a:pt x="9326" y="2986"/>
                  </a:cubicBezTo>
                  <a:lnTo>
                    <a:pt x="3309" y="2986"/>
                  </a:lnTo>
                  <a:cubicBezTo>
                    <a:pt x="3151" y="2986"/>
                    <a:pt x="3025" y="3049"/>
                    <a:pt x="2994" y="3175"/>
                  </a:cubicBezTo>
                  <a:lnTo>
                    <a:pt x="2553" y="4057"/>
                  </a:lnTo>
                  <a:lnTo>
                    <a:pt x="1167" y="3332"/>
                  </a:lnTo>
                  <a:lnTo>
                    <a:pt x="6333" y="781"/>
                  </a:lnTo>
                  <a:close/>
                  <a:moveTo>
                    <a:pt x="9043" y="3742"/>
                  </a:moveTo>
                  <a:lnTo>
                    <a:pt x="9389" y="4467"/>
                  </a:lnTo>
                  <a:lnTo>
                    <a:pt x="3151" y="4467"/>
                  </a:lnTo>
                  <a:lnTo>
                    <a:pt x="3498" y="3742"/>
                  </a:lnTo>
                  <a:close/>
                  <a:moveTo>
                    <a:pt x="9673" y="5223"/>
                  </a:moveTo>
                  <a:lnTo>
                    <a:pt x="9673" y="6105"/>
                  </a:lnTo>
                  <a:cubicBezTo>
                    <a:pt x="9547" y="6042"/>
                    <a:pt x="9452" y="6010"/>
                    <a:pt x="9326" y="6010"/>
                  </a:cubicBezTo>
                  <a:lnTo>
                    <a:pt x="7782" y="6010"/>
                  </a:lnTo>
                  <a:cubicBezTo>
                    <a:pt x="7310" y="6010"/>
                    <a:pt x="6869" y="6325"/>
                    <a:pt x="6743" y="6766"/>
                  </a:cubicBezTo>
                  <a:lnTo>
                    <a:pt x="5861" y="6766"/>
                  </a:lnTo>
                  <a:cubicBezTo>
                    <a:pt x="5703" y="6325"/>
                    <a:pt x="5325" y="6010"/>
                    <a:pt x="4790" y="6010"/>
                  </a:cubicBezTo>
                  <a:lnTo>
                    <a:pt x="3277" y="6010"/>
                  </a:lnTo>
                  <a:cubicBezTo>
                    <a:pt x="3151" y="6010"/>
                    <a:pt x="2994" y="6042"/>
                    <a:pt x="2899" y="6105"/>
                  </a:cubicBezTo>
                  <a:lnTo>
                    <a:pt x="2899" y="5223"/>
                  </a:lnTo>
                  <a:close/>
                  <a:moveTo>
                    <a:pt x="4821" y="6766"/>
                  </a:moveTo>
                  <a:cubicBezTo>
                    <a:pt x="5042" y="6766"/>
                    <a:pt x="5199" y="6924"/>
                    <a:pt x="5199" y="7113"/>
                  </a:cubicBezTo>
                  <a:cubicBezTo>
                    <a:pt x="5199" y="7743"/>
                    <a:pt x="4664" y="8216"/>
                    <a:pt x="4096" y="8216"/>
                  </a:cubicBezTo>
                  <a:lnTo>
                    <a:pt x="3309" y="8216"/>
                  </a:lnTo>
                  <a:cubicBezTo>
                    <a:pt x="3088" y="8216"/>
                    <a:pt x="2931" y="8058"/>
                    <a:pt x="2931" y="7869"/>
                  </a:cubicBezTo>
                  <a:lnTo>
                    <a:pt x="2931" y="7113"/>
                  </a:lnTo>
                  <a:cubicBezTo>
                    <a:pt x="2931" y="6924"/>
                    <a:pt x="3088" y="6766"/>
                    <a:pt x="3309" y="6766"/>
                  </a:cubicBezTo>
                  <a:close/>
                  <a:moveTo>
                    <a:pt x="9326" y="6766"/>
                  </a:moveTo>
                  <a:cubicBezTo>
                    <a:pt x="9515" y="6766"/>
                    <a:pt x="9673" y="6924"/>
                    <a:pt x="9673" y="7113"/>
                  </a:cubicBezTo>
                  <a:lnTo>
                    <a:pt x="9673" y="7869"/>
                  </a:lnTo>
                  <a:cubicBezTo>
                    <a:pt x="9673" y="8058"/>
                    <a:pt x="9515" y="8216"/>
                    <a:pt x="9326" y="8216"/>
                  </a:cubicBezTo>
                  <a:lnTo>
                    <a:pt x="8570" y="8216"/>
                  </a:lnTo>
                  <a:cubicBezTo>
                    <a:pt x="7940" y="8216"/>
                    <a:pt x="7436" y="7712"/>
                    <a:pt x="7436" y="7113"/>
                  </a:cubicBezTo>
                  <a:cubicBezTo>
                    <a:pt x="7436" y="6924"/>
                    <a:pt x="7593" y="6766"/>
                    <a:pt x="7782" y="6766"/>
                  </a:cubicBezTo>
                  <a:close/>
                  <a:moveTo>
                    <a:pt x="2206" y="6766"/>
                  </a:moveTo>
                  <a:lnTo>
                    <a:pt x="2206" y="8247"/>
                  </a:lnTo>
                  <a:cubicBezTo>
                    <a:pt x="1765" y="8247"/>
                    <a:pt x="1450" y="7901"/>
                    <a:pt x="1450" y="7523"/>
                  </a:cubicBezTo>
                  <a:cubicBezTo>
                    <a:pt x="1450" y="7113"/>
                    <a:pt x="1765" y="6766"/>
                    <a:pt x="2206" y="6766"/>
                  </a:cubicBezTo>
                  <a:close/>
                  <a:moveTo>
                    <a:pt x="10429" y="6766"/>
                  </a:moveTo>
                  <a:cubicBezTo>
                    <a:pt x="10870" y="6766"/>
                    <a:pt x="11185" y="7082"/>
                    <a:pt x="11185" y="7523"/>
                  </a:cubicBezTo>
                  <a:cubicBezTo>
                    <a:pt x="11185" y="7901"/>
                    <a:pt x="10807" y="8247"/>
                    <a:pt x="10429" y="8247"/>
                  </a:cubicBezTo>
                  <a:lnTo>
                    <a:pt x="10429" y="6766"/>
                  </a:lnTo>
                  <a:close/>
                  <a:moveTo>
                    <a:pt x="6680" y="7523"/>
                  </a:moveTo>
                  <a:cubicBezTo>
                    <a:pt x="6774" y="7869"/>
                    <a:pt x="6932" y="8184"/>
                    <a:pt x="7184" y="8468"/>
                  </a:cubicBezTo>
                  <a:cubicBezTo>
                    <a:pt x="7562" y="8814"/>
                    <a:pt x="8035" y="9003"/>
                    <a:pt x="8539" y="9003"/>
                  </a:cubicBezTo>
                  <a:lnTo>
                    <a:pt x="9295" y="9003"/>
                  </a:lnTo>
                  <a:cubicBezTo>
                    <a:pt x="9389" y="9003"/>
                    <a:pt x="9515" y="8972"/>
                    <a:pt x="9641" y="8940"/>
                  </a:cubicBezTo>
                  <a:lnTo>
                    <a:pt x="9641" y="8940"/>
                  </a:lnTo>
                  <a:cubicBezTo>
                    <a:pt x="9515" y="10610"/>
                    <a:pt x="8066" y="11965"/>
                    <a:pt x="6302" y="11965"/>
                  </a:cubicBezTo>
                  <a:cubicBezTo>
                    <a:pt x="4506" y="11965"/>
                    <a:pt x="3088" y="10610"/>
                    <a:pt x="2899" y="8940"/>
                  </a:cubicBezTo>
                  <a:lnTo>
                    <a:pt x="2899" y="8940"/>
                  </a:lnTo>
                  <a:cubicBezTo>
                    <a:pt x="3025" y="8972"/>
                    <a:pt x="3151" y="9003"/>
                    <a:pt x="3246" y="9003"/>
                  </a:cubicBezTo>
                  <a:lnTo>
                    <a:pt x="4033" y="9003"/>
                  </a:lnTo>
                  <a:cubicBezTo>
                    <a:pt x="4947" y="9003"/>
                    <a:pt x="5703" y="8373"/>
                    <a:pt x="5861" y="7523"/>
                  </a:cubicBezTo>
                  <a:close/>
                  <a:moveTo>
                    <a:pt x="6310" y="1"/>
                  </a:moveTo>
                  <a:cubicBezTo>
                    <a:pt x="6255" y="1"/>
                    <a:pt x="6207" y="9"/>
                    <a:pt x="6176" y="24"/>
                  </a:cubicBezTo>
                  <a:lnTo>
                    <a:pt x="190" y="3017"/>
                  </a:lnTo>
                  <a:cubicBezTo>
                    <a:pt x="64" y="3112"/>
                    <a:pt x="1" y="3206"/>
                    <a:pt x="1" y="3332"/>
                  </a:cubicBezTo>
                  <a:cubicBezTo>
                    <a:pt x="1" y="3490"/>
                    <a:pt x="64" y="3616"/>
                    <a:pt x="190" y="3647"/>
                  </a:cubicBezTo>
                  <a:lnTo>
                    <a:pt x="2238" y="4656"/>
                  </a:lnTo>
                  <a:cubicBezTo>
                    <a:pt x="2238" y="4719"/>
                    <a:pt x="2206" y="4750"/>
                    <a:pt x="2206" y="4782"/>
                  </a:cubicBezTo>
                  <a:lnTo>
                    <a:pt x="2206" y="5979"/>
                  </a:lnTo>
                  <a:cubicBezTo>
                    <a:pt x="1356" y="5979"/>
                    <a:pt x="694" y="6640"/>
                    <a:pt x="694" y="7460"/>
                  </a:cubicBezTo>
                  <a:cubicBezTo>
                    <a:pt x="694" y="8279"/>
                    <a:pt x="1356" y="8972"/>
                    <a:pt x="2206" y="8972"/>
                  </a:cubicBezTo>
                  <a:cubicBezTo>
                    <a:pt x="2395" y="11051"/>
                    <a:pt x="4159" y="12689"/>
                    <a:pt x="6302" y="12689"/>
                  </a:cubicBezTo>
                  <a:cubicBezTo>
                    <a:pt x="8413" y="12689"/>
                    <a:pt x="10240" y="11051"/>
                    <a:pt x="10397" y="8972"/>
                  </a:cubicBezTo>
                  <a:cubicBezTo>
                    <a:pt x="11217" y="8972"/>
                    <a:pt x="11878" y="8279"/>
                    <a:pt x="11878" y="7460"/>
                  </a:cubicBezTo>
                  <a:cubicBezTo>
                    <a:pt x="11878" y="6640"/>
                    <a:pt x="11217" y="5979"/>
                    <a:pt x="10397" y="5979"/>
                  </a:cubicBezTo>
                  <a:lnTo>
                    <a:pt x="10397" y="4782"/>
                  </a:lnTo>
                  <a:cubicBezTo>
                    <a:pt x="10397" y="4750"/>
                    <a:pt x="10397" y="4719"/>
                    <a:pt x="10334" y="4656"/>
                  </a:cubicBezTo>
                  <a:lnTo>
                    <a:pt x="11847" y="3931"/>
                  </a:lnTo>
                  <a:lnTo>
                    <a:pt x="11847" y="6357"/>
                  </a:lnTo>
                  <a:cubicBezTo>
                    <a:pt x="11847" y="6546"/>
                    <a:pt x="12004" y="6703"/>
                    <a:pt x="12193" y="6703"/>
                  </a:cubicBezTo>
                  <a:cubicBezTo>
                    <a:pt x="12382" y="6703"/>
                    <a:pt x="12540" y="6546"/>
                    <a:pt x="12540" y="6357"/>
                  </a:cubicBezTo>
                  <a:lnTo>
                    <a:pt x="12540" y="3332"/>
                  </a:lnTo>
                  <a:lnTo>
                    <a:pt x="12666" y="3332"/>
                  </a:lnTo>
                  <a:cubicBezTo>
                    <a:pt x="12666" y="3206"/>
                    <a:pt x="12603" y="3049"/>
                    <a:pt x="12477" y="3017"/>
                  </a:cubicBezTo>
                  <a:lnTo>
                    <a:pt x="6491" y="24"/>
                  </a:lnTo>
                  <a:cubicBezTo>
                    <a:pt x="6428" y="9"/>
                    <a:pt x="6365" y="1"/>
                    <a:pt x="6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8" name="Google Shape;10268;p78"/>
          <p:cNvGrpSpPr/>
          <p:nvPr/>
        </p:nvGrpSpPr>
        <p:grpSpPr>
          <a:xfrm>
            <a:off x="7543464" y="3364520"/>
            <a:ext cx="339644" cy="360182"/>
            <a:chOff x="-52505925" y="2295525"/>
            <a:chExt cx="299325" cy="317425"/>
          </a:xfrm>
        </p:grpSpPr>
        <p:sp>
          <p:nvSpPr>
            <p:cNvPr id="10269" name="Google Shape;10269;p78"/>
            <p:cNvSpPr/>
            <p:nvPr/>
          </p:nvSpPr>
          <p:spPr>
            <a:xfrm>
              <a:off x="-52401950" y="2526500"/>
              <a:ext cx="73275" cy="29750"/>
            </a:xfrm>
            <a:custGeom>
              <a:avLst/>
              <a:gdLst/>
              <a:ahLst/>
              <a:cxnLst/>
              <a:rect l="l" t="t" r="r" b="b"/>
              <a:pathLst>
                <a:path w="2931" h="1190" extrusionOk="0">
                  <a:moveTo>
                    <a:pt x="398" y="0"/>
                  </a:moveTo>
                  <a:cubicBezTo>
                    <a:pt x="308" y="0"/>
                    <a:pt x="221" y="39"/>
                    <a:pt x="158" y="118"/>
                  </a:cubicBezTo>
                  <a:cubicBezTo>
                    <a:pt x="0" y="276"/>
                    <a:pt x="0" y="496"/>
                    <a:pt x="158" y="622"/>
                  </a:cubicBezTo>
                  <a:cubicBezTo>
                    <a:pt x="505" y="969"/>
                    <a:pt x="977" y="1189"/>
                    <a:pt x="1450" y="1189"/>
                  </a:cubicBezTo>
                  <a:cubicBezTo>
                    <a:pt x="1922" y="1189"/>
                    <a:pt x="2458" y="969"/>
                    <a:pt x="2773" y="622"/>
                  </a:cubicBezTo>
                  <a:cubicBezTo>
                    <a:pt x="2930" y="465"/>
                    <a:pt x="2930" y="244"/>
                    <a:pt x="2773" y="118"/>
                  </a:cubicBezTo>
                  <a:cubicBezTo>
                    <a:pt x="2710" y="55"/>
                    <a:pt x="2615" y="24"/>
                    <a:pt x="2517" y="24"/>
                  </a:cubicBezTo>
                  <a:cubicBezTo>
                    <a:pt x="2418" y="24"/>
                    <a:pt x="2316" y="55"/>
                    <a:pt x="2237" y="118"/>
                  </a:cubicBezTo>
                  <a:cubicBezTo>
                    <a:pt x="2048" y="307"/>
                    <a:pt x="1733" y="433"/>
                    <a:pt x="1450" y="433"/>
                  </a:cubicBezTo>
                  <a:cubicBezTo>
                    <a:pt x="1135" y="433"/>
                    <a:pt x="883" y="307"/>
                    <a:pt x="662" y="118"/>
                  </a:cubicBezTo>
                  <a:cubicBezTo>
                    <a:pt x="583" y="39"/>
                    <a:pt x="489"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78"/>
            <p:cNvSpPr/>
            <p:nvPr/>
          </p:nvSpPr>
          <p:spPr>
            <a:xfrm>
              <a:off x="-52411400"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78"/>
            <p:cNvSpPr/>
            <p:nvPr/>
          </p:nvSpPr>
          <p:spPr>
            <a:xfrm>
              <a:off x="-5233657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78"/>
            <p:cNvSpPr/>
            <p:nvPr/>
          </p:nvSpPr>
          <p:spPr>
            <a:xfrm>
              <a:off x="-52505925" y="2295525"/>
              <a:ext cx="299325" cy="317425"/>
            </a:xfrm>
            <a:custGeom>
              <a:avLst/>
              <a:gdLst/>
              <a:ahLst/>
              <a:cxnLst/>
              <a:rect l="l" t="t" r="r" b="b"/>
              <a:pathLst>
                <a:path w="11973" h="12697" extrusionOk="0">
                  <a:moveTo>
                    <a:pt x="8046" y="1489"/>
                  </a:moveTo>
                  <a:cubicBezTo>
                    <a:pt x="8121" y="1489"/>
                    <a:pt x="8192" y="1497"/>
                    <a:pt x="8255" y="1513"/>
                  </a:cubicBezTo>
                  <a:cubicBezTo>
                    <a:pt x="8224" y="1639"/>
                    <a:pt x="8224" y="1765"/>
                    <a:pt x="8224" y="1859"/>
                  </a:cubicBezTo>
                  <a:lnTo>
                    <a:pt x="8224" y="2080"/>
                  </a:lnTo>
                  <a:cubicBezTo>
                    <a:pt x="7909" y="1828"/>
                    <a:pt x="7499" y="1670"/>
                    <a:pt x="7121" y="1607"/>
                  </a:cubicBezTo>
                  <a:cubicBezTo>
                    <a:pt x="7341" y="1513"/>
                    <a:pt x="7594" y="1513"/>
                    <a:pt x="7814" y="1513"/>
                  </a:cubicBezTo>
                  <a:cubicBezTo>
                    <a:pt x="7893" y="1497"/>
                    <a:pt x="7972" y="1489"/>
                    <a:pt x="8046" y="1489"/>
                  </a:cubicBezTo>
                  <a:close/>
                  <a:moveTo>
                    <a:pt x="9326" y="914"/>
                  </a:moveTo>
                  <a:cubicBezTo>
                    <a:pt x="9484" y="1071"/>
                    <a:pt x="9610" y="1261"/>
                    <a:pt x="9673" y="1544"/>
                  </a:cubicBezTo>
                  <a:cubicBezTo>
                    <a:pt x="9452" y="1796"/>
                    <a:pt x="9232" y="2111"/>
                    <a:pt x="9137" y="2458"/>
                  </a:cubicBezTo>
                  <a:cubicBezTo>
                    <a:pt x="9043" y="2269"/>
                    <a:pt x="8980" y="2080"/>
                    <a:pt x="8980" y="1859"/>
                  </a:cubicBezTo>
                  <a:cubicBezTo>
                    <a:pt x="8980" y="1513"/>
                    <a:pt x="9137" y="1198"/>
                    <a:pt x="9326" y="914"/>
                  </a:cubicBezTo>
                  <a:close/>
                  <a:moveTo>
                    <a:pt x="11122" y="1513"/>
                  </a:moveTo>
                  <a:lnTo>
                    <a:pt x="11122" y="1513"/>
                  </a:lnTo>
                  <a:cubicBezTo>
                    <a:pt x="11028" y="2174"/>
                    <a:pt x="10460" y="2741"/>
                    <a:pt x="9767" y="2899"/>
                  </a:cubicBezTo>
                  <a:cubicBezTo>
                    <a:pt x="9925" y="2174"/>
                    <a:pt x="10460" y="1670"/>
                    <a:pt x="11122" y="1513"/>
                  </a:cubicBezTo>
                  <a:close/>
                  <a:moveTo>
                    <a:pt x="6365" y="2237"/>
                  </a:moveTo>
                  <a:cubicBezTo>
                    <a:pt x="7404" y="2237"/>
                    <a:pt x="8287" y="2836"/>
                    <a:pt x="8728" y="3718"/>
                  </a:cubicBezTo>
                  <a:lnTo>
                    <a:pt x="8602" y="3718"/>
                  </a:lnTo>
                  <a:cubicBezTo>
                    <a:pt x="7972" y="3718"/>
                    <a:pt x="7499" y="4222"/>
                    <a:pt x="7499" y="4821"/>
                  </a:cubicBezTo>
                  <a:lnTo>
                    <a:pt x="7499" y="5167"/>
                  </a:lnTo>
                  <a:lnTo>
                    <a:pt x="3025" y="5167"/>
                  </a:lnTo>
                  <a:cubicBezTo>
                    <a:pt x="2206" y="5167"/>
                    <a:pt x="1513" y="4506"/>
                    <a:pt x="1513" y="3686"/>
                  </a:cubicBezTo>
                  <a:cubicBezTo>
                    <a:pt x="1513" y="2899"/>
                    <a:pt x="2206" y="2237"/>
                    <a:pt x="3025" y="2237"/>
                  </a:cubicBezTo>
                  <a:close/>
                  <a:moveTo>
                    <a:pt x="10397" y="3497"/>
                  </a:moveTo>
                  <a:cubicBezTo>
                    <a:pt x="10429" y="3686"/>
                    <a:pt x="10460" y="3875"/>
                    <a:pt x="10460" y="4064"/>
                  </a:cubicBezTo>
                  <a:cubicBezTo>
                    <a:pt x="10460" y="4537"/>
                    <a:pt x="10334" y="4978"/>
                    <a:pt x="10114" y="5388"/>
                  </a:cubicBezTo>
                  <a:cubicBezTo>
                    <a:pt x="9956" y="5608"/>
                    <a:pt x="10145" y="5923"/>
                    <a:pt x="10429" y="5923"/>
                  </a:cubicBezTo>
                  <a:lnTo>
                    <a:pt x="10460" y="5923"/>
                  </a:lnTo>
                  <a:cubicBezTo>
                    <a:pt x="10870" y="5923"/>
                    <a:pt x="11217" y="6238"/>
                    <a:pt x="11217" y="6679"/>
                  </a:cubicBezTo>
                  <a:cubicBezTo>
                    <a:pt x="11217" y="7120"/>
                    <a:pt x="10902" y="7435"/>
                    <a:pt x="10460" y="7435"/>
                  </a:cubicBezTo>
                  <a:lnTo>
                    <a:pt x="9704" y="7435"/>
                  </a:lnTo>
                  <a:lnTo>
                    <a:pt x="9704" y="4821"/>
                  </a:lnTo>
                  <a:cubicBezTo>
                    <a:pt x="9704" y="4443"/>
                    <a:pt x="9641" y="4033"/>
                    <a:pt x="9515" y="3686"/>
                  </a:cubicBezTo>
                  <a:cubicBezTo>
                    <a:pt x="9830" y="3655"/>
                    <a:pt x="10114" y="3592"/>
                    <a:pt x="10397" y="3497"/>
                  </a:cubicBezTo>
                  <a:close/>
                  <a:moveTo>
                    <a:pt x="1513" y="6679"/>
                  </a:moveTo>
                  <a:lnTo>
                    <a:pt x="1513" y="8160"/>
                  </a:lnTo>
                  <a:cubicBezTo>
                    <a:pt x="1104" y="8160"/>
                    <a:pt x="789" y="7845"/>
                    <a:pt x="789" y="7435"/>
                  </a:cubicBezTo>
                  <a:cubicBezTo>
                    <a:pt x="789" y="7026"/>
                    <a:pt x="1135" y="6679"/>
                    <a:pt x="1513" y="6679"/>
                  </a:cubicBezTo>
                  <a:close/>
                  <a:moveTo>
                    <a:pt x="8570" y="4474"/>
                  </a:moveTo>
                  <a:cubicBezTo>
                    <a:pt x="8759" y="4474"/>
                    <a:pt x="8917" y="4632"/>
                    <a:pt x="8917" y="4821"/>
                  </a:cubicBezTo>
                  <a:cubicBezTo>
                    <a:pt x="8980" y="4978"/>
                    <a:pt x="8980" y="8412"/>
                    <a:pt x="8980" y="8570"/>
                  </a:cubicBezTo>
                  <a:cubicBezTo>
                    <a:pt x="8980" y="10460"/>
                    <a:pt x="7467" y="11972"/>
                    <a:pt x="5609" y="11972"/>
                  </a:cubicBezTo>
                  <a:cubicBezTo>
                    <a:pt x="3781" y="11972"/>
                    <a:pt x="2269" y="10460"/>
                    <a:pt x="2269" y="8570"/>
                  </a:cubicBezTo>
                  <a:lnTo>
                    <a:pt x="2269" y="5797"/>
                  </a:lnTo>
                  <a:cubicBezTo>
                    <a:pt x="2521" y="5892"/>
                    <a:pt x="2742" y="5923"/>
                    <a:pt x="3025" y="5923"/>
                  </a:cubicBezTo>
                  <a:lnTo>
                    <a:pt x="7877" y="5923"/>
                  </a:lnTo>
                  <a:cubicBezTo>
                    <a:pt x="8066" y="5923"/>
                    <a:pt x="8224" y="5766"/>
                    <a:pt x="8224" y="5577"/>
                  </a:cubicBezTo>
                  <a:lnTo>
                    <a:pt x="8224" y="4821"/>
                  </a:lnTo>
                  <a:cubicBezTo>
                    <a:pt x="8224" y="4632"/>
                    <a:pt x="8381" y="4474"/>
                    <a:pt x="8570" y="4474"/>
                  </a:cubicBezTo>
                  <a:close/>
                  <a:moveTo>
                    <a:pt x="9358" y="0"/>
                  </a:moveTo>
                  <a:cubicBezTo>
                    <a:pt x="9271" y="0"/>
                    <a:pt x="9185" y="32"/>
                    <a:pt x="9106" y="95"/>
                  </a:cubicBezTo>
                  <a:cubicBezTo>
                    <a:pt x="9043" y="95"/>
                    <a:pt x="8791" y="378"/>
                    <a:pt x="8539" y="819"/>
                  </a:cubicBezTo>
                  <a:cubicBezTo>
                    <a:pt x="8318" y="756"/>
                    <a:pt x="8098" y="725"/>
                    <a:pt x="7877" y="725"/>
                  </a:cubicBezTo>
                  <a:cubicBezTo>
                    <a:pt x="7089" y="725"/>
                    <a:pt x="6365" y="1008"/>
                    <a:pt x="5735" y="1481"/>
                  </a:cubicBezTo>
                  <a:lnTo>
                    <a:pt x="2994" y="1481"/>
                  </a:lnTo>
                  <a:cubicBezTo>
                    <a:pt x="1765" y="1481"/>
                    <a:pt x="757" y="2458"/>
                    <a:pt x="757" y="3718"/>
                  </a:cubicBezTo>
                  <a:cubicBezTo>
                    <a:pt x="757" y="4379"/>
                    <a:pt x="1072" y="5010"/>
                    <a:pt x="1545" y="5419"/>
                  </a:cubicBezTo>
                  <a:cubicBezTo>
                    <a:pt x="1482" y="5451"/>
                    <a:pt x="1482" y="5545"/>
                    <a:pt x="1482" y="5577"/>
                  </a:cubicBezTo>
                  <a:lnTo>
                    <a:pt x="1482" y="5923"/>
                  </a:lnTo>
                  <a:cubicBezTo>
                    <a:pt x="662" y="5923"/>
                    <a:pt x="1" y="6585"/>
                    <a:pt x="1" y="7435"/>
                  </a:cubicBezTo>
                  <a:cubicBezTo>
                    <a:pt x="1" y="8255"/>
                    <a:pt x="662" y="8916"/>
                    <a:pt x="1482" y="8916"/>
                  </a:cubicBezTo>
                  <a:cubicBezTo>
                    <a:pt x="1702" y="10996"/>
                    <a:pt x="3435" y="12697"/>
                    <a:pt x="5577" y="12697"/>
                  </a:cubicBezTo>
                  <a:cubicBezTo>
                    <a:pt x="7877" y="12697"/>
                    <a:pt x="9673" y="10806"/>
                    <a:pt x="9673" y="8570"/>
                  </a:cubicBezTo>
                  <a:lnTo>
                    <a:pt x="9673" y="8223"/>
                  </a:lnTo>
                  <a:lnTo>
                    <a:pt x="10429" y="8223"/>
                  </a:lnTo>
                  <a:cubicBezTo>
                    <a:pt x="11248" y="8223"/>
                    <a:pt x="11941" y="7530"/>
                    <a:pt x="11941" y="6711"/>
                  </a:cubicBezTo>
                  <a:cubicBezTo>
                    <a:pt x="11973" y="6049"/>
                    <a:pt x="11563" y="5482"/>
                    <a:pt x="10965" y="5293"/>
                  </a:cubicBezTo>
                  <a:cubicBezTo>
                    <a:pt x="11122" y="4915"/>
                    <a:pt x="11217" y="4506"/>
                    <a:pt x="11217" y="4064"/>
                  </a:cubicBezTo>
                  <a:cubicBezTo>
                    <a:pt x="11217" y="3718"/>
                    <a:pt x="11185" y="3403"/>
                    <a:pt x="11059" y="3056"/>
                  </a:cubicBezTo>
                  <a:cubicBezTo>
                    <a:pt x="11626" y="2584"/>
                    <a:pt x="11973" y="1859"/>
                    <a:pt x="11973" y="1071"/>
                  </a:cubicBezTo>
                  <a:cubicBezTo>
                    <a:pt x="11973" y="882"/>
                    <a:pt x="11815" y="725"/>
                    <a:pt x="11626" y="725"/>
                  </a:cubicBezTo>
                  <a:cubicBezTo>
                    <a:pt x="11154" y="725"/>
                    <a:pt x="10713" y="851"/>
                    <a:pt x="10303" y="1071"/>
                  </a:cubicBezTo>
                  <a:cubicBezTo>
                    <a:pt x="10082" y="504"/>
                    <a:pt x="9641" y="95"/>
                    <a:pt x="9610" y="95"/>
                  </a:cubicBezTo>
                  <a:cubicBezTo>
                    <a:pt x="9531" y="32"/>
                    <a:pt x="9444" y="0"/>
                    <a:pt x="93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3" name="Google Shape;10273;p78"/>
          <p:cNvGrpSpPr/>
          <p:nvPr/>
        </p:nvGrpSpPr>
        <p:grpSpPr>
          <a:xfrm>
            <a:off x="7554641" y="3831192"/>
            <a:ext cx="317290" cy="361090"/>
            <a:chOff x="-52494100" y="2686975"/>
            <a:chExt cx="279625" cy="318225"/>
          </a:xfrm>
        </p:grpSpPr>
        <p:sp>
          <p:nvSpPr>
            <p:cNvPr id="10274" name="Google Shape;10274;p78"/>
            <p:cNvSpPr/>
            <p:nvPr/>
          </p:nvSpPr>
          <p:spPr>
            <a:xfrm>
              <a:off x="-52391700" y="2919525"/>
              <a:ext cx="72475" cy="28950"/>
            </a:xfrm>
            <a:custGeom>
              <a:avLst/>
              <a:gdLst/>
              <a:ahLst/>
              <a:cxnLst/>
              <a:rect l="l" t="t" r="r" b="b"/>
              <a:pathLst>
                <a:path w="2899" h="1158" extrusionOk="0">
                  <a:moveTo>
                    <a:pt x="386" y="0"/>
                  </a:moveTo>
                  <a:cubicBezTo>
                    <a:pt x="291" y="0"/>
                    <a:pt x="205" y="39"/>
                    <a:pt x="158" y="118"/>
                  </a:cubicBezTo>
                  <a:cubicBezTo>
                    <a:pt x="0" y="276"/>
                    <a:pt x="0" y="496"/>
                    <a:pt x="158" y="622"/>
                  </a:cubicBezTo>
                  <a:cubicBezTo>
                    <a:pt x="504" y="969"/>
                    <a:pt x="977" y="1158"/>
                    <a:pt x="1449" y="1158"/>
                  </a:cubicBezTo>
                  <a:cubicBezTo>
                    <a:pt x="1922" y="1158"/>
                    <a:pt x="2426" y="969"/>
                    <a:pt x="2741" y="622"/>
                  </a:cubicBezTo>
                  <a:cubicBezTo>
                    <a:pt x="2898" y="465"/>
                    <a:pt x="2898" y="213"/>
                    <a:pt x="2741" y="118"/>
                  </a:cubicBezTo>
                  <a:cubicBezTo>
                    <a:pt x="2662" y="39"/>
                    <a:pt x="2568" y="0"/>
                    <a:pt x="2477" y="0"/>
                  </a:cubicBezTo>
                  <a:cubicBezTo>
                    <a:pt x="2387" y="0"/>
                    <a:pt x="2300" y="39"/>
                    <a:pt x="2237" y="118"/>
                  </a:cubicBezTo>
                  <a:cubicBezTo>
                    <a:pt x="2048" y="307"/>
                    <a:pt x="1733" y="433"/>
                    <a:pt x="1449" y="433"/>
                  </a:cubicBezTo>
                  <a:cubicBezTo>
                    <a:pt x="1134" y="433"/>
                    <a:pt x="851" y="307"/>
                    <a:pt x="662" y="118"/>
                  </a:cubicBezTo>
                  <a:cubicBezTo>
                    <a:pt x="583" y="39"/>
                    <a:pt x="480" y="0"/>
                    <a:pt x="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5" name="Google Shape;10275;p78"/>
            <p:cNvSpPr/>
            <p:nvPr/>
          </p:nvSpPr>
          <p:spPr>
            <a:xfrm>
              <a:off x="-52401950" y="2856300"/>
              <a:ext cx="18125" cy="17350"/>
            </a:xfrm>
            <a:custGeom>
              <a:avLst/>
              <a:gdLst/>
              <a:ahLst/>
              <a:cxnLst/>
              <a:rect l="l" t="t" r="r" b="b"/>
              <a:pathLst>
                <a:path w="725" h="694" extrusionOk="0">
                  <a:moveTo>
                    <a:pt x="379" y="1"/>
                  </a:moveTo>
                  <a:cubicBezTo>
                    <a:pt x="158" y="1"/>
                    <a:pt x="0" y="158"/>
                    <a:pt x="0" y="347"/>
                  </a:cubicBezTo>
                  <a:cubicBezTo>
                    <a:pt x="0"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6" name="Google Shape;10276;p78"/>
            <p:cNvSpPr/>
            <p:nvPr/>
          </p:nvSpPr>
          <p:spPr>
            <a:xfrm>
              <a:off x="-52327925" y="2855525"/>
              <a:ext cx="18925" cy="17350"/>
            </a:xfrm>
            <a:custGeom>
              <a:avLst/>
              <a:gdLst/>
              <a:ahLst/>
              <a:cxnLst/>
              <a:rect l="l" t="t" r="r" b="b"/>
              <a:pathLst>
                <a:path w="757" h="694" extrusionOk="0">
                  <a:moveTo>
                    <a:pt x="347" y="0"/>
                  </a:moveTo>
                  <a:cubicBezTo>
                    <a:pt x="158" y="0"/>
                    <a:pt x="1" y="158"/>
                    <a:pt x="1" y="347"/>
                  </a:cubicBezTo>
                  <a:cubicBezTo>
                    <a:pt x="1" y="536"/>
                    <a:pt x="158" y="693"/>
                    <a:pt x="347" y="693"/>
                  </a:cubicBezTo>
                  <a:cubicBezTo>
                    <a:pt x="537" y="693"/>
                    <a:pt x="694" y="536"/>
                    <a:pt x="694" y="347"/>
                  </a:cubicBezTo>
                  <a:cubicBezTo>
                    <a:pt x="757" y="189"/>
                    <a:pt x="600"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78"/>
            <p:cNvSpPr/>
            <p:nvPr/>
          </p:nvSpPr>
          <p:spPr>
            <a:xfrm>
              <a:off x="-52494100" y="2686975"/>
              <a:ext cx="279625" cy="318225"/>
            </a:xfrm>
            <a:custGeom>
              <a:avLst/>
              <a:gdLst/>
              <a:ahLst/>
              <a:cxnLst/>
              <a:rect l="l" t="t" r="r" b="b"/>
              <a:pathLst>
                <a:path w="11185" h="12729" extrusionOk="0">
                  <a:moveTo>
                    <a:pt x="8538" y="756"/>
                  </a:moveTo>
                  <a:cubicBezTo>
                    <a:pt x="8727" y="756"/>
                    <a:pt x="8885" y="914"/>
                    <a:pt x="8885" y="1103"/>
                  </a:cubicBezTo>
                  <a:lnTo>
                    <a:pt x="8885" y="2269"/>
                  </a:lnTo>
                  <a:lnTo>
                    <a:pt x="2143" y="2269"/>
                  </a:lnTo>
                  <a:lnTo>
                    <a:pt x="2143" y="1103"/>
                  </a:lnTo>
                  <a:cubicBezTo>
                    <a:pt x="2143" y="914"/>
                    <a:pt x="2300" y="756"/>
                    <a:pt x="2552" y="756"/>
                  </a:cubicBezTo>
                  <a:close/>
                  <a:moveTo>
                    <a:pt x="5545" y="3025"/>
                  </a:moveTo>
                  <a:cubicBezTo>
                    <a:pt x="5734" y="3025"/>
                    <a:pt x="5892" y="3182"/>
                    <a:pt x="5892" y="3371"/>
                  </a:cubicBezTo>
                  <a:cubicBezTo>
                    <a:pt x="5892" y="3592"/>
                    <a:pt x="5734" y="3749"/>
                    <a:pt x="5545" y="3749"/>
                  </a:cubicBezTo>
                  <a:cubicBezTo>
                    <a:pt x="5356" y="3749"/>
                    <a:pt x="5199" y="3592"/>
                    <a:pt x="5199" y="3371"/>
                  </a:cubicBezTo>
                  <a:cubicBezTo>
                    <a:pt x="5199" y="3182"/>
                    <a:pt x="5356" y="3025"/>
                    <a:pt x="5545" y="3025"/>
                  </a:cubicBezTo>
                  <a:close/>
                  <a:moveTo>
                    <a:pt x="4474" y="3025"/>
                  </a:moveTo>
                  <a:cubicBezTo>
                    <a:pt x="4443" y="3151"/>
                    <a:pt x="4411" y="3277"/>
                    <a:pt x="4411" y="3434"/>
                  </a:cubicBezTo>
                  <a:cubicBezTo>
                    <a:pt x="4411" y="3529"/>
                    <a:pt x="4443" y="3655"/>
                    <a:pt x="4474" y="3781"/>
                  </a:cubicBezTo>
                  <a:lnTo>
                    <a:pt x="2206" y="3781"/>
                  </a:lnTo>
                  <a:lnTo>
                    <a:pt x="2206" y="3025"/>
                  </a:lnTo>
                  <a:close/>
                  <a:moveTo>
                    <a:pt x="8853" y="3056"/>
                  </a:moveTo>
                  <a:lnTo>
                    <a:pt x="8853" y="3812"/>
                  </a:lnTo>
                  <a:lnTo>
                    <a:pt x="6553" y="3812"/>
                  </a:lnTo>
                  <a:lnTo>
                    <a:pt x="6553" y="3781"/>
                  </a:lnTo>
                  <a:cubicBezTo>
                    <a:pt x="6616" y="3655"/>
                    <a:pt x="6648" y="3529"/>
                    <a:pt x="6648" y="3434"/>
                  </a:cubicBezTo>
                  <a:cubicBezTo>
                    <a:pt x="6648" y="3308"/>
                    <a:pt x="6616" y="3151"/>
                    <a:pt x="6553" y="3056"/>
                  </a:cubicBezTo>
                  <a:close/>
                  <a:moveTo>
                    <a:pt x="9601" y="4568"/>
                  </a:moveTo>
                  <a:cubicBezTo>
                    <a:pt x="9503" y="4903"/>
                    <a:pt x="9317" y="5207"/>
                    <a:pt x="9042" y="5482"/>
                  </a:cubicBezTo>
                  <a:cubicBezTo>
                    <a:pt x="8763" y="5736"/>
                    <a:pt x="8382" y="5887"/>
                    <a:pt x="7997" y="5887"/>
                  </a:cubicBezTo>
                  <a:cubicBezTo>
                    <a:pt x="7904" y="5887"/>
                    <a:pt x="7811" y="5878"/>
                    <a:pt x="7719" y="5860"/>
                  </a:cubicBezTo>
                  <a:cubicBezTo>
                    <a:pt x="6207" y="5640"/>
                    <a:pt x="4758" y="5199"/>
                    <a:pt x="3434" y="4568"/>
                  </a:cubicBezTo>
                  <a:close/>
                  <a:moveTo>
                    <a:pt x="1418" y="6742"/>
                  </a:moveTo>
                  <a:lnTo>
                    <a:pt x="1418" y="8223"/>
                  </a:lnTo>
                  <a:cubicBezTo>
                    <a:pt x="1009" y="8223"/>
                    <a:pt x="662" y="7908"/>
                    <a:pt x="662" y="7467"/>
                  </a:cubicBezTo>
                  <a:cubicBezTo>
                    <a:pt x="662" y="7089"/>
                    <a:pt x="1009" y="6742"/>
                    <a:pt x="1418" y="6742"/>
                  </a:cubicBezTo>
                  <a:close/>
                  <a:moveTo>
                    <a:pt x="9641" y="6742"/>
                  </a:moveTo>
                  <a:cubicBezTo>
                    <a:pt x="10019" y="6742"/>
                    <a:pt x="10397" y="7057"/>
                    <a:pt x="10397" y="7467"/>
                  </a:cubicBezTo>
                  <a:cubicBezTo>
                    <a:pt x="10397" y="7908"/>
                    <a:pt x="10019" y="8223"/>
                    <a:pt x="9641" y="8223"/>
                  </a:cubicBezTo>
                  <a:lnTo>
                    <a:pt x="9641" y="6742"/>
                  </a:lnTo>
                  <a:close/>
                  <a:moveTo>
                    <a:pt x="2143" y="4757"/>
                  </a:moveTo>
                  <a:lnTo>
                    <a:pt x="2741" y="5072"/>
                  </a:lnTo>
                  <a:cubicBezTo>
                    <a:pt x="4254" y="5829"/>
                    <a:pt x="5860" y="6333"/>
                    <a:pt x="7562" y="6616"/>
                  </a:cubicBezTo>
                  <a:cubicBezTo>
                    <a:pt x="7667" y="6633"/>
                    <a:pt x="7777" y="6640"/>
                    <a:pt x="7889" y="6640"/>
                  </a:cubicBezTo>
                  <a:cubicBezTo>
                    <a:pt x="8211" y="6640"/>
                    <a:pt x="8550" y="6576"/>
                    <a:pt x="8853" y="6459"/>
                  </a:cubicBezTo>
                  <a:lnTo>
                    <a:pt x="8853" y="8664"/>
                  </a:lnTo>
                  <a:cubicBezTo>
                    <a:pt x="8885" y="10460"/>
                    <a:pt x="7341" y="11972"/>
                    <a:pt x="5514" y="11972"/>
                  </a:cubicBezTo>
                  <a:cubicBezTo>
                    <a:pt x="3655" y="11972"/>
                    <a:pt x="2143" y="10460"/>
                    <a:pt x="2143" y="8633"/>
                  </a:cubicBezTo>
                  <a:lnTo>
                    <a:pt x="2143" y="4757"/>
                  </a:lnTo>
                  <a:close/>
                  <a:moveTo>
                    <a:pt x="2584" y="0"/>
                  </a:moveTo>
                  <a:cubicBezTo>
                    <a:pt x="1954" y="0"/>
                    <a:pt x="1481" y="504"/>
                    <a:pt x="1481" y="1103"/>
                  </a:cubicBezTo>
                  <a:lnTo>
                    <a:pt x="1481" y="5986"/>
                  </a:lnTo>
                  <a:cubicBezTo>
                    <a:pt x="662" y="5986"/>
                    <a:pt x="0" y="6648"/>
                    <a:pt x="0" y="7467"/>
                  </a:cubicBezTo>
                  <a:cubicBezTo>
                    <a:pt x="0" y="8317"/>
                    <a:pt x="662" y="8979"/>
                    <a:pt x="1481" y="8979"/>
                  </a:cubicBezTo>
                  <a:cubicBezTo>
                    <a:pt x="1670" y="11058"/>
                    <a:pt x="3466" y="12728"/>
                    <a:pt x="5577" y="12728"/>
                  </a:cubicBezTo>
                  <a:cubicBezTo>
                    <a:pt x="7719" y="12728"/>
                    <a:pt x="9483" y="11058"/>
                    <a:pt x="9672" y="8979"/>
                  </a:cubicBezTo>
                  <a:cubicBezTo>
                    <a:pt x="10492" y="8979"/>
                    <a:pt x="11185" y="8317"/>
                    <a:pt x="11185" y="7467"/>
                  </a:cubicBezTo>
                  <a:cubicBezTo>
                    <a:pt x="11122" y="6679"/>
                    <a:pt x="10460" y="6018"/>
                    <a:pt x="9641" y="6018"/>
                  </a:cubicBezTo>
                  <a:lnTo>
                    <a:pt x="9641" y="5892"/>
                  </a:lnTo>
                  <a:cubicBezTo>
                    <a:pt x="10113" y="5419"/>
                    <a:pt x="10397" y="4789"/>
                    <a:pt x="10397" y="4127"/>
                  </a:cubicBezTo>
                  <a:cubicBezTo>
                    <a:pt x="10397" y="3938"/>
                    <a:pt x="10240" y="3781"/>
                    <a:pt x="10019" y="3781"/>
                  </a:cubicBezTo>
                  <a:lnTo>
                    <a:pt x="9672" y="3781"/>
                  </a:lnTo>
                  <a:lnTo>
                    <a:pt x="9672" y="1103"/>
                  </a:lnTo>
                  <a:cubicBezTo>
                    <a:pt x="9672" y="473"/>
                    <a:pt x="9168" y="0"/>
                    <a:pt x="85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8" name="Google Shape;10278;p78"/>
          <p:cNvGrpSpPr/>
          <p:nvPr/>
        </p:nvGrpSpPr>
        <p:grpSpPr>
          <a:xfrm>
            <a:off x="6665412" y="4292135"/>
            <a:ext cx="315503" cy="361090"/>
            <a:chOff x="-51708850" y="2305750"/>
            <a:chExt cx="278050" cy="318225"/>
          </a:xfrm>
        </p:grpSpPr>
        <p:sp>
          <p:nvSpPr>
            <p:cNvPr id="10279" name="Google Shape;10279;p78"/>
            <p:cNvSpPr/>
            <p:nvPr/>
          </p:nvSpPr>
          <p:spPr>
            <a:xfrm>
              <a:off x="-51617475" y="2455400"/>
              <a:ext cx="18125" cy="18150"/>
            </a:xfrm>
            <a:custGeom>
              <a:avLst/>
              <a:gdLst/>
              <a:ahLst/>
              <a:cxnLst/>
              <a:rect l="l" t="t" r="r" b="b"/>
              <a:pathLst>
                <a:path w="725" h="726" extrusionOk="0">
                  <a:moveTo>
                    <a:pt x="378" y="1"/>
                  </a:moveTo>
                  <a:cubicBezTo>
                    <a:pt x="189" y="1"/>
                    <a:pt x="0" y="158"/>
                    <a:pt x="0" y="347"/>
                  </a:cubicBezTo>
                  <a:cubicBezTo>
                    <a:pt x="0" y="536"/>
                    <a:pt x="189" y="725"/>
                    <a:pt x="378" y="725"/>
                  </a:cubicBezTo>
                  <a:cubicBezTo>
                    <a:pt x="568" y="725"/>
                    <a:pt x="725" y="536"/>
                    <a:pt x="725" y="347"/>
                  </a:cubicBezTo>
                  <a:cubicBezTo>
                    <a:pt x="725" y="158"/>
                    <a:pt x="56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0" name="Google Shape;10280;p78"/>
            <p:cNvSpPr/>
            <p:nvPr/>
          </p:nvSpPr>
          <p:spPr>
            <a:xfrm>
              <a:off x="-51541875" y="2455400"/>
              <a:ext cx="17350" cy="18150"/>
            </a:xfrm>
            <a:custGeom>
              <a:avLst/>
              <a:gdLst/>
              <a:ahLst/>
              <a:cxnLst/>
              <a:rect l="l" t="t" r="r" b="b"/>
              <a:pathLst>
                <a:path w="694" h="726" extrusionOk="0">
                  <a:moveTo>
                    <a:pt x="347" y="1"/>
                  </a:moveTo>
                  <a:cubicBezTo>
                    <a:pt x="158" y="1"/>
                    <a:pt x="1" y="158"/>
                    <a:pt x="1" y="347"/>
                  </a:cubicBezTo>
                  <a:cubicBezTo>
                    <a:pt x="1" y="536"/>
                    <a:pt x="158" y="725"/>
                    <a:pt x="347" y="725"/>
                  </a:cubicBezTo>
                  <a:cubicBezTo>
                    <a:pt x="536" y="725"/>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1" name="Google Shape;10281;p78"/>
            <p:cNvSpPr/>
            <p:nvPr/>
          </p:nvSpPr>
          <p:spPr>
            <a:xfrm>
              <a:off x="-51708850" y="2305750"/>
              <a:ext cx="278050" cy="318225"/>
            </a:xfrm>
            <a:custGeom>
              <a:avLst/>
              <a:gdLst/>
              <a:ahLst/>
              <a:cxnLst/>
              <a:rect l="l" t="t" r="r" b="b"/>
              <a:pathLst>
                <a:path w="11122" h="12729" extrusionOk="0">
                  <a:moveTo>
                    <a:pt x="1765" y="725"/>
                  </a:moveTo>
                  <a:cubicBezTo>
                    <a:pt x="1986" y="725"/>
                    <a:pt x="2143" y="883"/>
                    <a:pt x="2143" y="1072"/>
                  </a:cubicBezTo>
                  <a:cubicBezTo>
                    <a:pt x="2143" y="1261"/>
                    <a:pt x="1986" y="1419"/>
                    <a:pt x="1765" y="1419"/>
                  </a:cubicBezTo>
                  <a:cubicBezTo>
                    <a:pt x="1576" y="1419"/>
                    <a:pt x="1419" y="1261"/>
                    <a:pt x="1419" y="1072"/>
                  </a:cubicBezTo>
                  <a:cubicBezTo>
                    <a:pt x="1419" y="915"/>
                    <a:pt x="1576" y="725"/>
                    <a:pt x="1765" y="725"/>
                  </a:cubicBezTo>
                  <a:close/>
                  <a:moveTo>
                    <a:pt x="5514" y="725"/>
                  </a:moveTo>
                  <a:cubicBezTo>
                    <a:pt x="5703" y="725"/>
                    <a:pt x="5861" y="883"/>
                    <a:pt x="5861" y="1072"/>
                  </a:cubicBezTo>
                  <a:cubicBezTo>
                    <a:pt x="5861" y="1261"/>
                    <a:pt x="5703" y="1419"/>
                    <a:pt x="5514" y="1419"/>
                  </a:cubicBezTo>
                  <a:cubicBezTo>
                    <a:pt x="5325" y="1419"/>
                    <a:pt x="5168" y="1261"/>
                    <a:pt x="5168" y="1072"/>
                  </a:cubicBezTo>
                  <a:cubicBezTo>
                    <a:pt x="5136" y="915"/>
                    <a:pt x="5294" y="725"/>
                    <a:pt x="5514" y="725"/>
                  </a:cubicBezTo>
                  <a:close/>
                  <a:moveTo>
                    <a:pt x="9232" y="725"/>
                  </a:moveTo>
                  <a:cubicBezTo>
                    <a:pt x="9421" y="725"/>
                    <a:pt x="9578" y="883"/>
                    <a:pt x="9578" y="1072"/>
                  </a:cubicBezTo>
                  <a:cubicBezTo>
                    <a:pt x="9578" y="1261"/>
                    <a:pt x="9421" y="1419"/>
                    <a:pt x="9232" y="1419"/>
                  </a:cubicBezTo>
                  <a:cubicBezTo>
                    <a:pt x="9011" y="1419"/>
                    <a:pt x="8885" y="1261"/>
                    <a:pt x="8885" y="1072"/>
                  </a:cubicBezTo>
                  <a:cubicBezTo>
                    <a:pt x="8854" y="915"/>
                    <a:pt x="9011" y="725"/>
                    <a:pt x="9232" y="725"/>
                  </a:cubicBezTo>
                  <a:close/>
                  <a:moveTo>
                    <a:pt x="5483" y="3277"/>
                  </a:moveTo>
                  <a:lnTo>
                    <a:pt x="5987" y="3781"/>
                  </a:lnTo>
                  <a:lnTo>
                    <a:pt x="5483" y="4286"/>
                  </a:lnTo>
                  <a:lnTo>
                    <a:pt x="4979" y="3781"/>
                  </a:lnTo>
                  <a:lnTo>
                    <a:pt x="5483" y="3277"/>
                  </a:lnTo>
                  <a:close/>
                  <a:moveTo>
                    <a:pt x="8602" y="2049"/>
                  </a:moveTo>
                  <a:lnTo>
                    <a:pt x="8822" y="2175"/>
                  </a:lnTo>
                  <a:lnTo>
                    <a:pt x="8822" y="4443"/>
                  </a:lnTo>
                  <a:lnTo>
                    <a:pt x="6396" y="4443"/>
                  </a:lnTo>
                  <a:lnTo>
                    <a:pt x="6837" y="4034"/>
                  </a:lnTo>
                  <a:cubicBezTo>
                    <a:pt x="6995" y="3876"/>
                    <a:pt x="6995" y="3624"/>
                    <a:pt x="6837" y="3498"/>
                  </a:cubicBezTo>
                  <a:lnTo>
                    <a:pt x="5766" y="2458"/>
                  </a:lnTo>
                  <a:cubicBezTo>
                    <a:pt x="5687" y="2380"/>
                    <a:pt x="5585" y="2340"/>
                    <a:pt x="5491" y="2340"/>
                  </a:cubicBezTo>
                  <a:cubicBezTo>
                    <a:pt x="5396" y="2340"/>
                    <a:pt x="5309" y="2380"/>
                    <a:pt x="5262" y="2458"/>
                  </a:cubicBezTo>
                  <a:lnTo>
                    <a:pt x="4191" y="3498"/>
                  </a:lnTo>
                  <a:cubicBezTo>
                    <a:pt x="4033" y="3655"/>
                    <a:pt x="4033" y="3907"/>
                    <a:pt x="4191" y="4034"/>
                  </a:cubicBezTo>
                  <a:lnTo>
                    <a:pt x="4632" y="4443"/>
                  </a:lnTo>
                  <a:lnTo>
                    <a:pt x="2175" y="4443"/>
                  </a:lnTo>
                  <a:lnTo>
                    <a:pt x="2175" y="2175"/>
                  </a:lnTo>
                  <a:lnTo>
                    <a:pt x="2427" y="2049"/>
                  </a:lnTo>
                  <a:lnTo>
                    <a:pt x="3435" y="2868"/>
                  </a:lnTo>
                  <a:cubicBezTo>
                    <a:pt x="3498" y="2931"/>
                    <a:pt x="3577" y="2962"/>
                    <a:pt x="3655" y="2962"/>
                  </a:cubicBezTo>
                  <a:cubicBezTo>
                    <a:pt x="3734" y="2962"/>
                    <a:pt x="3813" y="2931"/>
                    <a:pt x="3876" y="2868"/>
                  </a:cubicBezTo>
                  <a:lnTo>
                    <a:pt x="4884" y="2049"/>
                  </a:lnTo>
                  <a:cubicBezTo>
                    <a:pt x="5042" y="2175"/>
                    <a:pt x="5231" y="2206"/>
                    <a:pt x="5483" y="2206"/>
                  </a:cubicBezTo>
                  <a:cubicBezTo>
                    <a:pt x="5672" y="2206"/>
                    <a:pt x="5924" y="2143"/>
                    <a:pt x="6081" y="2049"/>
                  </a:cubicBezTo>
                  <a:lnTo>
                    <a:pt x="7089" y="2868"/>
                  </a:lnTo>
                  <a:cubicBezTo>
                    <a:pt x="7152" y="2931"/>
                    <a:pt x="7231" y="2962"/>
                    <a:pt x="7314" y="2962"/>
                  </a:cubicBezTo>
                  <a:cubicBezTo>
                    <a:pt x="7397" y="2962"/>
                    <a:pt x="7483" y="2931"/>
                    <a:pt x="7562" y="2868"/>
                  </a:cubicBezTo>
                  <a:lnTo>
                    <a:pt x="8602" y="2049"/>
                  </a:lnTo>
                  <a:close/>
                  <a:moveTo>
                    <a:pt x="1419" y="5199"/>
                  </a:moveTo>
                  <a:lnTo>
                    <a:pt x="1419" y="6711"/>
                  </a:lnTo>
                  <a:cubicBezTo>
                    <a:pt x="977" y="6711"/>
                    <a:pt x="662" y="6396"/>
                    <a:pt x="662" y="5955"/>
                  </a:cubicBezTo>
                  <a:cubicBezTo>
                    <a:pt x="662" y="5546"/>
                    <a:pt x="1041" y="5199"/>
                    <a:pt x="1419" y="5199"/>
                  </a:cubicBezTo>
                  <a:close/>
                  <a:moveTo>
                    <a:pt x="9610" y="5199"/>
                  </a:moveTo>
                  <a:cubicBezTo>
                    <a:pt x="10019" y="5199"/>
                    <a:pt x="10366" y="5546"/>
                    <a:pt x="10366" y="5955"/>
                  </a:cubicBezTo>
                  <a:cubicBezTo>
                    <a:pt x="10366" y="6333"/>
                    <a:pt x="10019" y="6711"/>
                    <a:pt x="9610" y="6711"/>
                  </a:cubicBezTo>
                  <a:lnTo>
                    <a:pt x="9610" y="5199"/>
                  </a:lnTo>
                  <a:close/>
                  <a:moveTo>
                    <a:pt x="8822" y="5199"/>
                  </a:moveTo>
                  <a:lnTo>
                    <a:pt x="8822" y="8602"/>
                  </a:lnTo>
                  <a:lnTo>
                    <a:pt x="8224" y="8791"/>
                  </a:lnTo>
                  <a:cubicBezTo>
                    <a:pt x="8167" y="8807"/>
                    <a:pt x="8105" y="8815"/>
                    <a:pt x="8043" y="8815"/>
                  </a:cubicBezTo>
                  <a:cubicBezTo>
                    <a:pt x="7863" y="8815"/>
                    <a:pt x="7671" y="8750"/>
                    <a:pt x="7531" y="8633"/>
                  </a:cubicBezTo>
                  <a:cubicBezTo>
                    <a:pt x="7239" y="8342"/>
                    <a:pt x="6873" y="8200"/>
                    <a:pt x="6512" y="8200"/>
                  </a:cubicBezTo>
                  <a:cubicBezTo>
                    <a:pt x="6132" y="8200"/>
                    <a:pt x="5758" y="8358"/>
                    <a:pt x="5483" y="8665"/>
                  </a:cubicBezTo>
                  <a:cubicBezTo>
                    <a:pt x="5217" y="8382"/>
                    <a:pt x="4828" y="8222"/>
                    <a:pt x="4432" y="8222"/>
                  </a:cubicBezTo>
                  <a:cubicBezTo>
                    <a:pt x="4078" y="8222"/>
                    <a:pt x="3718" y="8350"/>
                    <a:pt x="3435" y="8633"/>
                  </a:cubicBezTo>
                  <a:cubicBezTo>
                    <a:pt x="3303" y="8765"/>
                    <a:pt x="3141" y="8820"/>
                    <a:pt x="2958" y="8820"/>
                  </a:cubicBezTo>
                  <a:cubicBezTo>
                    <a:pt x="2879" y="8820"/>
                    <a:pt x="2796" y="8810"/>
                    <a:pt x="2710" y="8791"/>
                  </a:cubicBezTo>
                  <a:lnTo>
                    <a:pt x="2080" y="8602"/>
                  </a:lnTo>
                  <a:lnTo>
                    <a:pt x="2080" y="5199"/>
                  </a:lnTo>
                  <a:close/>
                  <a:moveTo>
                    <a:pt x="4442" y="8945"/>
                  </a:moveTo>
                  <a:cubicBezTo>
                    <a:pt x="4678" y="8945"/>
                    <a:pt x="4913" y="9062"/>
                    <a:pt x="5042" y="9263"/>
                  </a:cubicBezTo>
                  <a:cubicBezTo>
                    <a:pt x="4853" y="9484"/>
                    <a:pt x="4601" y="9767"/>
                    <a:pt x="4096" y="9925"/>
                  </a:cubicBezTo>
                  <a:cubicBezTo>
                    <a:pt x="3889" y="10000"/>
                    <a:pt x="3677" y="10035"/>
                    <a:pt x="3468" y="10035"/>
                  </a:cubicBezTo>
                  <a:cubicBezTo>
                    <a:pt x="2882" y="10035"/>
                    <a:pt x="2317" y="9759"/>
                    <a:pt x="1923" y="9295"/>
                  </a:cubicBezTo>
                  <a:lnTo>
                    <a:pt x="1923" y="9295"/>
                  </a:lnTo>
                  <a:lnTo>
                    <a:pt x="2521" y="9484"/>
                  </a:lnTo>
                  <a:cubicBezTo>
                    <a:pt x="2673" y="9531"/>
                    <a:pt x="2831" y="9556"/>
                    <a:pt x="2987" y="9556"/>
                  </a:cubicBezTo>
                  <a:cubicBezTo>
                    <a:pt x="3350" y="9556"/>
                    <a:pt x="3706" y="9423"/>
                    <a:pt x="3970" y="9137"/>
                  </a:cubicBezTo>
                  <a:cubicBezTo>
                    <a:pt x="4102" y="9006"/>
                    <a:pt x="4273" y="8945"/>
                    <a:pt x="4442" y="8945"/>
                  </a:cubicBezTo>
                  <a:close/>
                  <a:moveTo>
                    <a:pt x="6546" y="9022"/>
                  </a:moveTo>
                  <a:cubicBezTo>
                    <a:pt x="6718" y="9022"/>
                    <a:pt x="6892" y="9080"/>
                    <a:pt x="7026" y="9200"/>
                  </a:cubicBezTo>
                  <a:cubicBezTo>
                    <a:pt x="7299" y="9496"/>
                    <a:pt x="7671" y="9644"/>
                    <a:pt x="8046" y="9644"/>
                  </a:cubicBezTo>
                  <a:cubicBezTo>
                    <a:pt x="8191" y="9644"/>
                    <a:pt x="8336" y="9622"/>
                    <a:pt x="8476" y="9578"/>
                  </a:cubicBezTo>
                  <a:lnTo>
                    <a:pt x="9074" y="9326"/>
                  </a:lnTo>
                  <a:lnTo>
                    <a:pt x="9074" y="9326"/>
                  </a:lnTo>
                  <a:cubicBezTo>
                    <a:pt x="8677" y="9794"/>
                    <a:pt x="8107" y="10053"/>
                    <a:pt x="7517" y="10053"/>
                  </a:cubicBezTo>
                  <a:cubicBezTo>
                    <a:pt x="7312" y="10053"/>
                    <a:pt x="7104" y="10022"/>
                    <a:pt x="6900" y="9956"/>
                  </a:cubicBezTo>
                  <a:cubicBezTo>
                    <a:pt x="6428" y="9799"/>
                    <a:pt x="6144" y="9547"/>
                    <a:pt x="5955" y="9326"/>
                  </a:cubicBezTo>
                  <a:cubicBezTo>
                    <a:pt x="6082" y="9127"/>
                    <a:pt x="6313" y="9022"/>
                    <a:pt x="6546" y="9022"/>
                  </a:cubicBezTo>
                  <a:close/>
                  <a:moveTo>
                    <a:pt x="5514" y="9893"/>
                  </a:moveTo>
                  <a:cubicBezTo>
                    <a:pt x="5640" y="10019"/>
                    <a:pt x="5798" y="10177"/>
                    <a:pt x="6081" y="10334"/>
                  </a:cubicBezTo>
                  <a:cubicBezTo>
                    <a:pt x="5924" y="10397"/>
                    <a:pt x="5703" y="10492"/>
                    <a:pt x="5514" y="10492"/>
                  </a:cubicBezTo>
                  <a:cubicBezTo>
                    <a:pt x="5325" y="10492"/>
                    <a:pt x="5136" y="10429"/>
                    <a:pt x="4979" y="10334"/>
                  </a:cubicBezTo>
                  <a:cubicBezTo>
                    <a:pt x="5231" y="10177"/>
                    <a:pt x="5388" y="10019"/>
                    <a:pt x="5514" y="9893"/>
                  </a:cubicBezTo>
                  <a:close/>
                  <a:moveTo>
                    <a:pt x="6774" y="10681"/>
                  </a:moveTo>
                  <a:cubicBezTo>
                    <a:pt x="7011" y="10749"/>
                    <a:pt x="7247" y="10780"/>
                    <a:pt x="7484" y="10780"/>
                  </a:cubicBezTo>
                  <a:cubicBezTo>
                    <a:pt x="7688" y="10780"/>
                    <a:pt x="7893" y="10756"/>
                    <a:pt x="8098" y="10713"/>
                  </a:cubicBezTo>
                  <a:lnTo>
                    <a:pt x="8098" y="10713"/>
                  </a:lnTo>
                  <a:cubicBezTo>
                    <a:pt x="7499" y="11500"/>
                    <a:pt x="6554" y="11973"/>
                    <a:pt x="5514" y="11973"/>
                  </a:cubicBezTo>
                  <a:cubicBezTo>
                    <a:pt x="4506" y="11973"/>
                    <a:pt x="3498" y="11500"/>
                    <a:pt x="2868" y="10713"/>
                  </a:cubicBezTo>
                  <a:lnTo>
                    <a:pt x="2868" y="10713"/>
                  </a:lnTo>
                  <a:cubicBezTo>
                    <a:pt x="3072" y="10756"/>
                    <a:pt x="3277" y="10780"/>
                    <a:pt x="3482" y="10780"/>
                  </a:cubicBezTo>
                  <a:cubicBezTo>
                    <a:pt x="3718" y="10780"/>
                    <a:pt x="3955" y="10749"/>
                    <a:pt x="4191" y="10681"/>
                  </a:cubicBezTo>
                  <a:cubicBezTo>
                    <a:pt x="4538" y="11028"/>
                    <a:pt x="5010" y="11217"/>
                    <a:pt x="5483" y="11217"/>
                  </a:cubicBezTo>
                  <a:cubicBezTo>
                    <a:pt x="5955" y="11217"/>
                    <a:pt x="6459" y="11028"/>
                    <a:pt x="6774" y="10681"/>
                  </a:cubicBezTo>
                  <a:close/>
                  <a:moveTo>
                    <a:pt x="1860" y="1"/>
                  </a:moveTo>
                  <a:cubicBezTo>
                    <a:pt x="1261" y="1"/>
                    <a:pt x="757" y="505"/>
                    <a:pt x="757" y="1104"/>
                  </a:cubicBezTo>
                  <a:cubicBezTo>
                    <a:pt x="757" y="1576"/>
                    <a:pt x="1072" y="2017"/>
                    <a:pt x="1513" y="2175"/>
                  </a:cubicBezTo>
                  <a:lnTo>
                    <a:pt x="1513" y="4443"/>
                  </a:lnTo>
                  <a:cubicBezTo>
                    <a:pt x="662" y="4443"/>
                    <a:pt x="1" y="5105"/>
                    <a:pt x="1" y="5955"/>
                  </a:cubicBezTo>
                  <a:cubicBezTo>
                    <a:pt x="1" y="6774"/>
                    <a:pt x="662" y="7436"/>
                    <a:pt x="1513" y="7436"/>
                  </a:cubicBezTo>
                  <a:lnTo>
                    <a:pt x="1513" y="8350"/>
                  </a:lnTo>
                  <a:lnTo>
                    <a:pt x="1261" y="8287"/>
                  </a:lnTo>
                  <a:cubicBezTo>
                    <a:pt x="1214" y="8270"/>
                    <a:pt x="1168" y="8262"/>
                    <a:pt x="1124" y="8262"/>
                  </a:cubicBezTo>
                  <a:cubicBezTo>
                    <a:pt x="846" y="8262"/>
                    <a:pt x="657" y="8577"/>
                    <a:pt x="820" y="8822"/>
                  </a:cubicBezTo>
                  <a:cubicBezTo>
                    <a:pt x="1356" y="9610"/>
                    <a:pt x="1450" y="9799"/>
                    <a:pt x="1765" y="10082"/>
                  </a:cubicBezTo>
                  <a:cubicBezTo>
                    <a:pt x="2364" y="11658"/>
                    <a:pt x="3907" y="12729"/>
                    <a:pt x="5609" y="12729"/>
                  </a:cubicBezTo>
                  <a:cubicBezTo>
                    <a:pt x="7278" y="12729"/>
                    <a:pt x="8822" y="11658"/>
                    <a:pt x="9421" y="10082"/>
                  </a:cubicBezTo>
                  <a:cubicBezTo>
                    <a:pt x="9736" y="9799"/>
                    <a:pt x="9862" y="9610"/>
                    <a:pt x="10366" y="8822"/>
                  </a:cubicBezTo>
                  <a:cubicBezTo>
                    <a:pt x="10529" y="8577"/>
                    <a:pt x="10340" y="8262"/>
                    <a:pt x="10062" y="8262"/>
                  </a:cubicBezTo>
                  <a:cubicBezTo>
                    <a:pt x="10018" y="8262"/>
                    <a:pt x="9972" y="8270"/>
                    <a:pt x="9925" y="8287"/>
                  </a:cubicBezTo>
                  <a:lnTo>
                    <a:pt x="9704" y="8350"/>
                  </a:lnTo>
                  <a:lnTo>
                    <a:pt x="9704" y="7436"/>
                  </a:lnTo>
                  <a:cubicBezTo>
                    <a:pt x="10429" y="7436"/>
                    <a:pt x="11122" y="6774"/>
                    <a:pt x="11122" y="5955"/>
                  </a:cubicBezTo>
                  <a:cubicBezTo>
                    <a:pt x="11122" y="5136"/>
                    <a:pt x="10429" y="4443"/>
                    <a:pt x="9610" y="4443"/>
                  </a:cubicBezTo>
                  <a:lnTo>
                    <a:pt x="9610" y="2175"/>
                  </a:lnTo>
                  <a:cubicBezTo>
                    <a:pt x="10051" y="2017"/>
                    <a:pt x="10366" y="1608"/>
                    <a:pt x="10366" y="1104"/>
                  </a:cubicBezTo>
                  <a:cubicBezTo>
                    <a:pt x="10366" y="473"/>
                    <a:pt x="9862" y="1"/>
                    <a:pt x="9263" y="1"/>
                  </a:cubicBezTo>
                  <a:cubicBezTo>
                    <a:pt x="8633" y="1"/>
                    <a:pt x="8161" y="505"/>
                    <a:pt x="8161" y="1104"/>
                  </a:cubicBezTo>
                  <a:cubicBezTo>
                    <a:pt x="8161" y="1230"/>
                    <a:pt x="8192" y="1324"/>
                    <a:pt x="8224" y="1450"/>
                  </a:cubicBezTo>
                  <a:lnTo>
                    <a:pt x="7405" y="2080"/>
                  </a:lnTo>
                  <a:lnTo>
                    <a:pt x="6585" y="1450"/>
                  </a:lnTo>
                  <a:cubicBezTo>
                    <a:pt x="6617" y="1324"/>
                    <a:pt x="6648" y="1230"/>
                    <a:pt x="6648" y="1104"/>
                  </a:cubicBezTo>
                  <a:cubicBezTo>
                    <a:pt x="6648" y="473"/>
                    <a:pt x="6144" y="1"/>
                    <a:pt x="5546" y="1"/>
                  </a:cubicBezTo>
                  <a:cubicBezTo>
                    <a:pt x="4916" y="1"/>
                    <a:pt x="4443" y="505"/>
                    <a:pt x="4443" y="1104"/>
                  </a:cubicBezTo>
                  <a:cubicBezTo>
                    <a:pt x="4443" y="1230"/>
                    <a:pt x="4506" y="1324"/>
                    <a:pt x="4538" y="1450"/>
                  </a:cubicBezTo>
                  <a:lnTo>
                    <a:pt x="3718" y="2080"/>
                  </a:lnTo>
                  <a:lnTo>
                    <a:pt x="2868" y="1450"/>
                  </a:lnTo>
                  <a:cubicBezTo>
                    <a:pt x="2931" y="1324"/>
                    <a:pt x="2962" y="1230"/>
                    <a:pt x="2962" y="1104"/>
                  </a:cubicBezTo>
                  <a:cubicBezTo>
                    <a:pt x="2962" y="473"/>
                    <a:pt x="2458"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2" name="Google Shape;10282;p78"/>
          <p:cNvGrpSpPr/>
          <p:nvPr/>
        </p:nvGrpSpPr>
        <p:grpSpPr>
          <a:xfrm>
            <a:off x="7536803" y="1533933"/>
            <a:ext cx="319088" cy="362074"/>
            <a:chOff x="1044400" y="2917425"/>
            <a:chExt cx="248125" cy="281550"/>
          </a:xfrm>
        </p:grpSpPr>
        <p:sp>
          <p:nvSpPr>
            <p:cNvPr id="10283" name="Google Shape;10283;p78"/>
            <p:cNvSpPr/>
            <p:nvPr/>
          </p:nvSpPr>
          <p:spPr>
            <a:xfrm>
              <a:off x="1136400" y="3123175"/>
              <a:ext cx="64125" cy="26325"/>
            </a:xfrm>
            <a:custGeom>
              <a:avLst/>
              <a:gdLst/>
              <a:ahLst/>
              <a:cxnLst/>
              <a:rect l="l" t="t" r="r" b="b"/>
              <a:pathLst>
                <a:path w="2565" h="1053" extrusionOk="0">
                  <a:moveTo>
                    <a:pt x="352" y="0"/>
                  </a:moveTo>
                  <a:cubicBezTo>
                    <a:pt x="272" y="0"/>
                    <a:pt x="195" y="35"/>
                    <a:pt x="140" y="105"/>
                  </a:cubicBezTo>
                  <a:cubicBezTo>
                    <a:pt x="0" y="244"/>
                    <a:pt x="0" y="439"/>
                    <a:pt x="140" y="551"/>
                  </a:cubicBezTo>
                  <a:cubicBezTo>
                    <a:pt x="446" y="858"/>
                    <a:pt x="864" y="1053"/>
                    <a:pt x="1283" y="1053"/>
                  </a:cubicBezTo>
                  <a:cubicBezTo>
                    <a:pt x="1729" y="1053"/>
                    <a:pt x="2147" y="858"/>
                    <a:pt x="2425" y="551"/>
                  </a:cubicBezTo>
                  <a:cubicBezTo>
                    <a:pt x="2565" y="412"/>
                    <a:pt x="2565" y="216"/>
                    <a:pt x="2425" y="105"/>
                  </a:cubicBezTo>
                  <a:cubicBezTo>
                    <a:pt x="2356" y="35"/>
                    <a:pt x="2272" y="0"/>
                    <a:pt x="2192" y="0"/>
                  </a:cubicBezTo>
                  <a:cubicBezTo>
                    <a:pt x="2112" y="0"/>
                    <a:pt x="2035" y="35"/>
                    <a:pt x="1979" y="105"/>
                  </a:cubicBezTo>
                  <a:cubicBezTo>
                    <a:pt x="1812" y="272"/>
                    <a:pt x="1533" y="384"/>
                    <a:pt x="1283" y="384"/>
                  </a:cubicBezTo>
                  <a:cubicBezTo>
                    <a:pt x="1004" y="384"/>
                    <a:pt x="753" y="272"/>
                    <a:pt x="586" y="105"/>
                  </a:cubicBezTo>
                  <a:cubicBezTo>
                    <a:pt x="516" y="35"/>
                    <a:pt x="432" y="0"/>
                    <a:pt x="3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4" name="Google Shape;10284;p78"/>
            <p:cNvSpPr/>
            <p:nvPr/>
          </p:nvSpPr>
          <p:spPr>
            <a:xfrm>
              <a:off x="1127325" y="3050525"/>
              <a:ext cx="16075" cy="16050"/>
            </a:xfrm>
            <a:custGeom>
              <a:avLst/>
              <a:gdLst/>
              <a:ahLst/>
              <a:cxnLst/>
              <a:rect l="l" t="t" r="r" b="b"/>
              <a:pathLst>
                <a:path w="643" h="642" extrusionOk="0">
                  <a:moveTo>
                    <a:pt x="335" y="0"/>
                  </a:moveTo>
                  <a:cubicBezTo>
                    <a:pt x="140" y="0"/>
                    <a:pt x="1" y="140"/>
                    <a:pt x="1" y="335"/>
                  </a:cubicBezTo>
                  <a:cubicBezTo>
                    <a:pt x="1" y="502"/>
                    <a:pt x="140" y="642"/>
                    <a:pt x="335" y="642"/>
                  </a:cubicBezTo>
                  <a:cubicBezTo>
                    <a:pt x="503" y="642"/>
                    <a:pt x="642" y="502"/>
                    <a:pt x="642" y="335"/>
                  </a:cubicBezTo>
                  <a:cubicBezTo>
                    <a:pt x="642" y="140"/>
                    <a:pt x="503" y="0"/>
                    <a:pt x="3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5" name="Google Shape;10285;p78"/>
            <p:cNvSpPr/>
            <p:nvPr/>
          </p:nvSpPr>
          <p:spPr>
            <a:xfrm>
              <a:off x="1192850" y="3050525"/>
              <a:ext cx="15350" cy="16050"/>
            </a:xfrm>
            <a:custGeom>
              <a:avLst/>
              <a:gdLst/>
              <a:ahLst/>
              <a:cxnLst/>
              <a:rect l="l" t="t" r="r" b="b"/>
              <a:pathLst>
                <a:path w="614" h="642" extrusionOk="0">
                  <a:moveTo>
                    <a:pt x="307" y="0"/>
                  </a:moveTo>
                  <a:cubicBezTo>
                    <a:pt x="140" y="0"/>
                    <a:pt x="0" y="140"/>
                    <a:pt x="0" y="335"/>
                  </a:cubicBezTo>
                  <a:cubicBezTo>
                    <a:pt x="0" y="502"/>
                    <a:pt x="140" y="642"/>
                    <a:pt x="307" y="642"/>
                  </a:cubicBezTo>
                  <a:cubicBezTo>
                    <a:pt x="474" y="642"/>
                    <a:pt x="613" y="502"/>
                    <a:pt x="613" y="335"/>
                  </a:cubicBezTo>
                  <a:cubicBezTo>
                    <a:pt x="613" y="140"/>
                    <a:pt x="474" y="0"/>
                    <a:pt x="3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78"/>
            <p:cNvSpPr/>
            <p:nvPr/>
          </p:nvSpPr>
          <p:spPr>
            <a:xfrm>
              <a:off x="1044400" y="2917425"/>
              <a:ext cx="248125" cy="281550"/>
            </a:xfrm>
            <a:custGeom>
              <a:avLst/>
              <a:gdLst/>
              <a:ahLst/>
              <a:cxnLst/>
              <a:rect l="l" t="t" r="r" b="b"/>
              <a:pathLst>
                <a:path w="9925" h="11262" extrusionOk="0">
                  <a:moveTo>
                    <a:pt x="7332" y="669"/>
                  </a:moveTo>
                  <a:cubicBezTo>
                    <a:pt x="7499" y="669"/>
                    <a:pt x="7639" y="809"/>
                    <a:pt x="7639" y="976"/>
                  </a:cubicBezTo>
                  <a:lnTo>
                    <a:pt x="7639" y="2816"/>
                  </a:lnTo>
                  <a:lnTo>
                    <a:pt x="6886" y="2063"/>
                  </a:lnTo>
                  <a:cubicBezTo>
                    <a:pt x="6823" y="2000"/>
                    <a:pt x="6743" y="1964"/>
                    <a:pt x="6660" y="1964"/>
                  </a:cubicBezTo>
                  <a:cubicBezTo>
                    <a:pt x="6595" y="1964"/>
                    <a:pt x="6529" y="1986"/>
                    <a:pt x="6468" y="2035"/>
                  </a:cubicBezTo>
                  <a:cubicBezTo>
                    <a:pt x="5924" y="2398"/>
                    <a:pt x="5297" y="2579"/>
                    <a:pt x="4670" y="2579"/>
                  </a:cubicBezTo>
                  <a:cubicBezTo>
                    <a:pt x="4043" y="2579"/>
                    <a:pt x="3415" y="2398"/>
                    <a:pt x="2872" y="2035"/>
                  </a:cubicBezTo>
                  <a:cubicBezTo>
                    <a:pt x="2811" y="1986"/>
                    <a:pt x="2744" y="1964"/>
                    <a:pt x="2680" y="1964"/>
                  </a:cubicBezTo>
                  <a:cubicBezTo>
                    <a:pt x="2597" y="1964"/>
                    <a:pt x="2516" y="2000"/>
                    <a:pt x="2454" y="2063"/>
                  </a:cubicBezTo>
                  <a:lnTo>
                    <a:pt x="1701" y="2816"/>
                  </a:lnTo>
                  <a:lnTo>
                    <a:pt x="1701" y="976"/>
                  </a:lnTo>
                  <a:cubicBezTo>
                    <a:pt x="1980" y="809"/>
                    <a:pt x="2147" y="669"/>
                    <a:pt x="2314" y="669"/>
                  </a:cubicBezTo>
                  <a:cubicBezTo>
                    <a:pt x="2482" y="669"/>
                    <a:pt x="2621" y="809"/>
                    <a:pt x="2621" y="976"/>
                  </a:cubicBezTo>
                  <a:cubicBezTo>
                    <a:pt x="2621" y="1143"/>
                    <a:pt x="2760" y="1283"/>
                    <a:pt x="2956" y="1283"/>
                  </a:cubicBezTo>
                  <a:cubicBezTo>
                    <a:pt x="3123" y="1283"/>
                    <a:pt x="3262" y="1143"/>
                    <a:pt x="3262" y="976"/>
                  </a:cubicBezTo>
                  <a:cubicBezTo>
                    <a:pt x="3262" y="809"/>
                    <a:pt x="3402" y="669"/>
                    <a:pt x="3569" y="669"/>
                  </a:cubicBezTo>
                  <a:cubicBezTo>
                    <a:pt x="3736" y="669"/>
                    <a:pt x="3875" y="809"/>
                    <a:pt x="3875" y="976"/>
                  </a:cubicBezTo>
                  <a:cubicBezTo>
                    <a:pt x="3875" y="1143"/>
                    <a:pt x="4015" y="1283"/>
                    <a:pt x="4210" y="1283"/>
                  </a:cubicBezTo>
                  <a:cubicBezTo>
                    <a:pt x="4377" y="1283"/>
                    <a:pt x="4517" y="1143"/>
                    <a:pt x="4517" y="976"/>
                  </a:cubicBezTo>
                  <a:cubicBezTo>
                    <a:pt x="4517" y="809"/>
                    <a:pt x="4656" y="669"/>
                    <a:pt x="4823" y="669"/>
                  </a:cubicBezTo>
                  <a:cubicBezTo>
                    <a:pt x="4990" y="669"/>
                    <a:pt x="5130" y="809"/>
                    <a:pt x="5130" y="976"/>
                  </a:cubicBezTo>
                  <a:cubicBezTo>
                    <a:pt x="5130" y="1143"/>
                    <a:pt x="5269" y="1283"/>
                    <a:pt x="5464" y="1283"/>
                  </a:cubicBezTo>
                  <a:cubicBezTo>
                    <a:pt x="5632" y="1283"/>
                    <a:pt x="5771" y="1143"/>
                    <a:pt x="5771" y="976"/>
                  </a:cubicBezTo>
                  <a:cubicBezTo>
                    <a:pt x="5771" y="809"/>
                    <a:pt x="5910" y="669"/>
                    <a:pt x="6078" y="669"/>
                  </a:cubicBezTo>
                  <a:cubicBezTo>
                    <a:pt x="6245" y="669"/>
                    <a:pt x="6384" y="809"/>
                    <a:pt x="6384" y="976"/>
                  </a:cubicBezTo>
                  <a:cubicBezTo>
                    <a:pt x="6384" y="1143"/>
                    <a:pt x="6524" y="1283"/>
                    <a:pt x="6719" y="1283"/>
                  </a:cubicBezTo>
                  <a:cubicBezTo>
                    <a:pt x="6886" y="1283"/>
                    <a:pt x="7025" y="1143"/>
                    <a:pt x="7025" y="976"/>
                  </a:cubicBezTo>
                  <a:cubicBezTo>
                    <a:pt x="7025" y="809"/>
                    <a:pt x="7165" y="669"/>
                    <a:pt x="7332" y="669"/>
                  </a:cubicBezTo>
                  <a:close/>
                  <a:moveTo>
                    <a:pt x="1311" y="5297"/>
                  </a:moveTo>
                  <a:lnTo>
                    <a:pt x="1311" y="6635"/>
                  </a:lnTo>
                  <a:cubicBezTo>
                    <a:pt x="949" y="6635"/>
                    <a:pt x="642" y="6356"/>
                    <a:pt x="642" y="5966"/>
                  </a:cubicBezTo>
                  <a:cubicBezTo>
                    <a:pt x="642" y="5603"/>
                    <a:pt x="921" y="5297"/>
                    <a:pt x="1311" y="5297"/>
                  </a:cubicBezTo>
                  <a:close/>
                  <a:moveTo>
                    <a:pt x="8586" y="5297"/>
                  </a:moveTo>
                  <a:cubicBezTo>
                    <a:pt x="8949" y="5297"/>
                    <a:pt x="9255" y="5575"/>
                    <a:pt x="9255" y="5966"/>
                  </a:cubicBezTo>
                  <a:cubicBezTo>
                    <a:pt x="9255" y="6356"/>
                    <a:pt x="8949" y="6635"/>
                    <a:pt x="8586" y="6635"/>
                  </a:cubicBezTo>
                  <a:lnTo>
                    <a:pt x="8586" y="5297"/>
                  </a:lnTo>
                  <a:close/>
                  <a:moveTo>
                    <a:pt x="6914" y="2732"/>
                  </a:moveTo>
                  <a:lnTo>
                    <a:pt x="7973" y="3763"/>
                  </a:lnTo>
                  <a:cubicBezTo>
                    <a:pt x="7917" y="4265"/>
                    <a:pt x="7917" y="7248"/>
                    <a:pt x="7917" y="7638"/>
                  </a:cubicBezTo>
                  <a:cubicBezTo>
                    <a:pt x="7917" y="9255"/>
                    <a:pt x="6607" y="10593"/>
                    <a:pt x="4963" y="10593"/>
                  </a:cubicBezTo>
                  <a:cubicBezTo>
                    <a:pt x="3318" y="10593"/>
                    <a:pt x="2008" y="9255"/>
                    <a:pt x="2008" y="7638"/>
                  </a:cubicBezTo>
                  <a:lnTo>
                    <a:pt x="2008" y="3763"/>
                  </a:lnTo>
                  <a:lnTo>
                    <a:pt x="3039" y="2732"/>
                  </a:lnTo>
                  <a:cubicBezTo>
                    <a:pt x="3638" y="3080"/>
                    <a:pt x="4301" y="3255"/>
                    <a:pt x="4966" y="3255"/>
                  </a:cubicBezTo>
                  <a:cubicBezTo>
                    <a:pt x="5632" y="3255"/>
                    <a:pt x="6301" y="3080"/>
                    <a:pt x="6914" y="2732"/>
                  </a:cubicBezTo>
                  <a:close/>
                  <a:moveTo>
                    <a:pt x="2314" y="0"/>
                  </a:moveTo>
                  <a:cubicBezTo>
                    <a:pt x="1757" y="0"/>
                    <a:pt x="1339" y="446"/>
                    <a:pt x="1339" y="976"/>
                  </a:cubicBezTo>
                  <a:lnTo>
                    <a:pt x="1339" y="4628"/>
                  </a:lnTo>
                  <a:cubicBezTo>
                    <a:pt x="614" y="4628"/>
                    <a:pt x="1" y="5241"/>
                    <a:pt x="1" y="5966"/>
                  </a:cubicBezTo>
                  <a:cubicBezTo>
                    <a:pt x="1" y="6690"/>
                    <a:pt x="614" y="7276"/>
                    <a:pt x="1339" y="7276"/>
                  </a:cubicBezTo>
                  <a:lnTo>
                    <a:pt x="1339" y="7638"/>
                  </a:lnTo>
                  <a:cubicBezTo>
                    <a:pt x="1339" y="9617"/>
                    <a:pt x="2983" y="11262"/>
                    <a:pt x="4963" y="11262"/>
                  </a:cubicBezTo>
                  <a:cubicBezTo>
                    <a:pt x="6942" y="11262"/>
                    <a:pt x="8586" y="9617"/>
                    <a:pt x="8586" y="7638"/>
                  </a:cubicBezTo>
                  <a:lnTo>
                    <a:pt x="8586" y="7276"/>
                  </a:lnTo>
                  <a:cubicBezTo>
                    <a:pt x="9311" y="7276"/>
                    <a:pt x="9896" y="6690"/>
                    <a:pt x="9896" y="5966"/>
                  </a:cubicBezTo>
                  <a:cubicBezTo>
                    <a:pt x="9924" y="5241"/>
                    <a:pt x="9311" y="4628"/>
                    <a:pt x="8586" y="4628"/>
                  </a:cubicBezTo>
                  <a:lnTo>
                    <a:pt x="8586" y="976"/>
                  </a:lnTo>
                  <a:cubicBezTo>
                    <a:pt x="8586" y="418"/>
                    <a:pt x="8140" y="0"/>
                    <a:pt x="7611" y="0"/>
                  </a:cubicBezTo>
                  <a:cubicBezTo>
                    <a:pt x="7360" y="0"/>
                    <a:pt x="7137" y="112"/>
                    <a:pt x="6942" y="251"/>
                  </a:cubicBezTo>
                  <a:cubicBezTo>
                    <a:pt x="6774" y="56"/>
                    <a:pt x="6524" y="0"/>
                    <a:pt x="6301" y="0"/>
                  </a:cubicBezTo>
                  <a:cubicBezTo>
                    <a:pt x="6050" y="0"/>
                    <a:pt x="5799" y="112"/>
                    <a:pt x="5632" y="251"/>
                  </a:cubicBezTo>
                  <a:cubicBezTo>
                    <a:pt x="5436" y="56"/>
                    <a:pt x="5213" y="0"/>
                    <a:pt x="4963" y="0"/>
                  </a:cubicBezTo>
                  <a:cubicBezTo>
                    <a:pt x="4712" y="0"/>
                    <a:pt x="4461" y="112"/>
                    <a:pt x="4294" y="251"/>
                  </a:cubicBezTo>
                  <a:cubicBezTo>
                    <a:pt x="4126" y="56"/>
                    <a:pt x="3875" y="0"/>
                    <a:pt x="3625" y="0"/>
                  </a:cubicBezTo>
                  <a:cubicBezTo>
                    <a:pt x="3402" y="0"/>
                    <a:pt x="3151" y="112"/>
                    <a:pt x="2983" y="251"/>
                  </a:cubicBezTo>
                  <a:cubicBezTo>
                    <a:pt x="2788" y="56"/>
                    <a:pt x="2565" y="0"/>
                    <a:pt x="23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78"/>
            <p:cNvSpPr/>
            <p:nvPr/>
          </p:nvSpPr>
          <p:spPr>
            <a:xfrm>
              <a:off x="1086125" y="2932961"/>
              <a:ext cx="11427" cy="58241"/>
            </a:xfrm>
            <a:custGeom>
              <a:avLst/>
              <a:gdLst/>
              <a:ahLst/>
              <a:cxnLst/>
              <a:rect l="l" t="t" r="r" b="b"/>
              <a:pathLst>
                <a:path w="500" h="2548" extrusionOk="0">
                  <a:moveTo>
                    <a:pt x="500" y="2238"/>
                  </a:moveTo>
                  <a:lnTo>
                    <a:pt x="500" y="0"/>
                  </a:lnTo>
                  <a:lnTo>
                    <a:pt x="72" y="214"/>
                  </a:lnTo>
                  <a:lnTo>
                    <a:pt x="0" y="1547"/>
                  </a:lnTo>
                  <a:lnTo>
                    <a:pt x="0" y="2548"/>
                  </a:lnTo>
                  <a:close/>
                </a:path>
              </a:pathLst>
            </a:custGeom>
            <a:solidFill>
              <a:srgbClr val="5F7D95"/>
            </a:solidFill>
            <a:ln>
              <a:noFill/>
            </a:ln>
          </p:spPr>
          <p:txBody>
            <a:bodyPr/>
            <a:lstStyle/>
            <a:p>
              <a:endParaRPr lang="de-DE"/>
            </a:p>
          </p:txBody>
        </p:sp>
        <p:sp>
          <p:nvSpPr>
            <p:cNvPr id="10288" name="Google Shape;10288;p78"/>
            <p:cNvSpPr/>
            <p:nvPr/>
          </p:nvSpPr>
          <p:spPr>
            <a:xfrm>
              <a:off x="1090922" y="2925900"/>
              <a:ext cx="29209" cy="38629"/>
            </a:xfrm>
            <a:custGeom>
              <a:avLst/>
              <a:gdLst/>
              <a:ahLst/>
              <a:cxnLst/>
              <a:rect l="l" t="t" r="r" b="b"/>
              <a:pathLst>
                <a:path w="1278" h="1690" extrusionOk="0">
                  <a:moveTo>
                    <a:pt x="288" y="737"/>
                  </a:moveTo>
                  <a:cubicBezTo>
                    <a:pt x="296" y="689"/>
                    <a:pt x="288" y="519"/>
                    <a:pt x="336" y="451"/>
                  </a:cubicBezTo>
                  <a:cubicBezTo>
                    <a:pt x="384" y="384"/>
                    <a:pt x="471" y="340"/>
                    <a:pt x="574" y="332"/>
                  </a:cubicBezTo>
                  <a:cubicBezTo>
                    <a:pt x="677" y="324"/>
                    <a:pt x="840" y="412"/>
                    <a:pt x="955" y="404"/>
                  </a:cubicBezTo>
                  <a:cubicBezTo>
                    <a:pt x="1070" y="396"/>
                    <a:pt x="1320" y="349"/>
                    <a:pt x="1264" y="285"/>
                  </a:cubicBezTo>
                  <a:cubicBezTo>
                    <a:pt x="1208" y="222"/>
                    <a:pt x="816" y="51"/>
                    <a:pt x="621" y="23"/>
                  </a:cubicBezTo>
                  <a:cubicBezTo>
                    <a:pt x="427" y="-5"/>
                    <a:pt x="200" y="-13"/>
                    <a:pt x="97" y="118"/>
                  </a:cubicBezTo>
                  <a:cubicBezTo>
                    <a:pt x="-6" y="249"/>
                    <a:pt x="2" y="547"/>
                    <a:pt x="2" y="809"/>
                  </a:cubicBezTo>
                  <a:cubicBezTo>
                    <a:pt x="2" y="1071"/>
                    <a:pt x="81" y="1543"/>
                    <a:pt x="97" y="1690"/>
                  </a:cubicBezTo>
                </a:path>
              </a:pathLst>
            </a:custGeom>
            <a:solidFill>
              <a:srgbClr val="5F7D95"/>
            </a:solidFill>
            <a:ln>
              <a:noFill/>
            </a:ln>
          </p:spPr>
          <p:txBody>
            <a:bodyPr/>
            <a:lstStyle/>
            <a:p>
              <a:endParaRPr lang="de-DE"/>
            </a:p>
          </p:txBody>
        </p:sp>
        <p:sp>
          <p:nvSpPr>
            <p:cNvPr id="10289" name="Google Shape;10289;p78"/>
            <p:cNvSpPr/>
            <p:nvPr/>
          </p:nvSpPr>
          <p:spPr>
            <a:xfrm>
              <a:off x="1222775" y="2966925"/>
              <a:ext cx="28574" cy="36325"/>
            </a:xfrm>
            <a:custGeom>
              <a:avLst/>
              <a:gdLst/>
              <a:ahLst/>
              <a:cxnLst/>
              <a:rect l="l" t="t" r="r" b="b"/>
              <a:pathLst>
                <a:path w="1048" h="1453" extrusionOk="0">
                  <a:moveTo>
                    <a:pt x="0" y="0"/>
                  </a:moveTo>
                  <a:lnTo>
                    <a:pt x="1048" y="1072"/>
                  </a:lnTo>
                  <a:lnTo>
                    <a:pt x="905" y="1453"/>
                  </a:lnTo>
                  <a:lnTo>
                    <a:pt x="0" y="667"/>
                  </a:lnTo>
                  <a:close/>
                </a:path>
              </a:pathLst>
            </a:custGeom>
            <a:solidFill>
              <a:srgbClr val="5F7D95"/>
            </a:solidFill>
            <a:ln>
              <a:noFill/>
            </a:ln>
          </p:spPr>
          <p:txBody>
            <a:bodyPr/>
            <a:lstStyle/>
            <a:p>
              <a:endParaRPr lang="de-DE"/>
            </a:p>
          </p:txBody>
        </p:sp>
        <p:sp>
          <p:nvSpPr>
            <p:cNvPr id="10290" name="Google Shape;10290;p78"/>
            <p:cNvSpPr/>
            <p:nvPr/>
          </p:nvSpPr>
          <p:spPr>
            <a:xfrm>
              <a:off x="1205975" y="2965750"/>
              <a:ext cx="21000" cy="162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1" name="Google Shape;10291;p78"/>
            <p:cNvSpPr/>
            <p:nvPr/>
          </p:nvSpPr>
          <p:spPr>
            <a:xfrm>
              <a:off x="1082225" y="2937250"/>
              <a:ext cx="11400" cy="264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92" name="Google Shape;10292;p78"/>
          <p:cNvSpPr/>
          <p:nvPr/>
        </p:nvSpPr>
        <p:spPr>
          <a:xfrm>
            <a:off x="6633660" y="2459865"/>
            <a:ext cx="343218" cy="362154"/>
          </a:xfrm>
          <a:custGeom>
            <a:avLst/>
            <a:gdLst/>
            <a:ahLst/>
            <a:cxnLst/>
            <a:rect l="l" t="t" r="r" b="b"/>
            <a:pathLst>
              <a:path w="10621" h="11207" extrusionOk="0">
                <a:moveTo>
                  <a:pt x="6412" y="614"/>
                </a:moveTo>
                <a:lnTo>
                  <a:pt x="6690" y="1980"/>
                </a:lnTo>
                <a:cubicBezTo>
                  <a:pt x="6384" y="2063"/>
                  <a:pt x="6105" y="2203"/>
                  <a:pt x="5854" y="2426"/>
                </a:cubicBezTo>
                <a:cubicBezTo>
                  <a:pt x="5548" y="2119"/>
                  <a:pt x="5129" y="1952"/>
                  <a:pt x="4711" y="1952"/>
                </a:cubicBezTo>
                <a:cubicBezTo>
                  <a:pt x="4265" y="1952"/>
                  <a:pt x="3875" y="2119"/>
                  <a:pt x="3568" y="2426"/>
                </a:cubicBezTo>
                <a:cubicBezTo>
                  <a:pt x="3345" y="2231"/>
                  <a:pt x="3039" y="2063"/>
                  <a:pt x="2732" y="1980"/>
                </a:cubicBezTo>
                <a:lnTo>
                  <a:pt x="3011" y="614"/>
                </a:lnTo>
                <a:close/>
                <a:moveTo>
                  <a:pt x="7192" y="1088"/>
                </a:moveTo>
                <a:lnTo>
                  <a:pt x="8530" y="2147"/>
                </a:lnTo>
                <a:cubicBezTo>
                  <a:pt x="8447" y="2259"/>
                  <a:pt x="8335" y="2370"/>
                  <a:pt x="8251" y="2482"/>
                </a:cubicBezTo>
                <a:cubicBezTo>
                  <a:pt x="8028" y="2231"/>
                  <a:pt x="7750" y="2008"/>
                  <a:pt x="7359" y="1952"/>
                </a:cubicBezTo>
                <a:lnTo>
                  <a:pt x="7192" y="1088"/>
                </a:lnTo>
                <a:close/>
                <a:moveTo>
                  <a:pt x="9339" y="2565"/>
                </a:moveTo>
                <a:cubicBezTo>
                  <a:pt x="9729" y="2565"/>
                  <a:pt x="10008" y="2844"/>
                  <a:pt x="10008" y="3234"/>
                </a:cubicBezTo>
                <a:cubicBezTo>
                  <a:pt x="9980" y="3624"/>
                  <a:pt x="9701" y="3903"/>
                  <a:pt x="9339" y="3903"/>
                </a:cubicBezTo>
                <a:cubicBezTo>
                  <a:pt x="9004" y="3903"/>
                  <a:pt x="8670" y="3624"/>
                  <a:pt x="8670" y="3234"/>
                </a:cubicBezTo>
                <a:cubicBezTo>
                  <a:pt x="8670" y="2900"/>
                  <a:pt x="8948" y="2565"/>
                  <a:pt x="9339" y="2565"/>
                </a:cubicBezTo>
                <a:close/>
                <a:moveTo>
                  <a:pt x="7081" y="2565"/>
                </a:moveTo>
                <a:cubicBezTo>
                  <a:pt x="7638" y="2565"/>
                  <a:pt x="8056" y="3039"/>
                  <a:pt x="8056" y="3541"/>
                </a:cubicBezTo>
                <a:cubicBezTo>
                  <a:pt x="8056" y="4070"/>
                  <a:pt x="7610" y="4516"/>
                  <a:pt x="7081" y="4516"/>
                </a:cubicBezTo>
                <a:cubicBezTo>
                  <a:pt x="6718" y="4516"/>
                  <a:pt x="6384" y="4321"/>
                  <a:pt x="6217" y="4015"/>
                </a:cubicBezTo>
                <a:cubicBezTo>
                  <a:pt x="6147" y="3889"/>
                  <a:pt x="6028" y="3827"/>
                  <a:pt x="5910" y="3827"/>
                </a:cubicBezTo>
                <a:cubicBezTo>
                  <a:pt x="5791" y="3827"/>
                  <a:pt x="5673" y="3889"/>
                  <a:pt x="5603" y="4015"/>
                </a:cubicBezTo>
                <a:cubicBezTo>
                  <a:pt x="5436" y="4321"/>
                  <a:pt x="5102" y="4516"/>
                  <a:pt x="4739" y="4516"/>
                </a:cubicBezTo>
                <a:cubicBezTo>
                  <a:pt x="4405" y="4516"/>
                  <a:pt x="4042" y="4321"/>
                  <a:pt x="3875" y="4015"/>
                </a:cubicBezTo>
                <a:cubicBezTo>
                  <a:pt x="3805" y="3889"/>
                  <a:pt x="3694" y="3827"/>
                  <a:pt x="3582" y="3827"/>
                </a:cubicBezTo>
                <a:cubicBezTo>
                  <a:pt x="3471" y="3827"/>
                  <a:pt x="3359" y="3889"/>
                  <a:pt x="3290" y="4015"/>
                </a:cubicBezTo>
                <a:cubicBezTo>
                  <a:pt x="3094" y="4321"/>
                  <a:pt x="2760" y="4516"/>
                  <a:pt x="2398" y="4516"/>
                </a:cubicBezTo>
                <a:cubicBezTo>
                  <a:pt x="1840" y="4516"/>
                  <a:pt x="1422" y="4070"/>
                  <a:pt x="1422" y="3541"/>
                </a:cubicBezTo>
                <a:cubicBezTo>
                  <a:pt x="1422" y="3039"/>
                  <a:pt x="1840" y="2565"/>
                  <a:pt x="2398" y="2565"/>
                </a:cubicBezTo>
                <a:cubicBezTo>
                  <a:pt x="2760" y="2565"/>
                  <a:pt x="3094" y="2788"/>
                  <a:pt x="3290" y="3095"/>
                </a:cubicBezTo>
                <a:cubicBezTo>
                  <a:pt x="3359" y="3220"/>
                  <a:pt x="3471" y="3283"/>
                  <a:pt x="3582" y="3283"/>
                </a:cubicBezTo>
                <a:cubicBezTo>
                  <a:pt x="3694" y="3283"/>
                  <a:pt x="3805" y="3220"/>
                  <a:pt x="3875" y="3095"/>
                </a:cubicBezTo>
                <a:cubicBezTo>
                  <a:pt x="4042" y="2788"/>
                  <a:pt x="4405" y="2565"/>
                  <a:pt x="4739" y="2565"/>
                </a:cubicBezTo>
                <a:cubicBezTo>
                  <a:pt x="5102" y="2565"/>
                  <a:pt x="5436" y="2788"/>
                  <a:pt x="5603" y="3095"/>
                </a:cubicBezTo>
                <a:cubicBezTo>
                  <a:pt x="5673" y="3220"/>
                  <a:pt x="5791" y="3283"/>
                  <a:pt x="5910" y="3283"/>
                </a:cubicBezTo>
                <a:cubicBezTo>
                  <a:pt x="6028" y="3283"/>
                  <a:pt x="6147" y="3220"/>
                  <a:pt x="6217" y="3095"/>
                </a:cubicBezTo>
                <a:cubicBezTo>
                  <a:pt x="6384" y="2788"/>
                  <a:pt x="6718" y="2565"/>
                  <a:pt x="7081" y="2565"/>
                </a:cubicBezTo>
                <a:close/>
                <a:moveTo>
                  <a:pt x="5798" y="4767"/>
                </a:moveTo>
                <a:cubicBezTo>
                  <a:pt x="6105" y="5074"/>
                  <a:pt x="6523" y="5269"/>
                  <a:pt x="6941" y="5269"/>
                </a:cubicBezTo>
                <a:cubicBezTo>
                  <a:pt x="7192" y="5269"/>
                  <a:pt x="7387" y="5213"/>
                  <a:pt x="7610" y="5130"/>
                </a:cubicBezTo>
                <a:lnTo>
                  <a:pt x="7610" y="6273"/>
                </a:lnTo>
                <a:lnTo>
                  <a:pt x="7109" y="6440"/>
                </a:lnTo>
                <a:cubicBezTo>
                  <a:pt x="7055" y="6463"/>
                  <a:pt x="6997" y="6473"/>
                  <a:pt x="6938" y="6473"/>
                </a:cubicBezTo>
                <a:cubicBezTo>
                  <a:pt x="6782" y="6473"/>
                  <a:pt x="6616" y="6402"/>
                  <a:pt x="6495" y="6301"/>
                </a:cubicBezTo>
                <a:cubicBezTo>
                  <a:pt x="6241" y="6046"/>
                  <a:pt x="5923" y="5927"/>
                  <a:pt x="5608" y="5927"/>
                </a:cubicBezTo>
                <a:cubicBezTo>
                  <a:pt x="5267" y="5927"/>
                  <a:pt x="4930" y="6067"/>
                  <a:pt x="4683" y="6328"/>
                </a:cubicBezTo>
                <a:cubicBezTo>
                  <a:pt x="4433" y="6078"/>
                  <a:pt x="4082" y="5937"/>
                  <a:pt x="3733" y="5937"/>
                </a:cubicBezTo>
                <a:cubicBezTo>
                  <a:pt x="3420" y="5937"/>
                  <a:pt x="3109" y="6050"/>
                  <a:pt x="2871" y="6301"/>
                </a:cubicBezTo>
                <a:cubicBezTo>
                  <a:pt x="2737" y="6416"/>
                  <a:pt x="2602" y="6478"/>
                  <a:pt x="2449" y="6478"/>
                </a:cubicBezTo>
                <a:cubicBezTo>
                  <a:pt x="2380" y="6478"/>
                  <a:pt x="2308" y="6466"/>
                  <a:pt x="2230" y="6440"/>
                </a:cubicBezTo>
                <a:lnTo>
                  <a:pt x="1673" y="6273"/>
                </a:lnTo>
                <a:lnTo>
                  <a:pt x="1673" y="5130"/>
                </a:lnTo>
                <a:cubicBezTo>
                  <a:pt x="1896" y="5213"/>
                  <a:pt x="2091" y="5269"/>
                  <a:pt x="2342" y="5269"/>
                </a:cubicBezTo>
                <a:cubicBezTo>
                  <a:pt x="2788" y="5269"/>
                  <a:pt x="3178" y="5074"/>
                  <a:pt x="3485" y="4767"/>
                </a:cubicBezTo>
                <a:cubicBezTo>
                  <a:pt x="3791" y="5074"/>
                  <a:pt x="4209" y="5269"/>
                  <a:pt x="4628" y="5269"/>
                </a:cubicBezTo>
                <a:cubicBezTo>
                  <a:pt x="5102" y="5269"/>
                  <a:pt x="5464" y="5074"/>
                  <a:pt x="5798" y="4767"/>
                </a:cubicBezTo>
                <a:close/>
                <a:moveTo>
                  <a:pt x="3791" y="6577"/>
                </a:moveTo>
                <a:cubicBezTo>
                  <a:pt x="4000" y="6577"/>
                  <a:pt x="4207" y="6680"/>
                  <a:pt x="4321" y="6858"/>
                </a:cubicBezTo>
                <a:lnTo>
                  <a:pt x="4182" y="6997"/>
                </a:lnTo>
                <a:cubicBezTo>
                  <a:pt x="3826" y="7340"/>
                  <a:pt x="3371" y="7508"/>
                  <a:pt x="2920" y="7508"/>
                </a:cubicBezTo>
                <a:cubicBezTo>
                  <a:pt x="2415" y="7508"/>
                  <a:pt x="1914" y="7298"/>
                  <a:pt x="1561" y="6886"/>
                </a:cubicBezTo>
                <a:lnTo>
                  <a:pt x="1561" y="6886"/>
                </a:lnTo>
                <a:lnTo>
                  <a:pt x="2091" y="7081"/>
                </a:lnTo>
                <a:cubicBezTo>
                  <a:pt x="2215" y="7120"/>
                  <a:pt x="2343" y="7139"/>
                  <a:pt x="2471" y="7139"/>
                </a:cubicBezTo>
                <a:cubicBezTo>
                  <a:pt x="2803" y="7139"/>
                  <a:pt x="3132" y="7008"/>
                  <a:pt x="3373" y="6747"/>
                </a:cubicBezTo>
                <a:cubicBezTo>
                  <a:pt x="3490" y="6630"/>
                  <a:pt x="3641" y="6577"/>
                  <a:pt x="3791" y="6577"/>
                </a:cubicBezTo>
                <a:close/>
                <a:moveTo>
                  <a:pt x="5591" y="6621"/>
                </a:moveTo>
                <a:cubicBezTo>
                  <a:pt x="5743" y="6621"/>
                  <a:pt x="5898" y="6679"/>
                  <a:pt x="6021" y="6802"/>
                </a:cubicBezTo>
                <a:cubicBezTo>
                  <a:pt x="6282" y="7042"/>
                  <a:pt x="6599" y="7168"/>
                  <a:pt x="6933" y="7168"/>
                </a:cubicBezTo>
                <a:cubicBezTo>
                  <a:pt x="7064" y="7168"/>
                  <a:pt x="7198" y="7148"/>
                  <a:pt x="7332" y="7109"/>
                </a:cubicBezTo>
                <a:lnTo>
                  <a:pt x="7833" y="6886"/>
                </a:lnTo>
                <a:lnTo>
                  <a:pt x="7833" y="6886"/>
                </a:lnTo>
                <a:cubicBezTo>
                  <a:pt x="7503" y="7299"/>
                  <a:pt x="7003" y="7529"/>
                  <a:pt x="6483" y="7529"/>
                </a:cubicBezTo>
                <a:cubicBezTo>
                  <a:pt x="6302" y="7529"/>
                  <a:pt x="6118" y="7501"/>
                  <a:pt x="5938" y="7443"/>
                </a:cubicBezTo>
                <a:cubicBezTo>
                  <a:pt x="5464" y="7304"/>
                  <a:pt x="5269" y="7025"/>
                  <a:pt x="5102" y="6886"/>
                </a:cubicBezTo>
                <a:cubicBezTo>
                  <a:pt x="5211" y="6714"/>
                  <a:pt x="5398" y="6621"/>
                  <a:pt x="5591" y="6621"/>
                </a:cubicBezTo>
                <a:close/>
                <a:moveTo>
                  <a:pt x="4628" y="7416"/>
                </a:moveTo>
                <a:cubicBezTo>
                  <a:pt x="4906" y="7694"/>
                  <a:pt x="5185" y="7945"/>
                  <a:pt x="5659" y="8085"/>
                </a:cubicBezTo>
                <a:cubicBezTo>
                  <a:pt x="5882" y="8140"/>
                  <a:pt x="6161" y="8224"/>
                  <a:pt x="6412" y="8224"/>
                </a:cubicBezTo>
                <a:cubicBezTo>
                  <a:pt x="7053" y="8224"/>
                  <a:pt x="7666" y="7973"/>
                  <a:pt x="8112" y="7527"/>
                </a:cubicBezTo>
                <a:cubicBezTo>
                  <a:pt x="8224" y="7639"/>
                  <a:pt x="8251" y="7806"/>
                  <a:pt x="8251" y="7945"/>
                </a:cubicBezTo>
                <a:cubicBezTo>
                  <a:pt x="8335" y="8280"/>
                  <a:pt x="8056" y="8558"/>
                  <a:pt x="7666" y="8558"/>
                </a:cubicBezTo>
                <a:cubicBezTo>
                  <a:pt x="7555" y="8558"/>
                  <a:pt x="7471" y="8531"/>
                  <a:pt x="7387" y="8503"/>
                </a:cubicBezTo>
                <a:cubicBezTo>
                  <a:pt x="7339" y="8479"/>
                  <a:pt x="7291" y="8468"/>
                  <a:pt x="7243" y="8468"/>
                </a:cubicBezTo>
                <a:cubicBezTo>
                  <a:pt x="7016" y="8468"/>
                  <a:pt x="6826" y="8718"/>
                  <a:pt x="6941" y="8949"/>
                </a:cubicBezTo>
                <a:cubicBezTo>
                  <a:pt x="6969" y="9060"/>
                  <a:pt x="6997" y="9172"/>
                  <a:pt x="6997" y="9227"/>
                </a:cubicBezTo>
                <a:cubicBezTo>
                  <a:pt x="6997" y="9590"/>
                  <a:pt x="6718" y="9896"/>
                  <a:pt x="6356" y="9896"/>
                </a:cubicBezTo>
                <a:cubicBezTo>
                  <a:pt x="6161" y="9896"/>
                  <a:pt x="6021" y="9813"/>
                  <a:pt x="5882" y="9729"/>
                </a:cubicBezTo>
                <a:cubicBezTo>
                  <a:pt x="5815" y="9662"/>
                  <a:pt x="5734" y="9631"/>
                  <a:pt x="5655" y="9631"/>
                </a:cubicBezTo>
                <a:cubicBezTo>
                  <a:pt x="5505" y="9631"/>
                  <a:pt x="5361" y="9742"/>
                  <a:pt x="5325" y="9924"/>
                </a:cubicBezTo>
                <a:cubicBezTo>
                  <a:pt x="5297" y="10287"/>
                  <a:pt x="5018" y="10565"/>
                  <a:pt x="4683" y="10565"/>
                </a:cubicBezTo>
                <a:cubicBezTo>
                  <a:pt x="4321" y="10565"/>
                  <a:pt x="4042" y="10287"/>
                  <a:pt x="4014" y="9924"/>
                </a:cubicBezTo>
                <a:cubicBezTo>
                  <a:pt x="3996" y="9741"/>
                  <a:pt x="3846" y="9619"/>
                  <a:pt x="3690" y="9619"/>
                </a:cubicBezTo>
                <a:cubicBezTo>
                  <a:pt x="3608" y="9619"/>
                  <a:pt x="3524" y="9652"/>
                  <a:pt x="3457" y="9729"/>
                </a:cubicBezTo>
                <a:cubicBezTo>
                  <a:pt x="3317" y="9813"/>
                  <a:pt x="3178" y="9896"/>
                  <a:pt x="3011" y="9896"/>
                </a:cubicBezTo>
                <a:cubicBezTo>
                  <a:pt x="2648" y="9896"/>
                  <a:pt x="2342" y="9618"/>
                  <a:pt x="2342" y="9227"/>
                </a:cubicBezTo>
                <a:cubicBezTo>
                  <a:pt x="2342" y="9116"/>
                  <a:pt x="2370" y="9032"/>
                  <a:pt x="2398" y="8949"/>
                </a:cubicBezTo>
                <a:cubicBezTo>
                  <a:pt x="2513" y="8718"/>
                  <a:pt x="2323" y="8468"/>
                  <a:pt x="2095" y="8468"/>
                </a:cubicBezTo>
                <a:cubicBezTo>
                  <a:pt x="2048" y="8468"/>
                  <a:pt x="2000" y="8479"/>
                  <a:pt x="1952" y="8503"/>
                </a:cubicBezTo>
                <a:cubicBezTo>
                  <a:pt x="1859" y="8555"/>
                  <a:pt x="1755" y="8583"/>
                  <a:pt x="1653" y="8583"/>
                </a:cubicBezTo>
                <a:cubicBezTo>
                  <a:pt x="1538" y="8583"/>
                  <a:pt x="1427" y="8548"/>
                  <a:pt x="1338" y="8475"/>
                </a:cubicBezTo>
                <a:cubicBezTo>
                  <a:pt x="1115" y="8335"/>
                  <a:pt x="1004" y="8112"/>
                  <a:pt x="1004" y="7917"/>
                </a:cubicBezTo>
                <a:cubicBezTo>
                  <a:pt x="1004" y="7722"/>
                  <a:pt x="1087" y="7583"/>
                  <a:pt x="1143" y="7499"/>
                </a:cubicBezTo>
                <a:cubicBezTo>
                  <a:pt x="1617" y="7945"/>
                  <a:pt x="2230" y="8196"/>
                  <a:pt x="2871" y="8196"/>
                </a:cubicBezTo>
                <a:cubicBezTo>
                  <a:pt x="3485" y="8196"/>
                  <a:pt x="4126" y="7945"/>
                  <a:pt x="4572" y="7499"/>
                </a:cubicBezTo>
                <a:lnTo>
                  <a:pt x="4628" y="7416"/>
                </a:lnTo>
                <a:close/>
                <a:moveTo>
                  <a:pt x="2732" y="1"/>
                </a:moveTo>
                <a:cubicBezTo>
                  <a:pt x="2537" y="1"/>
                  <a:pt x="2453" y="112"/>
                  <a:pt x="2398" y="279"/>
                </a:cubicBezTo>
                <a:lnTo>
                  <a:pt x="2063" y="2008"/>
                </a:lnTo>
                <a:cubicBezTo>
                  <a:pt x="1310" y="2203"/>
                  <a:pt x="753" y="2844"/>
                  <a:pt x="753" y="3624"/>
                </a:cubicBezTo>
                <a:cubicBezTo>
                  <a:pt x="753" y="4015"/>
                  <a:pt x="892" y="4321"/>
                  <a:pt x="1087" y="4600"/>
                </a:cubicBezTo>
                <a:lnTo>
                  <a:pt x="1087" y="6050"/>
                </a:lnTo>
                <a:lnTo>
                  <a:pt x="864" y="5994"/>
                </a:lnTo>
                <a:cubicBezTo>
                  <a:pt x="832" y="5987"/>
                  <a:pt x="799" y="5984"/>
                  <a:pt x="766" y="5984"/>
                </a:cubicBezTo>
                <a:cubicBezTo>
                  <a:pt x="662" y="5984"/>
                  <a:pt x="566" y="6020"/>
                  <a:pt x="502" y="6105"/>
                </a:cubicBezTo>
                <a:cubicBezTo>
                  <a:pt x="418" y="6189"/>
                  <a:pt x="391" y="6384"/>
                  <a:pt x="502" y="6468"/>
                </a:cubicBezTo>
                <a:lnTo>
                  <a:pt x="837" y="6997"/>
                </a:lnTo>
                <a:cubicBezTo>
                  <a:pt x="0" y="7806"/>
                  <a:pt x="558" y="9255"/>
                  <a:pt x="1756" y="9255"/>
                </a:cubicBezTo>
                <a:cubicBezTo>
                  <a:pt x="1756" y="10001"/>
                  <a:pt x="2361" y="10582"/>
                  <a:pt x="3036" y="10582"/>
                </a:cubicBezTo>
                <a:cubicBezTo>
                  <a:pt x="3193" y="10582"/>
                  <a:pt x="3354" y="10550"/>
                  <a:pt x="3513" y="10482"/>
                </a:cubicBezTo>
                <a:cubicBezTo>
                  <a:pt x="3736" y="10928"/>
                  <a:pt x="4182" y="11207"/>
                  <a:pt x="4711" y="11207"/>
                </a:cubicBezTo>
                <a:cubicBezTo>
                  <a:pt x="5241" y="11207"/>
                  <a:pt x="5687" y="10900"/>
                  <a:pt x="5882" y="10482"/>
                </a:cubicBezTo>
                <a:cubicBezTo>
                  <a:pt x="6040" y="10536"/>
                  <a:pt x="6198" y="10562"/>
                  <a:pt x="6351" y="10562"/>
                </a:cubicBezTo>
                <a:cubicBezTo>
                  <a:pt x="7062" y="10562"/>
                  <a:pt x="7666" y="10012"/>
                  <a:pt x="7666" y="9255"/>
                </a:cubicBezTo>
                <a:cubicBezTo>
                  <a:pt x="8865" y="9255"/>
                  <a:pt x="9450" y="7806"/>
                  <a:pt x="8586" y="6997"/>
                </a:cubicBezTo>
                <a:lnTo>
                  <a:pt x="8920" y="6468"/>
                </a:lnTo>
                <a:cubicBezTo>
                  <a:pt x="9066" y="6273"/>
                  <a:pt x="8894" y="5973"/>
                  <a:pt x="8645" y="5973"/>
                </a:cubicBezTo>
                <a:cubicBezTo>
                  <a:pt x="8608" y="5973"/>
                  <a:pt x="8570" y="5980"/>
                  <a:pt x="8530" y="5994"/>
                </a:cubicBezTo>
                <a:lnTo>
                  <a:pt x="8335" y="6050"/>
                </a:lnTo>
                <a:lnTo>
                  <a:pt x="8335" y="4600"/>
                </a:lnTo>
                <a:cubicBezTo>
                  <a:pt x="8391" y="4489"/>
                  <a:pt x="8474" y="4433"/>
                  <a:pt x="8502" y="4321"/>
                </a:cubicBezTo>
                <a:cubicBezTo>
                  <a:pt x="8725" y="4489"/>
                  <a:pt x="9032" y="4600"/>
                  <a:pt x="9311" y="4600"/>
                </a:cubicBezTo>
                <a:cubicBezTo>
                  <a:pt x="10035" y="4600"/>
                  <a:pt x="10621" y="4015"/>
                  <a:pt x="10621" y="3262"/>
                </a:cubicBezTo>
                <a:cubicBezTo>
                  <a:pt x="10621" y="2537"/>
                  <a:pt x="10035" y="1924"/>
                  <a:pt x="9339" y="1924"/>
                </a:cubicBezTo>
                <a:lnTo>
                  <a:pt x="9311" y="1924"/>
                </a:lnTo>
                <a:lnTo>
                  <a:pt x="694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296"/>
        <p:cNvGrpSpPr/>
        <p:nvPr/>
      </p:nvGrpSpPr>
      <p:grpSpPr>
        <a:xfrm>
          <a:off x="0" y="0"/>
          <a:ext cx="0" cy="0"/>
          <a:chOff x="0" y="0"/>
          <a:chExt cx="0" cy="0"/>
        </a:xfrm>
      </p:grpSpPr>
      <p:sp>
        <p:nvSpPr>
          <p:cNvPr id="10297" name="Google Shape;10297;p79"/>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298" name="Google Shape;10298;p79"/>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0299" name="Google Shape;10299;p79"/>
          <p:cNvGrpSpPr/>
          <p:nvPr/>
        </p:nvGrpSpPr>
        <p:grpSpPr>
          <a:xfrm>
            <a:off x="889109" y="1531603"/>
            <a:ext cx="278288" cy="357036"/>
            <a:chOff x="-50489600" y="1947400"/>
            <a:chExt cx="233150" cy="299125"/>
          </a:xfrm>
        </p:grpSpPr>
        <p:sp>
          <p:nvSpPr>
            <p:cNvPr id="10300" name="Google Shape;10300;p79"/>
            <p:cNvSpPr/>
            <p:nvPr/>
          </p:nvSpPr>
          <p:spPr>
            <a:xfrm>
              <a:off x="-50382475" y="2018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1" name="Google Shape;10301;p79"/>
            <p:cNvSpPr/>
            <p:nvPr/>
          </p:nvSpPr>
          <p:spPr>
            <a:xfrm>
              <a:off x="-50489600" y="1947400"/>
              <a:ext cx="233150" cy="299125"/>
            </a:xfrm>
            <a:custGeom>
              <a:avLst/>
              <a:gdLst/>
              <a:ahLst/>
              <a:cxnLst/>
              <a:rect l="l" t="t" r="r" b="b"/>
              <a:pathLst>
                <a:path w="9326" h="11965" extrusionOk="0">
                  <a:moveTo>
                    <a:pt x="4632" y="725"/>
                  </a:moveTo>
                  <a:cubicBezTo>
                    <a:pt x="4821" y="725"/>
                    <a:pt x="4978" y="882"/>
                    <a:pt x="4978" y="1071"/>
                  </a:cubicBezTo>
                  <a:lnTo>
                    <a:pt x="4978" y="1449"/>
                  </a:lnTo>
                  <a:cubicBezTo>
                    <a:pt x="4884" y="1418"/>
                    <a:pt x="4758" y="1418"/>
                    <a:pt x="4632" y="1418"/>
                  </a:cubicBezTo>
                  <a:cubicBezTo>
                    <a:pt x="4506" y="1418"/>
                    <a:pt x="4411" y="1418"/>
                    <a:pt x="4285" y="1449"/>
                  </a:cubicBezTo>
                  <a:lnTo>
                    <a:pt x="4285" y="1071"/>
                  </a:lnTo>
                  <a:cubicBezTo>
                    <a:pt x="4285" y="882"/>
                    <a:pt x="4443" y="725"/>
                    <a:pt x="4632" y="725"/>
                  </a:cubicBezTo>
                  <a:close/>
                  <a:moveTo>
                    <a:pt x="4632" y="2143"/>
                  </a:moveTo>
                  <a:cubicBezTo>
                    <a:pt x="5230" y="2143"/>
                    <a:pt x="5703" y="2615"/>
                    <a:pt x="5703" y="3182"/>
                  </a:cubicBezTo>
                  <a:cubicBezTo>
                    <a:pt x="5703" y="3781"/>
                    <a:pt x="5230" y="4253"/>
                    <a:pt x="4632" y="4253"/>
                  </a:cubicBezTo>
                  <a:cubicBezTo>
                    <a:pt x="4033" y="4253"/>
                    <a:pt x="3592" y="3781"/>
                    <a:pt x="3592" y="3182"/>
                  </a:cubicBezTo>
                  <a:cubicBezTo>
                    <a:pt x="3592" y="2615"/>
                    <a:pt x="4033" y="2143"/>
                    <a:pt x="4632" y="2143"/>
                  </a:cubicBezTo>
                  <a:close/>
                  <a:moveTo>
                    <a:pt x="4632" y="5356"/>
                  </a:moveTo>
                  <a:lnTo>
                    <a:pt x="6018" y="8191"/>
                  </a:lnTo>
                  <a:cubicBezTo>
                    <a:pt x="5671" y="8349"/>
                    <a:pt x="5356" y="8443"/>
                    <a:pt x="4978" y="8443"/>
                  </a:cubicBezTo>
                  <a:lnTo>
                    <a:pt x="4978" y="8065"/>
                  </a:lnTo>
                  <a:cubicBezTo>
                    <a:pt x="4978" y="7876"/>
                    <a:pt x="4821" y="7719"/>
                    <a:pt x="4632" y="7719"/>
                  </a:cubicBezTo>
                  <a:cubicBezTo>
                    <a:pt x="4443" y="7719"/>
                    <a:pt x="4285" y="7876"/>
                    <a:pt x="4285" y="8065"/>
                  </a:cubicBezTo>
                  <a:lnTo>
                    <a:pt x="4285" y="8443"/>
                  </a:lnTo>
                  <a:cubicBezTo>
                    <a:pt x="3939" y="8380"/>
                    <a:pt x="3592" y="8317"/>
                    <a:pt x="3246" y="8191"/>
                  </a:cubicBezTo>
                  <a:lnTo>
                    <a:pt x="4632" y="5356"/>
                  </a:lnTo>
                  <a:close/>
                  <a:moveTo>
                    <a:pt x="3466" y="4505"/>
                  </a:moveTo>
                  <a:cubicBezTo>
                    <a:pt x="3624" y="4663"/>
                    <a:pt x="3844" y="4757"/>
                    <a:pt x="4096" y="4852"/>
                  </a:cubicBezTo>
                  <a:cubicBezTo>
                    <a:pt x="4033" y="5009"/>
                    <a:pt x="1481" y="10271"/>
                    <a:pt x="1450" y="10365"/>
                  </a:cubicBezTo>
                  <a:cubicBezTo>
                    <a:pt x="1381" y="10504"/>
                    <a:pt x="1261" y="10591"/>
                    <a:pt x="1127" y="10591"/>
                  </a:cubicBezTo>
                  <a:cubicBezTo>
                    <a:pt x="1078" y="10591"/>
                    <a:pt x="1028" y="10580"/>
                    <a:pt x="977" y="10554"/>
                  </a:cubicBezTo>
                  <a:cubicBezTo>
                    <a:pt x="820" y="10491"/>
                    <a:pt x="694" y="10271"/>
                    <a:pt x="788" y="10082"/>
                  </a:cubicBezTo>
                  <a:lnTo>
                    <a:pt x="3466" y="4505"/>
                  </a:lnTo>
                  <a:close/>
                  <a:moveTo>
                    <a:pt x="5829" y="4537"/>
                  </a:moveTo>
                  <a:lnTo>
                    <a:pt x="8507" y="10113"/>
                  </a:lnTo>
                  <a:cubicBezTo>
                    <a:pt x="8570" y="10271"/>
                    <a:pt x="8507" y="10523"/>
                    <a:pt x="8318" y="10586"/>
                  </a:cubicBezTo>
                  <a:cubicBezTo>
                    <a:pt x="8271" y="10599"/>
                    <a:pt x="8225" y="10606"/>
                    <a:pt x="8181" y="10606"/>
                  </a:cubicBezTo>
                  <a:cubicBezTo>
                    <a:pt x="8021" y="10606"/>
                    <a:pt x="7888" y="10521"/>
                    <a:pt x="7814" y="10397"/>
                  </a:cubicBezTo>
                  <a:cubicBezTo>
                    <a:pt x="7719" y="10176"/>
                    <a:pt x="5293" y="5167"/>
                    <a:pt x="5199" y="4883"/>
                  </a:cubicBezTo>
                  <a:cubicBezTo>
                    <a:pt x="5419" y="4820"/>
                    <a:pt x="5608" y="4694"/>
                    <a:pt x="5829" y="4537"/>
                  </a:cubicBezTo>
                  <a:close/>
                  <a:moveTo>
                    <a:pt x="4632" y="0"/>
                  </a:moveTo>
                  <a:cubicBezTo>
                    <a:pt x="4033" y="0"/>
                    <a:pt x="3592" y="473"/>
                    <a:pt x="3592" y="1071"/>
                  </a:cubicBezTo>
                  <a:lnTo>
                    <a:pt x="3592" y="1764"/>
                  </a:lnTo>
                  <a:cubicBezTo>
                    <a:pt x="3151" y="2080"/>
                    <a:pt x="2867" y="2584"/>
                    <a:pt x="2867" y="3182"/>
                  </a:cubicBezTo>
                  <a:cubicBezTo>
                    <a:pt x="2867" y="3434"/>
                    <a:pt x="2899" y="3655"/>
                    <a:pt x="3025" y="3875"/>
                  </a:cubicBezTo>
                  <a:lnTo>
                    <a:pt x="1576" y="6900"/>
                  </a:lnTo>
                  <a:cubicBezTo>
                    <a:pt x="1355" y="6648"/>
                    <a:pt x="1229" y="6396"/>
                    <a:pt x="1103" y="6081"/>
                  </a:cubicBezTo>
                  <a:cubicBezTo>
                    <a:pt x="1032" y="5914"/>
                    <a:pt x="906" y="5837"/>
                    <a:pt x="767" y="5837"/>
                  </a:cubicBezTo>
                  <a:cubicBezTo>
                    <a:pt x="722" y="5837"/>
                    <a:pt x="676" y="5845"/>
                    <a:pt x="631" y="5860"/>
                  </a:cubicBezTo>
                  <a:cubicBezTo>
                    <a:pt x="442" y="5955"/>
                    <a:pt x="347" y="6144"/>
                    <a:pt x="442" y="6333"/>
                  </a:cubicBezTo>
                  <a:cubicBezTo>
                    <a:pt x="631" y="6805"/>
                    <a:pt x="883" y="7215"/>
                    <a:pt x="1229" y="7593"/>
                  </a:cubicBezTo>
                  <a:lnTo>
                    <a:pt x="158" y="9798"/>
                  </a:lnTo>
                  <a:cubicBezTo>
                    <a:pt x="1" y="10208"/>
                    <a:pt x="64" y="10649"/>
                    <a:pt x="347" y="10964"/>
                  </a:cubicBezTo>
                  <a:lnTo>
                    <a:pt x="95" y="11468"/>
                  </a:lnTo>
                  <a:cubicBezTo>
                    <a:pt x="32" y="11625"/>
                    <a:pt x="95" y="11846"/>
                    <a:pt x="253" y="11941"/>
                  </a:cubicBezTo>
                  <a:cubicBezTo>
                    <a:pt x="293" y="11957"/>
                    <a:pt x="340" y="11965"/>
                    <a:pt x="389" y="11965"/>
                  </a:cubicBezTo>
                  <a:cubicBezTo>
                    <a:pt x="528" y="11965"/>
                    <a:pt x="678" y="11900"/>
                    <a:pt x="725" y="11783"/>
                  </a:cubicBezTo>
                  <a:lnTo>
                    <a:pt x="977" y="11247"/>
                  </a:lnTo>
                  <a:cubicBezTo>
                    <a:pt x="1027" y="11255"/>
                    <a:pt x="1077" y="11258"/>
                    <a:pt x="1127" y="11258"/>
                  </a:cubicBezTo>
                  <a:cubicBezTo>
                    <a:pt x="1521" y="11258"/>
                    <a:pt x="1912" y="11040"/>
                    <a:pt x="2080" y="10649"/>
                  </a:cubicBezTo>
                  <a:lnTo>
                    <a:pt x="2930" y="8822"/>
                  </a:lnTo>
                  <a:cubicBezTo>
                    <a:pt x="3372" y="8979"/>
                    <a:pt x="3813" y="9105"/>
                    <a:pt x="4285" y="9137"/>
                  </a:cubicBezTo>
                  <a:lnTo>
                    <a:pt x="4285" y="9483"/>
                  </a:lnTo>
                  <a:cubicBezTo>
                    <a:pt x="4285" y="9704"/>
                    <a:pt x="4443" y="9861"/>
                    <a:pt x="4632" y="9861"/>
                  </a:cubicBezTo>
                  <a:cubicBezTo>
                    <a:pt x="4821" y="9861"/>
                    <a:pt x="4978" y="9704"/>
                    <a:pt x="4978" y="9483"/>
                  </a:cubicBezTo>
                  <a:lnTo>
                    <a:pt x="4978" y="9137"/>
                  </a:lnTo>
                  <a:cubicBezTo>
                    <a:pt x="5451" y="9105"/>
                    <a:pt x="5892" y="9011"/>
                    <a:pt x="6333" y="8822"/>
                  </a:cubicBezTo>
                  <a:lnTo>
                    <a:pt x="7184" y="10649"/>
                  </a:lnTo>
                  <a:cubicBezTo>
                    <a:pt x="7382" y="11016"/>
                    <a:pt x="7732" y="11257"/>
                    <a:pt x="8143" y="11257"/>
                  </a:cubicBezTo>
                  <a:cubicBezTo>
                    <a:pt x="8190" y="11257"/>
                    <a:pt x="8238" y="11254"/>
                    <a:pt x="8286" y="11247"/>
                  </a:cubicBezTo>
                  <a:lnTo>
                    <a:pt x="8538" y="11783"/>
                  </a:lnTo>
                  <a:cubicBezTo>
                    <a:pt x="8585" y="11900"/>
                    <a:pt x="8718" y="11965"/>
                    <a:pt x="8861" y="11965"/>
                  </a:cubicBezTo>
                  <a:cubicBezTo>
                    <a:pt x="8911" y="11965"/>
                    <a:pt x="8962" y="11957"/>
                    <a:pt x="9011" y="11941"/>
                  </a:cubicBezTo>
                  <a:cubicBezTo>
                    <a:pt x="9168" y="11846"/>
                    <a:pt x="9231" y="11657"/>
                    <a:pt x="9168" y="11468"/>
                  </a:cubicBezTo>
                  <a:lnTo>
                    <a:pt x="8916" y="10964"/>
                  </a:lnTo>
                  <a:cubicBezTo>
                    <a:pt x="9200" y="10649"/>
                    <a:pt x="9326" y="10208"/>
                    <a:pt x="9137" y="9798"/>
                  </a:cubicBezTo>
                  <a:lnTo>
                    <a:pt x="8066" y="7593"/>
                  </a:lnTo>
                  <a:cubicBezTo>
                    <a:pt x="8381" y="7246"/>
                    <a:pt x="8664" y="6805"/>
                    <a:pt x="8853" y="6333"/>
                  </a:cubicBezTo>
                  <a:cubicBezTo>
                    <a:pt x="8916" y="6144"/>
                    <a:pt x="8853" y="5955"/>
                    <a:pt x="8664" y="5860"/>
                  </a:cubicBezTo>
                  <a:cubicBezTo>
                    <a:pt x="8611" y="5845"/>
                    <a:pt x="8559" y="5837"/>
                    <a:pt x="8511" y="5837"/>
                  </a:cubicBezTo>
                  <a:cubicBezTo>
                    <a:pt x="8360" y="5837"/>
                    <a:pt x="8240" y="5914"/>
                    <a:pt x="8192" y="6081"/>
                  </a:cubicBezTo>
                  <a:cubicBezTo>
                    <a:pt x="8066" y="6333"/>
                    <a:pt x="7908" y="6616"/>
                    <a:pt x="7719" y="6900"/>
                  </a:cubicBezTo>
                  <a:lnTo>
                    <a:pt x="6270" y="3875"/>
                  </a:lnTo>
                  <a:cubicBezTo>
                    <a:pt x="6333" y="3655"/>
                    <a:pt x="6396" y="3434"/>
                    <a:pt x="6396" y="3182"/>
                  </a:cubicBezTo>
                  <a:cubicBezTo>
                    <a:pt x="6396" y="2584"/>
                    <a:pt x="6144" y="2080"/>
                    <a:pt x="5703" y="1764"/>
                  </a:cubicBezTo>
                  <a:lnTo>
                    <a:pt x="5703" y="1071"/>
                  </a:lnTo>
                  <a:cubicBezTo>
                    <a:pt x="5703" y="473"/>
                    <a:pt x="5230" y="0"/>
                    <a:pt x="4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2" name="Google Shape;10302;p79"/>
          <p:cNvGrpSpPr/>
          <p:nvPr/>
        </p:nvGrpSpPr>
        <p:grpSpPr>
          <a:xfrm>
            <a:off x="849616" y="1986560"/>
            <a:ext cx="357274" cy="358199"/>
            <a:chOff x="-50523475" y="2316000"/>
            <a:chExt cx="299325" cy="300100"/>
          </a:xfrm>
        </p:grpSpPr>
        <p:sp>
          <p:nvSpPr>
            <p:cNvPr id="10303" name="Google Shape;10303;p79"/>
            <p:cNvSpPr/>
            <p:nvPr/>
          </p:nvSpPr>
          <p:spPr>
            <a:xfrm>
              <a:off x="-50453375" y="2387675"/>
              <a:ext cx="158350" cy="228425"/>
            </a:xfrm>
            <a:custGeom>
              <a:avLst/>
              <a:gdLst/>
              <a:ahLst/>
              <a:cxnLst/>
              <a:rect l="l" t="t" r="r" b="b"/>
              <a:pathLst>
                <a:path w="6334" h="9137" extrusionOk="0">
                  <a:moveTo>
                    <a:pt x="3183" y="4222"/>
                  </a:moveTo>
                  <a:cubicBezTo>
                    <a:pt x="3372" y="4222"/>
                    <a:pt x="3529" y="4380"/>
                    <a:pt x="3529" y="4569"/>
                  </a:cubicBezTo>
                  <a:cubicBezTo>
                    <a:pt x="3529" y="4758"/>
                    <a:pt x="3372" y="4915"/>
                    <a:pt x="3183" y="4915"/>
                  </a:cubicBezTo>
                  <a:cubicBezTo>
                    <a:pt x="2994" y="4915"/>
                    <a:pt x="2836" y="4758"/>
                    <a:pt x="2836" y="4569"/>
                  </a:cubicBezTo>
                  <a:cubicBezTo>
                    <a:pt x="2836" y="4380"/>
                    <a:pt x="2994" y="4222"/>
                    <a:pt x="3183" y="4222"/>
                  </a:cubicBezTo>
                  <a:close/>
                  <a:moveTo>
                    <a:pt x="3183" y="1009"/>
                  </a:moveTo>
                  <a:lnTo>
                    <a:pt x="5609" y="5230"/>
                  </a:lnTo>
                  <a:lnTo>
                    <a:pt x="4411" y="6994"/>
                  </a:lnTo>
                  <a:lnTo>
                    <a:pt x="3529" y="6994"/>
                  </a:lnTo>
                  <a:lnTo>
                    <a:pt x="3529" y="5545"/>
                  </a:lnTo>
                  <a:cubicBezTo>
                    <a:pt x="3939" y="5388"/>
                    <a:pt x="4254" y="5010"/>
                    <a:pt x="4254" y="4569"/>
                  </a:cubicBezTo>
                  <a:cubicBezTo>
                    <a:pt x="4254" y="3970"/>
                    <a:pt x="3781" y="3497"/>
                    <a:pt x="3183" y="3497"/>
                  </a:cubicBezTo>
                  <a:cubicBezTo>
                    <a:pt x="2584" y="3497"/>
                    <a:pt x="2143" y="3970"/>
                    <a:pt x="2143" y="4569"/>
                  </a:cubicBezTo>
                  <a:cubicBezTo>
                    <a:pt x="2143" y="5041"/>
                    <a:pt x="2395" y="5419"/>
                    <a:pt x="2836" y="5545"/>
                  </a:cubicBezTo>
                  <a:lnTo>
                    <a:pt x="2836" y="6994"/>
                  </a:lnTo>
                  <a:lnTo>
                    <a:pt x="1986" y="6994"/>
                  </a:lnTo>
                  <a:lnTo>
                    <a:pt x="788" y="5230"/>
                  </a:lnTo>
                  <a:lnTo>
                    <a:pt x="3183" y="1009"/>
                  </a:lnTo>
                  <a:close/>
                  <a:moveTo>
                    <a:pt x="4600" y="7688"/>
                  </a:moveTo>
                  <a:cubicBezTo>
                    <a:pt x="4821" y="7688"/>
                    <a:pt x="4947" y="7845"/>
                    <a:pt x="4947" y="8034"/>
                  </a:cubicBezTo>
                  <a:lnTo>
                    <a:pt x="4947" y="8412"/>
                  </a:lnTo>
                  <a:lnTo>
                    <a:pt x="1450" y="8412"/>
                  </a:lnTo>
                  <a:lnTo>
                    <a:pt x="1450" y="8034"/>
                  </a:lnTo>
                  <a:cubicBezTo>
                    <a:pt x="1450" y="7845"/>
                    <a:pt x="1607" y="7688"/>
                    <a:pt x="1797" y="7688"/>
                  </a:cubicBezTo>
                  <a:close/>
                  <a:moveTo>
                    <a:pt x="3183" y="0"/>
                  </a:moveTo>
                  <a:cubicBezTo>
                    <a:pt x="3057" y="0"/>
                    <a:pt x="2962" y="63"/>
                    <a:pt x="2868" y="158"/>
                  </a:cubicBezTo>
                  <a:lnTo>
                    <a:pt x="64" y="5073"/>
                  </a:lnTo>
                  <a:cubicBezTo>
                    <a:pt x="1" y="5199"/>
                    <a:pt x="1" y="5356"/>
                    <a:pt x="64" y="5419"/>
                  </a:cubicBezTo>
                  <a:lnTo>
                    <a:pt x="1229" y="7152"/>
                  </a:lnTo>
                  <a:cubicBezTo>
                    <a:pt x="914" y="7373"/>
                    <a:pt x="694" y="7688"/>
                    <a:pt x="694" y="8066"/>
                  </a:cubicBezTo>
                  <a:lnTo>
                    <a:pt x="694" y="8790"/>
                  </a:lnTo>
                  <a:cubicBezTo>
                    <a:pt x="694" y="8979"/>
                    <a:pt x="851" y="9137"/>
                    <a:pt x="1072" y="9137"/>
                  </a:cubicBezTo>
                  <a:lnTo>
                    <a:pt x="5262" y="9137"/>
                  </a:lnTo>
                  <a:cubicBezTo>
                    <a:pt x="5483" y="9137"/>
                    <a:pt x="5640" y="8979"/>
                    <a:pt x="5640" y="8790"/>
                  </a:cubicBezTo>
                  <a:lnTo>
                    <a:pt x="5640" y="8066"/>
                  </a:lnTo>
                  <a:cubicBezTo>
                    <a:pt x="5640" y="7688"/>
                    <a:pt x="5420" y="7373"/>
                    <a:pt x="5105" y="7152"/>
                  </a:cubicBezTo>
                  <a:lnTo>
                    <a:pt x="6270" y="5419"/>
                  </a:lnTo>
                  <a:cubicBezTo>
                    <a:pt x="6333" y="5325"/>
                    <a:pt x="6333" y="5199"/>
                    <a:pt x="6270" y="5073"/>
                  </a:cubicBezTo>
                  <a:lnTo>
                    <a:pt x="3498" y="158"/>
                  </a:lnTo>
                  <a:cubicBezTo>
                    <a:pt x="3435" y="32"/>
                    <a:pt x="3309"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79"/>
            <p:cNvSpPr/>
            <p:nvPr/>
          </p:nvSpPr>
          <p:spPr>
            <a:xfrm>
              <a:off x="-50523475" y="2316000"/>
              <a:ext cx="299325" cy="178025"/>
            </a:xfrm>
            <a:custGeom>
              <a:avLst/>
              <a:gdLst/>
              <a:ahLst/>
              <a:cxnLst/>
              <a:rect l="l" t="t" r="r" b="b"/>
              <a:pathLst>
                <a:path w="11973" h="7121" extrusionOk="0">
                  <a:moveTo>
                    <a:pt x="1072" y="694"/>
                  </a:moveTo>
                  <a:cubicBezTo>
                    <a:pt x="1261" y="694"/>
                    <a:pt x="1419" y="851"/>
                    <a:pt x="1419" y="1040"/>
                  </a:cubicBezTo>
                  <a:cubicBezTo>
                    <a:pt x="1419" y="1229"/>
                    <a:pt x="1261" y="1418"/>
                    <a:pt x="1072" y="1418"/>
                  </a:cubicBezTo>
                  <a:cubicBezTo>
                    <a:pt x="883" y="1418"/>
                    <a:pt x="725" y="1229"/>
                    <a:pt x="725" y="1040"/>
                  </a:cubicBezTo>
                  <a:cubicBezTo>
                    <a:pt x="725" y="851"/>
                    <a:pt x="883" y="694"/>
                    <a:pt x="1072" y="694"/>
                  </a:cubicBezTo>
                  <a:close/>
                  <a:moveTo>
                    <a:pt x="6333" y="694"/>
                  </a:moveTo>
                  <a:lnTo>
                    <a:pt x="6333" y="1418"/>
                  </a:lnTo>
                  <a:lnTo>
                    <a:pt x="5640" y="1418"/>
                  </a:lnTo>
                  <a:lnTo>
                    <a:pt x="5640" y="694"/>
                  </a:lnTo>
                  <a:close/>
                  <a:moveTo>
                    <a:pt x="10902" y="725"/>
                  </a:moveTo>
                  <a:cubicBezTo>
                    <a:pt x="11122" y="725"/>
                    <a:pt x="11280" y="883"/>
                    <a:pt x="11280" y="1103"/>
                  </a:cubicBezTo>
                  <a:cubicBezTo>
                    <a:pt x="11280" y="1292"/>
                    <a:pt x="11122" y="1450"/>
                    <a:pt x="10902" y="1450"/>
                  </a:cubicBezTo>
                  <a:cubicBezTo>
                    <a:pt x="10712" y="1450"/>
                    <a:pt x="10555" y="1292"/>
                    <a:pt x="10555" y="1103"/>
                  </a:cubicBezTo>
                  <a:cubicBezTo>
                    <a:pt x="10586" y="883"/>
                    <a:pt x="10744" y="725"/>
                    <a:pt x="10902" y="725"/>
                  </a:cubicBezTo>
                  <a:close/>
                  <a:moveTo>
                    <a:pt x="2143" y="5640"/>
                  </a:moveTo>
                  <a:lnTo>
                    <a:pt x="2143" y="6364"/>
                  </a:lnTo>
                  <a:lnTo>
                    <a:pt x="1419" y="6364"/>
                  </a:lnTo>
                  <a:lnTo>
                    <a:pt x="1419" y="5640"/>
                  </a:lnTo>
                  <a:close/>
                  <a:moveTo>
                    <a:pt x="10555" y="5640"/>
                  </a:moveTo>
                  <a:lnTo>
                    <a:pt x="10555" y="6364"/>
                  </a:lnTo>
                  <a:lnTo>
                    <a:pt x="9862" y="6364"/>
                  </a:lnTo>
                  <a:lnTo>
                    <a:pt x="9862" y="5640"/>
                  </a:lnTo>
                  <a:close/>
                  <a:moveTo>
                    <a:pt x="10902" y="0"/>
                  </a:moveTo>
                  <a:cubicBezTo>
                    <a:pt x="10460" y="0"/>
                    <a:pt x="10051" y="252"/>
                    <a:pt x="9925" y="694"/>
                  </a:cubicBezTo>
                  <a:lnTo>
                    <a:pt x="7058" y="694"/>
                  </a:lnTo>
                  <a:lnTo>
                    <a:pt x="7058" y="379"/>
                  </a:lnTo>
                  <a:cubicBezTo>
                    <a:pt x="7058" y="189"/>
                    <a:pt x="6900" y="32"/>
                    <a:pt x="6711" y="32"/>
                  </a:cubicBezTo>
                  <a:lnTo>
                    <a:pt x="5294" y="32"/>
                  </a:lnTo>
                  <a:cubicBezTo>
                    <a:pt x="5073" y="32"/>
                    <a:pt x="4947" y="189"/>
                    <a:pt x="4947" y="379"/>
                  </a:cubicBezTo>
                  <a:lnTo>
                    <a:pt x="4947" y="725"/>
                  </a:lnTo>
                  <a:lnTo>
                    <a:pt x="2049" y="725"/>
                  </a:lnTo>
                  <a:cubicBezTo>
                    <a:pt x="1891" y="347"/>
                    <a:pt x="1513" y="32"/>
                    <a:pt x="1072" y="32"/>
                  </a:cubicBezTo>
                  <a:cubicBezTo>
                    <a:pt x="473" y="32"/>
                    <a:pt x="1" y="505"/>
                    <a:pt x="1" y="1072"/>
                  </a:cubicBezTo>
                  <a:cubicBezTo>
                    <a:pt x="1" y="1670"/>
                    <a:pt x="473" y="2143"/>
                    <a:pt x="1072" y="2143"/>
                  </a:cubicBezTo>
                  <a:cubicBezTo>
                    <a:pt x="1545" y="2143"/>
                    <a:pt x="1923" y="1828"/>
                    <a:pt x="2049" y="1450"/>
                  </a:cubicBezTo>
                  <a:lnTo>
                    <a:pt x="3592" y="1450"/>
                  </a:lnTo>
                  <a:cubicBezTo>
                    <a:pt x="3183" y="1670"/>
                    <a:pt x="2836" y="1985"/>
                    <a:pt x="2521" y="2332"/>
                  </a:cubicBezTo>
                  <a:cubicBezTo>
                    <a:pt x="1891" y="3088"/>
                    <a:pt x="1545" y="4002"/>
                    <a:pt x="1450" y="4978"/>
                  </a:cubicBezTo>
                  <a:lnTo>
                    <a:pt x="1103" y="4978"/>
                  </a:lnTo>
                  <a:cubicBezTo>
                    <a:pt x="914" y="4978"/>
                    <a:pt x="757" y="5136"/>
                    <a:pt x="757" y="5325"/>
                  </a:cubicBezTo>
                  <a:lnTo>
                    <a:pt x="757" y="6742"/>
                  </a:lnTo>
                  <a:cubicBezTo>
                    <a:pt x="757" y="6963"/>
                    <a:pt x="914" y="7121"/>
                    <a:pt x="1103" y="7121"/>
                  </a:cubicBezTo>
                  <a:lnTo>
                    <a:pt x="2521" y="7121"/>
                  </a:lnTo>
                  <a:cubicBezTo>
                    <a:pt x="2742" y="7121"/>
                    <a:pt x="2899" y="6963"/>
                    <a:pt x="2899" y="6742"/>
                  </a:cubicBezTo>
                  <a:lnTo>
                    <a:pt x="2899" y="5325"/>
                  </a:lnTo>
                  <a:cubicBezTo>
                    <a:pt x="2899" y="5136"/>
                    <a:pt x="2742" y="4978"/>
                    <a:pt x="2521" y="4978"/>
                  </a:cubicBezTo>
                  <a:lnTo>
                    <a:pt x="2175" y="4978"/>
                  </a:lnTo>
                  <a:cubicBezTo>
                    <a:pt x="2332" y="3403"/>
                    <a:pt x="3435" y="2017"/>
                    <a:pt x="4979" y="1607"/>
                  </a:cubicBezTo>
                  <a:lnTo>
                    <a:pt x="4979" y="1796"/>
                  </a:lnTo>
                  <a:cubicBezTo>
                    <a:pt x="4979" y="1985"/>
                    <a:pt x="5136" y="2143"/>
                    <a:pt x="5325" y="2143"/>
                  </a:cubicBezTo>
                  <a:lnTo>
                    <a:pt x="6743" y="2143"/>
                  </a:lnTo>
                  <a:cubicBezTo>
                    <a:pt x="6932" y="2143"/>
                    <a:pt x="7089" y="1985"/>
                    <a:pt x="7089" y="1796"/>
                  </a:cubicBezTo>
                  <a:lnTo>
                    <a:pt x="7089" y="1576"/>
                  </a:lnTo>
                  <a:cubicBezTo>
                    <a:pt x="8633" y="1985"/>
                    <a:pt x="9736" y="3371"/>
                    <a:pt x="9893" y="4947"/>
                  </a:cubicBezTo>
                  <a:lnTo>
                    <a:pt x="9547" y="4947"/>
                  </a:lnTo>
                  <a:cubicBezTo>
                    <a:pt x="9358" y="4947"/>
                    <a:pt x="9200" y="5104"/>
                    <a:pt x="9200" y="5293"/>
                  </a:cubicBezTo>
                  <a:lnTo>
                    <a:pt x="9200" y="6711"/>
                  </a:lnTo>
                  <a:cubicBezTo>
                    <a:pt x="9200" y="6932"/>
                    <a:pt x="9358" y="7089"/>
                    <a:pt x="9547" y="7089"/>
                  </a:cubicBezTo>
                  <a:lnTo>
                    <a:pt x="10965" y="7089"/>
                  </a:lnTo>
                  <a:cubicBezTo>
                    <a:pt x="11154" y="7089"/>
                    <a:pt x="11311" y="6932"/>
                    <a:pt x="11311" y="6711"/>
                  </a:cubicBezTo>
                  <a:lnTo>
                    <a:pt x="11311" y="5293"/>
                  </a:lnTo>
                  <a:cubicBezTo>
                    <a:pt x="11311" y="5104"/>
                    <a:pt x="11154" y="4947"/>
                    <a:pt x="10965" y="4947"/>
                  </a:cubicBezTo>
                  <a:lnTo>
                    <a:pt x="10618" y="4947"/>
                  </a:lnTo>
                  <a:cubicBezTo>
                    <a:pt x="10523" y="4002"/>
                    <a:pt x="10177" y="3056"/>
                    <a:pt x="9547" y="2300"/>
                  </a:cubicBezTo>
                  <a:cubicBezTo>
                    <a:pt x="9232" y="1954"/>
                    <a:pt x="8885" y="1639"/>
                    <a:pt x="8476" y="1418"/>
                  </a:cubicBezTo>
                  <a:lnTo>
                    <a:pt x="10019" y="1418"/>
                  </a:lnTo>
                  <a:cubicBezTo>
                    <a:pt x="10082" y="1828"/>
                    <a:pt x="10492" y="2111"/>
                    <a:pt x="10902" y="2111"/>
                  </a:cubicBezTo>
                  <a:cubicBezTo>
                    <a:pt x="11500" y="2111"/>
                    <a:pt x="11973" y="1639"/>
                    <a:pt x="11973" y="1040"/>
                  </a:cubicBezTo>
                  <a:cubicBezTo>
                    <a:pt x="11973" y="473"/>
                    <a:pt x="11500" y="0"/>
                    <a:pt x="109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5" name="Google Shape;10305;p79"/>
          <p:cNvGrpSpPr/>
          <p:nvPr/>
        </p:nvGrpSpPr>
        <p:grpSpPr>
          <a:xfrm>
            <a:off x="848213" y="2435869"/>
            <a:ext cx="360079" cy="357304"/>
            <a:chOff x="-50524250" y="2686150"/>
            <a:chExt cx="301675" cy="299350"/>
          </a:xfrm>
        </p:grpSpPr>
        <p:sp>
          <p:nvSpPr>
            <p:cNvPr id="10306" name="Google Shape;10306;p79"/>
            <p:cNvSpPr/>
            <p:nvPr/>
          </p:nvSpPr>
          <p:spPr>
            <a:xfrm>
              <a:off x="-50488025" y="2792500"/>
              <a:ext cx="18150" cy="52800"/>
            </a:xfrm>
            <a:custGeom>
              <a:avLst/>
              <a:gdLst/>
              <a:ahLst/>
              <a:cxnLst/>
              <a:rect l="l" t="t" r="r" b="b"/>
              <a:pathLst>
                <a:path w="726" h="2112" extrusionOk="0">
                  <a:moveTo>
                    <a:pt x="379" y="1"/>
                  </a:moveTo>
                  <a:cubicBezTo>
                    <a:pt x="158" y="1"/>
                    <a:pt x="1" y="158"/>
                    <a:pt x="1" y="347"/>
                  </a:cubicBezTo>
                  <a:lnTo>
                    <a:pt x="1" y="1765"/>
                  </a:lnTo>
                  <a:cubicBezTo>
                    <a:pt x="1" y="1954"/>
                    <a:pt x="158" y="2112"/>
                    <a:pt x="379" y="2112"/>
                  </a:cubicBezTo>
                  <a:cubicBezTo>
                    <a:pt x="568" y="2112"/>
                    <a:pt x="725" y="1954"/>
                    <a:pt x="725" y="1765"/>
                  </a:cubicBezTo>
                  <a:lnTo>
                    <a:pt x="725" y="347"/>
                  </a:ln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7" name="Google Shape;10307;p79"/>
            <p:cNvSpPr/>
            <p:nvPr/>
          </p:nvSpPr>
          <p:spPr>
            <a:xfrm>
              <a:off x="-50488025" y="2897250"/>
              <a:ext cx="18150" cy="53600"/>
            </a:xfrm>
            <a:custGeom>
              <a:avLst/>
              <a:gdLst/>
              <a:ahLst/>
              <a:cxnLst/>
              <a:rect l="l" t="t" r="r" b="b"/>
              <a:pathLst>
                <a:path w="726" h="2144" extrusionOk="0">
                  <a:moveTo>
                    <a:pt x="379" y="1"/>
                  </a:moveTo>
                  <a:cubicBezTo>
                    <a:pt x="158" y="1"/>
                    <a:pt x="1" y="159"/>
                    <a:pt x="1" y="379"/>
                  </a:cubicBezTo>
                  <a:lnTo>
                    <a:pt x="1" y="1797"/>
                  </a:lnTo>
                  <a:cubicBezTo>
                    <a:pt x="1" y="1986"/>
                    <a:pt x="158" y="2143"/>
                    <a:pt x="379" y="2143"/>
                  </a:cubicBezTo>
                  <a:cubicBezTo>
                    <a:pt x="568" y="2143"/>
                    <a:pt x="725" y="1986"/>
                    <a:pt x="725" y="1797"/>
                  </a:cubicBezTo>
                  <a:lnTo>
                    <a:pt x="725" y="379"/>
                  </a:lnTo>
                  <a:cubicBezTo>
                    <a:pt x="725" y="159"/>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79"/>
            <p:cNvSpPr/>
            <p:nvPr/>
          </p:nvSpPr>
          <p:spPr>
            <a:xfrm>
              <a:off x="-50488025" y="28618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9" name="Google Shape;10309;p79"/>
            <p:cNvSpPr/>
            <p:nvPr/>
          </p:nvSpPr>
          <p:spPr>
            <a:xfrm>
              <a:off x="-50524250" y="2686150"/>
              <a:ext cx="301675" cy="52825"/>
            </a:xfrm>
            <a:custGeom>
              <a:avLst/>
              <a:gdLst/>
              <a:ahLst/>
              <a:cxnLst/>
              <a:rect l="l" t="t" r="r" b="b"/>
              <a:pathLst>
                <a:path w="12067" h="2113" extrusionOk="0">
                  <a:moveTo>
                    <a:pt x="2143" y="695"/>
                  </a:moveTo>
                  <a:lnTo>
                    <a:pt x="2143" y="1419"/>
                  </a:lnTo>
                  <a:lnTo>
                    <a:pt x="1891" y="1419"/>
                  </a:lnTo>
                  <a:lnTo>
                    <a:pt x="1166" y="1041"/>
                  </a:lnTo>
                  <a:lnTo>
                    <a:pt x="1891" y="695"/>
                  </a:lnTo>
                  <a:close/>
                  <a:moveTo>
                    <a:pt x="9924" y="695"/>
                  </a:moveTo>
                  <a:lnTo>
                    <a:pt x="9924" y="1419"/>
                  </a:lnTo>
                  <a:lnTo>
                    <a:pt x="2836" y="1419"/>
                  </a:lnTo>
                  <a:lnTo>
                    <a:pt x="2836" y="695"/>
                  </a:lnTo>
                  <a:close/>
                  <a:moveTo>
                    <a:pt x="10996" y="695"/>
                  </a:moveTo>
                  <a:cubicBezTo>
                    <a:pt x="11185" y="695"/>
                    <a:pt x="11342" y="852"/>
                    <a:pt x="11342" y="1041"/>
                  </a:cubicBezTo>
                  <a:cubicBezTo>
                    <a:pt x="11342" y="1262"/>
                    <a:pt x="11185" y="1419"/>
                    <a:pt x="10996" y="1419"/>
                  </a:cubicBezTo>
                  <a:lnTo>
                    <a:pt x="10649" y="1419"/>
                  </a:lnTo>
                  <a:lnTo>
                    <a:pt x="10649" y="695"/>
                  </a:lnTo>
                  <a:close/>
                  <a:moveTo>
                    <a:pt x="1782" y="1"/>
                  </a:moveTo>
                  <a:cubicBezTo>
                    <a:pt x="1689" y="1"/>
                    <a:pt x="1556" y="47"/>
                    <a:pt x="252" y="726"/>
                  </a:cubicBezTo>
                  <a:cubicBezTo>
                    <a:pt x="0" y="852"/>
                    <a:pt x="0" y="1199"/>
                    <a:pt x="252" y="1356"/>
                  </a:cubicBezTo>
                  <a:cubicBezTo>
                    <a:pt x="1765" y="2113"/>
                    <a:pt x="1702" y="2113"/>
                    <a:pt x="1828" y="2113"/>
                  </a:cubicBezTo>
                  <a:lnTo>
                    <a:pt x="10996" y="2113"/>
                  </a:lnTo>
                  <a:cubicBezTo>
                    <a:pt x="11594" y="2113"/>
                    <a:pt x="12067" y="1640"/>
                    <a:pt x="12067" y="1041"/>
                  </a:cubicBezTo>
                  <a:cubicBezTo>
                    <a:pt x="12067" y="474"/>
                    <a:pt x="11594" y="2"/>
                    <a:pt x="10996" y="2"/>
                  </a:cubicBezTo>
                  <a:lnTo>
                    <a:pt x="1828" y="2"/>
                  </a:lnTo>
                  <a:cubicBezTo>
                    <a:pt x="1810" y="2"/>
                    <a:pt x="1796" y="1"/>
                    <a:pt x="1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0" name="Google Shape;10310;p79"/>
            <p:cNvSpPr/>
            <p:nvPr/>
          </p:nvSpPr>
          <p:spPr>
            <a:xfrm>
              <a:off x="-50523475" y="2757075"/>
              <a:ext cx="300900" cy="228425"/>
            </a:xfrm>
            <a:custGeom>
              <a:avLst/>
              <a:gdLst/>
              <a:ahLst/>
              <a:cxnLst/>
              <a:rect l="l" t="t" r="r" b="b"/>
              <a:pathLst>
                <a:path w="12036" h="9137" extrusionOk="0">
                  <a:moveTo>
                    <a:pt x="10965" y="725"/>
                  </a:moveTo>
                  <a:cubicBezTo>
                    <a:pt x="11154" y="725"/>
                    <a:pt x="11311" y="882"/>
                    <a:pt x="11311" y="1103"/>
                  </a:cubicBezTo>
                  <a:lnTo>
                    <a:pt x="11311" y="8097"/>
                  </a:lnTo>
                  <a:cubicBezTo>
                    <a:pt x="11311" y="8286"/>
                    <a:pt x="11154" y="8443"/>
                    <a:pt x="10965" y="8443"/>
                  </a:cubicBezTo>
                  <a:lnTo>
                    <a:pt x="1072" y="8443"/>
                  </a:lnTo>
                  <a:cubicBezTo>
                    <a:pt x="883" y="8443"/>
                    <a:pt x="725" y="8286"/>
                    <a:pt x="725" y="8097"/>
                  </a:cubicBezTo>
                  <a:lnTo>
                    <a:pt x="725" y="1103"/>
                  </a:lnTo>
                  <a:cubicBezTo>
                    <a:pt x="725" y="882"/>
                    <a:pt x="883" y="725"/>
                    <a:pt x="1072" y="725"/>
                  </a:cubicBezTo>
                  <a:close/>
                  <a:moveTo>
                    <a:pt x="1072" y="0"/>
                  </a:moveTo>
                  <a:cubicBezTo>
                    <a:pt x="473" y="0"/>
                    <a:pt x="1" y="473"/>
                    <a:pt x="1" y="1040"/>
                  </a:cubicBezTo>
                  <a:lnTo>
                    <a:pt x="1" y="8065"/>
                  </a:lnTo>
                  <a:cubicBezTo>
                    <a:pt x="1" y="8664"/>
                    <a:pt x="473" y="9137"/>
                    <a:pt x="1072" y="9137"/>
                  </a:cubicBezTo>
                  <a:lnTo>
                    <a:pt x="10965" y="9137"/>
                  </a:lnTo>
                  <a:cubicBezTo>
                    <a:pt x="11532" y="9137"/>
                    <a:pt x="12004" y="8664"/>
                    <a:pt x="12004" y="8065"/>
                  </a:cubicBezTo>
                  <a:lnTo>
                    <a:pt x="12004" y="1040"/>
                  </a:lnTo>
                  <a:cubicBezTo>
                    <a:pt x="12036" y="473"/>
                    <a:pt x="11532" y="0"/>
                    <a:pt x="10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79"/>
            <p:cNvSpPr/>
            <p:nvPr/>
          </p:nvSpPr>
          <p:spPr>
            <a:xfrm>
              <a:off x="-50453375" y="2792500"/>
              <a:ext cx="194575" cy="158350"/>
            </a:xfrm>
            <a:custGeom>
              <a:avLst/>
              <a:gdLst/>
              <a:ahLst/>
              <a:cxnLst/>
              <a:rect l="l" t="t" r="r" b="b"/>
              <a:pathLst>
                <a:path w="7783" h="6334" extrusionOk="0">
                  <a:moveTo>
                    <a:pt x="7089" y="694"/>
                  </a:moveTo>
                  <a:lnTo>
                    <a:pt x="7089" y="5609"/>
                  </a:lnTo>
                  <a:lnTo>
                    <a:pt x="694" y="5609"/>
                  </a:lnTo>
                  <a:lnTo>
                    <a:pt x="694" y="694"/>
                  </a:lnTo>
                  <a:close/>
                  <a:moveTo>
                    <a:pt x="347" y="1"/>
                  </a:moveTo>
                  <a:cubicBezTo>
                    <a:pt x="158" y="1"/>
                    <a:pt x="1" y="158"/>
                    <a:pt x="1" y="347"/>
                  </a:cubicBezTo>
                  <a:lnTo>
                    <a:pt x="1" y="5987"/>
                  </a:lnTo>
                  <a:cubicBezTo>
                    <a:pt x="1" y="6176"/>
                    <a:pt x="158" y="6333"/>
                    <a:pt x="347" y="6333"/>
                  </a:cubicBezTo>
                  <a:lnTo>
                    <a:pt x="7436" y="6333"/>
                  </a:lnTo>
                  <a:cubicBezTo>
                    <a:pt x="7656" y="6333"/>
                    <a:pt x="7782" y="6176"/>
                    <a:pt x="7782" y="5987"/>
                  </a:cubicBezTo>
                  <a:lnTo>
                    <a:pt x="7782" y="347"/>
                  </a:lnTo>
                  <a:cubicBezTo>
                    <a:pt x="7782" y="158"/>
                    <a:pt x="7656" y="1"/>
                    <a:pt x="74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2" name="Google Shape;10312;p79"/>
          <p:cNvGrpSpPr/>
          <p:nvPr/>
        </p:nvGrpSpPr>
        <p:grpSpPr>
          <a:xfrm>
            <a:off x="3070976" y="1561682"/>
            <a:ext cx="358199" cy="359154"/>
            <a:chOff x="-48633950" y="1972600"/>
            <a:chExt cx="300100" cy="300900"/>
          </a:xfrm>
        </p:grpSpPr>
        <p:sp>
          <p:nvSpPr>
            <p:cNvPr id="10313" name="Google Shape;10313;p79"/>
            <p:cNvSpPr/>
            <p:nvPr/>
          </p:nvSpPr>
          <p:spPr>
            <a:xfrm>
              <a:off x="-48633950" y="1972600"/>
              <a:ext cx="300100" cy="300900"/>
            </a:xfrm>
            <a:custGeom>
              <a:avLst/>
              <a:gdLst/>
              <a:ahLst/>
              <a:cxnLst/>
              <a:rect l="l" t="t" r="r" b="b"/>
              <a:pathLst>
                <a:path w="12004" h="12036" extrusionOk="0">
                  <a:moveTo>
                    <a:pt x="1418" y="756"/>
                  </a:moveTo>
                  <a:lnTo>
                    <a:pt x="1418" y="1481"/>
                  </a:lnTo>
                  <a:lnTo>
                    <a:pt x="693" y="1481"/>
                  </a:lnTo>
                  <a:lnTo>
                    <a:pt x="693" y="756"/>
                  </a:lnTo>
                  <a:close/>
                  <a:moveTo>
                    <a:pt x="11310" y="756"/>
                  </a:moveTo>
                  <a:lnTo>
                    <a:pt x="11310" y="1481"/>
                  </a:lnTo>
                  <a:lnTo>
                    <a:pt x="10586" y="1481"/>
                  </a:lnTo>
                  <a:lnTo>
                    <a:pt x="10586" y="756"/>
                  </a:lnTo>
                  <a:close/>
                  <a:moveTo>
                    <a:pt x="9893" y="1418"/>
                  </a:moveTo>
                  <a:lnTo>
                    <a:pt x="9893" y="1796"/>
                  </a:lnTo>
                  <a:cubicBezTo>
                    <a:pt x="9893" y="1985"/>
                    <a:pt x="10050" y="2143"/>
                    <a:pt x="10239" y="2143"/>
                  </a:cubicBezTo>
                  <a:lnTo>
                    <a:pt x="10586" y="2143"/>
                  </a:lnTo>
                  <a:lnTo>
                    <a:pt x="10586" y="5293"/>
                  </a:lnTo>
                  <a:cubicBezTo>
                    <a:pt x="10365" y="5104"/>
                    <a:pt x="10050" y="4915"/>
                    <a:pt x="9672" y="4663"/>
                  </a:cubicBezTo>
                  <a:cubicBezTo>
                    <a:pt x="8822" y="4159"/>
                    <a:pt x="7530" y="3560"/>
                    <a:pt x="6018" y="3560"/>
                  </a:cubicBezTo>
                  <a:cubicBezTo>
                    <a:pt x="4537" y="3560"/>
                    <a:pt x="3214" y="4159"/>
                    <a:pt x="2363" y="4663"/>
                  </a:cubicBezTo>
                  <a:cubicBezTo>
                    <a:pt x="2017" y="4852"/>
                    <a:pt x="1701" y="5104"/>
                    <a:pt x="1449" y="5293"/>
                  </a:cubicBezTo>
                  <a:lnTo>
                    <a:pt x="1449" y="2143"/>
                  </a:lnTo>
                  <a:lnTo>
                    <a:pt x="1764" y="2143"/>
                  </a:lnTo>
                  <a:cubicBezTo>
                    <a:pt x="1954" y="2143"/>
                    <a:pt x="2111" y="1985"/>
                    <a:pt x="2111" y="1796"/>
                  </a:cubicBezTo>
                  <a:lnTo>
                    <a:pt x="2111" y="1418"/>
                  </a:lnTo>
                  <a:close/>
                  <a:moveTo>
                    <a:pt x="8065" y="4695"/>
                  </a:moveTo>
                  <a:cubicBezTo>
                    <a:pt x="8538" y="4915"/>
                    <a:pt x="8979" y="5104"/>
                    <a:pt x="9326" y="5293"/>
                  </a:cubicBezTo>
                  <a:cubicBezTo>
                    <a:pt x="9798" y="5577"/>
                    <a:pt x="10208" y="5860"/>
                    <a:pt x="10428" y="6049"/>
                  </a:cubicBezTo>
                  <a:cubicBezTo>
                    <a:pt x="10208" y="6238"/>
                    <a:pt x="9798" y="6522"/>
                    <a:pt x="9326" y="6805"/>
                  </a:cubicBezTo>
                  <a:cubicBezTo>
                    <a:pt x="8979" y="6994"/>
                    <a:pt x="8570" y="7215"/>
                    <a:pt x="8065" y="7372"/>
                  </a:cubicBezTo>
                  <a:cubicBezTo>
                    <a:pt x="8349" y="6994"/>
                    <a:pt x="8475" y="6522"/>
                    <a:pt x="8475" y="6049"/>
                  </a:cubicBezTo>
                  <a:cubicBezTo>
                    <a:pt x="8475" y="5514"/>
                    <a:pt x="8318" y="5104"/>
                    <a:pt x="8065" y="4695"/>
                  </a:cubicBezTo>
                  <a:close/>
                  <a:moveTo>
                    <a:pt x="3970" y="4726"/>
                  </a:moveTo>
                  <a:cubicBezTo>
                    <a:pt x="3718" y="5136"/>
                    <a:pt x="3592" y="5608"/>
                    <a:pt x="3592" y="6081"/>
                  </a:cubicBezTo>
                  <a:cubicBezTo>
                    <a:pt x="3529" y="6553"/>
                    <a:pt x="3686" y="7026"/>
                    <a:pt x="3970" y="7435"/>
                  </a:cubicBezTo>
                  <a:cubicBezTo>
                    <a:pt x="3497" y="7215"/>
                    <a:pt x="3056" y="7026"/>
                    <a:pt x="2710" y="6837"/>
                  </a:cubicBezTo>
                  <a:cubicBezTo>
                    <a:pt x="2237" y="6553"/>
                    <a:pt x="1859" y="6270"/>
                    <a:pt x="1607" y="6081"/>
                  </a:cubicBezTo>
                  <a:cubicBezTo>
                    <a:pt x="1859" y="5892"/>
                    <a:pt x="2237" y="5608"/>
                    <a:pt x="2710" y="5325"/>
                  </a:cubicBezTo>
                  <a:cubicBezTo>
                    <a:pt x="3056" y="5136"/>
                    <a:pt x="3466" y="4915"/>
                    <a:pt x="3970" y="4726"/>
                  </a:cubicBezTo>
                  <a:close/>
                  <a:moveTo>
                    <a:pt x="6018" y="4285"/>
                  </a:moveTo>
                  <a:cubicBezTo>
                    <a:pt x="6994" y="4285"/>
                    <a:pt x="7782" y="5073"/>
                    <a:pt x="7782" y="6049"/>
                  </a:cubicBezTo>
                  <a:cubicBezTo>
                    <a:pt x="7782" y="7026"/>
                    <a:pt x="6994" y="7814"/>
                    <a:pt x="6018" y="7814"/>
                  </a:cubicBezTo>
                  <a:cubicBezTo>
                    <a:pt x="5041" y="7814"/>
                    <a:pt x="4253" y="7026"/>
                    <a:pt x="4253" y="6049"/>
                  </a:cubicBezTo>
                  <a:cubicBezTo>
                    <a:pt x="4253" y="5073"/>
                    <a:pt x="5041" y="4285"/>
                    <a:pt x="6018" y="4285"/>
                  </a:cubicBezTo>
                  <a:close/>
                  <a:moveTo>
                    <a:pt x="10554" y="6805"/>
                  </a:moveTo>
                  <a:lnTo>
                    <a:pt x="10554" y="9956"/>
                  </a:lnTo>
                  <a:lnTo>
                    <a:pt x="10239" y="9956"/>
                  </a:lnTo>
                  <a:cubicBezTo>
                    <a:pt x="10050" y="9956"/>
                    <a:pt x="9893" y="10113"/>
                    <a:pt x="9893" y="10302"/>
                  </a:cubicBezTo>
                  <a:lnTo>
                    <a:pt x="9893" y="10649"/>
                  </a:lnTo>
                  <a:lnTo>
                    <a:pt x="2143" y="10649"/>
                  </a:lnTo>
                  <a:lnTo>
                    <a:pt x="2143" y="10302"/>
                  </a:lnTo>
                  <a:cubicBezTo>
                    <a:pt x="2143" y="10113"/>
                    <a:pt x="1985" y="9956"/>
                    <a:pt x="1764" y="9956"/>
                  </a:cubicBezTo>
                  <a:lnTo>
                    <a:pt x="1418" y="9956"/>
                  </a:lnTo>
                  <a:lnTo>
                    <a:pt x="1418" y="6805"/>
                  </a:lnTo>
                  <a:cubicBezTo>
                    <a:pt x="1670" y="6994"/>
                    <a:pt x="1985" y="7183"/>
                    <a:pt x="2332" y="7435"/>
                  </a:cubicBezTo>
                  <a:cubicBezTo>
                    <a:pt x="3182" y="7940"/>
                    <a:pt x="4505" y="8538"/>
                    <a:pt x="5986" y="8538"/>
                  </a:cubicBezTo>
                  <a:cubicBezTo>
                    <a:pt x="7498" y="8538"/>
                    <a:pt x="8790" y="7940"/>
                    <a:pt x="9641" y="7435"/>
                  </a:cubicBezTo>
                  <a:cubicBezTo>
                    <a:pt x="10019" y="7215"/>
                    <a:pt x="10334" y="6994"/>
                    <a:pt x="10554" y="6805"/>
                  </a:cubicBezTo>
                  <a:close/>
                  <a:moveTo>
                    <a:pt x="1418" y="10617"/>
                  </a:moveTo>
                  <a:lnTo>
                    <a:pt x="1418" y="11311"/>
                  </a:lnTo>
                  <a:lnTo>
                    <a:pt x="693" y="11311"/>
                  </a:lnTo>
                  <a:lnTo>
                    <a:pt x="693" y="10617"/>
                  </a:lnTo>
                  <a:close/>
                  <a:moveTo>
                    <a:pt x="11310" y="10617"/>
                  </a:moveTo>
                  <a:lnTo>
                    <a:pt x="11310" y="11311"/>
                  </a:lnTo>
                  <a:lnTo>
                    <a:pt x="10586" y="11311"/>
                  </a:lnTo>
                  <a:lnTo>
                    <a:pt x="10586" y="10617"/>
                  </a:lnTo>
                  <a:close/>
                  <a:moveTo>
                    <a:pt x="347" y="0"/>
                  </a:moveTo>
                  <a:cubicBezTo>
                    <a:pt x="158" y="0"/>
                    <a:pt x="0" y="189"/>
                    <a:pt x="0" y="378"/>
                  </a:cubicBezTo>
                  <a:lnTo>
                    <a:pt x="0" y="1796"/>
                  </a:lnTo>
                  <a:cubicBezTo>
                    <a:pt x="0" y="1985"/>
                    <a:pt x="158" y="2143"/>
                    <a:pt x="347" y="2143"/>
                  </a:cubicBezTo>
                  <a:lnTo>
                    <a:pt x="693" y="2143"/>
                  </a:lnTo>
                  <a:lnTo>
                    <a:pt x="693" y="9893"/>
                  </a:lnTo>
                  <a:lnTo>
                    <a:pt x="347" y="9893"/>
                  </a:lnTo>
                  <a:cubicBezTo>
                    <a:pt x="158" y="9893"/>
                    <a:pt x="0" y="10050"/>
                    <a:pt x="0" y="10239"/>
                  </a:cubicBezTo>
                  <a:lnTo>
                    <a:pt x="0" y="11657"/>
                  </a:lnTo>
                  <a:cubicBezTo>
                    <a:pt x="0" y="11878"/>
                    <a:pt x="158" y="12035"/>
                    <a:pt x="347" y="12035"/>
                  </a:cubicBezTo>
                  <a:lnTo>
                    <a:pt x="1764" y="12035"/>
                  </a:lnTo>
                  <a:cubicBezTo>
                    <a:pt x="1954" y="12035"/>
                    <a:pt x="2111" y="11878"/>
                    <a:pt x="2111" y="11657"/>
                  </a:cubicBezTo>
                  <a:lnTo>
                    <a:pt x="2111" y="11311"/>
                  </a:lnTo>
                  <a:lnTo>
                    <a:pt x="9893" y="11311"/>
                  </a:lnTo>
                  <a:lnTo>
                    <a:pt x="9893" y="11657"/>
                  </a:lnTo>
                  <a:cubicBezTo>
                    <a:pt x="9893" y="11878"/>
                    <a:pt x="10050" y="12035"/>
                    <a:pt x="10239" y="12035"/>
                  </a:cubicBezTo>
                  <a:lnTo>
                    <a:pt x="11657" y="12035"/>
                  </a:lnTo>
                  <a:cubicBezTo>
                    <a:pt x="11846" y="12035"/>
                    <a:pt x="12004" y="11878"/>
                    <a:pt x="12004" y="11657"/>
                  </a:cubicBezTo>
                  <a:lnTo>
                    <a:pt x="12004" y="10239"/>
                  </a:lnTo>
                  <a:cubicBezTo>
                    <a:pt x="12004" y="10050"/>
                    <a:pt x="11846" y="9893"/>
                    <a:pt x="11657" y="9893"/>
                  </a:cubicBezTo>
                  <a:lnTo>
                    <a:pt x="11310" y="9893"/>
                  </a:lnTo>
                  <a:lnTo>
                    <a:pt x="11310" y="2143"/>
                  </a:lnTo>
                  <a:lnTo>
                    <a:pt x="11657" y="2143"/>
                  </a:lnTo>
                  <a:cubicBezTo>
                    <a:pt x="11846" y="2143"/>
                    <a:pt x="12004" y="1985"/>
                    <a:pt x="12004" y="1796"/>
                  </a:cubicBezTo>
                  <a:lnTo>
                    <a:pt x="12004" y="378"/>
                  </a:lnTo>
                  <a:cubicBezTo>
                    <a:pt x="12004" y="189"/>
                    <a:pt x="11846" y="0"/>
                    <a:pt x="11657" y="0"/>
                  </a:cubicBezTo>
                  <a:lnTo>
                    <a:pt x="10239" y="0"/>
                  </a:lnTo>
                  <a:cubicBezTo>
                    <a:pt x="10050" y="0"/>
                    <a:pt x="9893" y="189"/>
                    <a:pt x="9893" y="378"/>
                  </a:cubicBezTo>
                  <a:lnTo>
                    <a:pt x="9893" y="725"/>
                  </a:lnTo>
                  <a:lnTo>
                    <a:pt x="2111" y="725"/>
                  </a:lnTo>
                  <a:lnTo>
                    <a:pt x="2111" y="378"/>
                  </a:lnTo>
                  <a:cubicBezTo>
                    <a:pt x="2111" y="189"/>
                    <a:pt x="1954"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79"/>
            <p:cNvSpPr/>
            <p:nvPr/>
          </p:nvSpPr>
          <p:spPr>
            <a:xfrm>
              <a:off x="-48509525" y="2097050"/>
              <a:ext cx="52800" cy="52775"/>
            </a:xfrm>
            <a:custGeom>
              <a:avLst/>
              <a:gdLst/>
              <a:ahLst/>
              <a:cxnLst/>
              <a:rect l="l" t="t" r="r" b="b"/>
              <a:pathLst>
                <a:path w="2112" h="2111" extrusionOk="0">
                  <a:moveTo>
                    <a:pt x="1041" y="725"/>
                  </a:moveTo>
                  <a:cubicBezTo>
                    <a:pt x="1230" y="725"/>
                    <a:pt x="1387" y="882"/>
                    <a:pt x="1387" y="1071"/>
                  </a:cubicBezTo>
                  <a:cubicBezTo>
                    <a:pt x="1387" y="1260"/>
                    <a:pt x="1230" y="1418"/>
                    <a:pt x="1041" y="1418"/>
                  </a:cubicBezTo>
                  <a:cubicBezTo>
                    <a:pt x="852" y="1418"/>
                    <a:pt x="694" y="1260"/>
                    <a:pt x="694" y="1071"/>
                  </a:cubicBezTo>
                  <a:cubicBezTo>
                    <a:pt x="694" y="882"/>
                    <a:pt x="852" y="725"/>
                    <a:pt x="1041" y="725"/>
                  </a:cubicBezTo>
                  <a:close/>
                  <a:moveTo>
                    <a:pt x="1041" y="0"/>
                  </a:moveTo>
                  <a:cubicBezTo>
                    <a:pt x="442" y="0"/>
                    <a:pt x="1" y="473"/>
                    <a:pt x="1" y="1071"/>
                  </a:cubicBezTo>
                  <a:cubicBezTo>
                    <a:pt x="1" y="1670"/>
                    <a:pt x="442" y="2111"/>
                    <a:pt x="1041" y="2111"/>
                  </a:cubicBezTo>
                  <a:cubicBezTo>
                    <a:pt x="1639" y="2111"/>
                    <a:pt x="2112" y="1670"/>
                    <a:pt x="2112" y="1071"/>
                  </a:cubicBezTo>
                  <a:cubicBezTo>
                    <a:pt x="2112" y="473"/>
                    <a:pt x="1639"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79"/>
          <p:cNvGrpSpPr/>
          <p:nvPr/>
        </p:nvGrpSpPr>
        <p:grpSpPr>
          <a:xfrm>
            <a:off x="3070499" y="2017593"/>
            <a:ext cx="359154" cy="361004"/>
            <a:chOff x="-48634750" y="2342000"/>
            <a:chExt cx="300900" cy="302450"/>
          </a:xfrm>
        </p:grpSpPr>
        <p:sp>
          <p:nvSpPr>
            <p:cNvPr id="10316" name="Google Shape;10316;p79"/>
            <p:cNvSpPr/>
            <p:nvPr/>
          </p:nvSpPr>
          <p:spPr>
            <a:xfrm>
              <a:off x="-48545750" y="2342000"/>
              <a:ext cx="211900" cy="300875"/>
            </a:xfrm>
            <a:custGeom>
              <a:avLst/>
              <a:gdLst/>
              <a:ahLst/>
              <a:cxnLst/>
              <a:rect l="l" t="t" r="r" b="b"/>
              <a:pathLst>
                <a:path w="8476" h="12035" extrusionOk="0">
                  <a:moveTo>
                    <a:pt x="6711" y="725"/>
                  </a:moveTo>
                  <a:cubicBezTo>
                    <a:pt x="7310" y="725"/>
                    <a:pt x="7782" y="1197"/>
                    <a:pt x="7782" y="1764"/>
                  </a:cubicBezTo>
                  <a:lnTo>
                    <a:pt x="7782" y="10239"/>
                  </a:lnTo>
                  <a:cubicBezTo>
                    <a:pt x="7782" y="10838"/>
                    <a:pt x="7310" y="11310"/>
                    <a:pt x="6711" y="11310"/>
                  </a:cubicBezTo>
                  <a:lnTo>
                    <a:pt x="1797" y="11310"/>
                  </a:lnTo>
                  <a:cubicBezTo>
                    <a:pt x="1198" y="11310"/>
                    <a:pt x="725" y="10838"/>
                    <a:pt x="725" y="10239"/>
                  </a:cubicBezTo>
                  <a:lnTo>
                    <a:pt x="725" y="1764"/>
                  </a:lnTo>
                  <a:cubicBezTo>
                    <a:pt x="725" y="1197"/>
                    <a:pt x="1198" y="725"/>
                    <a:pt x="1797" y="725"/>
                  </a:cubicBezTo>
                  <a:close/>
                  <a:moveTo>
                    <a:pt x="1797" y="0"/>
                  </a:moveTo>
                  <a:cubicBezTo>
                    <a:pt x="788" y="0"/>
                    <a:pt x="1" y="788"/>
                    <a:pt x="1" y="1764"/>
                  </a:cubicBezTo>
                  <a:lnTo>
                    <a:pt x="1" y="10239"/>
                  </a:lnTo>
                  <a:cubicBezTo>
                    <a:pt x="1" y="11247"/>
                    <a:pt x="788" y="12035"/>
                    <a:pt x="1797" y="12035"/>
                  </a:cubicBezTo>
                  <a:lnTo>
                    <a:pt x="6711" y="12035"/>
                  </a:lnTo>
                  <a:cubicBezTo>
                    <a:pt x="7688" y="12035"/>
                    <a:pt x="8476" y="11247"/>
                    <a:pt x="8476" y="10239"/>
                  </a:cubicBezTo>
                  <a:lnTo>
                    <a:pt x="8476" y="1764"/>
                  </a:lnTo>
                  <a:cubicBezTo>
                    <a:pt x="8476" y="788"/>
                    <a:pt x="7688" y="0"/>
                    <a:pt x="6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79"/>
            <p:cNvSpPr/>
            <p:nvPr/>
          </p:nvSpPr>
          <p:spPr>
            <a:xfrm>
              <a:off x="-48509525" y="2395550"/>
              <a:ext cx="52800" cy="52800"/>
            </a:xfrm>
            <a:custGeom>
              <a:avLst/>
              <a:gdLst/>
              <a:ahLst/>
              <a:cxnLst/>
              <a:rect l="l" t="t" r="r" b="b"/>
              <a:pathLst>
                <a:path w="2112" h="2112" extrusionOk="0">
                  <a:moveTo>
                    <a:pt x="1041" y="694"/>
                  </a:moveTo>
                  <a:cubicBezTo>
                    <a:pt x="1230" y="694"/>
                    <a:pt x="1387" y="851"/>
                    <a:pt x="1387" y="1040"/>
                  </a:cubicBezTo>
                  <a:cubicBezTo>
                    <a:pt x="1387" y="1261"/>
                    <a:pt x="1230" y="1418"/>
                    <a:pt x="1041" y="1418"/>
                  </a:cubicBezTo>
                  <a:cubicBezTo>
                    <a:pt x="852" y="1418"/>
                    <a:pt x="694" y="1261"/>
                    <a:pt x="694" y="1040"/>
                  </a:cubicBezTo>
                  <a:cubicBezTo>
                    <a:pt x="694" y="851"/>
                    <a:pt x="852" y="694"/>
                    <a:pt x="1041" y="694"/>
                  </a:cubicBezTo>
                  <a:close/>
                  <a:moveTo>
                    <a:pt x="1041" y="0"/>
                  </a:moveTo>
                  <a:cubicBezTo>
                    <a:pt x="442" y="0"/>
                    <a:pt x="1" y="473"/>
                    <a:pt x="1" y="1040"/>
                  </a:cubicBezTo>
                  <a:cubicBezTo>
                    <a:pt x="1" y="1639"/>
                    <a:pt x="442" y="2111"/>
                    <a:pt x="1041" y="2111"/>
                  </a:cubicBezTo>
                  <a:cubicBezTo>
                    <a:pt x="1639" y="2111"/>
                    <a:pt x="2112" y="1639"/>
                    <a:pt x="2112" y="1040"/>
                  </a:cubicBezTo>
                  <a:cubicBezTo>
                    <a:pt x="2112" y="473"/>
                    <a:pt x="1639"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79"/>
            <p:cNvSpPr/>
            <p:nvPr/>
          </p:nvSpPr>
          <p:spPr>
            <a:xfrm>
              <a:off x="-48509525" y="2466425"/>
              <a:ext cx="52800" cy="52800"/>
            </a:xfrm>
            <a:custGeom>
              <a:avLst/>
              <a:gdLst/>
              <a:ahLst/>
              <a:cxnLst/>
              <a:rect l="l" t="t" r="r" b="b"/>
              <a:pathLst>
                <a:path w="2112" h="2112" extrusionOk="0">
                  <a:moveTo>
                    <a:pt x="1041" y="694"/>
                  </a:moveTo>
                  <a:cubicBezTo>
                    <a:pt x="1230" y="694"/>
                    <a:pt x="1387" y="851"/>
                    <a:pt x="1387" y="1072"/>
                  </a:cubicBezTo>
                  <a:cubicBezTo>
                    <a:pt x="1387" y="1261"/>
                    <a:pt x="1230" y="1419"/>
                    <a:pt x="1041" y="1419"/>
                  </a:cubicBezTo>
                  <a:cubicBezTo>
                    <a:pt x="852" y="1419"/>
                    <a:pt x="694" y="1261"/>
                    <a:pt x="694" y="1072"/>
                  </a:cubicBezTo>
                  <a:cubicBezTo>
                    <a:pt x="694" y="851"/>
                    <a:pt x="852" y="694"/>
                    <a:pt x="1041" y="694"/>
                  </a:cubicBezTo>
                  <a:close/>
                  <a:moveTo>
                    <a:pt x="1041" y="1"/>
                  </a:moveTo>
                  <a:cubicBezTo>
                    <a:pt x="442" y="1"/>
                    <a:pt x="1" y="473"/>
                    <a:pt x="1" y="1072"/>
                  </a:cubicBezTo>
                  <a:cubicBezTo>
                    <a:pt x="1" y="1639"/>
                    <a:pt x="442" y="2112"/>
                    <a:pt x="1041" y="2112"/>
                  </a:cubicBezTo>
                  <a:cubicBezTo>
                    <a:pt x="1639" y="2112"/>
                    <a:pt x="2112" y="1639"/>
                    <a:pt x="2112" y="1072"/>
                  </a:cubicBezTo>
                  <a:cubicBezTo>
                    <a:pt x="2112" y="473"/>
                    <a:pt x="1639"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79"/>
            <p:cNvSpPr/>
            <p:nvPr/>
          </p:nvSpPr>
          <p:spPr>
            <a:xfrm>
              <a:off x="-48509525" y="2537325"/>
              <a:ext cx="52800" cy="52800"/>
            </a:xfrm>
            <a:custGeom>
              <a:avLst/>
              <a:gdLst/>
              <a:ahLst/>
              <a:cxnLst/>
              <a:rect l="l" t="t" r="r" b="b"/>
              <a:pathLst>
                <a:path w="2112" h="2112" extrusionOk="0">
                  <a:moveTo>
                    <a:pt x="1041" y="693"/>
                  </a:moveTo>
                  <a:cubicBezTo>
                    <a:pt x="1230" y="693"/>
                    <a:pt x="1387" y="851"/>
                    <a:pt x="1387" y="1071"/>
                  </a:cubicBezTo>
                  <a:cubicBezTo>
                    <a:pt x="1387" y="1260"/>
                    <a:pt x="1230" y="1418"/>
                    <a:pt x="1041" y="1418"/>
                  </a:cubicBezTo>
                  <a:cubicBezTo>
                    <a:pt x="852" y="1418"/>
                    <a:pt x="694" y="1260"/>
                    <a:pt x="694" y="1071"/>
                  </a:cubicBezTo>
                  <a:cubicBezTo>
                    <a:pt x="694" y="851"/>
                    <a:pt x="852" y="693"/>
                    <a:pt x="1041" y="693"/>
                  </a:cubicBezTo>
                  <a:close/>
                  <a:moveTo>
                    <a:pt x="1041" y="0"/>
                  </a:moveTo>
                  <a:cubicBezTo>
                    <a:pt x="442" y="0"/>
                    <a:pt x="1" y="473"/>
                    <a:pt x="1" y="1071"/>
                  </a:cubicBezTo>
                  <a:cubicBezTo>
                    <a:pt x="1" y="1639"/>
                    <a:pt x="442" y="2111"/>
                    <a:pt x="1041" y="2111"/>
                  </a:cubicBezTo>
                  <a:cubicBezTo>
                    <a:pt x="1639" y="2111"/>
                    <a:pt x="2112" y="1639"/>
                    <a:pt x="2112" y="1071"/>
                  </a:cubicBezTo>
                  <a:cubicBezTo>
                    <a:pt x="2112" y="473"/>
                    <a:pt x="1639"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79"/>
            <p:cNvSpPr/>
            <p:nvPr/>
          </p:nvSpPr>
          <p:spPr>
            <a:xfrm>
              <a:off x="-48421300" y="2395550"/>
              <a:ext cx="52800" cy="52800"/>
            </a:xfrm>
            <a:custGeom>
              <a:avLst/>
              <a:gdLst/>
              <a:ahLst/>
              <a:cxnLst/>
              <a:rect l="l" t="t" r="r" b="b"/>
              <a:pathLst>
                <a:path w="2112" h="2112" extrusionOk="0">
                  <a:moveTo>
                    <a:pt x="1072" y="694"/>
                  </a:moveTo>
                  <a:cubicBezTo>
                    <a:pt x="1261" y="694"/>
                    <a:pt x="1418" y="851"/>
                    <a:pt x="1418" y="1040"/>
                  </a:cubicBezTo>
                  <a:cubicBezTo>
                    <a:pt x="1387" y="1261"/>
                    <a:pt x="1229" y="1418"/>
                    <a:pt x="1072" y="1418"/>
                  </a:cubicBezTo>
                  <a:cubicBezTo>
                    <a:pt x="851" y="1418"/>
                    <a:pt x="725" y="1261"/>
                    <a:pt x="725" y="1040"/>
                  </a:cubicBezTo>
                  <a:cubicBezTo>
                    <a:pt x="725" y="851"/>
                    <a:pt x="851" y="694"/>
                    <a:pt x="1072" y="694"/>
                  </a:cubicBezTo>
                  <a:close/>
                  <a:moveTo>
                    <a:pt x="1072" y="0"/>
                  </a:moveTo>
                  <a:cubicBezTo>
                    <a:pt x="473" y="0"/>
                    <a:pt x="1" y="473"/>
                    <a:pt x="1" y="1040"/>
                  </a:cubicBezTo>
                  <a:cubicBezTo>
                    <a:pt x="1" y="1639"/>
                    <a:pt x="473" y="2111"/>
                    <a:pt x="1072" y="2111"/>
                  </a:cubicBezTo>
                  <a:cubicBezTo>
                    <a:pt x="1639" y="2111"/>
                    <a:pt x="2111" y="1639"/>
                    <a:pt x="2111" y="1040"/>
                  </a:cubicBezTo>
                  <a:cubicBezTo>
                    <a:pt x="2080" y="473"/>
                    <a:pt x="1607"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79"/>
            <p:cNvSpPr/>
            <p:nvPr/>
          </p:nvSpPr>
          <p:spPr>
            <a:xfrm>
              <a:off x="-48421300" y="2466425"/>
              <a:ext cx="52800" cy="52800"/>
            </a:xfrm>
            <a:custGeom>
              <a:avLst/>
              <a:gdLst/>
              <a:ahLst/>
              <a:cxnLst/>
              <a:rect l="l" t="t" r="r" b="b"/>
              <a:pathLst>
                <a:path w="2112" h="2112" extrusionOk="0">
                  <a:moveTo>
                    <a:pt x="1072" y="694"/>
                  </a:moveTo>
                  <a:cubicBezTo>
                    <a:pt x="1261" y="694"/>
                    <a:pt x="1418" y="851"/>
                    <a:pt x="1418" y="1072"/>
                  </a:cubicBezTo>
                  <a:cubicBezTo>
                    <a:pt x="1387" y="1261"/>
                    <a:pt x="1229" y="1419"/>
                    <a:pt x="1072" y="1419"/>
                  </a:cubicBezTo>
                  <a:cubicBezTo>
                    <a:pt x="851" y="1419"/>
                    <a:pt x="725" y="1261"/>
                    <a:pt x="725" y="1072"/>
                  </a:cubicBezTo>
                  <a:cubicBezTo>
                    <a:pt x="725" y="851"/>
                    <a:pt x="851" y="694"/>
                    <a:pt x="1072" y="694"/>
                  </a:cubicBezTo>
                  <a:close/>
                  <a:moveTo>
                    <a:pt x="1072" y="1"/>
                  </a:moveTo>
                  <a:cubicBezTo>
                    <a:pt x="473" y="1"/>
                    <a:pt x="1" y="473"/>
                    <a:pt x="1" y="1072"/>
                  </a:cubicBezTo>
                  <a:cubicBezTo>
                    <a:pt x="1" y="1639"/>
                    <a:pt x="473" y="2112"/>
                    <a:pt x="1072" y="2112"/>
                  </a:cubicBezTo>
                  <a:cubicBezTo>
                    <a:pt x="1639" y="2112"/>
                    <a:pt x="2111" y="1639"/>
                    <a:pt x="2111" y="1072"/>
                  </a:cubicBezTo>
                  <a:cubicBezTo>
                    <a:pt x="2080" y="473"/>
                    <a:pt x="1607"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79"/>
            <p:cNvSpPr/>
            <p:nvPr/>
          </p:nvSpPr>
          <p:spPr>
            <a:xfrm>
              <a:off x="-48421300" y="2537325"/>
              <a:ext cx="52800" cy="52800"/>
            </a:xfrm>
            <a:custGeom>
              <a:avLst/>
              <a:gdLst/>
              <a:ahLst/>
              <a:cxnLst/>
              <a:rect l="l" t="t" r="r" b="b"/>
              <a:pathLst>
                <a:path w="2112" h="2112" extrusionOk="0">
                  <a:moveTo>
                    <a:pt x="1072" y="693"/>
                  </a:moveTo>
                  <a:cubicBezTo>
                    <a:pt x="1261" y="693"/>
                    <a:pt x="1418" y="851"/>
                    <a:pt x="1418" y="1071"/>
                  </a:cubicBezTo>
                  <a:cubicBezTo>
                    <a:pt x="1418" y="1260"/>
                    <a:pt x="1229" y="1418"/>
                    <a:pt x="1072" y="1418"/>
                  </a:cubicBezTo>
                  <a:cubicBezTo>
                    <a:pt x="851" y="1418"/>
                    <a:pt x="725" y="1260"/>
                    <a:pt x="725" y="1071"/>
                  </a:cubicBezTo>
                  <a:cubicBezTo>
                    <a:pt x="725" y="851"/>
                    <a:pt x="851" y="693"/>
                    <a:pt x="1072" y="693"/>
                  </a:cubicBezTo>
                  <a:close/>
                  <a:moveTo>
                    <a:pt x="1072" y="0"/>
                  </a:moveTo>
                  <a:cubicBezTo>
                    <a:pt x="473" y="0"/>
                    <a:pt x="1" y="473"/>
                    <a:pt x="1" y="1071"/>
                  </a:cubicBezTo>
                  <a:cubicBezTo>
                    <a:pt x="1" y="1639"/>
                    <a:pt x="473" y="2111"/>
                    <a:pt x="1072" y="2111"/>
                  </a:cubicBezTo>
                  <a:cubicBezTo>
                    <a:pt x="1639" y="2111"/>
                    <a:pt x="2111" y="1639"/>
                    <a:pt x="2111" y="1071"/>
                  </a:cubicBezTo>
                  <a:cubicBezTo>
                    <a:pt x="2080" y="473"/>
                    <a:pt x="1607"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79"/>
            <p:cNvSpPr/>
            <p:nvPr/>
          </p:nvSpPr>
          <p:spPr>
            <a:xfrm>
              <a:off x="-48634750" y="2342775"/>
              <a:ext cx="71700" cy="301675"/>
            </a:xfrm>
            <a:custGeom>
              <a:avLst/>
              <a:gdLst/>
              <a:ahLst/>
              <a:cxnLst/>
              <a:rect l="l" t="t" r="r" b="b"/>
              <a:pathLst>
                <a:path w="2868" h="12067" extrusionOk="0">
                  <a:moveTo>
                    <a:pt x="1891" y="725"/>
                  </a:moveTo>
                  <a:lnTo>
                    <a:pt x="1891" y="725"/>
                  </a:lnTo>
                  <a:cubicBezTo>
                    <a:pt x="1828" y="851"/>
                    <a:pt x="1796" y="946"/>
                    <a:pt x="1796" y="1072"/>
                  </a:cubicBezTo>
                  <a:cubicBezTo>
                    <a:pt x="1765" y="1450"/>
                    <a:pt x="1859" y="1796"/>
                    <a:pt x="2112" y="2143"/>
                  </a:cubicBezTo>
                  <a:cubicBezTo>
                    <a:pt x="2175" y="2174"/>
                    <a:pt x="2206" y="2269"/>
                    <a:pt x="2175" y="2332"/>
                  </a:cubicBezTo>
                  <a:cubicBezTo>
                    <a:pt x="2049" y="2616"/>
                    <a:pt x="1796" y="2805"/>
                    <a:pt x="1481" y="2805"/>
                  </a:cubicBezTo>
                  <a:cubicBezTo>
                    <a:pt x="1103" y="2805"/>
                    <a:pt x="788" y="2489"/>
                    <a:pt x="788" y="2111"/>
                  </a:cubicBezTo>
                  <a:cubicBezTo>
                    <a:pt x="725" y="1702"/>
                    <a:pt x="883" y="1355"/>
                    <a:pt x="1166" y="1135"/>
                  </a:cubicBezTo>
                  <a:cubicBezTo>
                    <a:pt x="1418" y="883"/>
                    <a:pt x="1607" y="788"/>
                    <a:pt x="1891" y="725"/>
                  </a:cubicBezTo>
                  <a:close/>
                  <a:moveTo>
                    <a:pt x="1481" y="3529"/>
                  </a:moveTo>
                  <a:cubicBezTo>
                    <a:pt x="1733" y="3750"/>
                    <a:pt x="1891" y="4600"/>
                    <a:pt x="1954" y="4947"/>
                  </a:cubicBezTo>
                  <a:lnTo>
                    <a:pt x="977" y="4947"/>
                  </a:lnTo>
                  <a:cubicBezTo>
                    <a:pt x="1040" y="4600"/>
                    <a:pt x="1198" y="3750"/>
                    <a:pt x="1481" y="3529"/>
                  </a:cubicBezTo>
                  <a:close/>
                  <a:moveTo>
                    <a:pt x="2049" y="5608"/>
                  </a:moveTo>
                  <a:cubicBezTo>
                    <a:pt x="2112" y="6176"/>
                    <a:pt x="2112" y="6743"/>
                    <a:pt x="2112" y="7373"/>
                  </a:cubicBezTo>
                  <a:cubicBezTo>
                    <a:pt x="2143" y="9421"/>
                    <a:pt x="1796" y="10933"/>
                    <a:pt x="1450" y="11279"/>
                  </a:cubicBezTo>
                  <a:cubicBezTo>
                    <a:pt x="1387" y="11216"/>
                    <a:pt x="1166" y="10964"/>
                    <a:pt x="1009" y="10145"/>
                  </a:cubicBezTo>
                  <a:cubicBezTo>
                    <a:pt x="851" y="9389"/>
                    <a:pt x="725" y="8412"/>
                    <a:pt x="725" y="7373"/>
                  </a:cubicBezTo>
                  <a:cubicBezTo>
                    <a:pt x="725" y="6743"/>
                    <a:pt x="788" y="6176"/>
                    <a:pt x="820" y="5608"/>
                  </a:cubicBezTo>
                  <a:close/>
                  <a:moveTo>
                    <a:pt x="2458" y="1"/>
                  </a:moveTo>
                  <a:cubicBezTo>
                    <a:pt x="1765" y="1"/>
                    <a:pt x="1198" y="64"/>
                    <a:pt x="631" y="631"/>
                  </a:cubicBezTo>
                  <a:cubicBezTo>
                    <a:pt x="221" y="1040"/>
                    <a:pt x="1" y="1576"/>
                    <a:pt x="1" y="2143"/>
                  </a:cubicBezTo>
                  <a:cubicBezTo>
                    <a:pt x="1" y="2647"/>
                    <a:pt x="253" y="3120"/>
                    <a:pt x="694" y="3372"/>
                  </a:cubicBezTo>
                  <a:cubicBezTo>
                    <a:pt x="158" y="4317"/>
                    <a:pt x="1" y="6333"/>
                    <a:pt x="1" y="7467"/>
                  </a:cubicBezTo>
                  <a:cubicBezTo>
                    <a:pt x="1" y="8570"/>
                    <a:pt x="95" y="10586"/>
                    <a:pt x="694" y="11563"/>
                  </a:cubicBezTo>
                  <a:cubicBezTo>
                    <a:pt x="883" y="11909"/>
                    <a:pt x="1135" y="12067"/>
                    <a:pt x="1418" y="12067"/>
                  </a:cubicBezTo>
                  <a:cubicBezTo>
                    <a:pt x="1670" y="12067"/>
                    <a:pt x="1923" y="11909"/>
                    <a:pt x="2112" y="11563"/>
                  </a:cubicBezTo>
                  <a:cubicBezTo>
                    <a:pt x="2679" y="10618"/>
                    <a:pt x="2836" y="8601"/>
                    <a:pt x="2836" y="7467"/>
                  </a:cubicBezTo>
                  <a:cubicBezTo>
                    <a:pt x="2868" y="6270"/>
                    <a:pt x="2742" y="4285"/>
                    <a:pt x="2143" y="3309"/>
                  </a:cubicBezTo>
                  <a:cubicBezTo>
                    <a:pt x="2427" y="3151"/>
                    <a:pt x="2679" y="2899"/>
                    <a:pt x="2742" y="2584"/>
                  </a:cubicBezTo>
                  <a:cubicBezTo>
                    <a:pt x="2868" y="2269"/>
                    <a:pt x="2773" y="1954"/>
                    <a:pt x="2584" y="1702"/>
                  </a:cubicBezTo>
                  <a:cubicBezTo>
                    <a:pt x="2395" y="1481"/>
                    <a:pt x="2269" y="1166"/>
                    <a:pt x="2742" y="568"/>
                  </a:cubicBezTo>
                  <a:cubicBezTo>
                    <a:pt x="2836" y="442"/>
                    <a:pt x="2868" y="347"/>
                    <a:pt x="2773" y="221"/>
                  </a:cubicBezTo>
                  <a:cubicBezTo>
                    <a:pt x="2742" y="95"/>
                    <a:pt x="258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79"/>
          <p:cNvGrpSpPr/>
          <p:nvPr/>
        </p:nvGrpSpPr>
        <p:grpSpPr>
          <a:xfrm>
            <a:off x="3071439" y="2465977"/>
            <a:ext cx="357274" cy="357274"/>
            <a:chOff x="-48633175" y="2711375"/>
            <a:chExt cx="299325" cy="299325"/>
          </a:xfrm>
        </p:grpSpPr>
        <p:sp>
          <p:nvSpPr>
            <p:cNvPr id="10325" name="Google Shape;10325;p79"/>
            <p:cNvSpPr/>
            <p:nvPr/>
          </p:nvSpPr>
          <p:spPr>
            <a:xfrm>
              <a:off x="-48633175" y="2711375"/>
              <a:ext cx="299325" cy="299325"/>
            </a:xfrm>
            <a:custGeom>
              <a:avLst/>
              <a:gdLst/>
              <a:ahLst/>
              <a:cxnLst/>
              <a:rect l="l" t="t" r="r" b="b"/>
              <a:pathLst>
                <a:path w="11973" h="11973" extrusionOk="0">
                  <a:moveTo>
                    <a:pt x="6459" y="662"/>
                  </a:moveTo>
                  <a:lnTo>
                    <a:pt x="6774" y="1356"/>
                  </a:lnTo>
                  <a:cubicBezTo>
                    <a:pt x="6837" y="1419"/>
                    <a:pt x="6900" y="1513"/>
                    <a:pt x="7026" y="1545"/>
                  </a:cubicBezTo>
                  <a:cubicBezTo>
                    <a:pt x="7499" y="1671"/>
                    <a:pt x="7971" y="1860"/>
                    <a:pt x="8413" y="2080"/>
                  </a:cubicBezTo>
                  <a:cubicBezTo>
                    <a:pt x="8459" y="2126"/>
                    <a:pt x="8539" y="2156"/>
                    <a:pt x="8627" y="2156"/>
                  </a:cubicBezTo>
                  <a:cubicBezTo>
                    <a:pt x="8660" y="2156"/>
                    <a:pt x="8694" y="2152"/>
                    <a:pt x="8728" y="2143"/>
                  </a:cubicBezTo>
                  <a:lnTo>
                    <a:pt x="9389" y="1891"/>
                  </a:lnTo>
                  <a:lnTo>
                    <a:pt x="10051" y="2553"/>
                  </a:lnTo>
                  <a:lnTo>
                    <a:pt x="9799" y="3214"/>
                  </a:lnTo>
                  <a:cubicBezTo>
                    <a:pt x="9767" y="3340"/>
                    <a:pt x="9767" y="3435"/>
                    <a:pt x="9862" y="3561"/>
                  </a:cubicBezTo>
                  <a:cubicBezTo>
                    <a:pt x="10114" y="3970"/>
                    <a:pt x="10334" y="4412"/>
                    <a:pt x="10397" y="4916"/>
                  </a:cubicBezTo>
                  <a:cubicBezTo>
                    <a:pt x="10460" y="5042"/>
                    <a:pt x="10492" y="5136"/>
                    <a:pt x="10586" y="5168"/>
                  </a:cubicBezTo>
                  <a:lnTo>
                    <a:pt x="11279" y="5483"/>
                  </a:lnTo>
                  <a:lnTo>
                    <a:pt x="11279" y="6459"/>
                  </a:lnTo>
                  <a:lnTo>
                    <a:pt x="10586" y="6774"/>
                  </a:lnTo>
                  <a:cubicBezTo>
                    <a:pt x="10523" y="6806"/>
                    <a:pt x="10460" y="6900"/>
                    <a:pt x="10397" y="7026"/>
                  </a:cubicBezTo>
                  <a:cubicBezTo>
                    <a:pt x="10271" y="7499"/>
                    <a:pt x="10082" y="7972"/>
                    <a:pt x="9862" y="8381"/>
                  </a:cubicBezTo>
                  <a:cubicBezTo>
                    <a:pt x="9799" y="8476"/>
                    <a:pt x="9767" y="8602"/>
                    <a:pt x="9799" y="8696"/>
                  </a:cubicBezTo>
                  <a:lnTo>
                    <a:pt x="10051" y="9389"/>
                  </a:lnTo>
                  <a:lnTo>
                    <a:pt x="9389" y="10051"/>
                  </a:lnTo>
                  <a:lnTo>
                    <a:pt x="8728" y="9799"/>
                  </a:lnTo>
                  <a:cubicBezTo>
                    <a:pt x="8681" y="9787"/>
                    <a:pt x="8640" y="9780"/>
                    <a:pt x="8600" y="9780"/>
                  </a:cubicBezTo>
                  <a:cubicBezTo>
                    <a:pt x="8532" y="9780"/>
                    <a:pt x="8472" y="9802"/>
                    <a:pt x="8413" y="9862"/>
                  </a:cubicBezTo>
                  <a:cubicBezTo>
                    <a:pt x="7971" y="10114"/>
                    <a:pt x="7530" y="10303"/>
                    <a:pt x="7026" y="10397"/>
                  </a:cubicBezTo>
                  <a:cubicBezTo>
                    <a:pt x="6900" y="10429"/>
                    <a:pt x="6837" y="10492"/>
                    <a:pt x="6774" y="10586"/>
                  </a:cubicBezTo>
                  <a:lnTo>
                    <a:pt x="6459" y="11280"/>
                  </a:lnTo>
                  <a:lnTo>
                    <a:pt x="5483" y="11280"/>
                  </a:lnTo>
                  <a:lnTo>
                    <a:pt x="5168" y="10586"/>
                  </a:lnTo>
                  <a:cubicBezTo>
                    <a:pt x="5136" y="10523"/>
                    <a:pt x="5042" y="10429"/>
                    <a:pt x="4915" y="10397"/>
                  </a:cubicBezTo>
                  <a:cubicBezTo>
                    <a:pt x="4443" y="10271"/>
                    <a:pt x="3970" y="10082"/>
                    <a:pt x="3561" y="9862"/>
                  </a:cubicBezTo>
                  <a:cubicBezTo>
                    <a:pt x="3492" y="9816"/>
                    <a:pt x="3406" y="9786"/>
                    <a:pt x="3327" y="9786"/>
                  </a:cubicBezTo>
                  <a:cubicBezTo>
                    <a:pt x="3299" y="9786"/>
                    <a:pt x="3271" y="9790"/>
                    <a:pt x="3246" y="9799"/>
                  </a:cubicBezTo>
                  <a:lnTo>
                    <a:pt x="2553" y="10051"/>
                  </a:lnTo>
                  <a:lnTo>
                    <a:pt x="1891" y="9389"/>
                  </a:lnTo>
                  <a:lnTo>
                    <a:pt x="2143" y="8696"/>
                  </a:lnTo>
                  <a:cubicBezTo>
                    <a:pt x="2175" y="8602"/>
                    <a:pt x="2175" y="8507"/>
                    <a:pt x="2080" y="8381"/>
                  </a:cubicBezTo>
                  <a:cubicBezTo>
                    <a:pt x="1828" y="7972"/>
                    <a:pt x="1607" y="7531"/>
                    <a:pt x="1544" y="7026"/>
                  </a:cubicBezTo>
                  <a:cubicBezTo>
                    <a:pt x="1513" y="6900"/>
                    <a:pt x="1450" y="6806"/>
                    <a:pt x="1355" y="6774"/>
                  </a:cubicBezTo>
                  <a:lnTo>
                    <a:pt x="662" y="6459"/>
                  </a:lnTo>
                  <a:lnTo>
                    <a:pt x="662" y="5483"/>
                  </a:lnTo>
                  <a:lnTo>
                    <a:pt x="1355" y="5168"/>
                  </a:lnTo>
                  <a:cubicBezTo>
                    <a:pt x="1418" y="5136"/>
                    <a:pt x="1513" y="5042"/>
                    <a:pt x="1544" y="4916"/>
                  </a:cubicBezTo>
                  <a:cubicBezTo>
                    <a:pt x="1670" y="4443"/>
                    <a:pt x="1860" y="3970"/>
                    <a:pt x="2080" y="3561"/>
                  </a:cubicBezTo>
                  <a:cubicBezTo>
                    <a:pt x="2143" y="3466"/>
                    <a:pt x="2175" y="3340"/>
                    <a:pt x="2143" y="3214"/>
                  </a:cubicBezTo>
                  <a:lnTo>
                    <a:pt x="1891" y="2553"/>
                  </a:lnTo>
                  <a:lnTo>
                    <a:pt x="2553" y="1891"/>
                  </a:lnTo>
                  <a:lnTo>
                    <a:pt x="3246" y="2143"/>
                  </a:lnTo>
                  <a:cubicBezTo>
                    <a:pt x="3280" y="2155"/>
                    <a:pt x="3315" y="2162"/>
                    <a:pt x="3351" y="2162"/>
                  </a:cubicBezTo>
                  <a:cubicBezTo>
                    <a:pt x="3414" y="2162"/>
                    <a:pt x="3481" y="2140"/>
                    <a:pt x="3561" y="2080"/>
                  </a:cubicBezTo>
                  <a:cubicBezTo>
                    <a:pt x="3970" y="1828"/>
                    <a:pt x="4411" y="1608"/>
                    <a:pt x="4915" y="1545"/>
                  </a:cubicBezTo>
                  <a:cubicBezTo>
                    <a:pt x="5042" y="1513"/>
                    <a:pt x="5136" y="1450"/>
                    <a:pt x="5168" y="1356"/>
                  </a:cubicBezTo>
                  <a:lnTo>
                    <a:pt x="5483" y="662"/>
                  </a:lnTo>
                  <a:close/>
                  <a:moveTo>
                    <a:pt x="5294" y="1"/>
                  </a:moveTo>
                  <a:cubicBezTo>
                    <a:pt x="5168" y="1"/>
                    <a:pt x="5010" y="64"/>
                    <a:pt x="4978" y="190"/>
                  </a:cubicBezTo>
                  <a:lnTo>
                    <a:pt x="4632" y="915"/>
                  </a:lnTo>
                  <a:cubicBezTo>
                    <a:pt x="4191" y="1041"/>
                    <a:pt x="3750" y="1198"/>
                    <a:pt x="3372" y="1419"/>
                  </a:cubicBezTo>
                  <a:lnTo>
                    <a:pt x="2616" y="1198"/>
                  </a:lnTo>
                  <a:cubicBezTo>
                    <a:pt x="2579" y="1180"/>
                    <a:pt x="2539" y="1172"/>
                    <a:pt x="2500" y="1172"/>
                  </a:cubicBezTo>
                  <a:cubicBezTo>
                    <a:pt x="2405" y="1172"/>
                    <a:pt x="2314" y="1217"/>
                    <a:pt x="2269" y="1261"/>
                  </a:cubicBezTo>
                  <a:lnTo>
                    <a:pt x="1261" y="2238"/>
                  </a:lnTo>
                  <a:cubicBezTo>
                    <a:pt x="1198" y="2332"/>
                    <a:pt x="1166" y="2490"/>
                    <a:pt x="1198" y="2616"/>
                  </a:cubicBezTo>
                  <a:lnTo>
                    <a:pt x="1418" y="3340"/>
                  </a:lnTo>
                  <a:cubicBezTo>
                    <a:pt x="1198" y="3750"/>
                    <a:pt x="1040" y="4191"/>
                    <a:pt x="914" y="4601"/>
                  </a:cubicBezTo>
                  <a:lnTo>
                    <a:pt x="221" y="4979"/>
                  </a:lnTo>
                  <a:cubicBezTo>
                    <a:pt x="95" y="5010"/>
                    <a:pt x="1" y="5168"/>
                    <a:pt x="1" y="5294"/>
                  </a:cubicBezTo>
                  <a:lnTo>
                    <a:pt x="1" y="6711"/>
                  </a:lnTo>
                  <a:cubicBezTo>
                    <a:pt x="1" y="6806"/>
                    <a:pt x="95" y="6963"/>
                    <a:pt x="221" y="7026"/>
                  </a:cubicBezTo>
                  <a:lnTo>
                    <a:pt x="914" y="7373"/>
                  </a:lnTo>
                  <a:cubicBezTo>
                    <a:pt x="1040" y="7814"/>
                    <a:pt x="1198" y="8224"/>
                    <a:pt x="1418" y="8633"/>
                  </a:cubicBezTo>
                  <a:lnTo>
                    <a:pt x="1198" y="9389"/>
                  </a:lnTo>
                  <a:cubicBezTo>
                    <a:pt x="1166" y="9484"/>
                    <a:pt x="1198" y="9641"/>
                    <a:pt x="1261" y="9736"/>
                  </a:cubicBezTo>
                  <a:lnTo>
                    <a:pt x="2269" y="10712"/>
                  </a:lnTo>
                  <a:cubicBezTo>
                    <a:pt x="2316" y="10783"/>
                    <a:pt x="2417" y="10819"/>
                    <a:pt x="2517" y="10819"/>
                  </a:cubicBezTo>
                  <a:cubicBezTo>
                    <a:pt x="2551" y="10819"/>
                    <a:pt x="2584" y="10815"/>
                    <a:pt x="2616" y="10807"/>
                  </a:cubicBezTo>
                  <a:lnTo>
                    <a:pt x="3372" y="10555"/>
                  </a:lnTo>
                  <a:cubicBezTo>
                    <a:pt x="3750" y="10807"/>
                    <a:pt x="4191" y="10965"/>
                    <a:pt x="4632" y="11059"/>
                  </a:cubicBezTo>
                  <a:lnTo>
                    <a:pt x="4978" y="11784"/>
                  </a:lnTo>
                  <a:cubicBezTo>
                    <a:pt x="5010" y="11910"/>
                    <a:pt x="5168" y="11973"/>
                    <a:pt x="5294" y="11973"/>
                  </a:cubicBezTo>
                  <a:lnTo>
                    <a:pt x="6711" y="11973"/>
                  </a:lnTo>
                  <a:cubicBezTo>
                    <a:pt x="6837" y="11973"/>
                    <a:pt x="6995" y="11910"/>
                    <a:pt x="7026" y="11784"/>
                  </a:cubicBezTo>
                  <a:lnTo>
                    <a:pt x="7373" y="11059"/>
                  </a:lnTo>
                  <a:cubicBezTo>
                    <a:pt x="7814" y="10965"/>
                    <a:pt x="8255" y="10807"/>
                    <a:pt x="8633" y="10555"/>
                  </a:cubicBezTo>
                  <a:lnTo>
                    <a:pt x="9389" y="10807"/>
                  </a:lnTo>
                  <a:cubicBezTo>
                    <a:pt x="9421" y="10815"/>
                    <a:pt x="9454" y="10819"/>
                    <a:pt x="9488" y="10819"/>
                  </a:cubicBezTo>
                  <a:cubicBezTo>
                    <a:pt x="9588" y="10819"/>
                    <a:pt x="9688" y="10783"/>
                    <a:pt x="9736" y="10712"/>
                  </a:cubicBezTo>
                  <a:lnTo>
                    <a:pt x="10712" y="9736"/>
                  </a:lnTo>
                  <a:cubicBezTo>
                    <a:pt x="10807" y="9641"/>
                    <a:pt x="10838" y="9484"/>
                    <a:pt x="10807" y="9389"/>
                  </a:cubicBezTo>
                  <a:lnTo>
                    <a:pt x="10555" y="8633"/>
                  </a:lnTo>
                  <a:cubicBezTo>
                    <a:pt x="10807" y="8224"/>
                    <a:pt x="10964" y="7814"/>
                    <a:pt x="11059" y="7373"/>
                  </a:cubicBezTo>
                  <a:lnTo>
                    <a:pt x="11784" y="7026"/>
                  </a:lnTo>
                  <a:cubicBezTo>
                    <a:pt x="11910" y="6963"/>
                    <a:pt x="11973" y="6806"/>
                    <a:pt x="11973" y="6711"/>
                  </a:cubicBezTo>
                  <a:lnTo>
                    <a:pt x="11973" y="5294"/>
                  </a:lnTo>
                  <a:cubicBezTo>
                    <a:pt x="11973" y="5168"/>
                    <a:pt x="11910" y="5042"/>
                    <a:pt x="11784" y="4979"/>
                  </a:cubicBezTo>
                  <a:lnTo>
                    <a:pt x="11059" y="4601"/>
                  </a:lnTo>
                  <a:cubicBezTo>
                    <a:pt x="10964" y="4191"/>
                    <a:pt x="10807" y="3750"/>
                    <a:pt x="10555" y="3340"/>
                  </a:cubicBezTo>
                  <a:lnTo>
                    <a:pt x="10807" y="2616"/>
                  </a:lnTo>
                  <a:cubicBezTo>
                    <a:pt x="10838" y="2490"/>
                    <a:pt x="10807" y="2332"/>
                    <a:pt x="10712" y="2238"/>
                  </a:cubicBezTo>
                  <a:lnTo>
                    <a:pt x="9736" y="1261"/>
                  </a:lnTo>
                  <a:cubicBezTo>
                    <a:pt x="9691" y="1217"/>
                    <a:pt x="9584" y="1172"/>
                    <a:pt x="9491" y="1172"/>
                  </a:cubicBezTo>
                  <a:cubicBezTo>
                    <a:pt x="9453" y="1172"/>
                    <a:pt x="9417" y="1180"/>
                    <a:pt x="9389" y="1198"/>
                  </a:cubicBezTo>
                  <a:lnTo>
                    <a:pt x="8633" y="1419"/>
                  </a:lnTo>
                  <a:cubicBezTo>
                    <a:pt x="8255" y="1198"/>
                    <a:pt x="7814" y="1041"/>
                    <a:pt x="7373" y="915"/>
                  </a:cubicBezTo>
                  <a:lnTo>
                    <a:pt x="7026" y="190"/>
                  </a:lnTo>
                  <a:cubicBezTo>
                    <a:pt x="6995" y="64"/>
                    <a:pt x="6837"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79"/>
            <p:cNvSpPr/>
            <p:nvPr/>
          </p:nvSpPr>
          <p:spPr>
            <a:xfrm>
              <a:off x="-48579600" y="2764950"/>
              <a:ext cx="192975" cy="191400"/>
            </a:xfrm>
            <a:custGeom>
              <a:avLst/>
              <a:gdLst/>
              <a:ahLst/>
              <a:cxnLst/>
              <a:rect l="l" t="t" r="r" b="b"/>
              <a:pathLst>
                <a:path w="7719" h="7656" extrusionOk="0">
                  <a:moveTo>
                    <a:pt x="3844" y="3214"/>
                  </a:moveTo>
                  <a:lnTo>
                    <a:pt x="4442" y="4411"/>
                  </a:lnTo>
                  <a:cubicBezTo>
                    <a:pt x="4237" y="4490"/>
                    <a:pt x="4033" y="4529"/>
                    <a:pt x="3832" y="4529"/>
                  </a:cubicBezTo>
                  <a:cubicBezTo>
                    <a:pt x="3631" y="4529"/>
                    <a:pt x="3434" y="4490"/>
                    <a:pt x="3245" y="4411"/>
                  </a:cubicBezTo>
                  <a:lnTo>
                    <a:pt x="3844" y="3214"/>
                  </a:lnTo>
                  <a:close/>
                  <a:moveTo>
                    <a:pt x="3781" y="693"/>
                  </a:moveTo>
                  <a:cubicBezTo>
                    <a:pt x="5513" y="693"/>
                    <a:pt x="6931" y="2111"/>
                    <a:pt x="6931" y="3844"/>
                  </a:cubicBezTo>
                  <a:cubicBezTo>
                    <a:pt x="6994" y="5104"/>
                    <a:pt x="6301" y="6175"/>
                    <a:pt x="5230" y="6679"/>
                  </a:cubicBezTo>
                  <a:lnTo>
                    <a:pt x="5230" y="4568"/>
                  </a:lnTo>
                  <a:cubicBezTo>
                    <a:pt x="5230" y="4411"/>
                    <a:pt x="5230" y="4442"/>
                    <a:pt x="4127" y="2300"/>
                  </a:cubicBezTo>
                  <a:cubicBezTo>
                    <a:pt x="4033" y="2206"/>
                    <a:pt x="3938" y="2111"/>
                    <a:pt x="3812" y="2111"/>
                  </a:cubicBezTo>
                  <a:cubicBezTo>
                    <a:pt x="3686" y="2111"/>
                    <a:pt x="3560" y="2206"/>
                    <a:pt x="3497" y="2300"/>
                  </a:cubicBezTo>
                  <a:cubicBezTo>
                    <a:pt x="2363" y="4600"/>
                    <a:pt x="2394" y="4442"/>
                    <a:pt x="2394" y="4568"/>
                  </a:cubicBezTo>
                  <a:lnTo>
                    <a:pt x="2394" y="6679"/>
                  </a:lnTo>
                  <a:cubicBezTo>
                    <a:pt x="1355" y="6175"/>
                    <a:pt x="630" y="5104"/>
                    <a:pt x="630" y="3844"/>
                  </a:cubicBezTo>
                  <a:cubicBezTo>
                    <a:pt x="630" y="2111"/>
                    <a:pt x="2048" y="693"/>
                    <a:pt x="3781" y="693"/>
                  </a:cubicBezTo>
                  <a:close/>
                  <a:moveTo>
                    <a:pt x="4568" y="5104"/>
                  </a:moveTo>
                  <a:lnTo>
                    <a:pt x="4568" y="6931"/>
                  </a:lnTo>
                  <a:cubicBezTo>
                    <a:pt x="4316" y="6963"/>
                    <a:pt x="4096" y="6994"/>
                    <a:pt x="3844" y="6994"/>
                  </a:cubicBezTo>
                  <a:cubicBezTo>
                    <a:pt x="3623" y="6994"/>
                    <a:pt x="3371" y="6994"/>
                    <a:pt x="3151" y="6931"/>
                  </a:cubicBezTo>
                  <a:lnTo>
                    <a:pt x="3151" y="5104"/>
                  </a:lnTo>
                  <a:cubicBezTo>
                    <a:pt x="3371" y="5198"/>
                    <a:pt x="3623" y="5230"/>
                    <a:pt x="3844" y="5230"/>
                  </a:cubicBezTo>
                  <a:cubicBezTo>
                    <a:pt x="4096" y="5230"/>
                    <a:pt x="4316" y="5198"/>
                    <a:pt x="4568" y="5104"/>
                  </a:cubicBezTo>
                  <a:close/>
                  <a:moveTo>
                    <a:pt x="3844" y="0"/>
                  </a:moveTo>
                  <a:cubicBezTo>
                    <a:pt x="1733" y="0"/>
                    <a:pt x="0" y="1733"/>
                    <a:pt x="0" y="3844"/>
                  </a:cubicBezTo>
                  <a:cubicBezTo>
                    <a:pt x="0" y="5577"/>
                    <a:pt x="1134" y="7026"/>
                    <a:pt x="2678" y="7498"/>
                  </a:cubicBezTo>
                  <a:lnTo>
                    <a:pt x="2709" y="7498"/>
                  </a:lnTo>
                  <a:cubicBezTo>
                    <a:pt x="3056" y="7624"/>
                    <a:pt x="3466" y="7656"/>
                    <a:pt x="3844" y="7656"/>
                  </a:cubicBezTo>
                  <a:cubicBezTo>
                    <a:pt x="4253" y="7656"/>
                    <a:pt x="4631" y="7593"/>
                    <a:pt x="4978" y="7498"/>
                  </a:cubicBezTo>
                  <a:lnTo>
                    <a:pt x="5041" y="7498"/>
                  </a:lnTo>
                  <a:cubicBezTo>
                    <a:pt x="6616" y="6994"/>
                    <a:pt x="7719" y="5545"/>
                    <a:pt x="7719" y="3844"/>
                  </a:cubicBezTo>
                  <a:cubicBezTo>
                    <a:pt x="7719" y="1733"/>
                    <a:pt x="5986" y="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7" name="Google Shape;10327;p79"/>
          <p:cNvGrpSpPr/>
          <p:nvPr/>
        </p:nvGrpSpPr>
        <p:grpSpPr>
          <a:xfrm>
            <a:off x="1757928" y="2917929"/>
            <a:ext cx="314006" cy="358229"/>
            <a:chOff x="-46753100" y="1965500"/>
            <a:chExt cx="263075" cy="300125"/>
          </a:xfrm>
        </p:grpSpPr>
        <p:sp>
          <p:nvSpPr>
            <p:cNvPr id="10328" name="Google Shape;10328;p79"/>
            <p:cNvSpPr/>
            <p:nvPr/>
          </p:nvSpPr>
          <p:spPr>
            <a:xfrm>
              <a:off x="-46647575" y="2034825"/>
              <a:ext cx="53575" cy="53575"/>
            </a:xfrm>
            <a:custGeom>
              <a:avLst/>
              <a:gdLst/>
              <a:ahLst/>
              <a:cxnLst/>
              <a:rect l="l" t="t" r="r" b="b"/>
              <a:pathLst>
                <a:path w="2143" h="2143" extrusionOk="0">
                  <a:moveTo>
                    <a:pt x="1072" y="756"/>
                  </a:moveTo>
                  <a:cubicBezTo>
                    <a:pt x="1261" y="756"/>
                    <a:pt x="1418" y="914"/>
                    <a:pt x="1418" y="1103"/>
                  </a:cubicBezTo>
                  <a:cubicBezTo>
                    <a:pt x="1418" y="1323"/>
                    <a:pt x="1261" y="1481"/>
                    <a:pt x="1072" y="1481"/>
                  </a:cubicBezTo>
                  <a:cubicBezTo>
                    <a:pt x="883" y="1481"/>
                    <a:pt x="725" y="1323"/>
                    <a:pt x="725" y="1103"/>
                  </a:cubicBezTo>
                  <a:cubicBezTo>
                    <a:pt x="725" y="914"/>
                    <a:pt x="883" y="756"/>
                    <a:pt x="1072" y="756"/>
                  </a:cubicBezTo>
                  <a:close/>
                  <a:moveTo>
                    <a:pt x="1072" y="0"/>
                  </a:moveTo>
                  <a:cubicBezTo>
                    <a:pt x="473" y="0"/>
                    <a:pt x="1" y="473"/>
                    <a:pt x="1" y="1071"/>
                  </a:cubicBezTo>
                  <a:cubicBezTo>
                    <a:pt x="1" y="1670"/>
                    <a:pt x="473" y="2143"/>
                    <a:pt x="1072" y="2143"/>
                  </a:cubicBezTo>
                  <a:cubicBezTo>
                    <a:pt x="1670" y="2143"/>
                    <a:pt x="2143" y="1670"/>
                    <a:pt x="2143" y="1071"/>
                  </a:cubicBezTo>
                  <a:cubicBezTo>
                    <a:pt x="2143" y="473"/>
                    <a:pt x="1670"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79"/>
            <p:cNvSpPr/>
            <p:nvPr/>
          </p:nvSpPr>
          <p:spPr>
            <a:xfrm>
              <a:off x="-46753100" y="1965500"/>
              <a:ext cx="263075" cy="300125"/>
            </a:xfrm>
            <a:custGeom>
              <a:avLst/>
              <a:gdLst/>
              <a:ahLst/>
              <a:cxnLst/>
              <a:rect l="l" t="t" r="r" b="b"/>
              <a:pathLst>
                <a:path w="10523" h="12005" extrusionOk="0">
                  <a:moveTo>
                    <a:pt x="5293" y="694"/>
                  </a:moveTo>
                  <a:cubicBezTo>
                    <a:pt x="5765" y="694"/>
                    <a:pt x="6175" y="977"/>
                    <a:pt x="6270" y="1419"/>
                  </a:cubicBezTo>
                  <a:lnTo>
                    <a:pt x="4316" y="1419"/>
                  </a:lnTo>
                  <a:cubicBezTo>
                    <a:pt x="4442" y="977"/>
                    <a:pt x="4820" y="694"/>
                    <a:pt x="5293" y="694"/>
                  </a:cubicBezTo>
                  <a:close/>
                  <a:moveTo>
                    <a:pt x="3875" y="5766"/>
                  </a:moveTo>
                  <a:lnTo>
                    <a:pt x="5135" y="7026"/>
                  </a:lnTo>
                  <a:lnTo>
                    <a:pt x="2615" y="7026"/>
                  </a:lnTo>
                  <a:lnTo>
                    <a:pt x="3875" y="5766"/>
                  </a:lnTo>
                  <a:close/>
                  <a:moveTo>
                    <a:pt x="6679" y="5766"/>
                  </a:moveTo>
                  <a:lnTo>
                    <a:pt x="7939" y="7026"/>
                  </a:lnTo>
                  <a:lnTo>
                    <a:pt x="6144" y="7026"/>
                  </a:lnTo>
                  <a:lnTo>
                    <a:pt x="5797" y="6711"/>
                  </a:lnTo>
                  <a:lnTo>
                    <a:pt x="6679" y="5766"/>
                  </a:lnTo>
                  <a:close/>
                  <a:moveTo>
                    <a:pt x="8758" y="2112"/>
                  </a:moveTo>
                  <a:cubicBezTo>
                    <a:pt x="8947" y="2112"/>
                    <a:pt x="9105" y="2269"/>
                    <a:pt x="9105" y="2458"/>
                  </a:cubicBezTo>
                  <a:lnTo>
                    <a:pt x="9105" y="7089"/>
                  </a:lnTo>
                  <a:lnTo>
                    <a:pt x="8916" y="7089"/>
                  </a:lnTo>
                  <a:lnTo>
                    <a:pt x="6900" y="5073"/>
                  </a:lnTo>
                  <a:cubicBezTo>
                    <a:pt x="6825" y="4999"/>
                    <a:pt x="6744" y="4966"/>
                    <a:pt x="6662" y="4966"/>
                  </a:cubicBezTo>
                  <a:cubicBezTo>
                    <a:pt x="6571" y="4966"/>
                    <a:pt x="6479" y="5007"/>
                    <a:pt x="6396" y="5073"/>
                  </a:cubicBezTo>
                  <a:lnTo>
                    <a:pt x="5293" y="6239"/>
                  </a:lnTo>
                  <a:lnTo>
                    <a:pt x="4127" y="5073"/>
                  </a:lnTo>
                  <a:cubicBezTo>
                    <a:pt x="4064" y="5010"/>
                    <a:pt x="3970" y="4979"/>
                    <a:pt x="3871" y="4979"/>
                  </a:cubicBezTo>
                  <a:cubicBezTo>
                    <a:pt x="3773" y="4979"/>
                    <a:pt x="3670" y="5010"/>
                    <a:pt x="3592" y="5073"/>
                  </a:cubicBezTo>
                  <a:lnTo>
                    <a:pt x="1607" y="7089"/>
                  </a:lnTo>
                  <a:lnTo>
                    <a:pt x="1386" y="7089"/>
                  </a:lnTo>
                  <a:lnTo>
                    <a:pt x="1386" y="2458"/>
                  </a:lnTo>
                  <a:cubicBezTo>
                    <a:pt x="1449" y="2269"/>
                    <a:pt x="1607" y="2112"/>
                    <a:pt x="1764" y="2112"/>
                  </a:cubicBezTo>
                  <a:close/>
                  <a:moveTo>
                    <a:pt x="9168" y="7751"/>
                  </a:moveTo>
                  <a:lnTo>
                    <a:pt x="9168" y="8444"/>
                  </a:lnTo>
                  <a:lnTo>
                    <a:pt x="1449" y="8444"/>
                  </a:lnTo>
                  <a:lnTo>
                    <a:pt x="1449" y="7751"/>
                  </a:lnTo>
                  <a:close/>
                  <a:moveTo>
                    <a:pt x="7782" y="9137"/>
                  </a:moveTo>
                  <a:lnTo>
                    <a:pt x="7971" y="9830"/>
                  </a:lnTo>
                  <a:lnTo>
                    <a:pt x="2552" y="9830"/>
                  </a:lnTo>
                  <a:lnTo>
                    <a:pt x="2709" y="9137"/>
                  </a:lnTo>
                  <a:close/>
                  <a:moveTo>
                    <a:pt x="5261" y="1"/>
                  </a:moveTo>
                  <a:cubicBezTo>
                    <a:pt x="4411" y="1"/>
                    <a:pt x="3686" y="568"/>
                    <a:pt x="3529" y="1419"/>
                  </a:cubicBezTo>
                  <a:lnTo>
                    <a:pt x="1764" y="1419"/>
                  </a:lnTo>
                  <a:cubicBezTo>
                    <a:pt x="1166" y="1419"/>
                    <a:pt x="693" y="1891"/>
                    <a:pt x="693" y="2458"/>
                  </a:cubicBezTo>
                  <a:lnTo>
                    <a:pt x="693" y="8444"/>
                  </a:lnTo>
                  <a:lnTo>
                    <a:pt x="347" y="8444"/>
                  </a:lnTo>
                  <a:cubicBezTo>
                    <a:pt x="158" y="8444"/>
                    <a:pt x="0" y="8602"/>
                    <a:pt x="0" y="8822"/>
                  </a:cubicBezTo>
                  <a:cubicBezTo>
                    <a:pt x="0" y="9011"/>
                    <a:pt x="158" y="9169"/>
                    <a:pt x="347" y="9169"/>
                  </a:cubicBezTo>
                  <a:lnTo>
                    <a:pt x="1985" y="9169"/>
                  </a:lnTo>
                  <a:cubicBezTo>
                    <a:pt x="1922" y="9484"/>
                    <a:pt x="1481" y="11217"/>
                    <a:pt x="1418" y="11563"/>
                  </a:cubicBezTo>
                  <a:cubicBezTo>
                    <a:pt x="1355" y="11752"/>
                    <a:pt x="1481" y="11973"/>
                    <a:pt x="1670" y="12004"/>
                  </a:cubicBezTo>
                  <a:lnTo>
                    <a:pt x="1764" y="12004"/>
                  </a:lnTo>
                  <a:cubicBezTo>
                    <a:pt x="1922" y="12004"/>
                    <a:pt x="2079" y="11878"/>
                    <a:pt x="2111" y="11721"/>
                  </a:cubicBezTo>
                  <a:lnTo>
                    <a:pt x="2394" y="10586"/>
                  </a:lnTo>
                  <a:lnTo>
                    <a:pt x="8128" y="10586"/>
                  </a:lnTo>
                  <a:lnTo>
                    <a:pt x="8412" y="11721"/>
                  </a:lnTo>
                  <a:cubicBezTo>
                    <a:pt x="8443" y="11878"/>
                    <a:pt x="8601" y="12004"/>
                    <a:pt x="8758" y="12004"/>
                  </a:cubicBezTo>
                  <a:lnTo>
                    <a:pt x="8853" y="12004"/>
                  </a:lnTo>
                  <a:cubicBezTo>
                    <a:pt x="9042" y="11973"/>
                    <a:pt x="9168" y="11752"/>
                    <a:pt x="9105" y="11563"/>
                  </a:cubicBezTo>
                  <a:cubicBezTo>
                    <a:pt x="9042" y="11217"/>
                    <a:pt x="8601" y="9484"/>
                    <a:pt x="8538" y="9169"/>
                  </a:cubicBezTo>
                  <a:lnTo>
                    <a:pt x="10176" y="9169"/>
                  </a:lnTo>
                  <a:cubicBezTo>
                    <a:pt x="10365" y="9169"/>
                    <a:pt x="10523" y="9011"/>
                    <a:pt x="10523" y="8822"/>
                  </a:cubicBezTo>
                  <a:cubicBezTo>
                    <a:pt x="10523" y="8602"/>
                    <a:pt x="10365" y="8444"/>
                    <a:pt x="10176" y="8444"/>
                  </a:cubicBezTo>
                  <a:lnTo>
                    <a:pt x="9830" y="8444"/>
                  </a:lnTo>
                  <a:lnTo>
                    <a:pt x="9830" y="2458"/>
                  </a:lnTo>
                  <a:cubicBezTo>
                    <a:pt x="9830" y="1891"/>
                    <a:pt x="9357" y="1419"/>
                    <a:pt x="8758" y="1419"/>
                  </a:cubicBezTo>
                  <a:lnTo>
                    <a:pt x="6994" y="1419"/>
                  </a:lnTo>
                  <a:cubicBezTo>
                    <a:pt x="6837" y="631"/>
                    <a:pt x="6144" y="1"/>
                    <a:pt x="5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0" name="Google Shape;10330;p79"/>
          <p:cNvGrpSpPr/>
          <p:nvPr/>
        </p:nvGrpSpPr>
        <p:grpSpPr>
          <a:xfrm>
            <a:off x="1735354" y="3385142"/>
            <a:ext cx="359154" cy="315916"/>
            <a:chOff x="-46772025" y="2350650"/>
            <a:chExt cx="300900" cy="264675"/>
          </a:xfrm>
        </p:grpSpPr>
        <p:sp>
          <p:nvSpPr>
            <p:cNvPr id="10331" name="Google Shape;10331;p79"/>
            <p:cNvSpPr/>
            <p:nvPr/>
          </p:nvSpPr>
          <p:spPr>
            <a:xfrm>
              <a:off x="-46772025" y="2350650"/>
              <a:ext cx="300900" cy="264675"/>
            </a:xfrm>
            <a:custGeom>
              <a:avLst/>
              <a:gdLst/>
              <a:ahLst/>
              <a:cxnLst/>
              <a:rect l="l" t="t" r="r" b="b"/>
              <a:pathLst>
                <a:path w="12036" h="10587" extrusionOk="0">
                  <a:moveTo>
                    <a:pt x="6050" y="820"/>
                  </a:moveTo>
                  <a:cubicBezTo>
                    <a:pt x="7184" y="820"/>
                    <a:pt x="8287" y="1229"/>
                    <a:pt x="9169" y="1985"/>
                  </a:cubicBezTo>
                  <a:cubicBezTo>
                    <a:pt x="9326" y="2111"/>
                    <a:pt x="9326" y="2332"/>
                    <a:pt x="9169" y="2458"/>
                  </a:cubicBezTo>
                  <a:lnTo>
                    <a:pt x="9137" y="2490"/>
                  </a:lnTo>
                  <a:cubicBezTo>
                    <a:pt x="9064" y="2533"/>
                    <a:pt x="8978" y="2557"/>
                    <a:pt x="8896" y="2557"/>
                  </a:cubicBezTo>
                  <a:cubicBezTo>
                    <a:pt x="8802" y="2557"/>
                    <a:pt x="8715" y="2526"/>
                    <a:pt x="8665" y="2458"/>
                  </a:cubicBezTo>
                  <a:cubicBezTo>
                    <a:pt x="7940" y="1828"/>
                    <a:pt x="7027" y="1481"/>
                    <a:pt x="6050" y="1481"/>
                  </a:cubicBezTo>
                  <a:cubicBezTo>
                    <a:pt x="5073" y="1481"/>
                    <a:pt x="4160" y="1828"/>
                    <a:pt x="3466" y="2458"/>
                  </a:cubicBezTo>
                  <a:cubicBezTo>
                    <a:pt x="3378" y="2529"/>
                    <a:pt x="3270" y="2570"/>
                    <a:pt x="3175" y="2570"/>
                  </a:cubicBezTo>
                  <a:cubicBezTo>
                    <a:pt x="3101" y="2570"/>
                    <a:pt x="3035" y="2545"/>
                    <a:pt x="2994" y="2490"/>
                  </a:cubicBezTo>
                  <a:lnTo>
                    <a:pt x="2931" y="2458"/>
                  </a:lnTo>
                  <a:cubicBezTo>
                    <a:pt x="2836" y="2301"/>
                    <a:pt x="2836" y="2111"/>
                    <a:pt x="2931" y="1985"/>
                  </a:cubicBezTo>
                  <a:cubicBezTo>
                    <a:pt x="3782" y="1198"/>
                    <a:pt x="4884" y="820"/>
                    <a:pt x="6050" y="820"/>
                  </a:cubicBezTo>
                  <a:close/>
                  <a:moveTo>
                    <a:pt x="1450" y="7152"/>
                  </a:moveTo>
                  <a:lnTo>
                    <a:pt x="1450" y="9106"/>
                  </a:lnTo>
                  <a:cubicBezTo>
                    <a:pt x="1041" y="9011"/>
                    <a:pt x="726" y="8601"/>
                    <a:pt x="726" y="8129"/>
                  </a:cubicBezTo>
                  <a:cubicBezTo>
                    <a:pt x="726" y="7656"/>
                    <a:pt x="1009" y="7278"/>
                    <a:pt x="1450" y="7152"/>
                  </a:cubicBezTo>
                  <a:close/>
                  <a:moveTo>
                    <a:pt x="10618" y="7152"/>
                  </a:moveTo>
                  <a:cubicBezTo>
                    <a:pt x="11028" y="7310"/>
                    <a:pt x="11343" y="7688"/>
                    <a:pt x="11343" y="8129"/>
                  </a:cubicBezTo>
                  <a:cubicBezTo>
                    <a:pt x="11343" y="8601"/>
                    <a:pt x="11059" y="9011"/>
                    <a:pt x="10618" y="9106"/>
                  </a:cubicBezTo>
                  <a:lnTo>
                    <a:pt x="10618" y="7152"/>
                  </a:lnTo>
                  <a:close/>
                  <a:moveTo>
                    <a:pt x="2521" y="6396"/>
                  </a:moveTo>
                  <a:cubicBezTo>
                    <a:pt x="2710" y="6396"/>
                    <a:pt x="2868" y="6554"/>
                    <a:pt x="2868" y="6743"/>
                  </a:cubicBezTo>
                  <a:lnTo>
                    <a:pt x="2868" y="9547"/>
                  </a:lnTo>
                  <a:cubicBezTo>
                    <a:pt x="2868" y="9736"/>
                    <a:pt x="2710" y="9893"/>
                    <a:pt x="2521" y="9893"/>
                  </a:cubicBezTo>
                  <a:cubicBezTo>
                    <a:pt x="2301" y="9893"/>
                    <a:pt x="2175" y="9736"/>
                    <a:pt x="2175" y="9547"/>
                  </a:cubicBezTo>
                  <a:lnTo>
                    <a:pt x="2175" y="6743"/>
                  </a:lnTo>
                  <a:cubicBezTo>
                    <a:pt x="2175" y="6554"/>
                    <a:pt x="2301" y="6396"/>
                    <a:pt x="2521" y="6396"/>
                  </a:cubicBezTo>
                  <a:close/>
                  <a:moveTo>
                    <a:pt x="9547" y="6396"/>
                  </a:moveTo>
                  <a:cubicBezTo>
                    <a:pt x="9767" y="6396"/>
                    <a:pt x="9925" y="6554"/>
                    <a:pt x="9925" y="6743"/>
                  </a:cubicBezTo>
                  <a:lnTo>
                    <a:pt x="9925" y="9547"/>
                  </a:lnTo>
                  <a:cubicBezTo>
                    <a:pt x="9925" y="9736"/>
                    <a:pt x="9767" y="9893"/>
                    <a:pt x="9547" y="9893"/>
                  </a:cubicBezTo>
                  <a:cubicBezTo>
                    <a:pt x="9358" y="9893"/>
                    <a:pt x="9200" y="9736"/>
                    <a:pt x="9200" y="9547"/>
                  </a:cubicBezTo>
                  <a:lnTo>
                    <a:pt x="9200" y="6743"/>
                  </a:lnTo>
                  <a:cubicBezTo>
                    <a:pt x="9200" y="6554"/>
                    <a:pt x="9358" y="6396"/>
                    <a:pt x="9547" y="6396"/>
                  </a:cubicBezTo>
                  <a:close/>
                  <a:moveTo>
                    <a:pt x="6018" y="1"/>
                  </a:moveTo>
                  <a:cubicBezTo>
                    <a:pt x="4664" y="1"/>
                    <a:pt x="3403" y="473"/>
                    <a:pt x="2427" y="1387"/>
                  </a:cubicBezTo>
                  <a:cubicBezTo>
                    <a:pt x="2080" y="1733"/>
                    <a:pt x="1986" y="2269"/>
                    <a:pt x="2238" y="2679"/>
                  </a:cubicBezTo>
                  <a:cubicBezTo>
                    <a:pt x="1671" y="3435"/>
                    <a:pt x="1419" y="4348"/>
                    <a:pt x="1419" y="5293"/>
                  </a:cubicBezTo>
                  <a:lnTo>
                    <a:pt x="1419" y="6396"/>
                  </a:lnTo>
                  <a:cubicBezTo>
                    <a:pt x="631" y="6554"/>
                    <a:pt x="1" y="7247"/>
                    <a:pt x="1" y="8129"/>
                  </a:cubicBezTo>
                  <a:cubicBezTo>
                    <a:pt x="1" y="8980"/>
                    <a:pt x="631" y="9704"/>
                    <a:pt x="1450" y="9862"/>
                  </a:cubicBezTo>
                  <a:cubicBezTo>
                    <a:pt x="1576" y="10303"/>
                    <a:pt x="1986" y="10586"/>
                    <a:pt x="2427" y="10586"/>
                  </a:cubicBezTo>
                  <a:cubicBezTo>
                    <a:pt x="3025" y="10586"/>
                    <a:pt x="3498" y="10114"/>
                    <a:pt x="3498" y="9515"/>
                  </a:cubicBezTo>
                  <a:lnTo>
                    <a:pt x="3498" y="6711"/>
                  </a:lnTo>
                  <a:cubicBezTo>
                    <a:pt x="3498" y="6113"/>
                    <a:pt x="3025" y="5640"/>
                    <a:pt x="2427" y="5640"/>
                  </a:cubicBezTo>
                  <a:cubicBezTo>
                    <a:pt x="2301" y="5640"/>
                    <a:pt x="2206" y="5703"/>
                    <a:pt x="2080" y="5735"/>
                  </a:cubicBezTo>
                  <a:lnTo>
                    <a:pt x="2080" y="5325"/>
                  </a:lnTo>
                  <a:cubicBezTo>
                    <a:pt x="2080" y="4537"/>
                    <a:pt x="2301" y="3844"/>
                    <a:pt x="2710" y="3214"/>
                  </a:cubicBezTo>
                  <a:cubicBezTo>
                    <a:pt x="2827" y="3263"/>
                    <a:pt x="2948" y="3285"/>
                    <a:pt x="3067" y="3285"/>
                  </a:cubicBezTo>
                  <a:cubicBezTo>
                    <a:pt x="3333" y="3285"/>
                    <a:pt x="3596" y="3177"/>
                    <a:pt x="3813" y="3025"/>
                  </a:cubicBezTo>
                  <a:cubicBezTo>
                    <a:pt x="4412" y="2490"/>
                    <a:pt x="5136" y="2238"/>
                    <a:pt x="5924" y="2238"/>
                  </a:cubicBezTo>
                  <a:cubicBezTo>
                    <a:pt x="6711" y="2238"/>
                    <a:pt x="7499" y="2490"/>
                    <a:pt x="8066" y="3025"/>
                  </a:cubicBezTo>
                  <a:cubicBezTo>
                    <a:pt x="8276" y="3193"/>
                    <a:pt x="8542" y="3291"/>
                    <a:pt x="8799" y="3291"/>
                  </a:cubicBezTo>
                  <a:cubicBezTo>
                    <a:pt x="8927" y="3291"/>
                    <a:pt x="9053" y="3267"/>
                    <a:pt x="9169" y="3214"/>
                  </a:cubicBezTo>
                  <a:cubicBezTo>
                    <a:pt x="9610" y="3844"/>
                    <a:pt x="9799" y="4600"/>
                    <a:pt x="9799" y="5325"/>
                  </a:cubicBezTo>
                  <a:lnTo>
                    <a:pt x="9799" y="5735"/>
                  </a:lnTo>
                  <a:cubicBezTo>
                    <a:pt x="9673" y="5703"/>
                    <a:pt x="9547" y="5640"/>
                    <a:pt x="9452" y="5640"/>
                  </a:cubicBezTo>
                  <a:cubicBezTo>
                    <a:pt x="8854" y="5640"/>
                    <a:pt x="8381" y="6113"/>
                    <a:pt x="8381" y="6711"/>
                  </a:cubicBezTo>
                  <a:lnTo>
                    <a:pt x="8381" y="9515"/>
                  </a:lnTo>
                  <a:cubicBezTo>
                    <a:pt x="8381" y="10114"/>
                    <a:pt x="8854" y="10586"/>
                    <a:pt x="9452" y="10586"/>
                  </a:cubicBezTo>
                  <a:cubicBezTo>
                    <a:pt x="9925" y="10586"/>
                    <a:pt x="10303" y="10271"/>
                    <a:pt x="10429" y="9862"/>
                  </a:cubicBezTo>
                  <a:cubicBezTo>
                    <a:pt x="11406" y="9704"/>
                    <a:pt x="12036" y="9011"/>
                    <a:pt x="12036" y="8129"/>
                  </a:cubicBezTo>
                  <a:cubicBezTo>
                    <a:pt x="12036" y="7278"/>
                    <a:pt x="11437" y="6554"/>
                    <a:pt x="10618" y="6396"/>
                  </a:cubicBezTo>
                  <a:lnTo>
                    <a:pt x="10618" y="5293"/>
                  </a:lnTo>
                  <a:cubicBezTo>
                    <a:pt x="10618" y="4348"/>
                    <a:pt x="10335" y="3435"/>
                    <a:pt x="9799" y="2679"/>
                  </a:cubicBezTo>
                  <a:cubicBezTo>
                    <a:pt x="10020" y="2269"/>
                    <a:pt x="9957" y="1733"/>
                    <a:pt x="9610" y="1387"/>
                  </a:cubicBezTo>
                  <a:cubicBezTo>
                    <a:pt x="8602" y="473"/>
                    <a:pt x="7342" y="1"/>
                    <a:pt x="60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79"/>
            <p:cNvSpPr/>
            <p:nvPr/>
          </p:nvSpPr>
          <p:spPr>
            <a:xfrm>
              <a:off x="-46664900" y="2475100"/>
              <a:ext cx="92175" cy="122900"/>
            </a:xfrm>
            <a:custGeom>
              <a:avLst/>
              <a:gdLst/>
              <a:ahLst/>
              <a:cxnLst/>
              <a:rect l="l" t="t" r="r" b="b"/>
              <a:pathLst>
                <a:path w="3687" h="4916" extrusionOk="0">
                  <a:moveTo>
                    <a:pt x="1072" y="3497"/>
                  </a:moveTo>
                  <a:cubicBezTo>
                    <a:pt x="1261" y="3497"/>
                    <a:pt x="1418" y="3655"/>
                    <a:pt x="1418" y="3876"/>
                  </a:cubicBezTo>
                  <a:cubicBezTo>
                    <a:pt x="1418" y="4065"/>
                    <a:pt x="1261" y="4222"/>
                    <a:pt x="1072" y="4222"/>
                  </a:cubicBezTo>
                  <a:cubicBezTo>
                    <a:pt x="851" y="4222"/>
                    <a:pt x="694" y="4065"/>
                    <a:pt x="694" y="3876"/>
                  </a:cubicBezTo>
                  <a:cubicBezTo>
                    <a:pt x="694" y="3655"/>
                    <a:pt x="851" y="3497"/>
                    <a:pt x="1072" y="3497"/>
                  </a:cubicBezTo>
                  <a:close/>
                  <a:moveTo>
                    <a:pt x="1765" y="0"/>
                  </a:moveTo>
                  <a:cubicBezTo>
                    <a:pt x="1576" y="0"/>
                    <a:pt x="1418" y="158"/>
                    <a:pt x="1418" y="347"/>
                  </a:cubicBezTo>
                  <a:lnTo>
                    <a:pt x="1418" y="2867"/>
                  </a:lnTo>
                  <a:cubicBezTo>
                    <a:pt x="1292" y="2836"/>
                    <a:pt x="1166" y="2804"/>
                    <a:pt x="1072" y="2804"/>
                  </a:cubicBezTo>
                  <a:cubicBezTo>
                    <a:pt x="473" y="2804"/>
                    <a:pt x="1" y="3277"/>
                    <a:pt x="1" y="3876"/>
                  </a:cubicBezTo>
                  <a:cubicBezTo>
                    <a:pt x="1" y="4443"/>
                    <a:pt x="473" y="4915"/>
                    <a:pt x="1072" y="4915"/>
                  </a:cubicBezTo>
                  <a:cubicBezTo>
                    <a:pt x="1670" y="4915"/>
                    <a:pt x="2143" y="4443"/>
                    <a:pt x="2143" y="3876"/>
                  </a:cubicBezTo>
                  <a:lnTo>
                    <a:pt x="2143" y="1450"/>
                  </a:lnTo>
                  <a:cubicBezTo>
                    <a:pt x="2363" y="1544"/>
                    <a:pt x="2521" y="1702"/>
                    <a:pt x="2616" y="1828"/>
                  </a:cubicBezTo>
                  <a:cubicBezTo>
                    <a:pt x="2868" y="2143"/>
                    <a:pt x="2962" y="2615"/>
                    <a:pt x="2836" y="3088"/>
                  </a:cubicBezTo>
                  <a:cubicBezTo>
                    <a:pt x="2805" y="3308"/>
                    <a:pt x="2962" y="3497"/>
                    <a:pt x="3183" y="3497"/>
                  </a:cubicBezTo>
                  <a:cubicBezTo>
                    <a:pt x="3340" y="3497"/>
                    <a:pt x="3498" y="3403"/>
                    <a:pt x="3529" y="3245"/>
                  </a:cubicBezTo>
                  <a:cubicBezTo>
                    <a:pt x="3687" y="2552"/>
                    <a:pt x="3592" y="1859"/>
                    <a:pt x="3183" y="1355"/>
                  </a:cubicBezTo>
                  <a:cubicBezTo>
                    <a:pt x="2868" y="1040"/>
                    <a:pt x="2521" y="820"/>
                    <a:pt x="2111" y="757"/>
                  </a:cubicBezTo>
                  <a:lnTo>
                    <a:pt x="2111" y="347"/>
                  </a:lnTo>
                  <a:cubicBezTo>
                    <a:pt x="2111"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3" name="Google Shape;10333;p79"/>
          <p:cNvGrpSpPr/>
          <p:nvPr/>
        </p:nvGrpSpPr>
        <p:grpSpPr>
          <a:xfrm>
            <a:off x="1735354" y="3819420"/>
            <a:ext cx="359154" cy="359154"/>
            <a:chOff x="-46772025" y="2701925"/>
            <a:chExt cx="300900" cy="300900"/>
          </a:xfrm>
        </p:grpSpPr>
        <p:sp>
          <p:nvSpPr>
            <p:cNvPr id="10334" name="Google Shape;10334;p79"/>
            <p:cNvSpPr/>
            <p:nvPr/>
          </p:nvSpPr>
          <p:spPr>
            <a:xfrm>
              <a:off x="-46647575" y="2826375"/>
              <a:ext cx="53575" cy="53575"/>
            </a:xfrm>
            <a:custGeom>
              <a:avLst/>
              <a:gdLst/>
              <a:ahLst/>
              <a:cxnLst/>
              <a:rect l="l" t="t" r="r" b="b"/>
              <a:pathLst>
                <a:path w="2143" h="2143" extrusionOk="0">
                  <a:moveTo>
                    <a:pt x="1072" y="694"/>
                  </a:moveTo>
                  <a:cubicBezTo>
                    <a:pt x="1261" y="694"/>
                    <a:pt x="1418" y="851"/>
                    <a:pt x="1418" y="1040"/>
                  </a:cubicBezTo>
                  <a:cubicBezTo>
                    <a:pt x="1418" y="1229"/>
                    <a:pt x="1261" y="1387"/>
                    <a:pt x="1072" y="1387"/>
                  </a:cubicBezTo>
                  <a:cubicBezTo>
                    <a:pt x="883" y="1387"/>
                    <a:pt x="725" y="1229"/>
                    <a:pt x="725" y="1040"/>
                  </a:cubicBezTo>
                  <a:cubicBezTo>
                    <a:pt x="725" y="851"/>
                    <a:pt x="883" y="694"/>
                    <a:pt x="1072" y="694"/>
                  </a:cubicBezTo>
                  <a:close/>
                  <a:moveTo>
                    <a:pt x="1072" y="1"/>
                  </a:moveTo>
                  <a:cubicBezTo>
                    <a:pt x="473" y="1"/>
                    <a:pt x="1" y="473"/>
                    <a:pt x="1" y="1072"/>
                  </a:cubicBezTo>
                  <a:cubicBezTo>
                    <a:pt x="1" y="1670"/>
                    <a:pt x="473" y="2143"/>
                    <a:pt x="1072" y="2143"/>
                  </a:cubicBezTo>
                  <a:cubicBezTo>
                    <a:pt x="1670" y="2143"/>
                    <a:pt x="2143" y="1670"/>
                    <a:pt x="2143" y="1072"/>
                  </a:cubicBezTo>
                  <a:cubicBezTo>
                    <a:pt x="2112"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79"/>
            <p:cNvSpPr/>
            <p:nvPr/>
          </p:nvSpPr>
          <p:spPr>
            <a:xfrm>
              <a:off x="-46772025" y="2701925"/>
              <a:ext cx="300900" cy="300900"/>
            </a:xfrm>
            <a:custGeom>
              <a:avLst/>
              <a:gdLst/>
              <a:ahLst/>
              <a:cxnLst/>
              <a:rect l="l" t="t" r="r" b="b"/>
              <a:pathLst>
                <a:path w="12036" h="12036" extrusionOk="0">
                  <a:moveTo>
                    <a:pt x="6365" y="1482"/>
                  </a:moveTo>
                  <a:cubicBezTo>
                    <a:pt x="8602" y="1639"/>
                    <a:pt x="10429" y="3466"/>
                    <a:pt x="10587" y="5672"/>
                  </a:cubicBezTo>
                  <a:lnTo>
                    <a:pt x="9862" y="5672"/>
                  </a:lnTo>
                  <a:cubicBezTo>
                    <a:pt x="9704" y="3813"/>
                    <a:pt x="8224" y="2301"/>
                    <a:pt x="6365" y="2143"/>
                  </a:cubicBezTo>
                  <a:lnTo>
                    <a:pt x="6365" y="1482"/>
                  </a:lnTo>
                  <a:close/>
                  <a:moveTo>
                    <a:pt x="5703" y="1482"/>
                  </a:moveTo>
                  <a:lnTo>
                    <a:pt x="5703" y="2206"/>
                  </a:lnTo>
                  <a:cubicBezTo>
                    <a:pt x="3845" y="2364"/>
                    <a:pt x="2364" y="3844"/>
                    <a:pt x="2206" y="5703"/>
                  </a:cubicBezTo>
                  <a:lnTo>
                    <a:pt x="1482" y="5703"/>
                  </a:lnTo>
                  <a:cubicBezTo>
                    <a:pt x="1639" y="3466"/>
                    <a:pt x="3466" y="1639"/>
                    <a:pt x="5703" y="1482"/>
                  </a:cubicBezTo>
                  <a:close/>
                  <a:moveTo>
                    <a:pt x="6365" y="2868"/>
                  </a:moveTo>
                  <a:cubicBezTo>
                    <a:pt x="7814" y="3025"/>
                    <a:pt x="9011" y="4191"/>
                    <a:pt x="9169" y="5672"/>
                  </a:cubicBezTo>
                  <a:lnTo>
                    <a:pt x="8854" y="5672"/>
                  </a:lnTo>
                  <a:cubicBezTo>
                    <a:pt x="8665" y="5672"/>
                    <a:pt x="8507" y="5829"/>
                    <a:pt x="8507" y="6018"/>
                  </a:cubicBezTo>
                  <a:cubicBezTo>
                    <a:pt x="8507" y="6207"/>
                    <a:pt x="8665" y="6365"/>
                    <a:pt x="8854" y="6365"/>
                  </a:cubicBezTo>
                  <a:lnTo>
                    <a:pt x="9169" y="6365"/>
                  </a:lnTo>
                  <a:cubicBezTo>
                    <a:pt x="9011" y="7814"/>
                    <a:pt x="7846" y="9011"/>
                    <a:pt x="6365" y="9169"/>
                  </a:cubicBezTo>
                  <a:lnTo>
                    <a:pt x="6365" y="8854"/>
                  </a:lnTo>
                  <a:cubicBezTo>
                    <a:pt x="6365" y="8665"/>
                    <a:pt x="6207" y="8507"/>
                    <a:pt x="6018" y="8507"/>
                  </a:cubicBezTo>
                  <a:cubicBezTo>
                    <a:pt x="5829" y="8507"/>
                    <a:pt x="5672" y="8665"/>
                    <a:pt x="5672" y="8854"/>
                  </a:cubicBezTo>
                  <a:lnTo>
                    <a:pt x="5672" y="9169"/>
                  </a:lnTo>
                  <a:cubicBezTo>
                    <a:pt x="4223" y="9011"/>
                    <a:pt x="3025" y="7814"/>
                    <a:pt x="2868" y="6365"/>
                  </a:cubicBezTo>
                  <a:lnTo>
                    <a:pt x="3183" y="6365"/>
                  </a:lnTo>
                  <a:cubicBezTo>
                    <a:pt x="3372" y="6365"/>
                    <a:pt x="3529" y="6207"/>
                    <a:pt x="3529" y="6018"/>
                  </a:cubicBezTo>
                  <a:cubicBezTo>
                    <a:pt x="3529" y="5829"/>
                    <a:pt x="3372" y="5672"/>
                    <a:pt x="3183" y="5672"/>
                  </a:cubicBezTo>
                  <a:lnTo>
                    <a:pt x="2868" y="5672"/>
                  </a:lnTo>
                  <a:cubicBezTo>
                    <a:pt x="3025" y="4191"/>
                    <a:pt x="4191" y="3025"/>
                    <a:pt x="5672" y="2868"/>
                  </a:cubicBezTo>
                  <a:lnTo>
                    <a:pt x="5672" y="3183"/>
                  </a:lnTo>
                  <a:cubicBezTo>
                    <a:pt x="5672" y="3372"/>
                    <a:pt x="5829" y="3529"/>
                    <a:pt x="6018" y="3529"/>
                  </a:cubicBezTo>
                  <a:cubicBezTo>
                    <a:pt x="6207" y="3529"/>
                    <a:pt x="6365" y="3372"/>
                    <a:pt x="6365" y="3183"/>
                  </a:cubicBezTo>
                  <a:lnTo>
                    <a:pt x="6365" y="2868"/>
                  </a:lnTo>
                  <a:close/>
                  <a:moveTo>
                    <a:pt x="2206" y="6365"/>
                  </a:moveTo>
                  <a:cubicBezTo>
                    <a:pt x="2364" y="8224"/>
                    <a:pt x="3845" y="9704"/>
                    <a:pt x="5703" y="9862"/>
                  </a:cubicBezTo>
                  <a:lnTo>
                    <a:pt x="5703" y="10586"/>
                  </a:lnTo>
                  <a:cubicBezTo>
                    <a:pt x="3466" y="10429"/>
                    <a:pt x="1639" y="8602"/>
                    <a:pt x="1482" y="6365"/>
                  </a:cubicBezTo>
                  <a:close/>
                  <a:moveTo>
                    <a:pt x="10618" y="6365"/>
                  </a:moveTo>
                  <a:cubicBezTo>
                    <a:pt x="10429" y="8602"/>
                    <a:pt x="8602" y="10429"/>
                    <a:pt x="6396" y="10586"/>
                  </a:cubicBezTo>
                  <a:lnTo>
                    <a:pt x="6396" y="9862"/>
                  </a:lnTo>
                  <a:cubicBezTo>
                    <a:pt x="8255" y="9704"/>
                    <a:pt x="9767" y="8224"/>
                    <a:pt x="9925" y="6365"/>
                  </a:cubicBezTo>
                  <a:close/>
                  <a:moveTo>
                    <a:pt x="6018" y="1"/>
                  </a:moveTo>
                  <a:cubicBezTo>
                    <a:pt x="5829" y="1"/>
                    <a:pt x="5672" y="158"/>
                    <a:pt x="5672" y="347"/>
                  </a:cubicBezTo>
                  <a:lnTo>
                    <a:pt x="5672" y="725"/>
                  </a:lnTo>
                  <a:cubicBezTo>
                    <a:pt x="4412" y="820"/>
                    <a:pt x="3183" y="1356"/>
                    <a:pt x="2269" y="2269"/>
                  </a:cubicBezTo>
                  <a:cubicBezTo>
                    <a:pt x="1387" y="3183"/>
                    <a:pt x="820" y="4348"/>
                    <a:pt x="757" y="5672"/>
                  </a:cubicBezTo>
                  <a:lnTo>
                    <a:pt x="347" y="5672"/>
                  </a:lnTo>
                  <a:cubicBezTo>
                    <a:pt x="158" y="5672"/>
                    <a:pt x="1" y="5829"/>
                    <a:pt x="1" y="6018"/>
                  </a:cubicBezTo>
                  <a:cubicBezTo>
                    <a:pt x="1" y="6207"/>
                    <a:pt x="158" y="6365"/>
                    <a:pt x="347" y="6365"/>
                  </a:cubicBezTo>
                  <a:lnTo>
                    <a:pt x="757" y="6365"/>
                  </a:lnTo>
                  <a:cubicBezTo>
                    <a:pt x="820" y="7625"/>
                    <a:pt x="1387" y="8854"/>
                    <a:pt x="2269" y="9767"/>
                  </a:cubicBezTo>
                  <a:cubicBezTo>
                    <a:pt x="3183" y="10649"/>
                    <a:pt x="4380" y="11217"/>
                    <a:pt x="5672" y="11280"/>
                  </a:cubicBezTo>
                  <a:lnTo>
                    <a:pt x="5672" y="11689"/>
                  </a:lnTo>
                  <a:cubicBezTo>
                    <a:pt x="5672" y="11878"/>
                    <a:pt x="5829" y="12036"/>
                    <a:pt x="6018" y="12036"/>
                  </a:cubicBezTo>
                  <a:cubicBezTo>
                    <a:pt x="6207" y="12036"/>
                    <a:pt x="6365" y="11878"/>
                    <a:pt x="6365" y="11689"/>
                  </a:cubicBezTo>
                  <a:lnTo>
                    <a:pt x="6365" y="11280"/>
                  </a:lnTo>
                  <a:cubicBezTo>
                    <a:pt x="7625" y="11217"/>
                    <a:pt x="8854" y="10649"/>
                    <a:pt x="9767" y="9767"/>
                  </a:cubicBezTo>
                  <a:cubicBezTo>
                    <a:pt x="10681" y="8854"/>
                    <a:pt x="11217" y="7656"/>
                    <a:pt x="11280" y="6365"/>
                  </a:cubicBezTo>
                  <a:lnTo>
                    <a:pt x="11689" y="6365"/>
                  </a:lnTo>
                  <a:cubicBezTo>
                    <a:pt x="11878" y="6365"/>
                    <a:pt x="12036" y="6207"/>
                    <a:pt x="12036" y="6018"/>
                  </a:cubicBezTo>
                  <a:cubicBezTo>
                    <a:pt x="12036" y="5829"/>
                    <a:pt x="11878" y="5672"/>
                    <a:pt x="11689" y="5672"/>
                  </a:cubicBezTo>
                  <a:lnTo>
                    <a:pt x="11280" y="5672"/>
                  </a:lnTo>
                  <a:cubicBezTo>
                    <a:pt x="11217" y="4411"/>
                    <a:pt x="10650" y="3183"/>
                    <a:pt x="9767" y="2269"/>
                  </a:cubicBezTo>
                  <a:cubicBezTo>
                    <a:pt x="8854" y="1356"/>
                    <a:pt x="7688" y="820"/>
                    <a:pt x="6365" y="725"/>
                  </a:cubicBezTo>
                  <a:lnTo>
                    <a:pt x="6365" y="347"/>
                  </a:lnTo>
                  <a:cubicBezTo>
                    <a:pt x="6365" y="158"/>
                    <a:pt x="6207" y="1"/>
                    <a:pt x="60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36" name="Google Shape;10336;p79"/>
          <p:cNvSpPr/>
          <p:nvPr/>
        </p:nvSpPr>
        <p:spPr>
          <a:xfrm>
            <a:off x="3964861" y="2960111"/>
            <a:ext cx="358199" cy="359154"/>
          </a:xfrm>
          <a:custGeom>
            <a:avLst/>
            <a:gdLst/>
            <a:ahLst/>
            <a:cxnLst/>
            <a:rect l="l" t="t" r="r" b="b"/>
            <a:pathLst>
              <a:path w="12004" h="12036" extrusionOk="0">
                <a:moveTo>
                  <a:pt x="10933" y="4947"/>
                </a:moveTo>
                <a:cubicBezTo>
                  <a:pt x="11122" y="4947"/>
                  <a:pt x="11279" y="5104"/>
                  <a:pt x="11279" y="5293"/>
                </a:cubicBezTo>
                <a:lnTo>
                  <a:pt x="11279" y="5671"/>
                </a:lnTo>
                <a:lnTo>
                  <a:pt x="7782" y="5671"/>
                </a:lnTo>
                <a:lnTo>
                  <a:pt x="7782" y="5293"/>
                </a:lnTo>
                <a:cubicBezTo>
                  <a:pt x="7782" y="5104"/>
                  <a:pt x="7940" y="4947"/>
                  <a:pt x="8129" y="4947"/>
                </a:cubicBezTo>
                <a:close/>
                <a:moveTo>
                  <a:pt x="9547" y="694"/>
                </a:moveTo>
                <a:cubicBezTo>
                  <a:pt x="9736" y="694"/>
                  <a:pt x="9893" y="851"/>
                  <a:pt x="9893" y="1040"/>
                </a:cubicBezTo>
                <a:lnTo>
                  <a:pt x="9893" y="4254"/>
                </a:lnTo>
                <a:lnTo>
                  <a:pt x="8129" y="4254"/>
                </a:lnTo>
                <a:cubicBezTo>
                  <a:pt x="7530" y="4254"/>
                  <a:pt x="7058" y="4726"/>
                  <a:pt x="7058" y="5293"/>
                </a:cubicBezTo>
                <a:lnTo>
                  <a:pt x="7058" y="6365"/>
                </a:lnTo>
                <a:lnTo>
                  <a:pt x="694" y="6365"/>
                </a:lnTo>
                <a:lnTo>
                  <a:pt x="694" y="1040"/>
                </a:lnTo>
                <a:cubicBezTo>
                  <a:pt x="725" y="851"/>
                  <a:pt x="883" y="694"/>
                  <a:pt x="1072" y="694"/>
                </a:cubicBezTo>
                <a:close/>
                <a:moveTo>
                  <a:pt x="7121" y="7026"/>
                </a:moveTo>
                <a:lnTo>
                  <a:pt x="7121" y="7751"/>
                </a:lnTo>
                <a:lnTo>
                  <a:pt x="1072" y="7751"/>
                </a:lnTo>
                <a:cubicBezTo>
                  <a:pt x="883" y="7751"/>
                  <a:pt x="725" y="7593"/>
                  <a:pt x="725" y="7404"/>
                </a:cubicBezTo>
                <a:lnTo>
                  <a:pt x="725" y="7026"/>
                </a:lnTo>
                <a:close/>
                <a:moveTo>
                  <a:pt x="5703" y="8444"/>
                </a:moveTo>
                <a:lnTo>
                  <a:pt x="5703" y="9168"/>
                </a:lnTo>
                <a:lnTo>
                  <a:pt x="4947" y="9168"/>
                </a:lnTo>
                <a:lnTo>
                  <a:pt x="4947" y="8444"/>
                </a:lnTo>
                <a:close/>
                <a:moveTo>
                  <a:pt x="7089" y="8444"/>
                </a:moveTo>
                <a:lnTo>
                  <a:pt x="7089" y="9168"/>
                </a:lnTo>
                <a:lnTo>
                  <a:pt x="6365" y="9168"/>
                </a:lnTo>
                <a:lnTo>
                  <a:pt x="6365" y="8444"/>
                </a:lnTo>
                <a:close/>
                <a:moveTo>
                  <a:pt x="11279" y="6333"/>
                </a:moveTo>
                <a:lnTo>
                  <a:pt x="11279" y="9830"/>
                </a:lnTo>
                <a:lnTo>
                  <a:pt x="7782" y="9830"/>
                </a:lnTo>
                <a:lnTo>
                  <a:pt x="7782" y="6333"/>
                </a:lnTo>
                <a:close/>
                <a:moveTo>
                  <a:pt x="11279" y="10523"/>
                </a:moveTo>
                <a:lnTo>
                  <a:pt x="11279" y="10901"/>
                </a:lnTo>
                <a:cubicBezTo>
                  <a:pt x="11279" y="11090"/>
                  <a:pt x="11122" y="11248"/>
                  <a:pt x="10933" y="11248"/>
                </a:cubicBezTo>
                <a:lnTo>
                  <a:pt x="8129" y="11248"/>
                </a:lnTo>
                <a:cubicBezTo>
                  <a:pt x="7940" y="11248"/>
                  <a:pt x="7782" y="11090"/>
                  <a:pt x="7782" y="10901"/>
                </a:cubicBezTo>
                <a:lnTo>
                  <a:pt x="7782" y="10523"/>
                </a:lnTo>
                <a:close/>
                <a:moveTo>
                  <a:pt x="1040" y="1"/>
                </a:moveTo>
                <a:cubicBezTo>
                  <a:pt x="442" y="1"/>
                  <a:pt x="1" y="473"/>
                  <a:pt x="1" y="1040"/>
                </a:cubicBezTo>
                <a:lnTo>
                  <a:pt x="1" y="7436"/>
                </a:lnTo>
                <a:cubicBezTo>
                  <a:pt x="1" y="8034"/>
                  <a:pt x="442" y="8507"/>
                  <a:pt x="1040" y="8507"/>
                </a:cubicBezTo>
                <a:lnTo>
                  <a:pt x="4191" y="8507"/>
                </a:lnTo>
                <a:lnTo>
                  <a:pt x="4191" y="9200"/>
                </a:lnTo>
                <a:lnTo>
                  <a:pt x="3151" y="9200"/>
                </a:lnTo>
                <a:cubicBezTo>
                  <a:pt x="2931" y="9200"/>
                  <a:pt x="2773" y="9357"/>
                  <a:pt x="2773" y="9546"/>
                </a:cubicBezTo>
                <a:cubicBezTo>
                  <a:pt x="2773" y="9767"/>
                  <a:pt x="2931" y="9925"/>
                  <a:pt x="3151" y="9925"/>
                </a:cubicBezTo>
                <a:lnTo>
                  <a:pt x="7026" y="9925"/>
                </a:lnTo>
                <a:lnTo>
                  <a:pt x="7026" y="10964"/>
                </a:lnTo>
                <a:cubicBezTo>
                  <a:pt x="7026" y="11563"/>
                  <a:pt x="7499" y="12035"/>
                  <a:pt x="8097" y="12035"/>
                </a:cubicBezTo>
                <a:lnTo>
                  <a:pt x="10901" y="12035"/>
                </a:lnTo>
                <a:cubicBezTo>
                  <a:pt x="11468" y="12035"/>
                  <a:pt x="11941" y="11563"/>
                  <a:pt x="11941" y="10964"/>
                </a:cubicBezTo>
                <a:lnTo>
                  <a:pt x="11941" y="5356"/>
                </a:lnTo>
                <a:cubicBezTo>
                  <a:pt x="12004" y="4726"/>
                  <a:pt x="11531" y="4254"/>
                  <a:pt x="10933" y="4254"/>
                </a:cubicBezTo>
                <a:lnTo>
                  <a:pt x="10586" y="4254"/>
                </a:lnTo>
                <a:lnTo>
                  <a:pt x="10586" y="1040"/>
                </a:lnTo>
                <a:cubicBezTo>
                  <a:pt x="10586" y="473"/>
                  <a:pt x="1011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37" name="Google Shape;10337;p79"/>
          <p:cNvGrpSpPr/>
          <p:nvPr/>
        </p:nvGrpSpPr>
        <p:grpSpPr>
          <a:xfrm>
            <a:off x="1293035" y="1532528"/>
            <a:ext cx="358199" cy="359154"/>
            <a:chOff x="-50154075" y="1948175"/>
            <a:chExt cx="300100" cy="300900"/>
          </a:xfrm>
        </p:grpSpPr>
        <p:sp>
          <p:nvSpPr>
            <p:cNvPr id="10338" name="Google Shape;10338;p79"/>
            <p:cNvSpPr/>
            <p:nvPr/>
          </p:nvSpPr>
          <p:spPr>
            <a:xfrm>
              <a:off x="-50154075" y="1948175"/>
              <a:ext cx="300100" cy="300900"/>
            </a:xfrm>
            <a:custGeom>
              <a:avLst/>
              <a:gdLst/>
              <a:ahLst/>
              <a:cxnLst/>
              <a:rect l="l" t="t" r="r" b="b"/>
              <a:pathLst>
                <a:path w="12004" h="12036" extrusionOk="0">
                  <a:moveTo>
                    <a:pt x="2805" y="694"/>
                  </a:moveTo>
                  <a:lnTo>
                    <a:pt x="2805" y="2805"/>
                  </a:lnTo>
                  <a:lnTo>
                    <a:pt x="662" y="2805"/>
                  </a:lnTo>
                  <a:lnTo>
                    <a:pt x="662" y="694"/>
                  </a:lnTo>
                  <a:close/>
                  <a:moveTo>
                    <a:pt x="2805" y="3466"/>
                  </a:moveTo>
                  <a:lnTo>
                    <a:pt x="2805" y="5609"/>
                  </a:lnTo>
                  <a:lnTo>
                    <a:pt x="662" y="5609"/>
                  </a:lnTo>
                  <a:lnTo>
                    <a:pt x="662" y="3466"/>
                  </a:lnTo>
                  <a:close/>
                  <a:moveTo>
                    <a:pt x="7908" y="2521"/>
                  </a:moveTo>
                  <a:lnTo>
                    <a:pt x="9421" y="4033"/>
                  </a:lnTo>
                  <a:lnTo>
                    <a:pt x="7782" y="5640"/>
                  </a:lnTo>
                  <a:lnTo>
                    <a:pt x="6302" y="4128"/>
                  </a:lnTo>
                  <a:lnTo>
                    <a:pt x="7908" y="2521"/>
                  </a:lnTo>
                  <a:close/>
                  <a:moveTo>
                    <a:pt x="5798" y="4663"/>
                  </a:moveTo>
                  <a:lnTo>
                    <a:pt x="7278" y="6144"/>
                  </a:lnTo>
                  <a:lnTo>
                    <a:pt x="5766" y="7688"/>
                  </a:lnTo>
                  <a:lnTo>
                    <a:pt x="4254" y="6207"/>
                  </a:lnTo>
                  <a:lnTo>
                    <a:pt x="5798" y="4663"/>
                  </a:lnTo>
                  <a:close/>
                  <a:moveTo>
                    <a:pt x="2805" y="6302"/>
                  </a:moveTo>
                  <a:lnTo>
                    <a:pt x="2805" y="8791"/>
                  </a:lnTo>
                  <a:cubicBezTo>
                    <a:pt x="2521" y="8570"/>
                    <a:pt x="2111" y="8444"/>
                    <a:pt x="1733" y="8444"/>
                  </a:cubicBezTo>
                  <a:cubicBezTo>
                    <a:pt x="1324" y="8444"/>
                    <a:pt x="977" y="8570"/>
                    <a:pt x="662" y="8791"/>
                  </a:cubicBezTo>
                  <a:lnTo>
                    <a:pt x="662" y="6302"/>
                  </a:lnTo>
                  <a:close/>
                  <a:moveTo>
                    <a:pt x="3750" y="6711"/>
                  </a:moveTo>
                  <a:lnTo>
                    <a:pt x="5230" y="8192"/>
                  </a:lnTo>
                  <a:lnTo>
                    <a:pt x="3498" y="9925"/>
                  </a:lnTo>
                  <a:lnTo>
                    <a:pt x="3498" y="6932"/>
                  </a:lnTo>
                  <a:lnTo>
                    <a:pt x="3750" y="6711"/>
                  </a:lnTo>
                  <a:close/>
                  <a:moveTo>
                    <a:pt x="1733" y="9137"/>
                  </a:moveTo>
                  <a:cubicBezTo>
                    <a:pt x="2332" y="9137"/>
                    <a:pt x="2805" y="9610"/>
                    <a:pt x="2805" y="10208"/>
                  </a:cubicBezTo>
                  <a:cubicBezTo>
                    <a:pt x="2805" y="10807"/>
                    <a:pt x="2332" y="11279"/>
                    <a:pt x="1733" y="11279"/>
                  </a:cubicBezTo>
                  <a:cubicBezTo>
                    <a:pt x="1135" y="11279"/>
                    <a:pt x="662" y="10807"/>
                    <a:pt x="662" y="10208"/>
                  </a:cubicBezTo>
                  <a:cubicBezTo>
                    <a:pt x="662" y="9610"/>
                    <a:pt x="1135" y="9137"/>
                    <a:pt x="1733" y="9137"/>
                  </a:cubicBezTo>
                  <a:close/>
                  <a:moveTo>
                    <a:pt x="5640" y="9137"/>
                  </a:moveTo>
                  <a:lnTo>
                    <a:pt x="5640" y="11279"/>
                  </a:lnTo>
                  <a:lnTo>
                    <a:pt x="3183" y="11279"/>
                  </a:lnTo>
                  <a:lnTo>
                    <a:pt x="5262" y="9137"/>
                  </a:lnTo>
                  <a:close/>
                  <a:moveTo>
                    <a:pt x="8412" y="9137"/>
                  </a:moveTo>
                  <a:lnTo>
                    <a:pt x="8412" y="11279"/>
                  </a:lnTo>
                  <a:lnTo>
                    <a:pt x="6333" y="11279"/>
                  </a:lnTo>
                  <a:lnTo>
                    <a:pt x="6333" y="9137"/>
                  </a:lnTo>
                  <a:close/>
                  <a:moveTo>
                    <a:pt x="11248" y="9137"/>
                  </a:moveTo>
                  <a:lnTo>
                    <a:pt x="11248" y="11279"/>
                  </a:lnTo>
                  <a:lnTo>
                    <a:pt x="9106" y="11279"/>
                  </a:lnTo>
                  <a:lnTo>
                    <a:pt x="9106" y="9137"/>
                  </a:lnTo>
                  <a:close/>
                  <a:moveTo>
                    <a:pt x="347" y="1"/>
                  </a:moveTo>
                  <a:cubicBezTo>
                    <a:pt x="158" y="1"/>
                    <a:pt x="1" y="158"/>
                    <a:pt x="1" y="379"/>
                  </a:cubicBezTo>
                  <a:lnTo>
                    <a:pt x="1" y="10240"/>
                  </a:lnTo>
                  <a:cubicBezTo>
                    <a:pt x="1" y="11248"/>
                    <a:pt x="788" y="12036"/>
                    <a:pt x="1765" y="12036"/>
                  </a:cubicBezTo>
                  <a:lnTo>
                    <a:pt x="11657" y="12036"/>
                  </a:lnTo>
                  <a:cubicBezTo>
                    <a:pt x="11846" y="12036"/>
                    <a:pt x="12004" y="11878"/>
                    <a:pt x="12004" y="11657"/>
                  </a:cubicBezTo>
                  <a:lnTo>
                    <a:pt x="12004" y="8791"/>
                  </a:lnTo>
                  <a:cubicBezTo>
                    <a:pt x="11973" y="8602"/>
                    <a:pt x="11815" y="8444"/>
                    <a:pt x="11626" y="8444"/>
                  </a:cubicBezTo>
                  <a:lnTo>
                    <a:pt x="5987" y="8444"/>
                  </a:lnTo>
                  <a:lnTo>
                    <a:pt x="10177" y="4254"/>
                  </a:lnTo>
                  <a:cubicBezTo>
                    <a:pt x="10240" y="4191"/>
                    <a:pt x="10271" y="4096"/>
                    <a:pt x="10271" y="4033"/>
                  </a:cubicBezTo>
                  <a:cubicBezTo>
                    <a:pt x="10271" y="3939"/>
                    <a:pt x="10240" y="3844"/>
                    <a:pt x="10177" y="3781"/>
                  </a:cubicBezTo>
                  <a:lnTo>
                    <a:pt x="8192" y="1828"/>
                  </a:lnTo>
                  <a:cubicBezTo>
                    <a:pt x="8129" y="1765"/>
                    <a:pt x="8042" y="1733"/>
                    <a:pt x="7952" y="1733"/>
                  </a:cubicBezTo>
                  <a:cubicBezTo>
                    <a:pt x="7861" y="1733"/>
                    <a:pt x="7767" y="1765"/>
                    <a:pt x="7688" y="1828"/>
                  </a:cubicBezTo>
                  <a:lnTo>
                    <a:pt x="3498" y="5987"/>
                  </a:lnTo>
                  <a:lnTo>
                    <a:pt x="3498" y="379"/>
                  </a:lnTo>
                  <a:cubicBezTo>
                    <a:pt x="3498"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79"/>
            <p:cNvSpPr/>
            <p:nvPr/>
          </p:nvSpPr>
          <p:spPr>
            <a:xfrm>
              <a:off x="-50119425" y="21947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0" name="Google Shape;10340;p79"/>
          <p:cNvGrpSpPr/>
          <p:nvPr/>
        </p:nvGrpSpPr>
        <p:grpSpPr>
          <a:xfrm>
            <a:off x="1293035" y="1987485"/>
            <a:ext cx="358199" cy="358229"/>
            <a:chOff x="-50154850" y="2316775"/>
            <a:chExt cx="300100" cy="300125"/>
          </a:xfrm>
        </p:grpSpPr>
        <p:sp>
          <p:nvSpPr>
            <p:cNvPr id="10341" name="Google Shape;10341;p79"/>
            <p:cNvSpPr/>
            <p:nvPr/>
          </p:nvSpPr>
          <p:spPr>
            <a:xfrm>
              <a:off x="-50154850" y="2316775"/>
              <a:ext cx="300100" cy="300125"/>
            </a:xfrm>
            <a:custGeom>
              <a:avLst/>
              <a:gdLst/>
              <a:ahLst/>
              <a:cxnLst/>
              <a:rect l="l" t="t" r="r" b="b"/>
              <a:pathLst>
                <a:path w="12004" h="12005" extrusionOk="0">
                  <a:moveTo>
                    <a:pt x="1418" y="694"/>
                  </a:moveTo>
                  <a:lnTo>
                    <a:pt x="1418" y="1419"/>
                  </a:lnTo>
                  <a:lnTo>
                    <a:pt x="693" y="1419"/>
                  </a:lnTo>
                  <a:lnTo>
                    <a:pt x="693" y="694"/>
                  </a:lnTo>
                  <a:close/>
                  <a:moveTo>
                    <a:pt x="11279" y="694"/>
                  </a:moveTo>
                  <a:lnTo>
                    <a:pt x="11279" y="1419"/>
                  </a:lnTo>
                  <a:lnTo>
                    <a:pt x="10586" y="1419"/>
                  </a:lnTo>
                  <a:lnTo>
                    <a:pt x="10586" y="694"/>
                  </a:lnTo>
                  <a:close/>
                  <a:moveTo>
                    <a:pt x="9893" y="1419"/>
                  </a:moveTo>
                  <a:lnTo>
                    <a:pt x="9893" y="1765"/>
                  </a:lnTo>
                  <a:cubicBezTo>
                    <a:pt x="9893" y="1954"/>
                    <a:pt x="10019" y="2112"/>
                    <a:pt x="10239" y="2112"/>
                  </a:cubicBezTo>
                  <a:lnTo>
                    <a:pt x="10586" y="2112"/>
                  </a:lnTo>
                  <a:lnTo>
                    <a:pt x="10586" y="9893"/>
                  </a:lnTo>
                  <a:lnTo>
                    <a:pt x="10239" y="9893"/>
                  </a:lnTo>
                  <a:cubicBezTo>
                    <a:pt x="10019" y="9893"/>
                    <a:pt x="9893" y="10051"/>
                    <a:pt x="9893" y="10240"/>
                  </a:cubicBezTo>
                  <a:lnTo>
                    <a:pt x="9893" y="10587"/>
                  </a:lnTo>
                  <a:lnTo>
                    <a:pt x="2111" y="10587"/>
                  </a:lnTo>
                  <a:lnTo>
                    <a:pt x="2111" y="10240"/>
                  </a:lnTo>
                  <a:cubicBezTo>
                    <a:pt x="2111" y="10051"/>
                    <a:pt x="1953" y="9893"/>
                    <a:pt x="1764" y="9893"/>
                  </a:cubicBezTo>
                  <a:lnTo>
                    <a:pt x="1418" y="9893"/>
                  </a:lnTo>
                  <a:lnTo>
                    <a:pt x="1418" y="2112"/>
                  </a:lnTo>
                  <a:lnTo>
                    <a:pt x="1764" y="2112"/>
                  </a:lnTo>
                  <a:cubicBezTo>
                    <a:pt x="1953" y="2112"/>
                    <a:pt x="2111" y="1954"/>
                    <a:pt x="2111" y="1765"/>
                  </a:cubicBezTo>
                  <a:lnTo>
                    <a:pt x="2111" y="1419"/>
                  </a:lnTo>
                  <a:close/>
                  <a:moveTo>
                    <a:pt x="1418" y="10555"/>
                  </a:moveTo>
                  <a:lnTo>
                    <a:pt x="1418" y="11248"/>
                  </a:lnTo>
                  <a:lnTo>
                    <a:pt x="693" y="11248"/>
                  </a:lnTo>
                  <a:lnTo>
                    <a:pt x="693" y="10555"/>
                  </a:lnTo>
                  <a:close/>
                  <a:moveTo>
                    <a:pt x="11279" y="10555"/>
                  </a:moveTo>
                  <a:lnTo>
                    <a:pt x="11279" y="11248"/>
                  </a:lnTo>
                  <a:lnTo>
                    <a:pt x="10586" y="11248"/>
                  </a:lnTo>
                  <a:lnTo>
                    <a:pt x="10586" y="10555"/>
                  </a:lnTo>
                  <a:close/>
                  <a:moveTo>
                    <a:pt x="347" y="1"/>
                  </a:moveTo>
                  <a:cubicBezTo>
                    <a:pt x="158" y="1"/>
                    <a:pt x="0" y="158"/>
                    <a:pt x="0" y="348"/>
                  </a:cubicBezTo>
                  <a:lnTo>
                    <a:pt x="0" y="1765"/>
                  </a:lnTo>
                  <a:cubicBezTo>
                    <a:pt x="0" y="1954"/>
                    <a:pt x="158" y="2112"/>
                    <a:pt x="347" y="2112"/>
                  </a:cubicBezTo>
                  <a:lnTo>
                    <a:pt x="693" y="2112"/>
                  </a:lnTo>
                  <a:lnTo>
                    <a:pt x="693" y="9893"/>
                  </a:lnTo>
                  <a:lnTo>
                    <a:pt x="347" y="9893"/>
                  </a:lnTo>
                  <a:cubicBezTo>
                    <a:pt x="158" y="9893"/>
                    <a:pt x="0" y="10051"/>
                    <a:pt x="0" y="10240"/>
                  </a:cubicBezTo>
                  <a:lnTo>
                    <a:pt x="0" y="11658"/>
                  </a:lnTo>
                  <a:cubicBezTo>
                    <a:pt x="0" y="11847"/>
                    <a:pt x="158" y="12004"/>
                    <a:pt x="347" y="12004"/>
                  </a:cubicBezTo>
                  <a:lnTo>
                    <a:pt x="1764" y="12004"/>
                  </a:lnTo>
                  <a:cubicBezTo>
                    <a:pt x="1953" y="12004"/>
                    <a:pt x="2111" y="11847"/>
                    <a:pt x="2111" y="11658"/>
                  </a:cubicBezTo>
                  <a:lnTo>
                    <a:pt x="2111" y="11311"/>
                  </a:lnTo>
                  <a:lnTo>
                    <a:pt x="9893" y="11311"/>
                  </a:lnTo>
                  <a:lnTo>
                    <a:pt x="9893" y="11658"/>
                  </a:lnTo>
                  <a:cubicBezTo>
                    <a:pt x="9893" y="11847"/>
                    <a:pt x="10019" y="12004"/>
                    <a:pt x="10239" y="12004"/>
                  </a:cubicBezTo>
                  <a:lnTo>
                    <a:pt x="11657" y="12004"/>
                  </a:lnTo>
                  <a:cubicBezTo>
                    <a:pt x="11846" y="12004"/>
                    <a:pt x="12004" y="11847"/>
                    <a:pt x="12004" y="11658"/>
                  </a:cubicBezTo>
                  <a:lnTo>
                    <a:pt x="12004" y="10240"/>
                  </a:lnTo>
                  <a:cubicBezTo>
                    <a:pt x="12004" y="10051"/>
                    <a:pt x="11846" y="9893"/>
                    <a:pt x="11657" y="9893"/>
                  </a:cubicBezTo>
                  <a:lnTo>
                    <a:pt x="11310" y="9893"/>
                  </a:lnTo>
                  <a:lnTo>
                    <a:pt x="11310" y="2112"/>
                  </a:lnTo>
                  <a:lnTo>
                    <a:pt x="11657" y="2112"/>
                  </a:lnTo>
                  <a:lnTo>
                    <a:pt x="11657" y="2080"/>
                  </a:lnTo>
                  <a:cubicBezTo>
                    <a:pt x="11846" y="2080"/>
                    <a:pt x="12004" y="1923"/>
                    <a:pt x="12004" y="1734"/>
                  </a:cubicBezTo>
                  <a:lnTo>
                    <a:pt x="12004" y="348"/>
                  </a:lnTo>
                  <a:cubicBezTo>
                    <a:pt x="12004" y="158"/>
                    <a:pt x="11846" y="1"/>
                    <a:pt x="11657" y="1"/>
                  </a:cubicBezTo>
                  <a:lnTo>
                    <a:pt x="10239" y="1"/>
                  </a:lnTo>
                  <a:cubicBezTo>
                    <a:pt x="10019" y="1"/>
                    <a:pt x="9893" y="158"/>
                    <a:pt x="9893" y="348"/>
                  </a:cubicBezTo>
                  <a:lnTo>
                    <a:pt x="9893" y="694"/>
                  </a:lnTo>
                  <a:lnTo>
                    <a:pt x="2111" y="694"/>
                  </a:lnTo>
                  <a:lnTo>
                    <a:pt x="2111" y="348"/>
                  </a:lnTo>
                  <a:cubicBezTo>
                    <a:pt x="2111" y="158"/>
                    <a:pt x="1953"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2" name="Google Shape;10342;p79"/>
            <p:cNvSpPr/>
            <p:nvPr/>
          </p:nvSpPr>
          <p:spPr>
            <a:xfrm>
              <a:off x="-50083975" y="2368775"/>
              <a:ext cx="158325" cy="193775"/>
            </a:xfrm>
            <a:custGeom>
              <a:avLst/>
              <a:gdLst/>
              <a:ahLst/>
              <a:cxnLst/>
              <a:rect l="l" t="t" r="r" b="b"/>
              <a:pathLst>
                <a:path w="6333" h="7751" extrusionOk="0">
                  <a:moveTo>
                    <a:pt x="5577" y="693"/>
                  </a:moveTo>
                  <a:lnTo>
                    <a:pt x="5577" y="1567"/>
                  </a:lnTo>
                  <a:lnTo>
                    <a:pt x="5577" y="1567"/>
                  </a:lnTo>
                  <a:cubicBezTo>
                    <a:pt x="5492" y="1468"/>
                    <a:pt x="5402" y="1418"/>
                    <a:pt x="5262" y="1418"/>
                  </a:cubicBezTo>
                  <a:lnTo>
                    <a:pt x="3844" y="1418"/>
                  </a:lnTo>
                  <a:cubicBezTo>
                    <a:pt x="3655" y="1418"/>
                    <a:pt x="3498" y="1576"/>
                    <a:pt x="3498" y="1765"/>
                  </a:cubicBezTo>
                  <a:lnTo>
                    <a:pt x="3498" y="6742"/>
                  </a:lnTo>
                  <a:cubicBezTo>
                    <a:pt x="3498" y="6900"/>
                    <a:pt x="3624" y="6963"/>
                    <a:pt x="3687" y="7089"/>
                  </a:cubicBezTo>
                  <a:lnTo>
                    <a:pt x="2584" y="7089"/>
                  </a:lnTo>
                  <a:cubicBezTo>
                    <a:pt x="2710" y="6963"/>
                    <a:pt x="2773" y="6900"/>
                    <a:pt x="2773" y="6742"/>
                  </a:cubicBezTo>
                  <a:lnTo>
                    <a:pt x="2773" y="1765"/>
                  </a:lnTo>
                  <a:cubicBezTo>
                    <a:pt x="2773" y="1576"/>
                    <a:pt x="2647" y="1418"/>
                    <a:pt x="2426" y="1418"/>
                  </a:cubicBezTo>
                  <a:lnTo>
                    <a:pt x="1009" y="1418"/>
                  </a:lnTo>
                  <a:cubicBezTo>
                    <a:pt x="851" y="1418"/>
                    <a:pt x="788" y="1544"/>
                    <a:pt x="662" y="1607"/>
                  </a:cubicBezTo>
                  <a:lnTo>
                    <a:pt x="662" y="693"/>
                  </a:lnTo>
                  <a:close/>
                  <a:moveTo>
                    <a:pt x="347" y="0"/>
                  </a:moveTo>
                  <a:cubicBezTo>
                    <a:pt x="158" y="0"/>
                    <a:pt x="1" y="158"/>
                    <a:pt x="1" y="347"/>
                  </a:cubicBezTo>
                  <a:lnTo>
                    <a:pt x="1" y="2489"/>
                  </a:lnTo>
                  <a:cubicBezTo>
                    <a:pt x="1" y="2696"/>
                    <a:pt x="163" y="2835"/>
                    <a:pt x="328" y="2835"/>
                  </a:cubicBezTo>
                  <a:cubicBezTo>
                    <a:pt x="415" y="2835"/>
                    <a:pt x="503" y="2796"/>
                    <a:pt x="568" y="2710"/>
                  </a:cubicBezTo>
                  <a:lnTo>
                    <a:pt x="1166" y="2143"/>
                  </a:lnTo>
                  <a:lnTo>
                    <a:pt x="2080" y="2143"/>
                  </a:lnTo>
                  <a:lnTo>
                    <a:pt x="2080" y="6585"/>
                  </a:lnTo>
                  <a:lnTo>
                    <a:pt x="1481" y="7183"/>
                  </a:lnTo>
                  <a:cubicBezTo>
                    <a:pt x="1261" y="7404"/>
                    <a:pt x="1418" y="7750"/>
                    <a:pt x="1733" y="7750"/>
                  </a:cubicBezTo>
                  <a:lnTo>
                    <a:pt x="4537" y="7750"/>
                  </a:lnTo>
                  <a:cubicBezTo>
                    <a:pt x="4852" y="7750"/>
                    <a:pt x="5010" y="7372"/>
                    <a:pt x="4758" y="7183"/>
                  </a:cubicBezTo>
                  <a:lnTo>
                    <a:pt x="4159" y="6585"/>
                  </a:lnTo>
                  <a:lnTo>
                    <a:pt x="4159" y="2143"/>
                  </a:lnTo>
                  <a:lnTo>
                    <a:pt x="5073" y="2143"/>
                  </a:lnTo>
                  <a:lnTo>
                    <a:pt x="5671" y="2710"/>
                  </a:lnTo>
                  <a:cubicBezTo>
                    <a:pt x="5747" y="2796"/>
                    <a:pt x="5842" y="2835"/>
                    <a:pt x="5933" y="2835"/>
                  </a:cubicBezTo>
                  <a:cubicBezTo>
                    <a:pt x="6107" y="2835"/>
                    <a:pt x="6270" y="2696"/>
                    <a:pt x="6270" y="2489"/>
                  </a:cubicBezTo>
                  <a:lnTo>
                    <a:pt x="6270" y="347"/>
                  </a:lnTo>
                  <a:cubicBezTo>
                    <a:pt x="6333" y="158"/>
                    <a:pt x="6176" y="0"/>
                    <a:pt x="59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3" name="Google Shape;10343;p79"/>
          <p:cNvGrpSpPr/>
          <p:nvPr/>
        </p:nvGrpSpPr>
        <p:grpSpPr>
          <a:xfrm>
            <a:off x="1288813" y="2434496"/>
            <a:ext cx="366644" cy="356558"/>
            <a:chOff x="-50158000" y="2685000"/>
            <a:chExt cx="307175" cy="298725"/>
          </a:xfrm>
        </p:grpSpPr>
        <p:sp>
          <p:nvSpPr>
            <p:cNvPr id="10344" name="Google Shape;10344;p79"/>
            <p:cNvSpPr/>
            <p:nvPr/>
          </p:nvSpPr>
          <p:spPr>
            <a:xfrm>
              <a:off x="-50158000" y="2685000"/>
              <a:ext cx="307175" cy="298725"/>
            </a:xfrm>
            <a:custGeom>
              <a:avLst/>
              <a:gdLst/>
              <a:ahLst/>
              <a:cxnLst/>
              <a:rect l="l" t="t" r="r" b="b"/>
              <a:pathLst>
                <a:path w="12287" h="11949" extrusionOk="0">
                  <a:moveTo>
                    <a:pt x="8054" y="717"/>
                  </a:moveTo>
                  <a:cubicBezTo>
                    <a:pt x="8325" y="717"/>
                    <a:pt x="8601" y="820"/>
                    <a:pt x="8821" y="1024"/>
                  </a:cubicBezTo>
                  <a:lnTo>
                    <a:pt x="11090" y="3293"/>
                  </a:lnTo>
                  <a:cubicBezTo>
                    <a:pt x="11531" y="3702"/>
                    <a:pt x="11531" y="4364"/>
                    <a:pt x="11090" y="4805"/>
                  </a:cubicBezTo>
                  <a:lnTo>
                    <a:pt x="10302" y="5593"/>
                  </a:lnTo>
                  <a:lnTo>
                    <a:pt x="6522" y="1812"/>
                  </a:lnTo>
                  <a:lnTo>
                    <a:pt x="7309" y="1024"/>
                  </a:lnTo>
                  <a:cubicBezTo>
                    <a:pt x="7514" y="820"/>
                    <a:pt x="7782" y="717"/>
                    <a:pt x="8054" y="717"/>
                  </a:cubicBezTo>
                  <a:close/>
                  <a:moveTo>
                    <a:pt x="6018" y="2285"/>
                  </a:moveTo>
                  <a:lnTo>
                    <a:pt x="9798" y="6065"/>
                  </a:lnTo>
                  <a:lnTo>
                    <a:pt x="6144" y="9720"/>
                  </a:lnTo>
                  <a:lnTo>
                    <a:pt x="2363" y="5939"/>
                  </a:lnTo>
                  <a:lnTo>
                    <a:pt x="6018" y="2285"/>
                  </a:lnTo>
                  <a:close/>
                  <a:moveTo>
                    <a:pt x="1890" y="6443"/>
                  </a:moveTo>
                  <a:lnTo>
                    <a:pt x="5671" y="10224"/>
                  </a:lnTo>
                  <a:lnTo>
                    <a:pt x="4915" y="10980"/>
                  </a:lnTo>
                  <a:cubicBezTo>
                    <a:pt x="4726" y="11185"/>
                    <a:pt x="4458" y="11287"/>
                    <a:pt x="4186" y="11287"/>
                  </a:cubicBezTo>
                  <a:cubicBezTo>
                    <a:pt x="3915" y="11287"/>
                    <a:pt x="3639" y="11185"/>
                    <a:pt x="3434" y="10980"/>
                  </a:cubicBezTo>
                  <a:lnTo>
                    <a:pt x="1134" y="8712"/>
                  </a:lnTo>
                  <a:cubicBezTo>
                    <a:pt x="756" y="8302"/>
                    <a:pt x="756" y="7640"/>
                    <a:pt x="1134" y="7199"/>
                  </a:cubicBezTo>
                  <a:lnTo>
                    <a:pt x="1890" y="6443"/>
                  </a:lnTo>
                  <a:close/>
                  <a:moveTo>
                    <a:pt x="8093" y="0"/>
                  </a:moveTo>
                  <a:cubicBezTo>
                    <a:pt x="7640" y="0"/>
                    <a:pt x="7183" y="174"/>
                    <a:pt x="6837" y="520"/>
                  </a:cubicBezTo>
                  <a:lnTo>
                    <a:pt x="662" y="6695"/>
                  </a:lnTo>
                  <a:cubicBezTo>
                    <a:pt x="0" y="7357"/>
                    <a:pt x="0" y="8491"/>
                    <a:pt x="662" y="9184"/>
                  </a:cubicBezTo>
                  <a:lnTo>
                    <a:pt x="2962" y="11452"/>
                  </a:lnTo>
                  <a:cubicBezTo>
                    <a:pt x="3292" y="11783"/>
                    <a:pt x="3741" y="11949"/>
                    <a:pt x="4190" y="11949"/>
                  </a:cubicBezTo>
                  <a:cubicBezTo>
                    <a:pt x="4639" y="11949"/>
                    <a:pt x="5088" y="11783"/>
                    <a:pt x="5419" y="11452"/>
                  </a:cubicBezTo>
                  <a:lnTo>
                    <a:pt x="11625" y="5278"/>
                  </a:lnTo>
                  <a:cubicBezTo>
                    <a:pt x="12287" y="4616"/>
                    <a:pt x="12287" y="3513"/>
                    <a:pt x="11625" y="2789"/>
                  </a:cubicBezTo>
                  <a:lnTo>
                    <a:pt x="9326" y="520"/>
                  </a:lnTo>
                  <a:cubicBezTo>
                    <a:pt x="8995" y="174"/>
                    <a:pt x="8546" y="0"/>
                    <a:pt x="80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5" name="Google Shape;10345;p79"/>
            <p:cNvSpPr/>
            <p:nvPr/>
          </p:nvSpPr>
          <p:spPr>
            <a:xfrm>
              <a:off x="-50058775" y="2838200"/>
              <a:ext cx="51225" cy="49625"/>
            </a:xfrm>
            <a:custGeom>
              <a:avLst/>
              <a:gdLst/>
              <a:ahLst/>
              <a:cxnLst/>
              <a:rect l="l" t="t" r="r" b="b"/>
              <a:pathLst>
                <a:path w="2049" h="1985" extrusionOk="0">
                  <a:moveTo>
                    <a:pt x="391" y="0"/>
                  </a:moveTo>
                  <a:cubicBezTo>
                    <a:pt x="300" y="0"/>
                    <a:pt x="206" y="32"/>
                    <a:pt x="127" y="95"/>
                  </a:cubicBezTo>
                  <a:cubicBezTo>
                    <a:pt x="1" y="221"/>
                    <a:pt x="1" y="441"/>
                    <a:pt x="127" y="599"/>
                  </a:cubicBezTo>
                  <a:lnTo>
                    <a:pt x="1418" y="1890"/>
                  </a:lnTo>
                  <a:cubicBezTo>
                    <a:pt x="1481" y="1953"/>
                    <a:pt x="1568" y="1985"/>
                    <a:pt x="1659" y="1985"/>
                  </a:cubicBezTo>
                  <a:cubicBezTo>
                    <a:pt x="1749" y="1985"/>
                    <a:pt x="1844" y="1953"/>
                    <a:pt x="1923" y="1890"/>
                  </a:cubicBezTo>
                  <a:cubicBezTo>
                    <a:pt x="2049" y="1733"/>
                    <a:pt x="2049" y="1512"/>
                    <a:pt x="1923" y="1386"/>
                  </a:cubicBezTo>
                  <a:lnTo>
                    <a:pt x="631" y="95"/>
                  </a:lnTo>
                  <a:cubicBezTo>
                    <a:pt x="568" y="32"/>
                    <a:pt x="481" y="0"/>
                    <a:pt x="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6" name="Google Shape;10346;p79"/>
          <p:cNvGrpSpPr/>
          <p:nvPr/>
        </p:nvGrpSpPr>
        <p:grpSpPr>
          <a:xfrm>
            <a:off x="3521599" y="1562607"/>
            <a:ext cx="361004" cy="358229"/>
            <a:chOff x="-48266125" y="1973375"/>
            <a:chExt cx="302450" cy="300125"/>
          </a:xfrm>
        </p:grpSpPr>
        <p:sp>
          <p:nvSpPr>
            <p:cNvPr id="10347" name="Google Shape;10347;p79"/>
            <p:cNvSpPr/>
            <p:nvPr/>
          </p:nvSpPr>
          <p:spPr>
            <a:xfrm>
              <a:off x="-48212575" y="2045050"/>
              <a:ext cx="122900" cy="123700"/>
            </a:xfrm>
            <a:custGeom>
              <a:avLst/>
              <a:gdLst/>
              <a:ahLst/>
              <a:cxnLst/>
              <a:rect l="l" t="t" r="r" b="b"/>
              <a:pathLst>
                <a:path w="4916" h="4948" extrusionOk="0">
                  <a:moveTo>
                    <a:pt x="1765" y="662"/>
                  </a:moveTo>
                  <a:cubicBezTo>
                    <a:pt x="2237" y="662"/>
                    <a:pt x="2647" y="946"/>
                    <a:pt x="2741" y="1387"/>
                  </a:cubicBezTo>
                  <a:lnTo>
                    <a:pt x="1765" y="1387"/>
                  </a:lnTo>
                  <a:cubicBezTo>
                    <a:pt x="1576" y="1387"/>
                    <a:pt x="1418" y="1545"/>
                    <a:pt x="1418" y="1734"/>
                  </a:cubicBezTo>
                  <a:lnTo>
                    <a:pt x="1418" y="2710"/>
                  </a:lnTo>
                  <a:cubicBezTo>
                    <a:pt x="1009" y="2584"/>
                    <a:pt x="725" y="2206"/>
                    <a:pt x="725" y="1734"/>
                  </a:cubicBezTo>
                  <a:cubicBezTo>
                    <a:pt x="725" y="1135"/>
                    <a:pt x="1166" y="662"/>
                    <a:pt x="1765" y="662"/>
                  </a:cubicBezTo>
                  <a:close/>
                  <a:moveTo>
                    <a:pt x="2741" y="2080"/>
                  </a:moveTo>
                  <a:cubicBezTo>
                    <a:pt x="2647" y="2395"/>
                    <a:pt x="2395" y="2616"/>
                    <a:pt x="2111" y="2710"/>
                  </a:cubicBezTo>
                  <a:lnTo>
                    <a:pt x="2111" y="2080"/>
                  </a:lnTo>
                  <a:close/>
                  <a:moveTo>
                    <a:pt x="4254" y="2080"/>
                  </a:moveTo>
                  <a:lnTo>
                    <a:pt x="4254" y="4191"/>
                  </a:lnTo>
                  <a:lnTo>
                    <a:pt x="2143" y="4191"/>
                  </a:lnTo>
                  <a:lnTo>
                    <a:pt x="2143" y="3466"/>
                  </a:lnTo>
                  <a:cubicBezTo>
                    <a:pt x="2804" y="3309"/>
                    <a:pt x="3340" y="2805"/>
                    <a:pt x="3497" y="2080"/>
                  </a:cubicBezTo>
                  <a:close/>
                  <a:moveTo>
                    <a:pt x="1765" y="1"/>
                  </a:moveTo>
                  <a:cubicBezTo>
                    <a:pt x="788" y="1"/>
                    <a:pt x="0" y="788"/>
                    <a:pt x="0" y="1765"/>
                  </a:cubicBezTo>
                  <a:cubicBezTo>
                    <a:pt x="0" y="2616"/>
                    <a:pt x="599" y="3340"/>
                    <a:pt x="1418" y="3498"/>
                  </a:cubicBezTo>
                  <a:lnTo>
                    <a:pt x="1418" y="4601"/>
                  </a:lnTo>
                  <a:cubicBezTo>
                    <a:pt x="1418" y="4790"/>
                    <a:pt x="1576" y="4947"/>
                    <a:pt x="1765" y="4947"/>
                  </a:cubicBezTo>
                  <a:lnTo>
                    <a:pt x="4569" y="4947"/>
                  </a:lnTo>
                  <a:cubicBezTo>
                    <a:pt x="4758" y="4947"/>
                    <a:pt x="4915" y="4790"/>
                    <a:pt x="4915" y="4601"/>
                  </a:cubicBezTo>
                  <a:lnTo>
                    <a:pt x="4915" y="1797"/>
                  </a:lnTo>
                  <a:cubicBezTo>
                    <a:pt x="4915" y="1576"/>
                    <a:pt x="4758" y="1419"/>
                    <a:pt x="4600" y="1419"/>
                  </a:cubicBezTo>
                  <a:lnTo>
                    <a:pt x="3497" y="1419"/>
                  </a:lnTo>
                  <a:cubicBezTo>
                    <a:pt x="3340" y="631"/>
                    <a:pt x="2647"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8" name="Google Shape;10348;p79"/>
            <p:cNvSpPr/>
            <p:nvPr/>
          </p:nvSpPr>
          <p:spPr>
            <a:xfrm>
              <a:off x="-48266125" y="1973375"/>
              <a:ext cx="230000" cy="300125"/>
            </a:xfrm>
            <a:custGeom>
              <a:avLst/>
              <a:gdLst/>
              <a:ahLst/>
              <a:cxnLst/>
              <a:rect l="l" t="t" r="r" b="b"/>
              <a:pathLst>
                <a:path w="9200" h="12005" extrusionOk="0">
                  <a:moveTo>
                    <a:pt x="7057" y="1198"/>
                  </a:moveTo>
                  <a:lnTo>
                    <a:pt x="7971" y="2112"/>
                  </a:lnTo>
                  <a:lnTo>
                    <a:pt x="7057" y="2112"/>
                  </a:lnTo>
                  <a:lnTo>
                    <a:pt x="7057" y="1198"/>
                  </a:lnTo>
                  <a:close/>
                  <a:moveTo>
                    <a:pt x="6396" y="694"/>
                  </a:moveTo>
                  <a:lnTo>
                    <a:pt x="6396" y="2458"/>
                  </a:lnTo>
                  <a:cubicBezTo>
                    <a:pt x="6396" y="2679"/>
                    <a:pt x="6553" y="2836"/>
                    <a:pt x="6742" y="2836"/>
                  </a:cubicBezTo>
                  <a:lnTo>
                    <a:pt x="8506" y="2836"/>
                  </a:lnTo>
                  <a:lnTo>
                    <a:pt x="8506" y="11280"/>
                  </a:lnTo>
                  <a:lnTo>
                    <a:pt x="756" y="11280"/>
                  </a:lnTo>
                  <a:lnTo>
                    <a:pt x="756" y="694"/>
                  </a:lnTo>
                  <a:close/>
                  <a:moveTo>
                    <a:pt x="378" y="1"/>
                  </a:moveTo>
                  <a:cubicBezTo>
                    <a:pt x="158" y="1"/>
                    <a:pt x="0" y="158"/>
                    <a:pt x="0" y="347"/>
                  </a:cubicBezTo>
                  <a:lnTo>
                    <a:pt x="0" y="11658"/>
                  </a:lnTo>
                  <a:cubicBezTo>
                    <a:pt x="0" y="11847"/>
                    <a:pt x="158" y="12004"/>
                    <a:pt x="378" y="12004"/>
                  </a:cubicBezTo>
                  <a:lnTo>
                    <a:pt x="8790" y="12004"/>
                  </a:lnTo>
                  <a:cubicBezTo>
                    <a:pt x="8979" y="12004"/>
                    <a:pt x="9136" y="11847"/>
                    <a:pt x="9136" y="11658"/>
                  </a:cubicBezTo>
                  <a:lnTo>
                    <a:pt x="9136" y="2458"/>
                  </a:lnTo>
                  <a:cubicBezTo>
                    <a:pt x="9199" y="2395"/>
                    <a:pt x="9168" y="2301"/>
                    <a:pt x="9073" y="2238"/>
                  </a:cubicBezTo>
                  <a:lnTo>
                    <a:pt x="6931" y="95"/>
                  </a:lnTo>
                  <a:cubicBezTo>
                    <a:pt x="6868" y="32"/>
                    <a:pt x="6805"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9" name="Google Shape;10349;p79"/>
            <p:cNvSpPr/>
            <p:nvPr/>
          </p:nvSpPr>
          <p:spPr>
            <a:xfrm>
              <a:off x="-48018025" y="1991500"/>
              <a:ext cx="54350" cy="282000"/>
            </a:xfrm>
            <a:custGeom>
              <a:avLst/>
              <a:gdLst/>
              <a:ahLst/>
              <a:cxnLst/>
              <a:rect l="l" t="t" r="r" b="b"/>
              <a:pathLst>
                <a:path w="2174" h="11280" extrusionOk="0">
                  <a:moveTo>
                    <a:pt x="1071" y="1481"/>
                  </a:moveTo>
                  <a:lnTo>
                    <a:pt x="1260" y="2111"/>
                  </a:lnTo>
                  <a:lnTo>
                    <a:pt x="851" y="2111"/>
                  </a:lnTo>
                  <a:lnTo>
                    <a:pt x="1071" y="1481"/>
                  </a:lnTo>
                  <a:close/>
                  <a:moveTo>
                    <a:pt x="1418" y="2836"/>
                  </a:moveTo>
                  <a:lnTo>
                    <a:pt x="1418" y="7247"/>
                  </a:lnTo>
                  <a:lnTo>
                    <a:pt x="725" y="7247"/>
                  </a:lnTo>
                  <a:lnTo>
                    <a:pt x="725" y="2836"/>
                  </a:lnTo>
                  <a:close/>
                  <a:moveTo>
                    <a:pt x="1418" y="7971"/>
                  </a:moveTo>
                  <a:lnTo>
                    <a:pt x="1418" y="8664"/>
                  </a:lnTo>
                  <a:lnTo>
                    <a:pt x="725" y="8664"/>
                  </a:lnTo>
                  <a:lnTo>
                    <a:pt x="725" y="7971"/>
                  </a:lnTo>
                  <a:close/>
                  <a:moveTo>
                    <a:pt x="1449" y="9357"/>
                  </a:moveTo>
                  <a:lnTo>
                    <a:pt x="1449" y="10208"/>
                  </a:lnTo>
                  <a:cubicBezTo>
                    <a:pt x="1418" y="10397"/>
                    <a:pt x="1260" y="10555"/>
                    <a:pt x="1071" y="10555"/>
                  </a:cubicBezTo>
                  <a:cubicBezTo>
                    <a:pt x="882" y="10555"/>
                    <a:pt x="725" y="10397"/>
                    <a:pt x="725" y="10208"/>
                  </a:cubicBezTo>
                  <a:lnTo>
                    <a:pt x="725" y="9357"/>
                  </a:lnTo>
                  <a:close/>
                  <a:moveTo>
                    <a:pt x="1071" y="0"/>
                  </a:moveTo>
                  <a:cubicBezTo>
                    <a:pt x="945" y="0"/>
                    <a:pt x="788" y="95"/>
                    <a:pt x="756" y="253"/>
                  </a:cubicBezTo>
                  <a:cubicBezTo>
                    <a:pt x="0" y="2489"/>
                    <a:pt x="63" y="2363"/>
                    <a:pt x="63" y="2458"/>
                  </a:cubicBezTo>
                  <a:lnTo>
                    <a:pt x="63" y="10208"/>
                  </a:lnTo>
                  <a:cubicBezTo>
                    <a:pt x="63" y="10807"/>
                    <a:pt x="536" y="11279"/>
                    <a:pt x="1103" y="11279"/>
                  </a:cubicBezTo>
                  <a:cubicBezTo>
                    <a:pt x="1701" y="11279"/>
                    <a:pt x="2174" y="10807"/>
                    <a:pt x="2174" y="10208"/>
                  </a:cubicBezTo>
                  <a:lnTo>
                    <a:pt x="2111" y="2458"/>
                  </a:lnTo>
                  <a:lnTo>
                    <a:pt x="2111" y="2458"/>
                  </a:lnTo>
                  <a:cubicBezTo>
                    <a:pt x="2121" y="2468"/>
                    <a:pt x="2128" y="2472"/>
                    <a:pt x="2132" y="2472"/>
                  </a:cubicBezTo>
                  <a:cubicBezTo>
                    <a:pt x="2139" y="2472"/>
                    <a:pt x="2132" y="2458"/>
                    <a:pt x="2111" y="2458"/>
                  </a:cubicBezTo>
                  <a:lnTo>
                    <a:pt x="2111" y="2458"/>
                  </a:lnTo>
                  <a:lnTo>
                    <a:pt x="2111" y="2458"/>
                  </a:lnTo>
                  <a:cubicBezTo>
                    <a:pt x="2111" y="2363"/>
                    <a:pt x="2142" y="2584"/>
                    <a:pt x="1386" y="253"/>
                  </a:cubicBezTo>
                  <a:cubicBezTo>
                    <a:pt x="1355" y="95"/>
                    <a:pt x="1197"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79"/>
            <p:cNvSpPr/>
            <p:nvPr/>
          </p:nvSpPr>
          <p:spPr>
            <a:xfrm>
              <a:off x="-48211800" y="2221475"/>
              <a:ext cx="122900" cy="17350"/>
            </a:xfrm>
            <a:custGeom>
              <a:avLst/>
              <a:gdLst/>
              <a:ahLst/>
              <a:cxnLst/>
              <a:rect l="l" t="t" r="r" b="b"/>
              <a:pathLst>
                <a:path w="4916" h="694" extrusionOk="0">
                  <a:moveTo>
                    <a:pt x="347" y="1"/>
                  </a:moveTo>
                  <a:cubicBezTo>
                    <a:pt x="158" y="1"/>
                    <a:pt x="1" y="158"/>
                    <a:pt x="1" y="347"/>
                  </a:cubicBezTo>
                  <a:cubicBezTo>
                    <a:pt x="1" y="536"/>
                    <a:pt x="158" y="694"/>
                    <a:pt x="347" y="694"/>
                  </a:cubicBezTo>
                  <a:lnTo>
                    <a:pt x="4569" y="694"/>
                  </a:lnTo>
                  <a:cubicBezTo>
                    <a:pt x="4758" y="694"/>
                    <a:pt x="4916" y="536"/>
                    <a:pt x="4916" y="347"/>
                  </a:cubicBezTo>
                  <a:cubicBezTo>
                    <a:pt x="4884" y="158"/>
                    <a:pt x="4727"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79"/>
            <p:cNvSpPr/>
            <p:nvPr/>
          </p:nvSpPr>
          <p:spPr>
            <a:xfrm>
              <a:off x="-48211800" y="2185250"/>
              <a:ext cx="87450" cy="18150"/>
            </a:xfrm>
            <a:custGeom>
              <a:avLst/>
              <a:gdLst/>
              <a:ahLst/>
              <a:cxnLst/>
              <a:rect l="l" t="t" r="r" b="b"/>
              <a:pathLst>
                <a:path w="3498" h="726" extrusionOk="0">
                  <a:moveTo>
                    <a:pt x="347" y="1"/>
                  </a:moveTo>
                  <a:cubicBezTo>
                    <a:pt x="158" y="1"/>
                    <a:pt x="1" y="158"/>
                    <a:pt x="1" y="379"/>
                  </a:cubicBezTo>
                  <a:cubicBezTo>
                    <a:pt x="1" y="568"/>
                    <a:pt x="158" y="725"/>
                    <a:pt x="347" y="725"/>
                  </a:cubicBezTo>
                  <a:lnTo>
                    <a:pt x="3151" y="725"/>
                  </a:lnTo>
                  <a:cubicBezTo>
                    <a:pt x="3372" y="725"/>
                    <a:pt x="3498" y="568"/>
                    <a:pt x="3498" y="379"/>
                  </a:cubicBezTo>
                  <a:cubicBezTo>
                    <a:pt x="3498" y="158"/>
                    <a:pt x="3372"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79"/>
            <p:cNvSpPr/>
            <p:nvPr/>
          </p:nvSpPr>
          <p:spPr>
            <a:xfrm>
              <a:off x="-48106250" y="2185250"/>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79"/>
          <p:cNvGrpSpPr/>
          <p:nvPr/>
        </p:nvGrpSpPr>
        <p:grpSpPr>
          <a:xfrm>
            <a:off x="3548844" y="2018369"/>
            <a:ext cx="306516" cy="358349"/>
            <a:chOff x="-48237000" y="2342650"/>
            <a:chExt cx="256800" cy="300225"/>
          </a:xfrm>
        </p:grpSpPr>
        <p:sp>
          <p:nvSpPr>
            <p:cNvPr id="10354" name="Google Shape;10354;p79"/>
            <p:cNvSpPr/>
            <p:nvPr/>
          </p:nvSpPr>
          <p:spPr>
            <a:xfrm>
              <a:off x="-48237000" y="2342650"/>
              <a:ext cx="256800" cy="300225"/>
            </a:xfrm>
            <a:custGeom>
              <a:avLst/>
              <a:gdLst/>
              <a:ahLst/>
              <a:cxnLst/>
              <a:rect l="l" t="t" r="r" b="b"/>
              <a:pathLst>
                <a:path w="10272" h="12009" extrusionOk="0">
                  <a:moveTo>
                    <a:pt x="4507" y="679"/>
                  </a:moveTo>
                  <a:cubicBezTo>
                    <a:pt x="4774" y="679"/>
                    <a:pt x="5048" y="706"/>
                    <a:pt x="5325" y="762"/>
                  </a:cubicBezTo>
                  <a:cubicBezTo>
                    <a:pt x="6774" y="1077"/>
                    <a:pt x="7940" y="2274"/>
                    <a:pt x="8255" y="3723"/>
                  </a:cubicBezTo>
                  <a:cubicBezTo>
                    <a:pt x="8381" y="4227"/>
                    <a:pt x="8381" y="4763"/>
                    <a:pt x="8318" y="5267"/>
                  </a:cubicBezTo>
                  <a:cubicBezTo>
                    <a:pt x="8318" y="5330"/>
                    <a:pt x="8318" y="5424"/>
                    <a:pt x="8350" y="5487"/>
                  </a:cubicBezTo>
                  <a:lnTo>
                    <a:pt x="9263" y="7220"/>
                  </a:lnTo>
                  <a:cubicBezTo>
                    <a:pt x="9389" y="7441"/>
                    <a:pt x="9232" y="7756"/>
                    <a:pt x="8980" y="7756"/>
                  </a:cubicBezTo>
                  <a:lnTo>
                    <a:pt x="8034" y="7756"/>
                  </a:lnTo>
                  <a:cubicBezTo>
                    <a:pt x="7845" y="7756"/>
                    <a:pt x="7688" y="7913"/>
                    <a:pt x="7688" y="8102"/>
                  </a:cubicBezTo>
                  <a:lnTo>
                    <a:pt x="7688" y="9867"/>
                  </a:lnTo>
                  <a:lnTo>
                    <a:pt x="5892" y="9867"/>
                  </a:lnTo>
                  <a:cubicBezTo>
                    <a:pt x="5703" y="9867"/>
                    <a:pt x="5546" y="10024"/>
                    <a:pt x="5546" y="10213"/>
                  </a:cubicBezTo>
                  <a:lnTo>
                    <a:pt x="5546" y="11284"/>
                  </a:lnTo>
                  <a:lnTo>
                    <a:pt x="2049" y="11284"/>
                  </a:lnTo>
                  <a:lnTo>
                    <a:pt x="2049" y="7693"/>
                  </a:lnTo>
                  <a:cubicBezTo>
                    <a:pt x="2049" y="7598"/>
                    <a:pt x="2017" y="7504"/>
                    <a:pt x="1923" y="7441"/>
                  </a:cubicBezTo>
                  <a:cubicBezTo>
                    <a:pt x="1103" y="6685"/>
                    <a:pt x="631" y="5645"/>
                    <a:pt x="631" y="4542"/>
                  </a:cubicBezTo>
                  <a:cubicBezTo>
                    <a:pt x="631" y="2387"/>
                    <a:pt x="2372" y="679"/>
                    <a:pt x="4507" y="679"/>
                  </a:cubicBezTo>
                  <a:close/>
                  <a:moveTo>
                    <a:pt x="4570" y="0"/>
                  </a:moveTo>
                  <a:cubicBezTo>
                    <a:pt x="2059" y="0"/>
                    <a:pt x="1" y="1999"/>
                    <a:pt x="1" y="4542"/>
                  </a:cubicBezTo>
                  <a:cubicBezTo>
                    <a:pt x="1" y="5802"/>
                    <a:pt x="505" y="7000"/>
                    <a:pt x="1418" y="7850"/>
                  </a:cubicBezTo>
                  <a:lnTo>
                    <a:pt x="1418" y="11631"/>
                  </a:lnTo>
                  <a:cubicBezTo>
                    <a:pt x="1418" y="11851"/>
                    <a:pt x="1576" y="12009"/>
                    <a:pt x="1765" y="12009"/>
                  </a:cubicBezTo>
                  <a:lnTo>
                    <a:pt x="5987" y="12009"/>
                  </a:lnTo>
                  <a:cubicBezTo>
                    <a:pt x="6176" y="12009"/>
                    <a:pt x="6333" y="11851"/>
                    <a:pt x="6333" y="11631"/>
                  </a:cubicBezTo>
                  <a:lnTo>
                    <a:pt x="6333" y="10591"/>
                  </a:lnTo>
                  <a:lnTo>
                    <a:pt x="8097" y="10591"/>
                  </a:lnTo>
                  <a:cubicBezTo>
                    <a:pt x="8287" y="10591"/>
                    <a:pt x="8444" y="10434"/>
                    <a:pt x="8444" y="10213"/>
                  </a:cubicBezTo>
                  <a:lnTo>
                    <a:pt x="8444" y="8449"/>
                  </a:lnTo>
                  <a:lnTo>
                    <a:pt x="9043" y="8449"/>
                  </a:lnTo>
                  <a:cubicBezTo>
                    <a:pt x="9799" y="8417"/>
                    <a:pt x="10271" y="7598"/>
                    <a:pt x="9925" y="6874"/>
                  </a:cubicBezTo>
                  <a:lnTo>
                    <a:pt x="9043" y="5267"/>
                  </a:lnTo>
                  <a:cubicBezTo>
                    <a:pt x="9137" y="4700"/>
                    <a:pt x="9137" y="4164"/>
                    <a:pt x="9011" y="3597"/>
                  </a:cubicBezTo>
                  <a:cubicBezTo>
                    <a:pt x="8665" y="1864"/>
                    <a:pt x="7247" y="510"/>
                    <a:pt x="5546" y="100"/>
                  </a:cubicBezTo>
                  <a:cubicBezTo>
                    <a:pt x="5215" y="33"/>
                    <a:pt x="4889" y="0"/>
                    <a:pt x="45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79"/>
            <p:cNvSpPr/>
            <p:nvPr/>
          </p:nvSpPr>
          <p:spPr>
            <a:xfrm>
              <a:off x="-48195250" y="2377425"/>
              <a:ext cx="144150" cy="140225"/>
            </a:xfrm>
            <a:custGeom>
              <a:avLst/>
              <a:gdLst/>
              <a:ahLst/>
              <a:cxnLst/>
              <a:rect l="l" t="t" r="r" b="b"/>
              <a:pathLst>
                <a:path w="5766" h="5609" extrusionOk="0">
                  <a:moveTo>
                    <a:pt x="3214" y="757"/>
                  </a:moveTo>
                  <a:lnTo>
                    <a:pt x="3214" y="883"/>
                  </a:lnTo>
                  <a:cubicBezTo>
                    <a:pt x="3214" y="1040"/>
                    <a:pt x="3277" y="1135"/>
                    <a:pt x="3435" y="1198"/>
                  </a:cubicBezTo>
                  <a:cubicBezTo>
                    <a:pt x="3624" y="1261"/>
                    <a:pt x="3844" y="1387"/>
                    <a:pt x="4002" y="1513"/>
                  </a:cubicBezTo>
                  <a:cubicBezTo>
                    <a:pt x="4061" y="1553"/>
                    <a:pt x="4146" y="1593"/>
                    <a:pt x="4233" y="1593"/>
                  </a:cubicBezTo>
                  <a:cubicBezTo>
                    <a:pt x="4283" y="1593"/>
                    <a:pt x="4333" y="1579"/>
                    <a:pt x="4380" y="1545"/>
                  </a:cubicBezTo>
                  <a:lnTo>
                    <a:pt x="4506" y="1482"/>
                  </a:lnTo>
                  <a:lnTo>
                    <a:pt x="4852" y="2049"/>
                  </a:lnTo>
                  <a:lnTo>
                    <a:pt x="4726" y="2143"/>
                  </a:lnTo>
                  <a:cubicBezTo>
                    <a:pt x="4632" y="2206"/>
                    <a:pt x="4537" y="2364"/>
                    <a:pt x="4569" y="2490"/>
                  </a:cubicBezTo>
                  <a:cubicBezTo>
                    <a:pt x="4632" y="2710"/>
                    <a:pt x="4632" y="2899"/>
                    <a:pt x="4569" y="3120"/>
                  </a:cubicBezTo>
                  <a:cubicBezTo>
                    <a:pt x="4537" y="3277"/>
                    <a:pt x="4632" y="3403"/>
                    <a:pt x="4726" y="3466"/>
                  </a:cubicBezTo>
                  <a:lnTo>
                    <a:pt x="4852" y="3561"/>
                  </a:lnTo>
                  <a:lnTo>
                    <a:pt x="4506" y="4159"/>
                  </a:lnTo>
                  <a:lnTo>
                    <a:pt x="4380" y="4065"/>
                  </a:lnTo>
                  <a:cubicBezTo>
                    <a:pt x="4323" y="4037"/>
                    <a:pt x="4260" y="4021"/>
                    <a:pt x="4199" y="4021"/>
                  </a:cubicBezTo>
                  <a:cubicBezTo>
                    <a:pt x="4125" y="4021"/>
                    <a:pt x="4054" y="4044"/>
                    <a:pt x="4002" y="4096"/>
                  </a:cubicBezTo>
                  <a:cubicBezTo>
                    <a:pt x="3844" y="4254"/>
                    <a:pt x="3624" y="4348"/>
                    <a:pt x="3435" y="4411"/>
                  </a:cubicBezTo>
                  <a:cubicBezTo>
                    <a:pt x="3277" y="4475"/>
                    <a:pt x="3214" y="4632"/>
                    <a:pt x="3214" y="4727"/>
                  </a:cubicBezTo>
                  <a:lnTo>
                    <a:pt x="3214" y="4853"/>
                  </a:lnTo>
                  <a:lnTo>
                    <a:pt x="2489" y="4853"/>
                  </a:lnTo>
                  <a:lnTo>
                    <a:pt x="2489" y="4727"/>
                  </a:lnTo>
                  <a:cubicBezTo>
                    <a:pt x="2489" y="4569"/>
                    <a:pt x="2426" y="4475"/>
                    <a:pt x="2269" y="4411"/>
                  </a:cubicBezTo>
                  <a:cubicBezTo>
                    <a:pt x="2048" y="4348"/>
                    <a:pt x="1859" y="4222"/>
                    <a:pt x="1702" y="4096"/>
                  </a:cubicBezTo>
                  <a:cubicBezTo>
                    <a:pt x="1622" y="4057"/>
                    <a:pt x="1530" y="4017"/>
                    <a:pt x="1449" y="4017"/>
                  </a:cubicBezTo>
                  <a:cubicBezTo>
                    <a:pt x="1402" y="4017"/>
                    <a:pt x="1358" y="4030"/>
                    <a:pt x="1324" y="4065"/>
                  </a:cubicBezTo>
                  <a:lnTo>
                    <a:pt x="1198" y="4159"/>
                  </a:lnTo>
                  <a:lnTo>
                    <a:pt x="851" y="3561"/>
                  </a:lnTo>
                  <a:lnTo>
                    <a:pt x="946" y="3466"/>
                  </a:lnTo>
                  <a:cubicBezTo>
                    <a:pt x="1072" y="3403"/>
                    <a:pt x="1166" y="3246"/>
                    <a:pt x="1103" y="3120"/>
                  </a:cubicBezTo>
                  <a:cubicBezTo>
                    <a:pt x="1072" y="2899"/>
                    <a:pt x="1072" y="2710"/>
                    <a:pt x="1103" y="2490"/>
                  </a:cubicBezTo>
                  <a:cubicBezTo>
                    <a:pt x="1166" y="2332"/>
                    <a:pt x="1072" y="2206"/>
                    <a:pt x="946" y="2143"/>
                  </a:cubicBezTo>
                  <a:lnTo>
                    <a:pt x="851" y="2049"/>
                  </a:lnTo>
                  <a:lnTo>
                    <a:pt x="1198" y="1482"/>
                  </a:lnTo>
                  <a:lnTo>
                    <a:pt x="1324" y="1545"/>
                  </a:lnTo>
                  <a:cubicBezTo>
                    <a:pt x="1366" y="1573"/>
                    <a:pt x="1421" y="1588"/>
                    <a:pt x="1481" y="1588"/>
                  </a:cubicBezTo>
                  <a:cubicBezTo>
                    <a:pt x="1553" y="1588"/>
                    <a:pt x="1632" y="1565"/>
                    <a:pt x="1702" y="1513"/>
                  </a:cubicBezTo>
                  <a:cubicBezTo>
                    <a:pt x="1859" y="1356"/>
                    <a:pt x="2048" y="1261"/>
                    <a:pt x="2269" y="1198"/>
                  </a:cubicBezTo>
                  <a:cubicBezTo>
                    <a:pt x="2426" y="1135"/>
                    <a:pt x="2489" y="977"/>
                    <a:pt x="2489" y="883"/>
                  </a:cubicBezTo>
                  <a:lnTo>
                    <a:pt x="2489" y="757"/>
                  </a:lnTo>
                  <a:close/>
                  <a:moveTo>
                    <a:pt x="2174" y="1"/>
                  </a:moveTo>
                  <a:cubicBezTo>
                    <a:pt x="1985" y="1"/>
                    <a:pt x="1828" y="158"/>
                    <a:pt x="1828" y="379"/>
                  </a:cubicBezTo>
                  <a:lnTo>
                    <a:pt x="1828" y="599"/>
                  </a:lnTo>
                  <a:cubicBezTo>
                    <a:pt x="1702" y="631"/>
                    <a:pt x="1576" y="725"/>
                    <a:pt x="1513" y="788"/>
                  </a:cubicBezTo>
                  <a:lnTo>
                    <a:pt x="1324" y="694"/>
                  </a:lnTo>
                  <a:cubicBezTo>
                    <a:pt x="1265" y="658"/>
                    <a:pt x="1192" y="641"/>
                    <a:pt x="1122" y="641"/>
                  </a:cubicBezTo>
                  <a:cubicBezTo>
                    <a:pt x="1004" y="641"/>
                    <a:pt x="890" y="690"/>
                    <a:pt x="851" y="788"/>
                  </a:cubicBezTo>
                  <a:lnTo>
                    <a:pt x="126" y="2017"/>
                  </a:lnTo>
                  <a:cubicBezTo>
                    <a:pt x="63" y="2175"/>
                    <a:pt x="95" y="2427"/>
                    <a:pt x="253" y="2490"/>
                  </a:cubicBezTo>
                  <a:lnTo>
                    <a:pt x="442" y="2616"/>
                  </a:lnTo>
                  <a:lnTo>
                    <a:pt x="442" y="2994"/>
                  </a:lnTo>
                  <a:lnTo>
                    <a:pt x="253" y="3120"/>
                  </a:lnTo>
                  <a:cubicBezTo>
                    <a:pt x="95" y="3214"/>
                    <a:pt x="0" y="3435"/>
                    <a:pt x="126" y="3592"/>
                  </a:cubicBezTo>
                  <a:lnTo>
                    <a:pt x="851" y="4821"/>
                  </a:lnTo>
                  <a:cubicBezTo>
                    <a:pt x="894" y="4928"/>
                    <a:pt x="1024" y="4991"/>
                    <a:pt x="1152" y="4991"/>
                  </a:cubicBezTo>
                  <a:cubicBezTo>
                    <a:pt x="1213" y="4991"/>
                    <a:pt x="1273" y="4977"/>
                    <a:pt x="1324" y="4947"/>
                  </a:cubicBezTo>
                  <a:lnTo>
                    <a:pt x="1513" y="4821"/>
                  </a:lnTo>
                  <a:cubicBezTo>
                    <a:pt x="1639" y="4884"/>
                    <a:pt x="1733" y="4979"/>
                    <a:pt x="1828" y="5010"/>
                  </a:cubicBezTo>
                  <a:lnTo>
                    <a:pt x="1828" y="5262"/>
                  </a:lnTo>
                  <a:cubicBezTo>
                    <a:pt x="1828" y="5451"/>
                    <a:pt x="1985" y="5609"/>
                    <a:pt x="2174" y="5609"/>
                  </a:cubicBezTo>
                  <a:lnTo>
                    <a:pt x="3592" y="5609"/>
                  </a:lnTo>
                  <a:cubicBezTo>
                    <a:pt x="3781" y="5609"/>
                    <a:pt x="3939" y="5451"/>
                    <a:pt x="3939" y="5262"/>
                  </a:cubicBezTo>
                  <a:lnTo>
                    <a:pt x="3939" y="5010"/>
                  </a:lnTo>
                  <a:cubicBezTo>
                    <a:pt x="4065" y="4979"/>
                    <a:pt x="4191" y="4884"/>
                    <a:pt x="4254" y="4821"/>
                  </a:cubicBezTo>
                  <a:lnTo>
                    <a:pt x="4474" y="4947"/>
                  </a:lnTo>
                  <a:cubicBezTo>
                    <a:pt x="4524" y="4967"/>
                    <a:pt x="4580" y="4978"/>
                    <a:pt x="4637" y="4978"/>
                  </a:cubicBezTo>
                  <a:cubicBezTo>
                    <a:pt x="4759" y="4978"/>
                    <a:pt x="4882" y="4929"/>
                    <a:pt x="4947" y="4821"/>
                  </a:cubicBezTo>
                  <a:lnTo>
                    <a:pt x="5640" y="3592"/>
                  </a:lnTo>
                  <a:cubicBezTo>
                    <a:pt x="5734" y="3435"/>
                    <a:pt x="5671" y="3214"/>
                    <a:pt x="5514" y="3120"/>
                  </a:cubicBezTo>
                  <a:lnTo>
                    <a:pt x="5325" y="2994"/>
                  </a:lnTo>
                  <a:lnTo>
                    <a:pt x="5325" y="2616"/>
                  </a:lnTo>
                  <a:lnTo>
                    <a:pt x="5514" y="2490"/>
                  </a:lnTo>
                  <a:cubicBezTo>
                    <a:pt x="5671" y="2427"/>
                    <a:pt x="5766" y="2206"/>
                    <a:pt x="5640" y="2017"/>
                  </a:cubicBezTo>
                  <a:lnTo>
                    <a:pt x="4947" y="788"/>
                  </a:lnTo>
                  <a:cubicBezTo>
                    <a:pt x="4887" y="689"/>
                    <a:pt x="4777" y="627"/>
                    <a:pt x="4664" y="627"/>
                  </a:cubicBezTo>
                  <a:cubicBezTo>
                    <a:pt x="4598" y="627"/>
                    <a:pt x="4532" y="648"/>
                    <a:pt x="4474" y="694"/>
                  </a:cubicBezTo>
                  <a:lnTo>
                    <a:pt x="4254" y="788"/>
                  </a:lnTo>
                  <a:cubicBezTo>
                    <a:pt x="4159" y="725"/>
                    <a:pt x="4033" y="631"/>
                    <a:pt x="3939" y="599"/>
                  </a:cubicBezTo>
                  <a:lnTo>
                    <a:pt x="3939" y="379"/>
                  </a:lnTo>
                  <a:cubicBezTo>
                    <a:pt x="3939" y="158"/>
                    <a:pt x="3781" y="1"/>
                    <a:pt x="35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6" name="Google Shape;10356;p79"/>
            <p:cNvSpPr/>
            <p:nvPr/>
          </p:nvSpPr>
          <p:spPr>
            <a:xfrm>
              <a:off x="-48150350" y="2422325"/>
              <a:ext cx="52775" cy="52800"/>
            </a:xfrm>
            <a:custGeom>
              <a:avLst/>
              <a:gdLst/>
              <a:ahLst/>
              <a:cxnLst/>
              <a:rect l="l" t="t" r="r" b="b"/>
              <a:pathLst>
                <a:path w="2111" h="2112" extrusionOk="0">
                  <a:moveTo>
                    <a:pt x="1040" y="662"/>
                  </a:moveTo>
                  <a:cubicBezTo>
                    <a:pt x="1260" y="662"/>
                    <a:pt x="1418" y="820"/>
                    <a:pt x="1418" y="1009"/>
                  </a:cubicBezTo>
                  <a:cubicBezTo>
                    <a:pt x="1418" y="1198"/>
                    <a:pt x="1260" y="1355"/>
                    <a:pt x="1040" y="1355"/>
                  </a:cubicBezTo>
                  <a:cubicBezTo>
                    <a:pt x="851" y="1355"/>
                    <a:pt x="693" y="1198"/>
                    <a:pt x="693" y="1009"/>
                  </a:cubicBezTo>
                  <a:cubicBezTo>
                    <a:pt x="693" y="820"/>
                    <a:pt x="851" y="662"/>
                    <a:pt x="1040" y="662"/>
                  </a:cubicBezTo>
                  <a:close/>
                  <a:moveTo>
                    <a:pt x="1040" y="1"/>
                  </a:moveTo>
                  <a:cubicBezTo>
                    <a:pt x="473" y="1"/>
                    <a:pt x="0" y="473"/>
                    <a:pt x="0" y="1040"/>
                  </a:cubicBezTo>
                  <a:cubicBezTo>
                    <a:pt x="0" y="1639"/>
                    <a:pt x="473" y="2111"/>
                    <a:pt x="1040" y="2111"/>
                  </a:cubicBezTo>
                  <a:cubicBezTo>
                    <a:pt x="1639" y="2111"/>
                    <a:pt x="2111" y="1639"/>
                    <a:pt x="2111" y="1040"/>
                  </a:cubicBezTo>
                  <a:cubicBezTo>
                    <a:pt x="2111" y="473"/>
                    <a:pt x="163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7" name="Google Shape;10357;p79"/>
          <p:cNvGrpSpPr/>
          <p:nvPr/>
        </p:nvGrpSpPr>
        <p:grpSpPr>
          <a:xfrm>
            <a:off x="2180338" y="2918646"/>
            <a:ext cx="361034" cy="355633"/>
            <a:chOff x="-46404975" y="1966100"/>
            <a:chExt cx="302475" cy="297950"/>
          </a:xfrm>
        </p:grpSpPr>
        <p:sp>
          <p:nvSpPr>
            <p:cNvPr id="10358" name="Google Shape;10358;p79"/>
            <p:cNvSpPr/>
            <p:nvPr/>
          </p:nvSpPr>
          <p:spPr>
            <a:xfrm>
              <a:off x="-46349850" y="1966100"/>
              <a:ext cx="38625" cy="86850"/>
            </a:xfrm>
            <a:custGeom>
              <a:avLst/>
              <a:gdLst/>
              <a:ahLst/>
              <a:cxnLst/>
              <a:rect l="l" t="t" r="r" b="b"/>
              <a:pathLst>
                <a:path w="1545" h="3474" extrusionOk="0">
                  <a:moveTo>
                    <a:pt x="784" y="0"/>
                  </a:moveTo>
                  <a:cubicBezTo>
                    <a:pt x="686" y="0"/>
                    <a:pt x="583" y="24"/>
                    <a:pt x="505" y="71"/>
                  </a:cubicBezTo>
                  <a:cubicBezTo>
                    <a:pt x="1" y="607"/>
                    <a:pt x="1" y="1458"/>
                    <a:pt x="505" y="1962"/>
                  </a:cubicBezTo>
                  <a:cubicBezTo>
                    <a:pt x="757" y="2214"/>
                    <a:pt x="757" y="2655"/>
                    <a:pt x="505" y="2875"/>
                  </a:cubicBezTo>
                  <a:cubicBezTo>
                    <a:pt x="379" y="3001"/>
                    <a:pt x="379" y="3222"/>
                    <a:pt x="505" y="3379"/>
                  </a:cubicBezTo>
                  <a:cubicBezTo>
                    <a:pt x="568" y="3442"/>
                    <a:pt x="654" y="3474"/>
                    <a:pt x="749" y="3474"/>
                  </a:cubicBezTo>
                  <a:cubicBezTo>
                    <a:pt x="843" y="3474"/>
                    <a:pt x="946" y="3442"/>
                    <a:pt x="1040" y="3379"/>
                  </a:cubicBezTo>
                  <a:cubicBezTo>
                    <a:pt x="1544" y="2875"/>
                    <a:pt x="1544" y="2025"/>
                    <a:pt x="1040" y="1489"/>
                  </a:cubicBezTo>
                  <a:cubicBezTo>
                    <a:pt x="788" y="1269"/>
                    <a:pt x="788" y="827"/>
                    <a:pt x="1040" y="607"/>
                  </a:cubicBezTo>
                  <a:cubicBezTo>
                    <a:pt x="1135" y="481"/>
                    <a:pt x="1135" y="229"/>
                    <a:pt x="1040" y="71"/>
                  </a:cubicBezTo>
                  <a:cubicBezTo>
                    <a:pt x="977" y="24"/>
                    <a:pt x="883" y="0"/>
                    <a:pt x="7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79"/>
            <p:cNvSpPr/>
            <p:nvPr/>
          </p:nvSpPr>
          <p:spPr>
            <a:xfrm>
              <a:off x="-46297875" y="1966100"/>
              <a:ext cx="38625" cy="86850"/>
            </a:xfrm>
            <a:custGeom>
              <a:avLst/>
              <a:gdLst/>
              <a:ahLst/>
              <a:cxnLst/>
              <a:rect l="l" t="t" r="r" b="b"/>
              <a:pathLst>
                <a:path w="1545" h="3474" extrusionOk="0">
                  <a:moveTo>
                    <a:pt x="800" y="0"/>
                  </a:moveTo>
                  <a:cubicBezTo>
                    <a:pt x="710" y="0"/>
                    <a:pt x="615" y="24"/>
                    <a:pt x="537" y="71"/>
                  </a:cubicBezTo>
                  <a:cubicBezTo>
                    <a:pt x="1" y="607"/>
                    <a:pt x="1" y="1458"/>
                    <a:pt x="537" y="1962"/>
                  </a:cubicBezTo>
                  <a:cubicBezTo>
                    <a:pt x="757" y="2214"/>
                    <a:pt x="757" y="2655"/>
                    <a:pt x="537" y="2875"/>
                  </a:cubicBezTo>
                  <a:cubicBezTo>
                    <a:pt x="410" y="3001"/>
                    <a:pt x="410" y="3222"/>
                    <a:pt x="537" y="3379"/>
                  </a:cubicBezTo>
                  <a:cubicBezTo>
                    <a:pt x="584" y="3442"/>
                    <a:pt x="670" y="3474"/>
                    <a:pt x="765" y="3474"/>
                  </a:cubicBezTo>
                  <a:cubicBezTo>
                    <a:pt x="859" y="3474"/>
                    <a:pt x="962" y="3442"/>
                    <a:pt x="1041" y="3379"/>
                  </a:cubicBezTo>
                  <a:cubicBezTo>
                    <a:pt x="1545" y="2875"/>
                    <a:pt x="1545" y="2025"/>
                    <a:pt x="1041" y="1489"/>
                  </a:cubicBezTo>
                  <a:cubicBezTo>
                    <a:pt x="789" y="1269"/>
                    <a:pt x="789" y="827"/>
                    <a:pt x="1041" y="607"/>
                  </a:cubicBezTo>
                  <a:cubicBezTo>
                    <a:pt x="1167" y="481"/>
                    <a:pt x="1167" y="229"/>
                    <a:pt x="1041" y="71"/>
                  </a:cubicBezTo>
                  <a:cubicBezTo>
                    <a:pt x="978" y="24"/>
                    <a:pt x="891" y="0"/>
                    <a:pt x="8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0" name="Google Shape;10360;p79"/>
            <p:cNvSpPr/>
            <p:nvPr/>
          </p:nvSpPr>
          <p:spPr>
            <a:xfrm>
              <a:off x="-46244300" y="1966100"/>
              <a:ext cx="38600" cy="86850"/>
            </a:xfrm>
            <a:custGeom>
              <a:avLst/>
              <a:gdLst/>
              <a:ahLst/>
              <a:cxnLst/>
              <a:rect l="l" t="t" r="r" b="b"/>
              <a:pathLst>
                <a:path w="1544" h="3474" extrusionOk="0">
                  <a:moveTo>
                    <a:pt x="768" y="0"/>
                  </a:moveTo>
                  <a:cubicBezTo>
                    <a:pt x="678" y="0"/>
                    <a:pt x="583" y="24"/>
                    <a:pt x="504" y="71"/>
                  </a:cubicBezTo>
                  <a:cubicBezTo>
                    <a:pt x="0" y="607"/>
                    <a:pt x="0" y="1458"/>
                    <a:pt x="504" y="1962"/>
                  </a:cubicBezTo>
                  <a:cubicBezTo>
                    <a:pt x="756" y="2214"/>
                    <a:pt x="756" y="2655"/>
                    <a:pt x="504" y="2875"/>
                  </a:cubicBezTo>
                  <a:cubicBezTo>
                    <a:pt x="378" y="3001"/>
                    <a:pt x="378" y="3222"/>
                    <a:pt x="504" y="3379"/>
                  </a:cubicBezTo>
                  <a:cubicBezTo>
                    <a:pt x="567" y="3442"/>
                    <a:pt x="654" y="3474"/>
                    <a:pt x="745" y="3474"/>
                  </a:cubicBezTo>
                  <a:cubicBezTo>
                    <a:pt x="835" y="3474"/>
                    <a:pt x="930" y="3442"/>
                    <a:pt x="1008" y="3379"/>
                  </a:cubicBezTo>
                  <a:cubicBezTo>
                    <a:pt x="1544" y="2875"/>
                    <a:pt x="1544" y="2025"/>
                    <a:pt x="1008" y="1489"/>
                  </a:cubicBezTo>
                  <a:cubicBezTo>
                    <a:pt x="788" y="1269"/>
                    <a:pt x="788" y="827"/>
                    <a:pt x="1008" y="607"/>
                  </a:cubicBezTo>
                  <a:cubicBezTo>
                    <a:pt x="1134" y="481"/>
                    <a:pt x="1134" y="229"/>
                    <a:pt x="1008" y="71"/>
                  </a:cubicBezTo>
                  <a:cubicBezTo>
                    <a:pt x="945" y="24"/>
                    <a:pt x="859" y="0"/>
                    <a:pt x="7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1" name="Google Shape;10361;p79"/>
            <p:cNvSpPr/>
            <p:nvPr/>
          </p:nvSpPr>
          <p:spPr>
            <a:xfrm>
              <a:off x="-46404975" y="2070250"/>
              <a:ext cx="302475" cy="193800"/>
            </a:xfrm>
            <a:custGeom>
              <a:avLst/>
              <a:gdLst/>
              <a:ahLst/>
              <a:cxnLst/>
              <a:rect l="l" t="t" r="r" b="b"/>
              <a:pathLst>
                <a:path w="12099" h="7752" extrusionOk="0">
                  <a:moveTo>
                    <a:pt x="11058" y="1419"/>
                  </a:moveTo>
                  <a:cubicBezTo>
                    <a:pt x="11248" y="1419"/>
                    <a:pt x="11405" y="1576"/>
                    <a:pt x="11405" y="1797"/>
                  </a:cubicBezTo>
                  <a:cubicBezTo>
                    <a:pt x="11405" y="3088"/>
                    <a:pt x="10397" y="4160"/>
                    <a:pt x="9137" y="4223"/>
                  </a:cubicBezTo>
                  <a:cubicBezTo>
                    <a:pt x="9578" y="3372"/>
                    <a:pt x="9830" y="2395"/>
                    <a:pt x="9956" y="1419"/>
                  </a:cubicBezTo>
                  <a:close/>
                  <a:moveTo>
                    <a:pt x="9294" y="726"/>
                  </a:moveTo>
                  <a:cubicBezTo>
                    <a:pt x="9200" y="2521"/>
                    <a:pt x="8507" y="4569"/>
                    <a:pt x="7057" y="5640"/>
                  </a:cubicBezTo>
                  <a:lnTo>
                    <a:pt x="3056" y="5640"/>
                  </a:lnTo>
                  <a:lnTo>
                    <a:pt x="3056" y="5672"/>
                  </a:lnTo>
                  <a:cubicBezTo>
                    <a:pt x="1765" y="4695"/>
                    <a:pt x="914" y="2805"/>
                    <a:pt x="819" y="726"/>
                  </a:cubicBezTo>
                  <a:close/>
                  <a:moveTo>
                    <a:pt x="8948" y="6396"/>
                  </a:moveTo>
                  <a:cubicBezTo>
                    <a:pt x="8570" y="6837"/>
                    <a:pt x="8003" y="7090"/>
                    <a:pt x="7372" y="7090"/>
                  </a:cubicBezTo>
                  <a:lnTo>
                    <a:pt x="2710" y="7090"/>
                  </a:lnTo>
                  <a:cubicBezTo>
                    <a:pt x="2080" y="7090"/>
                    <a:pt x="1481" y="6837"/>
                    <a:pt x="1103" y="6396"/>
                  </a:cubicBezTo>
                  <a:close/>
                  <a:moveTo>
                    <a:pt x="441" y="1"/>
                  </a:moveTo>
                  <a:cubicBezTo>
                    <a:pt x="252" y="1"/>
                    <a:pt x="95" y="158"/>
                    <a:pt x="95" y="348"/>
                  </a:cubicBezTo>
                  <a:cubicBezTo>
                    <a:pt x="95" y="2301"/>
                    <a:pt x="725" y="4317"/>
                    <a:pt x="1985" y="5640"/>
                  </a:cubicBezTo>
                  <a:lnTo>
                    <a:pt x="441" y="5640"/>
                  </a:lnTo>
                  <a:cubicBezTo>
                    <a:pt x="158" y="5640"/>
                    <a:pt x="0" y="5924"/>
                    <a:pt x="126" y="6144"/>
                  </a:cubicBezTo>
                  <a:cubicBezTo>
                    <a:pt x="347" y="6617"/>
                    <a:pt x="725" y="7027"/>
                    <a:pt x="1197" y="7342"/>
                  </a:cubicBezTo>
                  <a:cubicBezTo>
                    <a:pt x="1670" y="7594"/>
                    <a:pt x="2174" y="7751"/>
                    <a:pt x="2710" y="7751"/>
                  </a:cubicBezTo>
                  <a:lnTo>
                    <a:pt x="7372" y="7751"/>
                  </a:lnTo>
                  <a:cubicBezTo>
                    <a:pt x="8475" y="7751"/>
                    <a:pt x="9452" y="7121"/>
                    <a:pt x="9956" y="6144"/>
                  </a:cubicBezTo>
                  <a:cubicBezTo>
                    <a:pt x="10082" y="5924"/>
                    <a:pt x="9924" y="5640"/>
                    <a:pt x="9641" y="5640"/>
                  </a:cubicBezTo>
                  <a:lnTo>
                    <a:pt x="8129" y="5640"/>
                  </a:lnTo>
                  <a:lnTo>
                    <a:pt x="8696" y="4916"/>
                  </a:lnTo>
                  <a:lnTo>
                    <a:pt x="8948" y="4916"/>
                  </a:lnTo>
                  <a:lnTo>
                    <a:pt x="8948" y="4947"/>
                  </a:lnTo>
                  <a:cubicBezTo>
                    <a:pt x="10680" y="4947"/>
                    <a:pt x="12098" y="3529"/>
                    <a:pt x="12098" y="1797"/>
                  </a:cubicBezTo>
                  <a:cubicBezTo>
                    <a:pt x="12098" y="1198"/>
                    <a:pt x="11626" y="726"/>
                    <a:pt x="11027" y="726"/>
                  </a:cubicBezTo>
                  <a:lnTo>
                    <a:pt x="9956" y="726"/>
                  </a:lnTo>
                  <a:lnTo>
                    <a:pt x="9956" y="348"/>
                  </a:lnTo>
                  <a:cubicBezTo>
                    <a:pt x="9956" y="158"/>
                    <a:pt x="9798" y="1"/>
                    <a:pt x="9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2" name="Google Shape;10362;p79"/>
          <p:cNvGrpSpPr/>
          <p:nvPr/>
        </p:nvGrpSpPr>
        <p:grpSpPr>
          <a:xfrm>
            <a:off x="2181740" y="3364463"/>
            <a:ext cx="358229" cy="358199"/>
            <a:chOff x="-46401050" y="2333325"/>
            <a:chExt cx="300125" cy="300100"/>
          </a:xfrm>
        </p:grpSpPr>
        <p:sp>
          <p:nvSpPr>
            <p:cNvPr id="10363" name="Google Shape;10363;p79"/>
            <p:cNvSpPr/>
            <p:nvPr/>
          </p:nvSpPr>
          <p:spPr>
            <a:xfrm>
              <a:off x="-46401050" y="2333325"/>
              <a:ext cx="300125" cy="300100"/>
            </a:xfrm>
            <a:custGeom>
              <a:avLst/>
              <a:gdLst/>
              <a:ahLst/>
              <a:cxnLst/>
              <a:rect l="l" t="t" r="r" b="b"/>
              <a:pathLst>
                <a:path w="12005" h="12004" extrusionOk="0">
                  <a:moveTo>
                    <a:pt x="7719" y="725"/>
                  </a:moveTo>
                  <a:lnTo>
                    <a:pt x="7719" y="2111"/>
                  </a:lnTo>
                  <a:lnTo>
                    <a:pt x="7026" y="2111"/>
                  </a:lnTo>
                  <a:lnTo>
                    <a:pt x="7026" y="725"/>
                  </a:lnTo>
                  <a:close/>
                  <a:moveTo>
                    <a:pt x="9137" y="725"/>
                  </a:moveTo>
                  <a:lnTo>
                    <a:pt x="9137" y="3498"/>
                  </a:lnTo>
                  <a:lnTo>
                    <a:pt x="2805" y="3498"/>
                  </a:lnTo>
                  <a:lnTo>
                    <a:pt x="2805" y="725"/>
                  </a:lnTo>
                  <a:lnTo>
                    <a:pt x="6302" y="725"/>
                  </a:lnTo>
                  <a:lnTo>
                    <a:pt x="6302" y="2489"/>
                  </a:lnTo>
                  <a:cubicBezTo>
                    <a:pt x="6302" y="2678"/>
                    <a:pt x="6459" y="2836"/>
                    <a:pt x="6648" y="2836"/>
                  </a:cubicBezTo>
                  <a:lnTo>
                    <a:pt x="8066" y="2836"/>
                  </a:lnTo>
                  <a:cubicBezTo>
                    <a:pt x="8255" y="2836"/>
                    <a:pt x="8413" y="2678"/>
                    <a:pt x="8413" y="2489"/>
                  </a:cubicBezTo>
                  <a:lnTo>
                    <a:pt x="8413" y="725"/>
                  </a:lnTo>
                  <a:close/>
                  <a:moveTo>
                    <a:pt x="2080" y="725"/>
                  </a:moveTo>
                  <a:lnTo>
                    <a:pt x="2080" y="3876"/>
                  </a:lnTo>
                  <a:cubicBezTo>
                    <a:pt x="2080" y="4065"/>
                    <a:pt x="2238" y="4222"/>
                    <a:pt x="2427" y="4222"/>
                  </a:cubicBezTo>
                  <a:lnTo>
                    <a:pt x="9452" y="4222"/>
                  </a:lnTo>
                  <a:cubicBezTo>
                    <a:pt x="9641" y="4222"/>
                    <a:pt x="9799" y="4065"/>
                    <a:pt x="9799" y="3876"/>
                  </a:cubicBezTo>
                  <a:lnTo>
                    <a:pt x="9799" y="1166"/>
                  </a:lnTo>
                  <a:lnTo>
                    <a:pt x="11217" y="2584"/>
                  </a:lnTo>
                  <a:lnTo>
                    <a:pt x="11217" y="11311"/>
                  </a:lnTo>
                  <a:lnTo>
                    <a:pt x="662" y="11311"/>
                  </a:lnTo>
                  <a:lnTo>
                    <a:pt x="662" y="725"/>
                  </a:lnTo>
                  <a:close/>
                  <a:moveTo>
                    <a:pt x="347" y="1"/>
                  </a:moveTo>
                  <a:cubicBezTo>
                    <a:pt x="158" y="1"/>
                    <a:pt x="1" y="158"/>
                    <a:pt x="1" y="347"/>
                  </a:cubicBezTo>
                  <a:lnTo>
                    <a:pt x="1" y="11657"/>
                  </a:lnTo>
                  <a:cubicBezTo>
                    <a:pt x="1" y="11846"/>
                    <a:pt x="158" y="12004"/>
                    <a:pt x="347" y="12004"/>
                  </a:cubicBezTo>
                  <a:lnTo>
                    <a:pt x="11658" y="12004"/>
                  </a:lnTo>
                  <a:cubicBezTo>
                    <a:pt x="11847" y="12004"/>
                    <a:pt x="12004" y="11846"/>
                    <a:pt x="12004" y="11657"/>
                  </a:cubicBezTo>
                  <a:lnTo>
                    <a:pt x="12004" y="2489"/>
                  </a:lnTo>
                  <a:cubicBezTo>
                    <a:pt x="11941" y="2395"/>
                    <a:pt x="11878" y="2300"/>
                    <a:pt x="11847" y="2237"/>
                  </a:cubicBezTo>
                  <a:lnTo>
                    <a:pt x="9736" y="127"/>
                  </a:lnTo>
                  <a:cubicBezTo>
                    <a:pt x="9641" y="32"/>
                    <a:pt x="9578" y="1"/>
                    <a:pt x="94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4" name="Google Shape;10364;p79"/>
            <p:cNvSpPr/>
            <p:nvPr/>
          </p:nvSpPr>
          <p:spPr>
            <a:xfrm>
              <a:off x="-46366400" y="2580650"/>
              <a:ext cx="35475" cy="17350"/>
            </a:xfrm>
            <a:custGeom>
              <a:avLst/>
              <a:gdLst/>
              <a:ahLst/>
              <a:cxnLst/>
              <a:rect l="l" t="t" r="r" b="b"/>
              <a:pathLst>
                <a:path w="1419" h="694" extrusionOk="0">
                  <a:moveTo>
                    <a:pt x="348" y="0"/>
                  </a:moveTo>
                  <a:cubicBezTo>
                    <a:pt x="159" y="0"/>
                    <a:pt x="1" y="158"/>
                    <a:pt x="1" y="347"/>
                  </a:cubicBezTo>
                  <a:cubicBezTo>
                    <a:pt x="1" y="536"/>
                    <a:pt x="159" y="693"/>
                    <a:pt x="348" y="693"/>
                  </a:cubicBezTo>
                  <a:lnTo>
                    <a:pt x="1041" y="693"/>
                  </a:lnTo>
                  <a:cubicBezTo>
                    <a:pt x="1261" y="693"/>
                    <a:pt x="1419" y="536"/>
                    <a:pt x="1419" y="347"/>
                  </a:cubicBezTo>
                  <a:cubicBezTo>
                    <a:pt x="1419" y="158"/>
                    <a:pt x="1261"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5" name="Google Shape;10365;p79"/>
            <p:cNvSpPr/>
            <p:nvPr/>
          </p:nvSpPr>
          <p:spPr>
            <a:xfrm>
              <a:off x="-46313625" y="2457775"/>
              <a:ext cx="122900" cy="122100"/>
            </a:xfrm>
            <a:custGeom>
              <a:avLst/>
              <a:gdLst/>
              <a:ahLst/>
              <a:cxnLst/>
              <a:rect l="l" t="t" r="r" b="b"/>
              <a:pathLst>
                <a:path w="4916" h="4884" extrusionOk="0">
                  <a:moveTo>
                    <a:pt x="2458" y="662"/>
                  </a:moveTo>
                  <a:cubicBezTo>
                    <a:pt x="3435" y="662"/>
                    <a:pt x="4222" y="1450"/>
                    <a:pt x="4222" y="2426"/>
                  </a:cubicBezTo>
                  <a:cubicBezTo>
                    <a:pt x="4222" y="3403"/>
                    <a:pt x="3435" y="4190"/>
                    <a:pt x="2458" y="4190"/>
                  </a:cubicBezTo>
                  <a:cubicBezTo>
                    <a:pt x="1450" y="4190"/>
                    <a:pt x="662" y="3403"/>
                    <a:pt x="662" y="2426"/>
                  </a:cubicBezTo>
                  <a:cubicBezTo>
                    <a:pt x="662" y="1450"/>
                    <a:pt x="1450" y="662"/>
                    <a:pt x="2458" y="662"/>
                  </a:cubicBezTo>
                  <a:close/>
                  <a:moveTo>
                    <a:pt x="2458" y="0"/>
                  </a:moveTo>
                  <a:cubicBezTo>
                    <a:pt x="1103" y="0"/>
                    <a:pt x="1" y="1103"/>
                    <a:pt x="1" y="2426"/>
                  </a:cubicBezTo>
                  <a:cubicBezTo>
                    <a:pt x="1" y="3781"/>
                    <a:pt x="1103" y="4884"/>
                    <a:pt x="2458" y="4884"/>
                  </a:cubicBezTo>
                  <a:cubicBezTo>
                    <a:pt x="3781" y="4884"/>
                    <a:pt x="4884" y="3749"/>
                    <a:pt x="4884" y="2426"/>
                  </a:cubicBezTo>
                  <a:cubicBezTo>
                    <a:pt x="4916" y="1103"/>
                    <a:pt x="381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79"/>
            <p:cNvSpPr/>
            <p:nvPr/>
          </p:nvSpPr>
          <p:spPr>
            <a:xfrm>
              <a:off x="-46278950" y="2493225"/>
              <a:ext cx="53575" cy="52775"/>
            </a:xfrm>
            <a:custGeom>
              <a:avLst/>
              <a:gdLst/>
              <a:ahLst/>
              <a:cxnLst/>
              <a:rect l="l" t="t" r="r" b="b"/>
              <a:pathLst>
                <a:path w="2143" h="2111" extrusionOk="0">
                  <a:moveTo>
                    <a:pt x="1071" y="662"/>
                  </a:moveTo>
                  <a:cubicBezTo>
                    <a:pt x="1260" y="662"/>
                    <a:pt x="1418" y="819"/>
                    <a:pt x="1418" y="1008"/>
                  </a:cubicBezTo>
                  <a:cubicBezTo>
                    <a:pt x="1418" y="1197"/>
                    <a:pt x="1260" y="1355"/>
                    <a:pt x="1071" y="1355"/>
                  </a:cubicBezTo>
                  <a:cubicBezTo>
                    <a:pt x="851" y="1355"/>
                    <a:pt x="693" y="1197"/>
                    <a:pt x="693" y="1008"/>
                  </a:cubicBezTo>
                  <a:cubicBezTo>
                    <a:pt x="693" y="819"/>
                    <a:pt x="851" y="662"/>
                    <a:pt x="1071" y="662"/>
                  </a:cubicBezTo>
                  <a:close/>
                  <a:moveTo>
                    <a:pt x="1071" y="0"/>
                  </a:moveTo>
                  <a:cubicBezTo>
                    <a:pt x="473" y="0"/>
                    <a:pt x="0" y="473"/>
                    <a:pt x="0" y="1040"/>
                  </a:cubicBezTo>
                  <a:cubicBezTo>
                    <a:pt x="0" y="1638"/>
                    <a:pt x="473" y="2111"/>
                    <a:pt x="1071" y="2111"/>
                  </a:cubicBezTo>
                  <a:cubicBezTo>
                    <a:pt x="1638" y="2111"/>
                    <a:pt x="2111" y="1638"/>
                    <a:pt x="2111" y="1040"/>
                  </a:cubicBezTo>
                  <a:cubicBezTo>
                    <a:pt x="2142" y="473"/>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79"/>
          <p:cNvSpPr/>
          <p:nvPr/>
        </p:nvSpPr>
        <p:spPr>
          <a:xfrm>
            <a:off x="2183438" y="3820197"/>
            <a:ext cx="360109" cy="359154"/>
          </a:xfrm>
          <a:custGeom>
            <a:avLst/>
            <a:gdLst/>
            <a:ahLst/>
            <a:cxnLst/>
            <a:rect l="l" t="t" r="r" b="b"/>
            <a:pathLst>
              <a:path w="12068" h="12036" extrusionOk="0">
                <a:moveTo>
                  <a:pt x="4222" y="630"/>
                </a:moveTo>
                <a:cubicBezTo>
                  <a:pt x="5010" y="630"/>
                  <a:pt x="5640" y="1292"/>
                  <a:pt x="5640" y="2048"/>
                </a:cubicBezTo>
                <a:lnTo>
                  <a:pt x="5640" y="9767"/>
                </a:lnTo>
                <a:cubicBezTo>
                  <a:pt x="5703" y="10617"/>
                  <a:pt x="5073" y="11311"/>
                  <a:pt x="4285" y="11311"/>
                </a:cubicBezTo>
                <a:cubicBezTo>
                  <a:pt x="3498" y="11311"/>
                  <a:pt x="2868" y="10680"/>
                  <a:pt x="2868" y="9893"/>
                </a:cubicBezTo>
                <a:lnTo>
                  <a:pt x="2868" y="9830"/>
                </a:lnTo>
                <a:cubicBezTo>
                  <a:pt x="3403" y="9767"/>
                  <a:pt x="3907" y="9515"/>
                  <a:pt x="4254" y="9137"/>
                </a:cubicBezTo>
                <a:cubicBezTo>
                  <a:pt x="4380" y="9011"/>
                  <a:pt x="4380" y="8790"/>
                  <a:pt x="4254" y="8633"/>
                </a:cubicBezTo>
                <a:cubicBezTo>
                  <a:pt x="4191" y="8570"/>
                  <a:pt x="4104" y="8538"/>
                  <a:pt x="4014" y="8538"/>
                </a:cubicBezTo>
                <a:cubicBezTo>
                  <a:pt x="3923" y="8538"/>
                  <a:pt x="3829" y="8570"/>
                  <a:pt x="3750" y="8633"/>
                </a:cubicBezTo>
                <a:cubicBezTo>
                  <a:pt x="3435" y="8948"/>
                  <a:pt x="2962" y="9137"/>
                  <a:pt x="2490" y="9137"/>
                </a:cubicBezTo>
                <a:cubicBezTo>
                  <a:pt x="1513" y="9137"/>
                  <a:pt x="725" y="8349"/>
                  <a:pt x="725" y="7372"/>
                </a:cubicBezTo>
                <a:cubicBezTo>
                  <a:pt x="725" y="7057"/>
                  <a:pt x="788" y="6742"/>
                  <a:pt x="946" y="6490"/>
                </a:cubicBezTo>
                <a:cubicBezTo>
                  <a:pt x="1387" y="6805"/>
                  <a:pt x="1891" y="6994"/>
                  <a:pt x="2490" y="6994"/>
                </a:cubicBezTo>
                <a:cubicBezTo>
                  <a:pt x="2679" y="6994"/>
                  <a:pt x="2836" y="6837"/>
                  <a:pt x="2836" y="6648"/>
                </a:cubicBezTo>
                <a:cubicBezTo>
                  <a:pt x="2836" y="6459"/>
                  <a:pt x="2679" y="6301"/>
                  <a:pt x="2490" y="6301"/>
                </a:cubicBezTo>
                <a:cubicBezTo>
                  <a:pt x="1513" y="6301"/>
                  <a:pt x="725" y="5514"/>
                  <a:pt x="725" y="4537"/>
                </a:cubicBezTo>
                <a:cubicBezTo>
                  <a:pt x="725" y="3623"/>
                  <a:pt x="1387" y="2899"/>
                  <a:pt x="2238" y="2804"/>
                </a:cubicBezTo>
                <a:cubicBezTo>
                  <a:pt x="2521" y="3623"/>
                  <a:pt x="3309" y="4159"/>
                  <a:pt x="4222" y="4159"/>
                </a:cubicBezTo>
                <a:cubicBezTo>
                  <a:pt x="4411" y="4159"/>
                  <a:pt x="4569" y="4001"/>
                  <a:pt x="4569" y="3812"/>
                </a:cubicBezTo>
                <a:cubicBezTo>
                  <a:pt x="4569" y="3623"/>
                  <a:pt x="4411" y="3466"/>
                  <a:pt x="4222" y="3466"/>
                </a:cubicBezTo>
                <a:cubicBezTo>
                  <a:pt x="3435" y="3466"/>
                  <a:pt x="2805" y="2836"/>
                  <a:pt x="2805" y="2048"/>
                </a:cubicBezTo>
                <a:cubicBezTo>
                  <a:pt x="2805" y="1261"/>
                  <a:pt x="3435" y="630"/>
                  <a:pt x="4222" y="630"/>
                </a:cubicBezTo>
                <a:close/>
                <a:moveTo>
                  <a:pt x="7814" y="788"/>
                </a:moveTo>
                <a:cubicBezTo>
                  <a:pt x="8602" y="788"/>
                  <a:pt x="9232" y="1418"/>
                  <a:pt x="9232" y="2206"/>
                </a:cubicBezTo>
                <a:cubicBezTo>
                  <a:pt x="9232" y="2993"/>
                  <a:pt x="8602" y="3623"/>
                  <a:pt x="7814" y="3623"/>
                </a:cubicBezTo>
                <a:cubicBezTo>
                  <a:pt x="7593" y="3623"/>
                  <a:pt x="7436" y="3781"/>
                  <a:pt x="7436" y="3970"/>
                </a:cubicBezTo>
                <a:cubicBezTo>
                  <a:pt x="7436" y="4159"/>
                  <a:pt x="7593" y="4316"/>
                  <a:pt x="7814" y="4316"/>
                </a:cubicBezTo>
                <a:cubicBezTo>
                  <a:pt x="8696" y="4316"/>
                  <a:pt x="9484" y="3749"/>
                  <a:pt x="9767" y="2962"/>
                </a:cubicBezTo>
                <a:cubicBezTo>
                  <a:pt x="10649" y="3056"/>
                  <a:pt x="11311" y="3812"/>
                  <a:pt x="11311" y="4695"/>
                </a:cubicBezTo>
                <a:cubicBezTo>
                  <a:pt x="11311" y="5671"/>
                  <a:pt x="10523" y="6459"/>
                  <a:pt x="9547" y="6459"/>
                </a:cubicBezTo>
                <a:cubicBezTo>
                  <a:pt x="9326" y="6459"/>
                  <a:pt x="9169" y="6616"/>
                  <a:pt x="9169" y="6805"/>
                </a:cubicBezTo>
                <a:cubicBezTo>
                  <a:pt x="9169" y="6994"/>
                  <a:pt x="9326" y="7152"/>
                  <a:pt x="9547" y="7152"/>
                </a:cubicBezTo>
                <a:cubicBezTo>
                  <a:pt x="10114" y="7152"/>
                  <a:pt x="10649" y="6963"/>
                  <a:pt x="11059" y="6648"/>
                </a:cubicBezTo>
                <a:cubicBezTo>
                  <a:pt x="11217" y="6931"/>
                  <a:pt x="11311" y="7215"/>
                  <a:pt x="11311" y="7530"/>
                </a:cubicBezTo>
                <a:cubicBezTo>
                  <a:pt x="11374" y="8381"/>
                  <a:pt x="10586" y="9168"/>
                  <a:pt x="9610" y="9168"/>
                </a:cubicBezTo>
                <a:cubicBezTo>
                  <a:pt x="9137" y="9168"/>
                  <a:pt x="8696" y="8979"/>
                  <a:pt x="8350" y="8664"/>
                </a:cubicBezTo>
                <a:cubicBezTo>
                  <a:pt x="8287" y="8601"/>
                  <a:pt x="8200" y="8570"/>
                  <a:pt x="8109" y="8570"/>
                </a:cubicBezTo>
                <a:cubicBezTo>
                  <a:pt x="8019" y="8570"/>
                  <a:pt x="7924" y="8601"/>
                  <a:pt x="7845" y="8664"/>
                </a:cubicBezTo>
                <a:cubicBezTo>
                  <a:pt x="7719" y="8790"/>
                  <a:pt x="7719" y="9011"/>
                  <a:pt x="7845" y="9168"/>
                </a:cubicBezTo>
                <a:cubicBezTo>
                  <a:pt x="8224" y="9578"/>
                  <a:pt x="8696" y="9798"/>
                  <a:pt x="9232" y="9893"/>
                </a:cubicBezTo>
                <a:lnTo>
                  <a:pt x="9232" y="9924"/>
                </a:lnTo>
                <a:cubicBezTo>
                  <a:pt x="9232" y="10712"/>
                  <a:pt x="8602" y="11342"/>
                  <a:pt x="7814" y="11342"/>
                </a:cubicBezTo>
                <a:cubicBezTo>
                  <a:pt x="7026" y="11342"/>
                  <a:pt x="6396" y="10680"/>
                  <a:pt x="6396" y="9924"/>
                </a:cubicBezTo>
                <a:lnTo>
                  <a:pt x="6396" y="2206"/>
                </a:lnTo>
                <a:cubicBezTo>
                  <a:pt x="6396" y="1418"/>
                  <a:pt x="7058" y="788"/>
                  <a:pt x="7814" y="788"/>
                </a:cubicBezTo>
                <a:close/>
                <a:moveTo>
                  <a:pt x="4254" y="0"/>
                </a:moveTo>
                <a:cubicBezTo>
                  <a:pt x="3088" y="0"/>
                  <a:pt x="2143" y="977"/>
                  <a:pt x="2143" y="2111"/>
                </a:cubicBezTo>
                <a:lnTo>
                  <a:pt x="2143" y="2174"/>
                </a:lnTo>
                <a:cubicBezTo>
                  <a:pt x="946" y="2332"/>
                  <a:pt x="1" y="3340"/>
                  <a:pt x="1" y="4600"/>
                </a:cubicBezTo>
                <a:cubicBezTo>
                  <a:pt x="1" y="5104"/>
                  <a:pt x="158" y="5640"/>
                  <a:pt x="442" y="6018"/>
                </a:cubicBezTo>
                <a:cubicBezTo>
                  <a:pt x="158" y="6427"/>
                  <a:pt x="1" y="6931"/>
                  <a:pt x="1" y="7435"/>
                </a:cubicBezTo>
                <a:cubicBezTo>
                  <a:pt x="1" y="8696"/>
                  <a:pt x="946" y="9735"/>
                  <a:pt x="2143" y="9861"/>
                </a:cubicBezTo>
                <a:lnTo>
                  <a:pt x="2143" y="9924"/>
                </a:lnTo>
                <a:cubicBezTo>
                  <a:pt x="2143" y="11090"/>
                  <a:pt x="3088" y="12035"/>
                  <a:pt x="4254" y="12035"/>
                </a:cubicBezTo>
                <a:cubicBezTo>
                  <a:pt x="5010" y="12035"/>
                  <a:pt x="5640" y="11657"/>
                  <a:pt x="6050" y="11058"/>
                </a:cubicBezTo>
                <a:cubicBezTo>
                  <a:pt x="6428" y="11657"/>
                  <a:pt x="7089" y="12035"/>
                  <a:pt x="7814" y="12035"/>
                </a:cubicBezTo>
                <a:cubicBezTo>
                  <a:pt x="8980" y="12035"/>
                  <a:pt x="9925" y="11058"/>
                  <a:pt x="9925" y="9924"/>
                </a:cubicBezTo>
                <a:lnTo>
                  <a:pt x="9925" y="9861"/>
                </a:lnTo>
                <a:cubicBezTo>
                  <a:pt x="11122" y="9704"/>
                  <a:pt x="12067" y="8696"/>
                  <a:pt x="12067" y="7435"/>
                </a:cubicBezTo>
                <a:cubicBezTo>
                  <a:pt x="12067" y="6931"/>
                  <a:pt x="11910" y="6459"/>
                  <a:pt x="11626" y="6018"/>
                </a:cubicBezTo>
                <a:cubicBezTo>
                  <a:pt x="11910" y="5577"/>
                  <a:pt x="12067" y="5104"/>
                  <a:pt x="12067" y="4600"/>
                </a:cubicBezTo>
                <a:cubicBezTo>
                  <a:pt x="12067" y="3371"/>
                  <a:pt x="11154" y="2363"/>
                  <a:pt x="9925" y="2174"/>
                </a:cubicBezTo>
                <a:lnTo>
                  <a:pt x="9925" y="2111"/>
                </a:lnTo>
                <a:cubicBezTo>
                  <a:pt x="9925" y="945"/>
                  <a:pt x="8980" y="0"/>
                  <a:pt x="7814" y="0"/>
                </a:cubicBezTo>
                <a:cubicBezTo>
                  <a:pt x="7089" y="0"/>
                  <a:pt x="6428" y="378"/>
                  <a:pt x="6050" y="977"/>
                </a:cubicBezTo>
                <a:cubicBezTo>
                  <a:pt x="5640" y="378"/>
                  <a:pt x="4979" y="0"/>
                  <a:pt x="4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68" name="Google Shape;10368;p79"/>
          <p:cNvGrpSpPr/>
          <p:nvPr/>
        </p:nvGrpSpPr>
        <p:grpSpPr>
          <a:xfrm>
            <a:off x="3961830" y="3374818"/>
            <a:ext cx="359154" cy="359124"/>
            <a:chOff x="-44914800" y="2342000"/>
            <a:chExt cx="300900" cy="300875"/>
          </a:xfrm>
        </p:grpSpPr>
        <p:sp>
          <p:nvSpPr>
            <p:cNvPr id="10369" name="Google Shape;10369;p79"/>
            <p:cNvSpPr/>
            <p:nvPr/>
          </p:nvSpPr>
          <p:spPr>
            <a:xfrm>
              <a:off x="-44914800" y="2342000"/>
              <a:ext cx="300900" cy="300875"/>
            </a:xfrm>
            <a:custGeom>
              <a:avLst/>
              <a:gdLst/>
              <a:ahLst/>
              <a:cxnLst/>
              <a:rect l="l" t="t" r="r" b="b"/>
              <a:pathLst>
                <a:path w="12036" h="12035" extrusionOk="0">
                  <a:moveTo>
                    <a:pt x="1450" y="725"/>
                  </a:moveTo>
                  <a:lnTo>
                    <a:pt x="1450" y="1418"/>
                  </a:lnTo>
                  <a:lnTo>
                    <a:pt x="725" y="1418"/>
                  </a:lnTo>
                  <a:lnTo>
                    <a:pt x="725" y="725"/>
                  </a:lnTo>
                  <a:close/>
                  <a:moveTo>
                    <a:pt x="11311" y="725"/>
                  </a:moveTo>
                  <a:lnTo>
                    <a:pt x="11311" y="1418"/>
                  </a:lnTo>
                  <a:lnTo>
                    <a:pt x="10618" y="1418"/>
                  </a:lnTo>
                  <a:lnTo>
                    <a:pt x="10618" y="725"/>
                  </a:lnTo>
                  <a:close/>
                  <a:moveTo>
                    <a:pt x="9893" y="1418"/>
                  </a:moveTo>
                  <a:lnTo>
                    <a:pt x="9893" y="1796"/>
                  </a:lnTo>
                  <a:cubicBezTo>
                    <a:pt x="9893" y="1985"/>
                    <a:pt x="10051" y="2142"/>
                    <a:pt x="10240" y="2142"/>
                  </a:cubicBezTo>
                  <a:lnTo>
                    <a:pt x="10618" y="2142"/>
                  </a:lnTo>
                  <a:lnTo>
                    <a:pt x="10618" y="9893"/>
                  </a:lnTo>
                  <a:lnTo>
                    <a:pt x="10240" y="9893"/>
                  </a:lnTo>
                  <a:cubicBezTo>
                    <a:pt x="10051" y="9893"/>
                    <a:pt x="9893" y="10050"/>
                    <a:pt x="9893" y="10239"/>
                  </a:cubicBezTo>
                  <a:lnTo>
                    <a:pt x="9893" y="10617"/>
                  </a:lnTo>
                  <a:lnTo>
                    <a:pt x="2143" y="10617"/>
                  </a:lnTo>
                  <a:lnTo>
                    <a:pt x="2143" y="10239"/>
                  </a:lnTo>
                  <a:cubicBezTo>
                    <a:pt x="2143" y="10050"/>
                    <a:pt x="1985" y="9893"/>
                    <a:pt x="1796" y="9893"/>
                  </a:cubicBezTo>
                  <a:lnTo>
                    <a:pt x="1450" y="9893"/>
                  </a:lnTo>
                  <a:lnTo>
                    <a:pt x="1450" y="2142"/>
                  </a:lnTo>
                  <a:lnTo>
                    <a:pt x="1796" y="2142"/>
                  </a:lnTo>
                  <a:cubicBezTo>
                    <a:pt x="1985" y="2142"/>
                    <a:pt x="2143" y="1985"/>
                    <a:pt x="2143" y="1796"/>
                  </a:cubicBezTo>
                  <a:lnTo>
                    <a:pt x="2143" y="1418"/>
                  </a:lnTo>
                  <a:close/>
                  <a:moveTo>
                    <a:pt x="1418" y="10617"/>
                  </a:moveTo>
                  <a:lnTo>
                    <a:pt x="1418" y="11310"/>
                  </a:lnTo>
                  <a:lnTo>
                    <a:pt x="725" y="11310"/>
                  </a:lnTo>
                  <a:lnTo>
                    <a:pt x="725" y="10617"/>
                  </a:lnTo>
                  <a:close/>
                  <a:moveTo>
                    <a:pt x="11311" y="10617"/>
                  </a:moveTo>
                  <a:lnTo>
                    <a:pt x="11311" y="11310"/>
                  </a:lnTo>
                  <a:lnTo>
                    <a:pt x="10618" y="11310"/>
                  </a:lnTo>
                  <a:lnTo>
                    <a:pt x="10618" y="10617"/>
                  </a:lnTo>
                  <a:close/>
                  <a:moveTo>
                    <a:pt x="379" y="0"/>
                  </a:moveTo>
                  <a:cubicBezTo>
                    <a:pt x="158" y="0"/>
                    <a:pt x="1" y="158"/>
                    <a:pt x="1" y="378"/>
                  </a:cubicBezTo>
                  <a:lnTo>
                    <a:pt x="1" y="1764"/>
                  </a:lnTo>
                  <a:cubicBezTo>
                    <a:pt x="1" y="1985"/>
                    <a:pt x="158" y="2142"/>
                    <a:pt x="379" y="2142"/>
                  </a:cubicBezTo>
                  <a:lnTo>
                    <a:pt x="725" y="2142"/>
                  </a:lnTo>
                  <a:lnTo>
                    <a:pt x="725" y="9893"/>
                  </a:lnTo>
                  <a:lnTo>
                    <a:pt x="379" y="9893"/>
                  </a:lnTo>
                  <a:cubicBezTo>
                    <a:pt x="158" y="9893"/>
                    <a:pt x="1" y="10050"/>
                    <a:pt x="1" y="10239"/>
                  </a:cubicBezTo>
                  <a:lnTo>
                    <a:pt x="1" y="11657"/>
                  </a:lnTo>
                  <a:cubicBezTo>
                    <a:pt x="1" y="11877"/>
                    <a:pt x="158" y="12035"/>
                    <a:pt x="379" y="12035"/>
                  </a:cubicBezTo>
                  <a:lnTo>
                    <a:pt x="1796" y="12035"/>
                  </a:lnTo>
                  <a:cubicBezTo>
                    <a:pt x="1985" y="12035"/>
                    <a:pt x="2143" y="11877"/>
                    <a:pt x="2143" y="11657"/>
                  </a:cubicBezTo>
                  <a:lnTo>
                    <a:pt x="2143" y="11310"/>
                  </a:lnTo>
                  <a:lnTo>
                    <a:pt x="9893" y="11310"/>
                  </a:lnTo>
                  <a:lnTo>
                    <a:pt x="9893" y="11657"/>
                  </a:lnTo>
                  <a:cubicBezTo>
                    <a:pt x="9893" y="11877"/>
                    <a:pt x="10051" y="12035"/>
                    <a:pt x="10240" y="12035"/>
                  </a:cubicBezTo>
                  <a:lnTo>
                    <a:pt x="11657" y="12035"/>
                  </a:lnTo>
                  <a:cubicBezTo>
                    <a:pt x="11878" y="12035"/>
                    <a:pt x="12036" y="11877"/>
                    <a:pt x="12036" y="11657"/>
                  </a:cubicBezTo>
                  <a:lnTo>
                    <a:pt x="12036" y="10239"/>
                  </a:lnTo>
                  <a:cubicBezTo>
                    <a:pt x="12036" y="10050"/>
                    <a:pt x="11878" y="9893"/>
                    <a:pt x="11657" y="9893"/>
                  </a:cubicBezTo>
                  <a:lnTo>
                    <a:pt x="11311" y="9893"/>
                  </a:lnTo>
                  <a:lnTo>
                    <a:pt x="11311" y="2142"/>
                  </a:lnTo>
                  <a:lnTo>
                    <a:pt x="11657" y="2142"/>
                  </a:lnTo>
                  <a:cubicBezTo>
                    <a:pt x="11878" y="2142"/>
                    <a:pt x="12036" y="1985"/>
                    <a:pt x="12036" y="1764"/>
                  </a:cubicBezTo>
                  <a:lnTo>
                    <a:pt x="12036" y="378"/>
                  </a:lnTo>
                  <a:cubicBezTo>
                    <a:pt x="12036" y="158"/>
                    <a:pt x="11878" y="0"/>
                    <a:pt x="11657" y="0"/>
                  </a:cubicBezTo>
                  <a:lnTo>
                    <a:pt x="10240" y="0"/>
                  </a:lnTo>
                  <a:cubicBezTo>
                    <a:pt x="10051" y="0"/>
                    <a:pt x="9893" y="158"/>
                    <a:pt x="9893" y="378"/>
                  </a:cubicBezTo>
                  <a:lnTo>
                    <a:pt x="9893" y="725"/>
                  </a:lnTo>
                  <a:lnTo>
                    <a:pt x="2143" y="725"/>
                  </a:lnTo>
                  <a:lnTo>
                    <a:pt x="2143" y="378"/>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0" name="Google Shape;10370;p79"/>
            <p:cNvSpPr/>
            <p:nvPr/>
          </p:nvSpPr>
          <p:spPr>
            <a:xfrm>
              <a:off x="-44860450" y="2412875"/>
              <a:ext cx="193000" cy="159125"/>
            </a:xfrm>
            <a:custGeom>
              <a:avLst/>
              <a:gdLst/>
              <a:ahLst/>
              <a:cxnLst/>
              <a:rect l="l" t="t" r="r" b="b"/>
              <a:pathLst>
                <a:path w="7720" h="6365" extrusionOk="0">
                  <a:moveTo>
                    <a:pt x="7026" y="694"/>
                  </a:moveTo>
                  <a:lnTo>
                    <a:pt x="7026" y="725"/>
                  </a:lnTo>
                  <a:lnTo>
                    <a:pt x="7026" y="5136"/>
                  </a:lnTo>
                  <a:lnTo>
                    <a:pt x="5514" y="3624"/>
                  </a:lnTo>
                  <a:cubicBezTo>
                    <a:pt x="5451" y="3561"/>
                    <a:pt x="5356" y="3498"/>
                    <a:pt x="5262" y="3498"/>
                  </a:cubicBezTo>
                  <a:cubicBezTo>
                    <a:pt x="5167" y="3498"/>
                    <a:pt x="5041" y="3561"/>
                    <a:pt x="5010" y="3624"/>
                  </a:cubicBezTo>
                  <a:lnTo>
                    <a:pt x="3907" y="4821"/>
                  </a:lnTo>
                  <a:lnTo>
                    <a:pt x="2678" y="3592"/>
                  </a:lnTo>
                  <a:cubicBezTo>
                    <a:pt x="2615" y="3529"/>
                    <a:pt x="2529" y="3498"/>
                    <a:pt x="2438" y="3498"/>
                  </a:cubicBezTo>
                  <a:cubicBezTo>
                    <a:pt x="2348" y="3498"/>
                    <a:pt x="2253" y="3529"/>
                    <a:pt x="2174" y="3592"/>
                  </a:cubicBezTo>
                  <a:lnTo>
                    <a:pt x="662" y="5104"/>
                  </a:lnTo>
                  <a:lnTo>
                    <a:pt x="662" y="694"/>
                  </a:lnTo>
                  <a:close/>
                  <a:moveTo>
                    <a:pt x="2458" y="4380"/>
                  </a:moveTo>
                  <a:lnTo>
                    <a:pt x="3718" y="5640"/>
                  </a:lnTo>
                  <a:lnTo>
                    <a:pt x="1198" y="5640"/>
                  </a:lnTo>
                  <a:lnTo>
                    <a:pt x="2458" y="4380"/>
                  </a:lnTo>
                  <a:close/>
                  <a:moveTo>
                    <a:pt x="5293" y="4411"/>
                  </a:moveTo>
                  <a:lnTo>
                    <a:pt x="6554" y="5671"/>
                  </a:lnTo>
                  <a:lnTo>
                    <a:pt x="4695" y="5671"/>
                  </a:lnTo>
                  <a:lnTo>
                    <a:pt x="4695" y="5640"/>
                  </a:lnTo>
                  <a:lnTo>
                    <a:pt x="4411" y="5356"/>
                  </a:lnTo>
                  <a:lnTo>
                    <a:pt x="5293" y="4411"/>
                  </a:lnTo>
                  <a:close/>
                  <a:moveTo>
                    <a:pt x="347" y="1"/>
                  </a:moveTo>
                  <a:cubicBezTo>
                    <a:pt x="158" y="1"/>
                    <a:pt x="0" y="158"/>
                    <a:pt x="0" y="379"/>
                  </a:cubicBezTo>
                  <a:lnTo>
                    <a:pt x="0" y="5986"/>
                  </a:lnTo>
                  <a:cubicBezTo>
                    <a:pt x="0" y="6207"/>
                    <a:pt x="158" y="6365"/>
                    <a:pt x="347" y="6365"/>
                  </a:cubicBezTo>
                  <a:lnTo>
                    <a:pt x="7373" y="6365"/>
                  </a:lnTo>
                  <a:cubicBezTo>
                    <a:pt x="7562" y="6365"/>
                    <a:pt x="7719" y="6207"/>
                    <a:pt x="7719" y="5986"/>
                  </a:cubicBezTo>
                  <a:lnTo>
                    <a:pt x="7719" y="379"/>
                  </a:lnTo>
                  <a:cubicBezTo>
                    <a:pt x="7719" y="158"/>
                    <a:pt x="7562"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1" name="Google Shape;10371;p79"/>
            <p:cNvSpPr/>
            <p:nvPr/>
          </p:nvSpPr>
          <p:spPr>
            <a:xfrm>
              <a:off x="-44791150" y="2439650"/>
              <a:ext cx="52800" cy="53600"/>
            </a:xfrm>
            <a:custGeom>
              <a:avLst/>
              <a:gdLst/>
              <a:ahLst/>
              <a:cxnLst/>
              <a:rect l="l" t="t" r="r" b="b"/>
              <a:pathLst>
                <a:path w="2112" h="2144" extrusionOk="0">
                  <a:moveTo>
                    <a:pt x="1041" y="725"/>
                  </a:moveTo>
                  <a:cubicBezTo>
                    <a:pt x="1261" y="725"/>
                    <a:pt x="1419" y="883"/>
                    <a:pt x="1419" y="1072"/>
                  </a:cubicBezTo>
                  <a:cubicBezTo>
                    <a:pt x="1419" y="1261"/>
                    <a:pt x="1261" y="1418"/>
                    <a:pt x="1041" y="1418"/>
                  </a:cubicBezTo>
                  <a:cubicBezTo>
                    <a:pt x="852" y="1418"/>
                    <a:pt x="694" y="1261"/>
                    <a:pt x="694" y="1072"/>
                  </a:cubicBezTo>
                  <a:cubicBezTo>
                    <a:pt x="694" y="883"/>
                    <a:pt x="852" y="725"/>
                    <a:pt x="1041" y="725"/>
                  </a:cubicBezTo>
                  <a:close/>
                  <a:moveTo>
                    <a:pt x="1041" y="1"/>
                  </a:moveTo>
                  <a:cubicBezTo>
                    <a:pt x="473" y="1"/>
                    <a:pt x="1" y="473"/>
                    <a:pt x="1" y="1072"/>
                  </a:cubicBezTo>
                  <a:cubicBezTo>
                    <a:pt x="32" y="1670"/>
                    <a:pt x="505" y="2143"/>
                    <a:pt x="1041" y="2143"/>
                  </a:cubicBezTo>
                  <a:cubicBezTo>
                    <a:pt x="1639" y="2143"/>
                    <a:pt x="2112" y="1670"/>
                    <a:pt x="2112" y="1072"/>
                  </a:cubicBezTo>
                  <a:cubicBezTo>
                    <a:pt x="2112" y="473"/>
                    <a:pt x="1639"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72" name="Google Shape;10372;p79"/>
          <p:cNvSpPr/>
          <p:nvPr/>
        </p:nvSpPr>
        <p:spPr>
          <a:xfrm>
            <a:off x="1739586" y="1531714"/>
            <a:ext cx="357274" cy="356797"/>
          </a:xfrm>
          <a:custGeom>
            <a:avLst/>
            <a:gdLst/>
            <a:ahLst/>
            <a:cxnLst/>
            <a:rect l="l" t="t" r="r" b="b"/>
            <a:pathLst>
              <a:path w="11973" h="11957" extrusionOk="0">
                <a:moveTo>
                  <a:pt x="5986" y="748"/>
                </a:moveTo>
                <a:lnTo>
                  <a:pt x="8003" y="1756"/>
                </a:lnTo>
                <a:lnTo>
                  <a:pt x="5986" y="2796"/>
                </a:lnTo>
                <a:lnTo>
                  <a:pt x="4002" y="1756"/>
                </a:lnTo>
                <a:lnTo>
                  <a:pt x="5986" y="748"/>
                </a:lnTo>
                <a:close/>
                <a:moveTo>
                  <a:pt x="3561" y="2324"/>
                </a:moveTo>
                <a:lnTo>
                  <a:pt x="5671" y="3395"/>
                </a:lnTo>
                <a:lnTo>
                  <a:pt x="5671" y="6136"/>
                </a:lnTo>
                <a:lnTo>
                  <a:pt x="3561" y="5064"/>
                </a:lnTo>
                <a:lnTo>
                  <a:pt x="3561" y="2324"/>
                </a:lnTo>
                <a:close/>
                <a:moveTo>
                  <a:pt x="8475" y="2324"/>
                </a:moveTo>
                <a:lnTo>
                  <a:pt x="8475" y="5064"/>
                </a:lnTo>
                <a:lnTo>
                  <a:pt x="6364" y="6136"/>
                </a:lnTo>
                <a:lnTo>
                  <a:pt x="6364" y="3395"/>
                </a:lnTo>
                <a:lnTo>
                  <a:pt x="8475" y="2324"/>
                </a:lnTo>
                <a:close/>
                <a:moveTo>
                  <a:pt x="3214" y="5663"/>
                </a:moveTo>
                <a:lnTo>
                  <a:pt x="5230" y="6703"/>
                </a:lnTo>
                <a:lnTo>
                  <a:pt x="3214" y="7711"/>
                </a:lnTo>
                <a:lnTo>
                  <a:pt x="1166" y="6703"/>
                </a:lnTo>
                <a:lnTo>
                  <a:pt x="3214" y="5663"/>
                </a:lnTo>
                <a:close/>
                <a:moveTo>
                  <a:pt x="8822" y="5663"/>
                </a:moveTo>
                <a:lnTo>
                  <a:pt x="10870" y="6703"/>
                </a:lnTo>
                <a:lnTo>
                  <a:pt x="8822" y="7711"/>
                </a:lnTo>
                <a:lnTo>
                  <a:pt x="6837" y="6703"/>
                </a:lnTo>
                <a:lnTo>
                  <a:pt x="8822" y="5663"/>
                </a:lnTo>
                <a:close/>
                <a:moveTo>
                  <a:pt x="5671" y="7238"/>
                </a:moveTo>
                <a:lnTo>
                  <a:pt x="5671" y="9948"/>
                </a:lnTo>
                <a:lnTo>
                  <a:pt x="3561" y="11019"/>
                </a:lnTo>
                <a:lnTo>
                  <a:pt x="3561" y="8309"/>
                </a:lnTo>
                <a:lnTo>
                  <a:pt x="5671" y="7238"/>
                </a:lnTo>
                <a:close/>
                <a:moveTo>
                  <a:pt x="11311" y="7238"/>
                </a:moveTo>
                <a:lnTo>
                  <a:pt x="11311" y="10011"/>
                </a:lnTo>
                <a:lnTo>
                  <a:pt x="9200" y="11050"/>
                </a:lnTo>
                <a:lnTo>
                  <a:pt x="9200" y="8309"/>
                </a:lnTo>
                <a:lnTo>
                  <a:pt x="11311" y="7238"/>
                </a:lnTo>
                <a:close/>
                <a:moveTo>
                  <a:pt x="725" y="7270"/>
                </a:moveTo>
                <a:lnTo>
                  <a:pt x="2836" y="8341"/>
                </a:lnTo>
                <a:lnTo>
                  <a:pt x="2836" y="11082"/>
                </a:lnTo>
                <a:lnTo>
                  <a:pt x="725" y="10042"/>
                </a:lnTo>
                <a:lnTo>
                  <a:pt x="725" y="7270"/>
                </a:lnTo>
                <a:close/>
                <a:moveTo>
                  <a:pt x="6364" y="7270"/>
                </a:moveTo>
                <a:lnTo>
                  <a:pt x="8475" y="8341"/>
                </a:lnTo>
                <a:lnTo>
                  <a:pt x="8475" y="11082"/>
                </a:lnTo>
                <a:lnTo>
                  <a:pt x="6364" y="10042"/>
                </a:lnTo>
                <a:lnTo>
                  <a:pt x="6364" y="7270"/>
                </a:lnTo>
                <a:close/>
                <a:moveTo>
                  <a:pt x="5998" y="0"/>
                </a:moveTo>
                <a:cubicBezTo>
                  <a:pt x="5947" y="0"/>
                  <a:pt x="5892" y="8"/>
                  <a:pt x="5829" y="24"/>
                </a:cubicBezTo>
                <a:lnTo>
                  <a:pt x="3056" y="1441"/>
                </a:lnTo>
                <a:cubicBezTo>
                  <a:pt x="2930" y="1536"/>
                  <a:pt x="2836" y="1662"/>
                  <a:pt x="2836" y="1756"/>
                </a:cubicBezTo>
                <a:lnTo>
                  <a:pt x="2836" y="5064"/>
                </a:lnTo>
                <a:lnTo>
                  <a:pt x="221" y="6388"/>
                </a:lnTo>
                <a:cubicBezTo>
                  <a:pt x="95" y="6451"/>
                  <a:pt x="0" y="6577"/>
                  <a:pt x="0" y="6703"/>
                </a:cubicBezTo>
                <a:lnTo>
                  <a:pt x="0" y="10200"/>
                </a:lnTo>
                <a:cubicBezTo>
                  <a:pt x="0" y="10326"/>
                  <a:pt x="95" y="10420"/>
                  <a:pt x="221" y="10515"/>
                </a:cubicBezTo>
                <a:lnTo>
                  <a:pt x="3056" y="11933"/>
                </a:lnTo>
                <a:cubicBezTo>
                  <a:pt x="3088" y="11948"/>
                  <a:pt x="3135" y="11956"/>
                  <a:pt x="3190" y="11956"/>
                </a:cubicBezTo>
                <a:cubicBezTo>
                  <a:pt x="3245" y="11956"/>
                  <a:pt x="3308" y="11948"/>
                  <a:pt x="3371" y="11933"/>
                </a:cubicBezTo>
                <a:lnTo>
                  <a:pt x="5986" y="10578"/>
                </a:lnTo>
                <a:lnTo>
                  <a:pt x="8633" y="11933"/>
                </a:lnTo>
                <a:cubicBezTo>
                  <a:pt x="8680" y="11948"/>
                  <a:pt x="8727" y="11956"/>
                  <a:pt x="8779" y="11956"/>
                </a:cubicBezTo>
                <a:cubicBezTo>
                  <a:pt x="8830" y="11956"/>
                  <a:pt x="8885" y="11948"/>
                  <a:pt x="8948" y="11933"/>
                </a:cubicBezTo>
                <a:lnTo>
                  <a:pt x="11783" y="10515"/>
                </a:lnTo>
                <a:cubicBezTo>
                  <a:pt x="11909" y="10420"/>
                  <a:pt x="11972" y="10326"/>
                  <a:pt x="11972" y="10200"/>
                </a:cubicBezTo>
                <a:lnTo>
                  <a:pt x="11972" y="6703"/>
                </a:lnTo>
                <a:cubicBezTo>
                  <a:pt x="11972" y="6577"/>
                  <a:pt x="11941" y="6451"/>
                  <a:pt x="11783" y="6388"/>
                </a:cubicBezTo>
                <a:lnTo>
                  <a:pt x="9137" y="5064"/>
                </a:lnTo>
                <a:lnTo>
                  <a:pt x="9137" y="1756"/>
                </a:lnTo>
                <a:cubicBezTo>
                  <a:pt x="9137" y="1662"/>
                  <a:pt x="9074" y="1536"/>
                  <a:pt x="8948" y="1441"/>
                </a:cubicBezTo>
                <a:lnTo>
                  <a:pt x="6144" y="24"/>
                </a:lnTo>
                <a:cubicBezTo>
                  <a:pt x="6097" y="8"/>
                  <a:pt x="6049" y="0"/>
                  <a:pt x="59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3" name="Google Shape;10373;p79"/>
          <p:cNvGrpSpPr/>
          <p:nvPr/>
        </p:nvGrpSpPr>
        <p:grpSpPr>
          <a:xfrm>
            <a:off x="1735816" y="1987336"/>
            <a:ext cx="359154" cy="357424"/>
            <a:chOff x="-49786250" y="2316650"/>
            <a:chExt cx="300900" cy="299450"/>
          </a:xfrm>
        </p:grpSpPr>
        <p:sp>
          <p:nvSpPr>
            <p:cNvPr id="10374" name="Google Shape;10374;p79"/>
            <p:cNvSpPr/>
            <p:nvPr/>
          </p:nvSpPr>
          <p:spPr>
            <a:xfrm>
              <a:off x="-49746875" y="2316650"/>
              <a:ext cx="217400" cy="299450"/>
            </a:xfrm>
            <a:custGeom>
              <a:avLst/>
              <a:gdLst/>
              <a:ahLst/>
              <a:cxnLst/>
              <a:rect l="l" t="t" r="r" b="b"/>
              <a:pathLst>
                <a:path w="8696" h="11978" extrusionOk="0">
                  <a:moveTo>
                    <a:pt x="4411" y="3944"/>
                  </a:moveTo>
                  <a:lnTo>
                    <a:pt x="5010" y="5110"/>
                  </a:lnTo>
                  <a:cubicBezTo>
                    <a:pt x="4837" y="5188"/>
                    <a:pt x="4640" y="5228"/>
                    <a:pt x="4439" y="5228"/>
                  </a:cubicBezTo>
                  <a:cubicBezTo>
                    <a:pt x="4238" y="5228"/>
                    <a:pt x="4033" y="5188"/>
                    <a:pt x="3844" y="5110"/>
                  </a:cubicBezTo>
                  <a:lnTo>
                    <a:pt x="4411" y="3944"/>
                  </a:lnTo>
                  <a:close/>
                  <a:moveTo>
                    <a:pt x="5136" y="5834"/>
                  </a:moveTo>
                  <a:lnTo>
                    <a:pt x="5136" y="8418"/>
                  </a:lnTo>
                  <a:lnTo>
                    <a:pt x="3718" y="8418"/>
                  </a:lnTo>
                  <a:lnTo>
                    <a:pt x="3718" y="5834"/>
                  </a:lnTo>
                  <a:cubicBezTo>
                    <a:pt x="3939" y="5897"/>
                    <a:pt x="4191" y="5960"/>
                    <a:pt x="4411" y="5960"/>
                  </a:cubicBezTo>
                  <a:cubicBezTo>
                    <a:pt x="4663" y="5960"/>
                    <a:pt x="4884" y="5897"/>
                    <a:pt x="5136" y="5834"/>
                  </a:cubicBezTo>
                  <a:close/>
                  <a:moveTo>
                    <a:pt x="4390" y="657"/>
                  </a:moveTo>
                  <a:cubicBezTo>
                    <a:pt x="5196" y="657"/>
                    <a:pt x="5982" y="942"/>
                    <a:pt x="6617" y="1455"/>
                  </a:cubicBezTo>
                  <a:cubicBezTo>
                    <a:pt x="7467" y="2117"/>
                    <a:pt x="7940" y="3156"/>
                    <a:pt x="7940" y="4196"/>
                  </a:cubicBezTo>
                  <a:cubicBezTo>
                    <a:pt x="7940" y="5078"/>
                    <a:pt x="7625" y="5897"/>
                    <a:pt x="7058" y="6527"/>
                  </a:cubicBezTo>
                  <a:cubicBezTo>
                    <a:pt x="6585" y="7095"/>
                    <a:pt x="6270" y="7756"/>
                    <a:pt x="6207" y="8418"/>
                  </a:cubicBezTo>
                  <a:lnTo>
                    <a:pt x="5829" y="8418"/>
                  </a:lnTo>
                  <a:lnTo>
                    <a:pt x="5829" y="5267"/>
                  </a:lnTo>
                  <a:cubicBezTo>
                    <a:pt x="5829" y="5236"/>
                    <a:pt x="5829" y="5141"/>
                    <a:pt x="5798" y="5110"/>
                  </a:cubicBezTo>
                  <a:lnTo>
                    <a:pt x="4726" y="2999"/>
                  </a:lnTo>
                  <a:cubicBezTo>
                    <a:pt x="4663" y="2873"/>
                    <a:pt x="4537" y="2778"/>
                    <a:pt x="4411" y="2778"/>
                  </a:cubicBezTo>
                  <a:cubicBezTo>
                    <a:pt x="4317" y="2778"/>
                    <a:pt x="4191" y="2873"/>
                    <a:pt x="4096" y="2999"/>
                  </a:cubicBezTo>
                  <a:lnTo>
                    <a:pt x="3057" y="5110"/>
                  </a:lnTo>
                  <a:cubicBezTo>
                    <a:pt x="2994" y="5141"/>
                    <a:pt x="2994" y="5236"/>
                    <a:pt x="2994" y="5267"/>
                  </a:cubicBezTo>
                  <a:lnTo>
                    <a:pt x="2994" y="8418"/>
                  </a:lnTo>
                  <a:lnTo>
                    <a:pt x="2647" y="8418"/>
                  </a:lnTo>
                  <a:cubicBezTo>
                    <a:pt x="2584" y="7756"/>
                    <a:pt x="2301" y="7095"/>
                    <a:pt x="1796" y="6527"/>
                  </a:cubicBezTo>
                  <a:cubicBezTo>
                    <a:pt x="1040" y="5708"/>
                    <a:pt x="757" y="4574"/>
                    <a:pt x="1009" y="3408"/>
                  </a:cubicBezTo>
                  <a:cubicBezTo>
                    <a:pt x="1261" y="2085"/>
                    <a:pt x="2332" y="1014"/>
                    <a:pt x="3687" y="731"/>
                  </a:cubicBezTo>
                  <a:cubicBezTo>
                    <a:pt x="3921" y="681"/>
                    <a:pt x="4156" y="657"/>
                    <a:pt x="4390" y="657"/>
                  </a:cubicBezTo>
                  <a:close/>
                  <a:moveTo>
                    <a:pt x="6207" y="9142"/>
                  </a:moveTo>
                  <a:lnTo>
                    <a:pt x="6207" y="9489"/>
                  </a:lnTo>
                  <a:cubicBezTo>
                    <a:pt x="6207" y="9678"/>
                    <a:pt x="6050" y="9835"/>
                    <a:pt x="5829" y="9835"/>
                  </a:cubicBezTo>
                  <a:lnTo>
                    <a:pt x="3057" y="9835"/>
                  </a:lnTo>
                  <a:cubicBezTo>
                    <a:pt x="2836" y="9835"/>
                    <a:pt x="2679" y="9678"/>
                    <a:pt x="2679" y="9489"/>
                  </a:cubicBezTo>
                  <a:lnTo>
                    <a:pt x="2679" y="9142"/>
                  </a:lnTo>
                  <a:close/>
                  <a:moveTo>
                    <a:pt x="5483" y="10529"/>
                  </a:moveTo>
                  <a:lnTo>
                    <a:pt x="5483" y="10907"/>
                  </a:lnTo>
                  <a:cubicBezTo>
                    <a:pt x="5483" y="11096"/>
                    <a:pt x="5325" y="11253"/>
                    <a:pt x="5136" y="11253"/>
                  </a:cubicBezTo>
                  <a:lnTo>
                    <a:pt x="3718" y="11253"/>
                  </a:lnTo>
                  <a:cubicBezTo>
                    <a:pt x="3529" y="11253"/>
                    <a:pt x="3372" y="11096"/>
                    <a:pt x="3372" y="10907"/>
                  </a:cubicBezTo>
                  <a:lnTo>
                    <a:pt x="3372" y="10529"/>
                  </a:lnTo>
                  <a:close/>
                  <a:moveTo>
                    <a:pt x="4318" y="0"/>
                  </a:moveTo>
                  <a:cubicBezTo>
                    <a:pt x="4056" y="0"/>
                    <a:pt x="3792" y="23"/>
                    <a:pt x="3529" y="69"/>
                  </a:cubicBezTo>
                  <a:cubicBezTo>
                    <a:pt x="1954" y="384"/>
                    <a:pt x="631" y="1707"/>
                    <a:pt x="284" y="3314"/>
                  </a:cubicBezTo>
                  <a:cubicBezTo>
                    <a:pt x="1" y="4637"/>
                    <a:pt x="379" y="6023"/>
                    <a:pt x="1261" y="7000"/>
                  </a:cubicBezTo>
                  <a:cubicBezTo>
                    <a:pt x="1702" y="7536"/>
                    <a:pt x="1986" y="8166"/>
                    <a:pt x="1986" y="8796"/>
                  </a:cubicBezTo>
                  <a:lnTo>
                    <a:pt x="1986" y="9489"/>
                  </a:lnTo>
                  <a:cubicBezTo>
                    <a:pt x="1986" y="9961"/>
                    <a:pt x="2269" y="10371"/>
                    <a:pt x="2679" y="10466"/>
                  </a:cubicBezTo>
                  <a:lnTo>
                    <a:pt x="2679" y="10907"/>
                  </a:lnTo>
                  <a:cubicBezTo>
                    <a:pt x="2679" y="11505"/>
                    <a:pt x="3151" y="11978"/>
                    <a:pt x="3750" y="11978"/>
                  </a:cubicBezTo>
                  <a:lnTo>
                    <a:pt x="5168" y="11978"/>
                  </a:lnTo>
                  <a:cubicBezTo>
                    <a:pt x="5766" y="11978"/>
                    <a:pt x="6239" y="11505"/>
                    <a:pt x="6239" y="10907"/>
                  </a:cubicBezTo>
                  <a:lnTo>
                    <a:pt x="6239" y="10466"/>
                  </a:lnTo>
                  <a:cubicBezTo>
                    <a:pt x="6617" y="10308"/>
                    <a:pt x="6963" y="9930"/>
                    <a:pt x="6963" y="9489"/>
                  </a:cubicBezTo>
                  <a:lnTo>
                    <a:pt x="6963" y="8796"/>
                  </a:lnTo>
                  <a:cubicBezTo>
                    <a:pt x="6963" y="8166"/>
                    <a:pt x="7184" y="7536"/>
                    <a:pt x="7656" y="6969"/>
                  </a:cubicBezTo>
                  <a:cubicBezTo>
                    <a:pt x="8318" y="6212"/>
                    <a:pt x="8696" y="5236"/>
                    <a:pt x="8696" y="4228"/>
                  </a:cubicBezTo>
                  <a:cubicBezTo>
                    <a:pt x="8633" y="2967"/>
                    <a:pt x="8097" y="1739"/>
                    <a:pt x="7058" y="951"/>
                  </a:cubicBezTo>
                  <a:cubicBezTo>
                    <a:pt x="6285" y="328"/>
                    <a:pt x="5314" y="0"/>
                    <a:pt x="43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79"/>
            <p:cNvSpPr/>
            <p:nvPr/>
          </p:nvSpPr>
          <p:spPr>
            <a:xfrm>
              <a:off x="-49786250" y="2422325"/>
              <a:ext cx="36250" cy="17350"/>
            </a:xfrm>
            <a:custGeom>
              <a:avLst/>
              <a:gdLst/>
              <a:ahLst/>
              <a:cxnLst/>
              <a:rect l="l" t="t" r="r" b="b"/>
              <a:pathLst>
                <a:path w="1450" h="694" extrusionOk="0">
                  <a:moveTo>
                    <a:pt x="379" y="1"/>
                  </a:moveTo>
                  <a:cubicBezTo>
                    <a:pt x="158" y="1"/>
                    <a:pt x="0" y="158"/>
                    <a:pt x="0" y="347"/>
                  </a:cubicBezTo>
                  <a:cubicBezTo>
                    <a:pt x="0" y="536"/>
                    <a:pt x="158" y="694"/>
                    <a:pt x="379" y="694"/>
                  </a:cubicBezTo>
                  <a:lnTo>
                    <a:pt x="1072" y="694"/>
                  </a:lnTo>
                  <a:cubicBezTo>
                    <a:pt x="1261" y="694"/>
                    <a:pt x="1418" y="536"/>
                    <a:pt x="1418" y="347"/>
                  </a:cubicBezTo>
                  <a:cubicBezTo>
                    <a:pt x="1450" y="127"/>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79"/>
            <p:cNvSpPr/>
            <p:nvPr/>
          </p:nvSpPr>
          <p:spPr>
            <a:xfrm>
              <a:off x="-49783900" y="2362475"/>
              <a:ext cx="31550" cy="30150"/>
            </a:xfrm>
            <a:custGeom>
              <a:avLst/>
              <a:gdLst/>
              <a:ahLst/>
              <a:cxnLst/>
              <a:rect l="l" t="t" r="r" b="b"/>
              <a:pathLst>
                <a:path w="1262" h="1206" extrusionOk="0">
                  <a:moveTo>
                    <a:pt x="391" y="0"/>
                  </a:moveTo>
                  <a:cubicBezTo>
                    <a:pt x="300" y="0"/>
                    <a:pt x="206" y="32"/>
                    <a:pt x="127" y="95"/>
                  </a:cubicBezTo>
                  <a:cubicBezTo>
                    <a:pt x="1" y="221"/>
                    <a:pt x="1" y="441"/>
                    <a:pt x="127" y="599"/>
                  </a:cubicBezTo>
                  <a:lnTo>
                    <a:pt x="631" y="1134"/>
                  </a:lnTo>
                  <a:cubicBezTo>
                    <a:pt x="694" y="1182"/>
                    <a:pt x="781" y="1205"/>
                    <a:pt x="871" y="1205"/>
                  </a:cubicBezTo>
                  <a:cubicBezTo>
                    <a:pt x="962" y="1205"/>
                    <a:pt x="1056" y="1182"/>
                    <a:pt x="1135" y="1134"/>
                  </a:cubicBezTo>
                  <a:cubicBezTo>
                    <a:pt x="1261" y="1008"/>
                    <a:pt x="1261" y="756"/>
                    <a:pt x="1135" y="599"/>
                  </a:cubicBezTo>
                  <a:lnTo>
                    <a:pt x="631" y="95"/>
                  </a:lnTo>
                  <a:cubicBezTo>
                    <a:pt x="568" y="32"/>
                    <a:pt x="481" y="0"/>
                    <a:pt x="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79"/>
            <p:cNvSpPr/>
            <p:nvPr/>
          </p:nvSpPr>
          <p:spPr>
            <a:xfrm>
              <a:off x="-49783900" y="2468800"/>
              <a:ext cx="31550" cy="30150"/>
            </a:xfrm>
            <a:custGeom>
              <a:avLst/>
              <a:gdLst/>
              <a:ahLst/>
              <a:cxnLst/>
              <a:rect l="l" t="t" r="r" b="b"/>
              <a:pathLst>
                <a:path w="1262" h="1206" extrusionOk="0">
                  <a:moveTo>
                    <a:pt x="871" y="0"/>
                  </a:moveTo>
                  <a:cubicBezTo>
                    <a:pt x="781" y="0"/>
                    <a:pt x="694" y="32"/>
                    <a:pt x="631" y="95"/>
                  </a:cubicBezTo>
                  <a:lnTo>
                    <a:pt x="127" y="599"/>
                  </a:lnTo>
                  <a:cubicBezTo>
                    <a:pt x="1" y="725"/>
                    <a:pt x="1" y="977"/>
                    <a:pt x="127" y="1135"/>
                  </a:cubicBezTo>
                  <a:cubicBezTo>
                    <a:pt x="174" y="1182"/>
                    <a:pt x="261" y="1205"/>
                    <a:pt x="355" y="1205"/>
                  </a:cubicBezTo>
                  <a:cubicBezTo>
                    <a:pt x="450" y="1205"/>
                    <a:pt x="552" y="1182"/>
                    <a:pt x="631" y="1135"/>
                  </a:cubicBezTo>
                  <a:lnTo>
                    <a:pt x="1135" y="599"/>
                  </a:lnTo>
                  <a:cubicBezTo>
                    <a:pt x="1261" y="504"/>
                    <a:pt x="1261" y="252"/>
                    <a:pt x="1135" y="95"/>
                  </a:cubicBezTo>
                  <a:cubicBezTo>
                    <a:pt x="1056" y="32"/>
                    <a:pt x="962" y="0"/>
                    <a:pt x="8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79"/>
            <p:cNvSpPr/>
            <p:nvPr/>
          </p:nvSpPr>
          <p:spPr>
            <a:xfrm>
              <a:off x="-495208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79"/>
            <p:cNvSpPr/>
            <p:nvPr/>
          </p:nvSpPr>
          <p:spPr>
            <a:xfrm>
              <a:off x="-49519250" y="2362475"/>
              <a:ext cx="31525" cy="31325"/>
            </a:xfrm>
            <a:custGeom>
              <a:avLst/>
              <a:gdLst/>
              <a:ahLst/>
              <a:cxnLst/>
              <a:rect l="l" t="t" r="r" b="b"/>
              <a:pathLst>
                <a:path w="1261" h="1253" extrusionOk="0">
                  <a:moveTo>
                    <a:pt x="906" y="0"/>
                  </a:moveTo>
                  <a:cubicBezTo>
                    <a:pt x="812" y="0"/>
                    <a:pt x="709" y="32"/>
                    <a:pt x="631" y="95"/>
                  </a:cubicBezTo>
                  <a:lnTo>
                    <a:pt x="127" y="599"/>
                  </a:lnTo>
                  <a:cubicBezTo>
                    <a:pt x="1" y="725"/>
                    <a:pt x="1" y="945"/>
                    <a:pt x="127" y="1134"/>
                  </a:cubicBezTo>
                  <a:cubicBezTo>
                    <a:pt x="190" y="1213"/>
                    <a:pt x="276" y="1253"/>
                    <a:pt x="367" y="1253"/>
                  </a:cubicBezTo>
                  <a:cubicBezTo>
                    <a:pt x="457" y="1253"/>
                    <a:pt x="552" y="1213"/>
                    <a:pt x="631" y="1134"/>
                  </a:cubicBezTo>
                  <a:lnTo>
                    <a:pt x="1135" y="599"/>
                  </a:lnTo>
                  <a:cubicBezTo>
                    <a:pt x="1261" y="473"/>
                    <a:pt x="1261" y="252"/>
                    <a:pt x="1135" y="95"/>
                  </a:cubicBezTo>
                  <a:cubicBezTo>
                    <a:pt x="1088" y="32"/>
                    <a:pt x="1001" y="0"/>
                    <a:pt x="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79"/>
            <p:cNvSpPr/>
            <p:nvPr/>
          </p:nvSpPr>
          <p:spPr>
            <a:xfrm>
              <a:off x="-49519250" y="2468800"/>
              <a:ext cx="31525" cy="30150"/>
            </a:xfrm>
            <a:custGeom>
              <a:avLst/>
              <a:gdLst/>
              <a:ahLst/>
              <a:cxnLst/>
              <a:rect l="l" t="t" r="r" b="b"/>
              <a:pathLst>
                <a:path w="1261" h="1206" extrusionOk="0">
                  <a:moveTo>
                    <a:pt x="391" y="0"/>
                  </a:moveTo>
                  <a:cubicBezTo>
                    <a:pt x="300" y="0"/>
                    <a:pt x="205" y="32"/>
                    <a:pt x="127" y="95"/>
                  </a:cubicBezTo>
                  <a:cubicBezTo>
                    <a:pt x="1" y="221"/>
                    <a:pt x="1" y="441"/>
                    <a:pt x="127" y="599"/>
                  </a:cubicBezTo>
                  <a:lnTo>
                    <a:pt x="631" y="1135"/>
                  </a:lnTo>
                  <a:cubicBezTo>
                    <a:pt x="694" y="1182"/>
                    <a:pt x="780" y="1205"/>
                    <a:pt x="871" y="1205"/>
                  </a:cubicBezTo>
                  <a:cubicBezTo>
                    <a:pt x="962" y="1205"/>
                    <a:pt x="1056" y="1182"/>
                    <a:pt x="1135" y="1135"/>
                  </a:cubicBezTo>
                  <a:cubicBezTo>
                    <a:pt x="1261" y="1009"/>
                    <a:pt x="1261" y="756"/>
                    <a:pt x="1135" y="599"/>
                  </a:cubicBezTo>
                  <a:lnTo>
                    <a:pt x="631" y="95"/>
                  </a:lnTo>
                  <a:cubicBezTo>
                    <a:pt x="568" y="32"/>
                    <a:pt x="481" y="0"/>
                    <a:pt x="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1" name="Google Shape;10381;p79"/>
          <p:cNvSpPr/>
          <p:nvPr/>
        </p:nvSpPr>
        <p:spPr>
          <a:xfrm>
            <a:off x="1731604" y="2433842"/>
            <a:ext cx="373239" cy="359154"/>
          </a:xfrm>
          <a:custGeom>
            <a:avLst/>
            <a:gdLst/>
            <a:ahLst/>
            <a:cxnLst/>
            <a:rect l="l" t="t" r="r" b="b"/>
            <a:pathLst>
              <a:path w="12508" h="12036" extrusionOk="0">
                <a:moveTo>
                  <a:pt x="4600" y="725"/>
                </a:moveTo>
                <a:cubicBezTo>
                  <a:pt x="7026" y="725"/>
                  <a:pt x="8475" y="1387"/>
                  <a:pt x="8475" y="1796"/>
                </a:cubicBezTo>
                <a:cubicBezTo>
                  <a:pt x="8475" y="2143"/>
                  <a:pt x="7058" y="2836"/>
                  <a:pt x="4600" y="2836"/>
                </a:cubicBezTo>
                <a:cubicBezTo>
                  <a:pt x="2111" y="2836"/>
                  <a:pt x="725" y="2143"/>
                  <a:pt x="725" y="1796"/>
                </a:cubicBezTo>
                <a:cubicBezTo>
                  <a:pt x="725" y="1387"/>
                  <a:pt x="2143" y="725"/>
                  <a:pt x="4600" y="725"/>
                </a:cubicBezTo>
                <a:close/>
                <a:moveTo>
                  <a:pt x="694" y="2805"/>
                </a:moveTo>
                <a:cubicBezTo>
                  <a:pt x="1670" y="3403"/>
                  <a:pt x="3371" y="3592"/>
                  <a:pt x="4537" y="3592"/>
                </a:cubicBezTo>
                <a:cubicBezTo>
                  <a:pt x="4915" y="3592"/>
                  <a:pt x="5262" y="3592"/>
                  <a:pt x="5608" y="3561"/>
                </a:cubicBezTo>
                <a:lnTo>
                  <a:pt x="5608" y="4002"/>
                </a:lnTo>
                <a:cubicBezTo>
                  <a:pt x="5608" y="4191"/>
                  <a:pt x="5451" y="4348"/>
                  <a:pt x="5262" y="4348"/>
                </a:cubicBezTo>
                <a:cubicBezTo>
                  <a:pt x="4663" y="4348"/>
                  <a:pt x="4191" y="4821"/>
                  <a:pt x="4191" y="5420"/>
                </a:cubicBezTo>
                <a:lnTo>
                  <a:pt x="4191" y="6113"/>
                </a:lnTo>
                <a:cubicBezTo>
                  <a:pt x="4191" y="6302"/>
                  <a:pt x="4033" y="6459"/>
                  <a:pt x="3844" y="6459"/>
                </a:cubicBezTo>
                <a:cubicBezTo>
                  <a:pt x="3655" y="6459"/>
                  <a:pt x="3497" y="6302"/>
                  <a:pt x="3497" y="6113"/>
                </a:cubicBezTo>
                <a:lnTo>
                  <a:pt x="3497" y="5325"/>
                </a:lnTo>
                <a:cubicBezTo>
                  <a:pt x="3529" y="4726"/>
                  <a:pt x="3056" y="4254"/>
                  <a:pt x="2458" y="4254"/>
                </a:cubicBezTo>
                <a:cubicBezTo>
                  <a:pt x="1859" y="4254"/>
                  <a:pt x="1387" y="4726"/>
                  <a:pt x="1387" y="5325"/>
                </a:cubicBezTo>
                <a:lnTo>
                  <a:pt x="1387" y="6743"/>
                </a:lnTo>
                <a:cubicBezTo>
                  <a:pt x="1387" y="6932"/>
                  <a:pt x="1229" y="7089"/>
                  <a:pt x="1040" y="7089"/>
                </a:cubicBezTo>
                <a:cubicBezTo>
                  <a:pt x="851" y="7089"/>
                  <a:pt x="694" y="6932"/>
                  <a:pt x="694" y="6743"/>
                </a:cubicBezTo>
                <a:lnTo>
                  <a:pt x="694" y="2805"/>
                </a:lnTo>
                <a:close/>
                <a:moveTo>
                  <a:pt x="8475" y="2742"/>
                </a:moveTo>
                <a:lnTo>
                  <a:pt x="8475" y="8192"/>
                </a:lnTo>
                <a:cubicBezTo>
                  <a:pt x="7719" y="8034"/>
                  <a:pt x="7026" y="7625"/>
                  <a:pt x="6553" y="6995"/>
                </a:cubicBezTo>
                <a:lnTo>
                  <a:pt x="5104" y="5010"/>
                </a:lnTo>
                <a:cubicBezTo>
                  <a:pt x="5104" y="5010"/>
                  <a:pt x="5167" y="4978"/>
                  <a:pt x="5293" y="4978"/>
                </a:cubicBezTo>
                <a:cubicBezTo>
                  <a:pt x="5892" y="4978"/>
                  <a:pt x="6364" y="4506"/>
                  <a:pt x="6364" y="3907"/>
                </a:cubicBezTo>
                <a:lnTo>
                  <a:pt x="6364" y="3403"/>
                </a:lnTo>
                <a:cubicBezTo>
                  <a:pt x="7215" y="3277"/>
                  <a:pt x="7971" y="3057"/>
                  <a:pt x="8475" y="2742"/>
                </a:cubicBezTo>
                <a:close/>
                <a:moveTo>
                  <a:pt x="9200" y="3844"/>
                </a:moveTo>
                <a:cubicBezTo>
                  <a:pt x="9925" y="4159"/>
                  <a:pt x="10555" y="4695"/>
                  <a:pt x="10996" y="5325"/>
                </a:cubicBezTo>
                <a:cubicBezTo>
                  <a:pt x="11689" y="6302"/>
                  <a:pt x="11153" y="7782"/>
                  <a:pt x="10019" y="8160"/>
                </a:cubicBezTo>
                <a:cubicBezTo>
                  <a:pt x="9735" y="8223"/>
                  <a:pt x="9452" y="8318"/>
                  <a:pt x="9200" y="8318"/>
                </a:cubicBezTo>
                <a:lnTo>
                  <a:pt x="9200" y="3844"/>
                </a:lnTo>
                <a:close/>
                <a:moveTo>
                  <a:pt x="2489" y="4978"/>
                </a:moveTo>
                <a:cubicBezTo>
                  <a:pt x="2678" y="4978"/>
                  <a:pt x="2836" y="5136"/>
                  <a:pt x="2836" y="5325"/>
                </a:cubicBezTo>
                <a:lnTo>
                  <a:pt x="2836" y="6050"/>
                </a:lnTo>
                <a:cubicBezTo>
                  <a:pt x="2836" y="6617"/>
                  <a:pt x="3308" y="7089"/>
                  <a:pt x="3907" y="7089"/>
                </a:cubicBezTo>
                <a:cubicBezTo>
                  <a:pt x="4474" y="7089"/>
                  <a:pt x="4947" y="6680"/>
                  <a:pt x="4978" y="6081"/>
                </a:cubicBezTo>
                <a:lnTo>
                  <a:pt x="5986" y="7467"/>
                </a:lnTo>
                <a:cubicBezTo>
                  <a:pt x="6459" y="8097"/>
                  <a:pt x="7152" y="8570"/>
                  <a:pt x="7877" y="8822"/>
                </a:cubicBezTo>
                <a:cubicBezTo>
                  <a:pt x="8097" y="8917"/>
                  <a:pt x="8286" y="8948"/>
                  <a:pt x="8507" y="8980"/>
                </a:cubicBezTo>
                <a:lnTo>
                  <a:pt x="8507" y="10303"/>
                </a:lnTo>
                <a:cubicBezTo>
                  <a:pt x="8475" y="10618"/>
                  <a:pt x="7058" y="11311"/>
                  <a:pt x="4600" y="11311"/>
                </a:cubicBezTo>
                <a:cubicBezTo>
                  <a:pt x="2111" y="11311"/>
                  <a:pt x="725" y="10586"/>
                  <a:pt x="725" y="10240"/>
                </a:cubicBezTo>
                <a:lnTo>
                  <a:pt x="725" y="7688"/>
                </a:lnTo>
                <a:cubicBezTo>
                  <a:pt x="851" y="7719"/>
                  <a:pt x="977" y="7782"/>
                  <a:pt x="1072" y="7782"/>
                </a:cubicBezTo>
                <a:cubicBezTo>
                  <a:pt x="1670" y="7782"/>
                  <a:pt x="2143" y="7310"/>
                  <a:pt x="2143" y="6711"/>
                </a:cubicBezTo>
                <a:lnTo>
                  <a:pt x="2143" y="5325"/>
                </a:lnTo>
                <a:cubicBezTo>
                  <a:pt x="2143" y="5136"/>
                  <a:pt x="2300" y="4978"/>
                  <a:pt x="2489" y="4978"/>
                </a:cubicBezTo>
                <a:close/>
                <a:moveTo>
                  <a:pt x="4537" y="1"/>
                </a:moveTo>
                <a:cubicBezTo>
                  <a:pt x="3371" y="1"/>
                  <a:pt x="2300" y="158"/>
                  <a:pt x="1481" y="442"/>
                </a:cubicBezTo>
                <a:cubicBezTo>
                  <a:pt x="252" y="851"/>
                  <a:pt x="0" y="1387"/>
                  <a:pt x="0" y="1796"/>
                </a:cubicBezTo>
                <a:lnTo>
                  <a:pt x="0" y="10240"/>
                </a:lnTo>
                <a:cubicBezTo>
                  <a:pt x="0" y="10649"/>
                  <a:pt x="252" y="11153"/>
                  <a:pt x="1481" y="11594"/>
                </a:cubicBezTo>
                <a:cubicBezTo>
                  <a:pt x="2300" y="11878"/>
                  <a:pt x="3403" y="12036"/>
                  <a:pt x="4537" y="12036"/>
                </a:cubicBezTo>
                <a:cubicBezTo>
                  <a:pt x="6837" y="12036"/>
                  <a:pt x="9137" y="11437"/>
                  <a:pt x="9137" y="10240"/>
                </a:cubicBezTo>
                <a:lnTo>
                  <a:pt x="9137" y="8980"/>
                </a:lnTo>
                <a:cubicBezTo>
                  <a:pt x="9515" y="8980"/>
                  <a:pt x="9862" y="8917"/>
                  <a:pt x="10208" y="8791"/>
                </a:cubicBezTo>
                <a:cubicBezTo>
                  <a:pt x="11815" y="8286"/>
                  <a:pt x="12508" y="6302"/>
                  <a:pt x="11563" y="4884"/>
                </a:cubicBezTo>
                <a:cubicBezTo>
                  <a:pt x="10996" y="4096"/>
                  <a:pt x="10208" y="3435"/>
                  <a:pt x="9137" y="2994"/>
                </a:cubicBezTo>
                <a:lnTo>
                  <a:pt x="9137" y="1796"/>
                </a:lnTo>
                <a:cubicBezTo>
                  <a:pt x="9137" y="631"/>
                  <a:pt x="6837" y="1"/>
                  <a:pt x="45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2" name="Google Shape;10382;p79"/>
          <p:cNvSpPr/>
          <p:nvPr/>
        </p:nvSpPr>
        <p:spPr>
          <a:xfrm>
            <a:off x="3971472" y="1563432"/>
            <a:ext cx="359154" cy="358199"/>
          </a:xfrm>
          <a:custGeom>
            <a:avLst/>
            <a:gdLst/>
            <a:ahLst/>
            <a:cxnLst/>
            <a:rect l="l" t="t" r="r" b="b"/>
            <a:pathLst>
              <a:path w="12036" h="12004" extrusionOk="0">
                <a:moveTo>
                  <a:pt x="1450" y="693"/>
                </a:moveTo>
                <a:lnTo>
                  <a:pt x="1450" y="1418"/>
                </a:lnTo>
                <a:lnTo>
                  <a:pt x="756" y="1418"/>
                </a:lnTo>
                <a:lnTo>
                  <a:pt x="756" y="693"/>
                </a:lnTo>
                <a:close/>
                <a:moveTo>
                  <a:pt x="11342" y="693"/>
                </a:moveTo>
                <a:lnTo>
                  <a:pt x="11342" y="1418"/>
                </a:lnTo>
                <a:lnTo>
                  <a:pt x="10618" y="1418"/>
                </a:lnTo>
                <a:lnTo>
                  <a:pt x="10618" y="693"/>
                </a:lnTo>
                <a:close/>
                <a:moveTo>
                  <a:pt x="6049" y="4191"/>
                </a:moveTo>
                <a:cubicBezTo>
                  <a:pt x="6270" y="4191"/>
                  <a:pt x="6427" y="4380"/>
                  <a:pt x="6427" y="4569"/>
                </a:cubicBezTo>
                <a:cubicBezTo>
                  <a:pt x="6427" y="4758"/>
                  <a:pt x="6270" y="4915"/>
                  <a:pt x="6049" y="4915"/>
                </a:cubicBezTo>
                <a:cubicBezTo>
                  <a:pt x="5860" y="4915"/>
                  <a:pt x="5703" y="4758"/>
                  <a:pt x="5703" y="4569"/>
                </a:cubicBezTo>
                <a:cubicBezTo>
                  <a:pt x="5703" y="4380"/>
                  <a:pt x="5860" y="4191"/>
                  <a:pt x="6049" y="4191"/>
                </a:cubicBezTo>
                <a:close/>
                <a:moveTo>
                  <a:pt x="6081" y="1040"/>
                </a:moveTo>
                <a:cubicBezTo>
                  <a:pt x="6144" y="1166"/>
                  <a:pt x="8381" y="5167"/>
                  <a:pt x="8475" y="5262"/>
                </a:cubicBezTo>
                <a:lnTo>
                  <a:pt x="7278" y="7026"/>
                </a:lnTo>
                <a:lnTo>
                  <a:pt x="6427" y="7026"/>
                </a:lnTo>
                <a:lnTo>
                  <a:pt x="6427" y="5577"/>
                </a:lnTo>
                <a:cubicBezTo>
                  <a:pt x="6805" y="5419"/>
                  <a:pt x="7120" y="5041"/>
                  <a:pt x="7120" y="4600"/>
                </a:cubicBezTo>
                <a:cubicBezTo>
                  <a:pt x="7120" y="4001"/>
                  <a:pt x="6648" y="3529"/>
                  <a:pt x="6081" y="3529"/>
                </a:cubicBezTo>
                <a:cubicBezTo>
                  <a:pt x="5482" y="3529"/>
                  <a:pt x="5010" y="4001"/>
                  <a:pt x="5010" y="4600"/>
                </a:cubicBezTo>
                <a:cubicBezTo>
                  <a:pt x="5010" y="5073"/>
                  <a:pt x="5293" y="5451"/>
                  <a:pt x="5703" y="5577"/>
                </a:cubicBezTo>
                <a:lnTo>
                  <a:pt x="5703" y="7026"/>
                </a:lnTo>
                <a:lnTo>
                  <a:pt x="4852" y="7026"/>
                </a:lnTo>
                <a:lnTo>
                  <a:pt x="3655" y="5262"/>
                </a:lnTo>
                <a:cubicBezTo>
                  <a:pt x="3749" y="5167"/>
                  <a:pt x="5986" y="1166"/>
                  <a:pt x="6081" y="1040"/>
                </a:cubicBezTo>
                <a:close/>
                <a:moveTo>
                  <a:pt x="3812" y="3529"/>
                </a:moveTo>
                <a:lnTo>
                  <a:pt x="2899" y="5104"/>
                </a:lnTo>
                <a:cubicBezTo>
                  <a:pt x="2836" y="5230"/>
                  <a:pt x="2836" y="5388"/>
                  <a:pt x="2899" y="5451"/>
                </a:cubicBezTo>
                <a:lnTo>
                  <a:pt x="4064" y="7215"/>
                </a:lnTo>
                <a:cubicBezTo>
                  <a:pt x="3749" y="7404"/>
                  <a:pt x="3529" y="7719"/>
                  <a:pt x="3529" y="8097"/>
                </a:cubicBezTo>
                <a:lnTo>
                  <a:pt x="3529" y="8475"/>
                </a:lnTo>
                <a:lnTo>
                  <a:pt x="693" y="8475"/>
                </a:lnTo>
                <a:lnTo>
                  <a:pt x="693" y="3907"/>
                </a:lnTo>
                <a:cubicBezTo>
                  <a:pt x="788" y="3686"/>
                  <a:pt x="945" y="3529"/>
                  <a:pt x="1103" y="3529"/>
                </a:cubicBezTo>
                <a:close/>
                <a:moveTo>
                  <a:pt x="7436" y="7751"/>
                </a:moveTo>
                <a:cubicBezTo>
                  <a:pt x="7625" y="7751"/>
                  <a:pt x="7782" y="7908"/>
                  <a:pt x="7782" y="8097"/>
                </a:cubicBezTo>
                <a:lnTo>
                  <a:pt x="7782" y="8475"/>
                </a:lnTo>
                <a:lnTo>
                  <a:pt x="4285" y="8475"/>
                </a:lnTo>
                <a:lnTo>
                  <a:pt x="4285" y="8097"/>
                </a:lnTo>
                <a:cubicBezTo>
                  <a:pt x="4285" y="7908"/>
                  <a:pt x="4443" y="7751"/>
                  <a:pt x="4632" y="7751"/>
                </a:cubicBezTo>
                <a:close/>
                <a:moveTo>
                  <a:pt x="10996" y="3529"/>
                </a:moveTo>
                <a:cubicBezTo>
                  <a:pt x="11185" y="3529"/>
                  <a:pt x="11342" y="3686"/>
                  <a:pt x="11342" y="3907"/>
                </a:cubicBezTo>
                <a:lnTo>
                  <a:pt x="11342" y="8475"/>
                </a:lnTo>
                <a:lnTo>
                  <a:pt x="8507" y="8475"/>
                </a:lnTo>
                <a:lnTo>
                  <a:pt x="8507" y="8097"/>
                </a:lnTo>
                <a:cubicBezTo>
                  <a:pt x="8507" y="7719"/>
                  <a:pt x="8318" y="7404"/>
                  <a:pt x="8003" y="7215"/>
                </a:cubicBezTo>
                <a:lnTo>
                  <a:pt x="9137" y="5451"/>
                </a:lnTo>
                <a:cubicBezTo>
                  <a:pt x="9200" y="5356"/>
                  <a:pt x="9200" y="5230"/>
                  <a:pt x="9137" y="5104"/>
                </a:cubicBezTo>
                <a:lnTo>
                  <a:pt x="8223" y="3529"/>
                </a:lnTo>
                <a:close/>
                <a:moveTo>
                  <a:pt x="11342" y="9137"/>
                </a:moveTo>
                <a:lnTo>
                  <a:pt x="11342" y="9483"/>
                </a:lnTo>
                <a:cubicBezTo>
                  <a:pt x="11342" y="9672"/>
                  <a:pt x="11185" y="9830"/>
                  <a:pt x="10996" y="9830"/>
                </a:cubicBezTo>
                <a:lnTo>
                  <a:pt x="1103" y="9830"/>
                </a:lnTo>
                <a:cubicBezTo>
                  <a:pt x="914" y="9830"/>
                  <a:pt x="756" y="9672"/>
                  <a:pt x="756" y="9483"/>
                </a:cubicBezTo>
                <a:lnTo>
                  <a:pt x="756" y="9137"/>
                </a:lnTo>
                <a:close/>
                <a:moveTo>
                  <a:pt x="6427" y="10554"/>
                </a:moveTo>
                <a:lnTo>
                  <a:pt x="6427" y="11248"/>
                </a:lnTo>
                <a:lnTo>
                  <a:pt x="5703" y="11248"/>
                </a:lnTo>
                <a:lnTo>
                  <a:pt x="5703" y="10554"/>
                </a:lnTo>
                <a:close/>
                <a:moveTo>
                  <a:pt x="347" y="0"/>
                </a:moveTo>
                <a:cubicBezTo>
                  <a:pt x="158" y="0"/>
                  <a:pt x="0" y="158"/>
                  <a:pt x="0" y="347"/>
                </a:cubicBezTo>
                <a:lnTo>
                  <a:pt x="0" y="1765"/>
                </a:lnTo>
                <a:cubicBezTo>
                  <a:pt x="0" y="1954"/>
                  <a:pt x="158" y="2111"/>
                  <a:pt x="347" y="2111"/>
                </a:cubicBezTo>
                <a:lnTo>
                  <a:pt x="1765" y="2111"/>
                </a:lnTo>
                <a:cubicBezTo>
                  <a:pt x="1954" y="2111"/>
                  <a:pt x="2111" y="1954"/>
                  <a:pt x="2111" y="1765"/>
                </a:cubicBezTo>
                <a:lnTo>
                  <a:pt x="2111" y="1418"/>
                </a:lnTo>
                <a:lnTo>
                  <a:pt x="5010" y="1418"/>
                </a:lnTo>
                <a:lnTo>
                  <a:pt x="4159" y="2836"/>
                </a:lnTo>
                <a:lnTo>
                  <a:pt x="1072" y="2836"/>
                </a:lnTo>
                <a:cubicBezTo>
                  <a:pt x="473" y="2836"/>
                  <a:pt x="0" y="3308"/>
                  <a:pt x="0" y="3907"/>
                </a:cubicBezTo>
                <a:lnTo>
                  <a:pt x="0" y="9515"/>
                </a:lnTo>
                <a:cubicBezTo>
                  <a:pt x="0" y="10113"/>
                  <a:pt x="473" y="10586"/>
                  <a:pt x="1072" y="10586"/>
                </a:cubicBezTo>
                <a:lnTo>
                  <a:pt x="4947" y="10586"/>
                </a:lnTo>
                <a:lnTo>
                  <a:pt x="4947" y="11311"/>
                </a:lnTo>
                <a:lnTo>
                  <a:pt x="3907" y="11311"/>
                </a:lnTo>
                <a:cubicBezTo>
                  <a:pt x="3686" y="11311"/>
                  <a:pt x="3529" y="11468"/>
                  <a:pt x="3529" y="11657"/>
                </a:cubicBezTo>
                <a:cubicBezTo>
                  <a:pt x="3529" y="11846"/>
                  <a:pt x="3686" y="12004"/>
                  <a:pt x="3907" y="12004"/>
                </a:cubicBezTo>
                <a:lnTo>
                  <a:pt x="8097" y="12004"/>
                </a:lnTo>
                <a:cubicBezTo>
                  <a:pt x="8318" y="12004"/>
                  <a:pt x="8475" y="11846"/>
                  <a:pt x="8475" y="11657"/>
                </a:cubicBezTo>
                <a:cubicBezTo>
                  <a:pt x="8475" y="11468"/>
                  <a:pt x="8318" y="11311"/>
                  <a:pt x="8097" y="11311"/>
                </a:cubicBezTo>
                <a:lnTo>
                  <a:pt x="7057" y="11311"/>
                </a:lnTo>
                <a:lnTo>
                  <a:pt x="7057" y="10586"/>
                </a:lnTo>
                <a:lnTo>
                  <a:pt x="10933" y="10586"/>
                </a:lnTo>
                <a:cubicBezTo>
                  <a:pt x="11531" y="10586"/>
                  <a:pt x="12004" y="10113"/>
                  <a:pt x="12004" y="9515"/>
                </a:cubicBezTo>
                <a:lnTo>
                  <a:pt x="12004" y="3907"/>
                </a:lnTo>
                <a:cubicBezTo>
                  <a:pt x="12035" y="3308"/>
                  <a:pt x="11563" y="2836"/>
                  <a:pt x="10996" y="2836"/>
                </a:cubicBezTo>
                <a:lnTo>
                  <a:pt x="7877" y="2836"/>
                </a:lnTo>
                <a:lnTo>
                  <a:pt x="7057" y="1418"/>
                </a:lnTo>
                <a:lnTo>
                  <a:pt x="9924" y="1418"/>
                </a:lnTo>
                <a:lnTo>
                  <a:pt x="9924" y="1765"/>
                </a:lnTo>
                <a:cubicBezTo>
                  <a:pt x="9924" y="1954"/>
                  <a:pt x="10082" y="2111"/>
                  <a:pt x="10271" y="2111"/>
                </a:cubicBezTo>
                <a:lnTo>
                  <a:pt x="11689" y="2111"/>
                </a:lnTo>
                <a:cubicBezTo>
                  <a:pt x="11878" y="2111"/>
                  <a:pt x="12035" y="1954"/>
                  <a:pt x="12035" y="1765"/>
                </a:cubicBezTo>
                <a:lnTo>
                  <a:pt x="12035" y="347"/>
                </a:lnTo>
                <a:cubicBezTo>
                  <a:pt x="12035" y="158"/>
                  <a:pt x="11878" y="0"/>
                  <a:pt x="11689" y="0"/>
                </a:cubicBezTo>
                <a:lnTo>
                  <a:pt x="10271" y="0"/>
                </a:lnTo>
                <a:cubicBezTo>
                  <a:pt x="10082" y="0"/>
                  <a:pt x="9924" y="158"/>
                  <a:pt x="9924" y="347"/>
                </a:cubicBezTo>
                <a:lnTo>
                  <a:pt x="9924" y="693"/>
                </a:lnTo>
                <a:lnTo>
                  <a:pt x="6648" y="693"/>
                </a:lnTo>
                <a:lnTo>
                  <a:pt x="6333" y="189"/>
                </a:lnTo>
                <a:cubicBezTo>
                  <a:pt x="6270" y="63"/>
                  <a:pt x="6144" y="0"/>
                  <a:pt x="6018" y="0"/>
                </a:cubicBezTo>
                <a:cubicBezTo>
                  <a:pt x="5892" y="0"/>
                  <a:pt x="5797" y="63"/>
                  <a:pt x="5703" y="189"/>
                </a:cubicBezTo>
                <a:lnTo>
                  <a:pt x="5388" y="693"/>
                </a:lnTo>
                <a:lnTo>
                  <a:pt x="2111" y="693"/>
                </a:lnTo>
                <a:lnTo>
                  <a:pt x="2111" y="347"/>
                </a:lnTo>
                <a:cubicBezTo>
                  <a:pt x="2111"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83" name="Google Shape;10383;p79"/>
          <p:cNvGrpSpPr/>
          <p:nvPr/>
        </p:nvGrpSpPr>
        <p:grpSpPr>
          <a:xfrm>
            <a:off x="4033144" y="2017593"/>
            <a:ext cx="230365" cy="359124"/>
            <a:chOff x="-47842400" y="2342000"/>
            <a:chExt cx="193000" cy="300875"/>
          </a:xfrm>
        </p:grpSpPr>
        <p:sp>
          <p:nvSpPr>
            <p:cNvPr id="10384" name="Google Shape;10384;p79"/>
            <p:cNvSpPr/>
            <p:nvPr/>
          </p:nvSpPr>
          <p:spPr>
            <a:xfrm>
              <a:off x="-47809325" y="2412875"/>
              <a:ext cx="124475" cy="124475"/>
            </a:xfrm>
            <a:custGeom>
              <a:avLst/>
              <a:gdLst/>
              <a:ahLst/>
              <a:cxnLst/>
              <a:rect l="l" t="t" r="r" b="b"/>
              <a:pathLst>
                <a:path w="4979" h="4979" extrusionOk="0">
                  <a:moveTo>
                    <a:pt x="1828" y="725"/>
                  </a:moveTo>
                  <a:cubicBezTo>
                    <a:pt x="2301" y="725"/>
                    <a:pt x="2679" y="1009"/>
                    <a:pt x="2805" y="1418"/>
                  </a:cubicBezTo>
                  <a:lnTo>
                    <a:pt x="1828" y="1418"/>
                  </a:lnTo>
                  <a:cubicBezTo>
                    <a:pt x="1639" y="1418"/>
                    <a:pt x="1482" y="1576"/>
                    <a:pt x="1482" y="1796"/>
                  </a:cubicBezTo>
                  <a:lnTo>
                    <a:pt x="1482" y="2773"/>
                  </a:lnTo>
                  <a:cubicBezTo>
                    <a:pt x="1072" y="2647"/>
                    <a:pt x="757" y="2269"/>
                    <a:pt x="757" y="1796"/>
                  </a:cubicBezTo>
                  <a:cubicBezTo>
                    <a:pt x="757" y="1198"/>
                    <a:pt x="1230" y="725"/>
                    <a:pt x="1828" y="725"/>
                  </a:cubicBezTo>
                  <a:close/>
                  <a:moveTo>
                    <a:pt x="2805" y="2143"/>
                  </a:moveTo>
                  <a:cubicBezTo>
                    <a:pt x="2679" y="2458"/>
                    <a:pt x="2458" y="2678"/>
                    <a:pt x="2175" y="2773"/>
                  </a:cubicBezTo>
                  <a:lnTo>
                    <a:pt x="2175" y="2143"/>
                  </a:lnTo>
                  <a:close/>
                  <a:moveTo>
                    <a:pt x="4286" y="2111"/>
                  </a:moveTo>
                  <a:lnTo>
                    <a:pt x="4286" y="4222"/>
                  </a:lnTo>
                  <a:lnTo>
                    <a:pt x="2143" y="4222"/>
                  </a:lnTo>
                  <a:lnTo>
                    <a:pt x="2143" y="3466"/>
                  </a:lnTo>
                  <a:cubicBezTo>
                    <a:pt x="2805" y="3309"/>
                    <a:pt x="3372" y="2804"/>
                    <a:pt x="3529" y="2111"/>
                  </a:cubicBezTo>
                  <a:close/>
                  <a:moveTo>
                    <a:pt x="1797" y="1"/>
                  </a:moveTo>
                  <a:cubicBezTo>
                    <a:pt x="789" y="1"/>
                    <a:pt x="1" y="788"/>
                    <a:pt x="1" y="1796"/>
                  </a:cubicBezTo>
                  <a:cubicBezTo>
                    <a:pt x="1" y="2647"/>
                    <a:pt x="599" y="3372"/>
                    <a:pt x="1450" y="3529"/>
                  </a:cubicBezTo>
                  <a:lnTo>
                    <a:pt x="1450" y="4632"/>
                  </a:lnTo>
                  <a:cubicBezTo>
                    <a:pt x="1450" y="4821"/>
                    <a:pt x="1576" y="4978"/>
                    <a:pt x="1797" y="4978"/>
                  </a:cubicBezTo>
                  <a:lnTo>
                    <a:pt x="4601" y="4978"/>
                  </a:lnTo>
                  <a:cubicBezTo>
                    <a:pt x="4790" y="4978"/>
                    <a:pt x="4947" y="4821"/>
                    <a:pt x="4947" y="4632"/>
                  </a:cubicBezTo>
                  <a:lnTo>
                    <a:pt x="4947" y="1828"/>
                  </a:lnTo>
                  <a:cubicBezTo>
                    <a:pt x="4979" y="1576"/>
                    <a:pt x="4821" y="1418"/>
                    <a:pt x="4632" y="1418"/>
                  </a:cubicBezTo>
                  <a:lnTo>
                    <a:pt x="3529" y="1418"/>
                  </a:lnTo>
                  <a:cubicBezTo>
                    <a:pt x="3372" y="631"/>
                    <a:pt x="2647"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79"/>
            <p:cNvSpPr/>
            <p:nvPr/>
          </p:nvSpPr>
          <p:spPr>
            <a:xfrm>
              <a:off x="-47842400" y="2342000"/>
              <a:ext cx="193000" cy="300875"/>
            </a:xfrm>
            <a:custGeom>
              <a:avLst/>
              <a:gdLst/>
              <a:ahLst/>
              <a:cxnLst/>
              <a:rect l="l" t="t" r="r" b="b"/>
              <a:pathLst>
                <a:path w="7720" h="12035" extrusionOk="0">
                  <a:moveTo>
                    <a:pt x="6995" y="725"/>
                  </a:moveTo>
                  <a:lnTo>
                    <a:pt x="6995" y="1418"/>
                  </a:lnTo>
                  <a:lnTo>
                    <a:pt x="662" y="1418"/>
                  </a:lnTo>
                  <a:lnTo>
                    <a:pt x="662" y="725"/>
                  </a:lnTo>
                  <a:close/>
                  <a:moveTo>
                    <a:pt x="7058" y="2142"/>
                  </a:moveTo>
                  <a:lnTo>
                    <a:pt x="7058" y="8506"/>
                  </a:lnTo>
                  <a:lnTo>
                    <a:pt x="694" y="8506"/>
                  </a:lnTo>
                  <a:lnTo>
                    <a:pt x="694" y="2142"/>
                  </a:lnTo>
                  <a:close/>
                  <a:moveTo>
                    <a:pt x="7058" y="9200"/>
                  </a:moveTo>
                  <a:lnTo>
                    <a:pt x="7058" y="11310"/>
                  </a:lnTo>
                  <a:lnTo>
                    <a:pt x="694" y="11310"/>
                  </a:lnTo>
                  <a:lnTo>
                    <a:pt x="694" y="9200"/>
                  </a:lnTo>
                  <a:close/>
                  <a:moveTo>
                    <a:pt x="347" y="0"/>
                  </a:moveTo>
                  <a:cubicBezTo>
                    <a:pt x="158" y="0"/>
                    <a:pt x="1" y="158"/>
                    <a:pt x="1" y="378"/>
                  </a:cubicBezTo>
                  <a:lnTo>
                    <a:pt x="1" y="11657"/>
                  </a:lnTo>
                  <a:cubicBezTo>
                    <a:pt x="1" y="11877"/>
                    <a:pt x="158" y="12035"/>
                    <a:pt x="347" y="12035"/>
                  </a:cubicBezTo>
                  <a:lnTo>
                    <a:pt x="7373" y="12035"/>
                  </a:lnTo>
                  <a:cubicBezTo>
                    <a:pt x="7562" y="12035"/>
                    <a:pt x="7719" y="11877"/>
                    <a:pt x="7719" y="11657"/>
                  </a:cubicBezTo>
                  <a:lnTo>
                    <a:pt x="7719" y="378"/>
                  </a:lnTo>
                  <a:cubicBezTo>
                    <a:pt x="7719" y="158"/>
                    <a:pt x="7562" y="0"/>
                    <a:pt x="7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6" name="Google Shape;10386;p79"/>
            <p:cNvSpPr/>
            <p:nvPr/>
          </p:nvSpPr>
          <p:spPr>
            <a:xfrm>
              <a:off x="-47772300" y="2589300"/>
              <a:ext cx="52800" cy="18150"/>
            </a:xfrm>
            <a:custGeom>
              <a:avLst/>
              <a:gdLst/>
              <a:ahLst/>
              <a:cxnLst/>
              <a:rect l="l" t="t" r="r" b="b"/>
              <a:pathLst>
                <a:path w="2112" h="726" extrusionOk="0">
                  <a:moveTo>
                    <a:pt x="347" y="1"/>
                  </a:moveTo>
                  <a:cubicBezTo>
                    <a:pt x="158" y="1"/>
                    <a:pt x="1" y="158"/>
                    <a:pt x="1" y="347"/>
                  </a:cubicBezTo>
                  <a:cubicBezTo>
                    <a:pt x="1" y="568"/>
                    <a:pt x="158" y="725"/>
                    <a:pt x="347" y="725"/>
                  </a:cubicBezTo>
                  <a:lnTo>
                    <a:pt x="1765" y="725"/>
                  </a:lnTo>
                  <a:cubicBezTo>
                    <a:pt x="1954" y="725"/>
                    <a:pt x="2111" y="568"/>
                    <a:pt x="2111" y="347"/>
                  </a:cubicBez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7" name="Google Shape;10387;p79"/>
          <p:cNvGrpSpPr/>
          <p:nvPr/>
        </p:nvGrpSpPr>
        <p:grpSpPr>
          <a:xfrm>
            <a:off x="3969212" y="2465052"/>
            <a:ext cx="358229" cy="359154"/>
            <a:chOff x="-47896750" y="2710600"/>
            <a:chExt cx="300125" cy="300900"/>
          </a:xfrm>
        </p:grpSpPr>
        <p:sp>
          <p:nvSpPr>
            <p:cNvPr id="10388" name="Google Shape;10388;p79"/>
            <p:cNvSpPr/>
            <p:nvPr/>
          </p:nvSpPr>
          <p:spPr>
            <a:xfrm>
              <a:off x="-47896750" y="2710600"/>
              <a:ext cx="300125" cy="300900"/>
            </a:xfrm>
            <a:custGeom>
              <a:avLst/>
              <a:gdLst/>
              <a:ahLst/>
              <a:cxnLst/>
              <a:rect l="l" t="t" r="r" b="b"/>
              <a:pathLst>
                <a:path w="12005" h="12036" extrusionOk="0">
                  <a:moveTo>
                    <a:pt x="2836" y="756"/>
                  </a:moveTo>
                  <a:cubicBezTo>
                    <a:pt x="3246" y="756"/>
                    <a:pt x="3561" y="1072"/>
                    <a:pt x="3561" y="1450"/>
                  </a:cubicBezTo>
                  <a:lnTo>
                    <a:pt x="3561" y="2237"/>
                  </a:lnTo>
                  <a:cubicBezTo>
                    <a:pt x="3309" y="2206"/>
                    <a:pt x="3088" y="2174"/>
                    <a:pt x="2836" y="2174"/>
                  </a:cubicBezTo>
                  <a:cubicBezTo>
                    <a:pt x="2616" y="2174"/>
                    <a:pt x="2364" y="2206"/>
                    <a:pt x="2143" y="2237"/>
                  </a:cubicBezTo>
                  <a:lnTo>
                    <a:pt x="2143" y="1450"/>
                  </a:lnTo>
                  <a:cubicBezTo>
                    <a:pt x="2143" y="1072"/>
                    <a:pt x="2458" y="756"/>
                    <a:pt x="2836" y="756"/>
                  </a:cubicBezTo>
                  <a:close/>
                  <a:moveTo>
                    <a:pt x="5231" y="1450"/>
                  </a:moveTo>
                  <a:cubicBezTo>
                    <a:pt x="7026" y="1450"/>
                    <a:pt x="8539" y="2584"/>
                    <a:pt x="9106" y="4254"/>
                  </a:cubicBezTo>
                  <a:cubicBezTo>
                    <a:pt x="8854" y="4254"/>
                    <a:pt x="8633" y="4317"/>
                    <a:pt x="8444" y="4474"/>
                  </a:cubicBezTo>
                  <a:cubicBezTo>
                    <a:pt x="8003" y="3119"/>
                    <a:pt x="6743" y="2174"/>
                    <a:pt x="5231" y="2174"/>
                  </a:cubicBezTo>
                  <a:lnTo>
                    <a:pt x="4254" y="2174"/>
                  </a:lnTo>
                  <a:lnTo>
                    <a:pt x="4254" y="1450"/>
                  </a:lnTo>
                  <a:close/>
                  <a:moveTo>
                    <a:pt x="2868" y="2836"/>
                  </a:moveTo>
                  <a:cubicBezTo>
                    <a:pt x="4033" y="2836"/>
                    <a:pt x="4979" y="3781"/>
                    <a:pt x="4979" y="4947"/>
                  </a:cubicBezTo>
                  <a:lnTo>
                    <a:pt x="4979" y="5671"/>
                  </a:lnTo>
                  <a:lnTo>
                    <a:pt x="757" y="5671"/>
                  </a:lnTo>
                  <a:lnTo>
                    <a:pt x="757" y="4947"/>
                  </a:lnTo>
                  <a:cubicBezTo>
                    <a:pt x="757" y="3781"/>
                    <a:pt x="1702" y="2836"/>
                    <a:pt x="2868" y="2836"/>
                  </a:cubicBezTo>
                  <a:close/>
                  <a:moveTo>
                    <a:pt x="9169" y="4947"/>
                  </a:moveTo>
                  <a:cubicBezTo>
                    <a:pt x="9578" y="4947"/>
                    <a:pt x="9893" y="5262"/>
                    <a:pt x="9893" y="5671"/>
                  </a:cubicBezTo>
                  <a:cubicBezTo>
                    <a:pt x="9893" y="6049"/>
                    <a:pt x="9578" y="6364"/>
                    <a:pt x="9169" y="6364"/>
                  </a:cubicBezTo>
                  <a:cubicBezTo>
                    <a:pt x="8791" y="6364"/>
                    <a:pt x="8476" y="6049"/>
                    <a:pt x="8476" y="5671"/>
                  </a:cubicBezTo>
                  <a:cubicBezTo>
                    <a:pt x="8476" y="5262"/>
                    <a:pt x="8791" y="4947"/>
                    <a:pt x="9169" y="4947"/>
                  </a:cubicBezTo>
                  <a:close/>
                  <a:moveTo>
                    <a:pt x="9547" y="6994"/>
                  </a:moveTo>
                  <a:lnTo>
                    <a:pt x="9547" y="9924"/>
                  </a:lnTo>
                  <a:lnTo>
                    <a:pt x="8822" y="9924"/>
                  </a:lnTo>
                  <a:lnTo>
                    <a:pt x="8822" y="6994"/>
                  </a:lnTo>
                  <a:cubicBezTo>
                    <a:pt x="8948" y="7057"/>
                    <a:pt x="9074" y="7057"/>
                    <a:pt x="9169" y="7057"/>
                  </a:cubicBezTo>
                  <a:cubicBezTo>
                    <a:pt x="9295" y="7057"/>
                    <a:pt x="9421" y="7057"/>
                    <a:pt x="9547" y="6994"/>
                  </a:cubicBezTo>
                  <a:close/>
                  <a:moveTo>
                    <a:pt x="10208" y="10617"/>
                  </a:moveTo>
                  <a:cubicBezTo>
                    <a:pt x="10681" y="10617"/>
                    <a:pt x="11059" y="10933"/>
                    <a:pt x="11217" y="11342"/>
                  </a:cubicBezTo>
                  <a:lnTo>
                    <a:pt x="5703" y="11342"/>
                  </a:lnTo>
                  <a:cubicBezTo>
                    <a:pt x="5861" y="10933"/>
                    <a:pt x="6270" y="10617"/>
                    <a:pt x="6711" y="10617"/>
                  </a:cubicBezTo>
                  <a:close/>
                  <a:moveTo>
                    <a:pt x="2836" y="0"/>
                  </a:moveTo>
                  <a:cubicBezTo>
                    <a:pt x="2049" y="0"/>
                    <a:pt x="1419" y="630"/>
                    <a:pt x="1419" y="1418"/>
                  </a:cubicBezTo>
                  <a:lnTo>
                    <a:pt x="1419" y="2458"/>
                  </a:lnTo>
                  <a:cubicBezTo>
                    <a:pt x="599" y="2930"/>
                    <a:pt x="1" y="3844"/>
                    <a:pt x="1" y="4915"/>
                  </a:cubicBezTo>
                  <a:lnTo>
                    <a:pt x="1" y="5986"/>
                  </a:lnTo>
                  <a:cubicBezTo>
                    <a:pt x="1" y="6175"/>
                    <a:pt x="158" y="6333"/>
                    <a:pt x="347" y="6333"/>
                  </a:cubicBezTo>
                  <a:lnTo>
                    <a:pt x="5294" y="6333"/>
                  </a:lnTo>
                  <a:cubicBezTo>
                    <a:pt x="5483" y="6333"/>
                    <a:pt x="5640" y="6175"/>
                    <a:pt x="5640" y="5986"/>
                  </a:cubicBezTo>
                  <a:lnTo>
                    <a:pt x="5640" y="4915"/>
                  </a:lnTo>
                  <a:cubicBezTo>
                    <a:pt x="5640" y="4096"/>
                    <a:pt x="5294" y="3340"/>
                    <a:pt x="4695" y="2773"/>
                  </a:cubicBezTo>
                  <a:lnTo>
                    <a:pt x="5231" y="2773"/>
                  </a:lnTo>
                  <a:cubicBezTo>
                    <a:pt x="6585" y="2773"/>
                    <a:pt x="7688" y="3781"/>
                    <a:pt x="7877" y="5104"/>
                  </a:cubicBezTo>
                  <a:cubicBezTo>
                    <a:pt x="7846" y="5262"/>
                    <a:pt x="7814" y="5419"/>
                    <a:pt x="7814" y="5608"/>
                  </a:cubicBezTo>
                  <a:cubicBezTo>
                    <a:pt x="7814" y="5986"/>
                    <a:pt x="7909" y="6301"/>
                    <a:pt x="8161" y="6553"/>
                  </a:cubicBezTo>
                  <a:lnTo>
                    <a:pt x="8161" y="9924"/>
                  </a:lnTo>
                  <a:lnTo>
                    <a:pt x="7436" y="9924"/>
                  </a:lnTo>
                  <a:lnTo>
                    <a:pt x="7436" y="9546"/>
                  </a:lnTo>
                  <a:cubicBezTo>
                    <a:pt x="7436" y="9357"/>
                    <a:pt x="7278" y="9200"/>
                    <a:pt x="7089" y="9200"/>
                  </a:cubicBezTo>
                  <a:cubicBezTo>
                    <a:pt x="6900" y="9200"/>
                    <a:pt x="6743" y="9357"/>
                    <a:pt x="6743" y="9546"/>
                  </a:cubicBezTo>
                  <a:lnTo>
                    <a:pt x="6743" y="9924"/>
                  </a:lnTo>
                  <a:cubicBezTo>
                    <a:pt x="5766" y="9924"/>
                    <a:pt x="4979" y="10712"/>
                    <a:pt x="4979" y="11689"/>
                  </a:cubicBezTo>
                  <a:cubicBezTo>
                    <a:pt x="4979" y="11878"/>
                    <a:pt x="5136" y="12035"/>
                    <a:pt x="5325" y="12035"/>
                  </a:cubicBezTo>
                  <a:lnTo>
                    <a:pt x="11658" y="12035"/>
                  </a:lnTo>
                  <a:cubicBezTo>
                    <a:pt x="11847" y="12035"/>
                    <a:pt x="12004" y="11878"/>
                    <a:pt x="12004" y="11689"/>
                  </a:cubicBezTo>
                  <a:cubicBezTo>
                    <a:pt x="12004" y="11216"/>
                    <a:pt x="11815" y="10743"/>
                    <a:pt x="11500" y="10428"/>
                  </a:cubicBezTo>
                  <a:cubicBezTo>
                    <a:pt x="11154" y="10113"/>
                    <a:pt x="10713" y="9924"/>
                    <a:pt x="10240" y="9924"/>
                  </a:cubicBezTo>
                  <a:lnTo>
                    <a:pt x="10240" y="6585"/>
                  </a:lnTo>
                  <a:cubicBezTo>
                    <a:pt x="10492" y="6333"/>
                    <a:pt x="10587" y="5986"/>
                    <a:pt x="10587" y="5608"/>
                  </a:cubicBezTo>
                  <a:cubicBezTo>
                    <a:pt x="10587" y="5104"/>
                    <a:pt x="10334" y="4632"/>
                    <a:pt x="9893" y="4411"/>
                  </a:cubicBezTo>
                  <a:cubicBezTo>
                    <a:pt x="9641" y="3371"/>
                    <a:pt x="9106" y="2458"/>
                    <a:pt x="8287" y="1796"/>
                  </a:cubicBezTo>
                  <a:cubicBezTo>
                    <a:pt x="7405" y="1103"/>
                    <a:pt x="6333" y="693"/>
                    <a:pt x="5231" y="693"/>
                  </a:cubicBezTo>
                  <a:lnTo>
                    <a:pt x="4065" y="693"/>
                  </a:lnTo>
                  <a:cubicBezTo>
                    <a:pt x="3813" y="284"/>
                    <a:pt x="3340"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9" name="Google Shape;10389;p79"/>
            <p:cNvSpPr/>
            <p:nvPr/>
          </p:nvSpPr>
          <p:spPr>
            <a:xfrm>
              <a:off x="-47834525" y="2904350"/>
              <a:ext cx="17350" cy="44125"/>
            </a:xfrm>
            <a:custGeom>
              <a:avLst/>
              <a:gdLst/>
              <a:ahLst/>
              <a:cxnLst/>
              <a:rect l="l" t="t" r="r" b="b"/>
              <a:pathLst>
                <a:path w="694" h="1765" extrusionOk="0">
                  <a:moveTo>
                    <a:pt x="347" y="1"/>
                  </a:moveTo>
                  <a:cubicBezTo>
                    <a:pt x="158" y="1"/>
                    <a:pt x="1" y="158"/>
                    <a:pt x="1" y="347"/>
                  </a:cubicBezTo>
                  <a:lnTo>
                    <a:pt x="1" y="1418"/>
                  </a:lnTo>
                  <a:cubicBezTo>
                    <a:pt x="1" y="1607"/>
                    <a:pt x="158" y="1765"/>
                    <a:pt x="347" y="1765"/>
                  </a:cubicBezTo>
                  <a:cubicBezTo>
                    <a:pt x="568" y="1765"/>
                    <a:pt x="694" y="1607"/>
                    <a:pt x="694" y="1418"/>
                  </a:cubicBezTo>
                  <a:lnTo>
                    <a:pt x="694" y="347"/>
                  </a:lnTo>
                  <a:cubicBezTo>
                    <a:pt x="694"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0" name="Google Shape;10390;p79"/>
            <p:cNvSpPr/>
            <p:nvPr/>
          </p:nvSpPr>
          <p:spPr>
            <a:xfrm>
              <a:off x="-47790400" y="2884475"/>
              <a:ext cx="38600" cy="36450"/>
            </a:xfrm>
            <a:custGeom>
              <a:avLst/>
              <a:gdLst/>
              <a:ahLst/>
              <a:cxnLst/>
              <a:rect l="l" t="t" r="r" b="b"/>
              <a:pathLst>
                <a:path w="1544" h="1458" extrusionOk="0">
                  <a:moveTo>
                    <a:pt x="437" y="0"/>
                  </a:moveTo>
                  <a:cubicBezTo>
                    <a:pt x="339" y="0"/>
                    <a:pt x="236" y="24"/>
                    <a:pt x="158" y="71"/>
                  </a:cubicBezTo>
                  <a:cubicBezTo>
                    <a:pt x="0" y="197"/>
                    <a:pt x="32" y="449"/>
                    <a:pt x="158" y="607"/>
                  </a:cubicBezTo>
                  <a:lnTo>
                    <a:pt x="914" y="1363"/>
                  </a:lnTo>
                  <a:cubicBezTo>
                    <a:pt x="1040" y="1457"/>
                    <a:pt x="1103" y="1457"/>
                    <a:pt x="1197" y="1457"/>
                  </a:cubicBezTo>
                  <a:cubicBezTo>
                    <a:pt x="1260" y="1457"/>
                    <a:pt x="1386" y="1426"/>
                    <a:pt x="1418" y="1363"/>
                  </a:cubicBezTo>
                  <a:cubicBezTo>
                    <a:pt x="1544" y="1237"/>
                    <a:pt x="1544" y="985"/>
                    <a:pt x="1418" y="827"/>
                  </a:cubicBezTo>
                  <a:lnTo>
                    <a:pt x="693" y="71"/>
                  </a:lnTo>
                  <a:cubicBezTo>
                    <a:pt x="630" y="24"/>
                    <a:pt x="536" y="0"/>
                    <a:pt x="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1" name="Google Shape;10391;p79"/>
            <p:cNvSpPr/>
            <p:nvPr/>
          </p:nvSpPr>
          <p:spPr>
            <a:xfrm>
              <a:off x="-47896750" y="2885150"/>
              <a:ext cx="37050" cy="37350"/>
            </a:xfrm>
            <a:custGeom>
              <a:avLst/>
              <a:gdLst/>
              <a:ahLst/>
              <a:cxnLst/>
              <a:rect l="l" t="t" r="r" b="b"/>
              <a:pathLst>
                <a:path w="1482" h="1494" extrusionOk="0">
                  <a:moveTo>
                    <a:pt x="1122" y="0"/>
                  </a:moveTo>
                  <a:cubicBezTo>
                    <a:pt x="1027" y="0"/>
                    <a:pt x="933" y="40"/>
                    <a:pt x="883" y="107"/>
                  </a:cubicBezTo>
                  <a:lnTo>
                    <a:pt x="127" y="863"/>
                  </a:lnTo>
                  <a:cubicBezTo>
                    <a:pt x="1" y="958"/>
                    <a:pt x="1" y="1210"/>
                    <a:pt x="127" y="1367"/>
                  </a:cubicBezTo>
                  <a:cubicBezTo>
                    <a:pt x="221" y="1430"/>
                    <a:pt x="284" y="1493"/>
                    <a:pt x="379" y="1493"/>
                  </a:cubicBezTo>
                  <a:cubicBezTo>
                    <a:pt x="442" y="1493"/>
                    <a:pt x="568" y="1430"/>
                    <a:pt x="599" y="1367"/>
                  </a:cubicBezTo>
                  <a:lnTo>
                    <a:pt x="1356" y="611"/>
                  </a:lnTo>
                  <a:cubicBezTo>
                    <a:pt x="1482" y="485"/>
                    <a:pt x="1482" y="264"/>
                    <a:pt x="1356" y="107"/>
                  </a:cubicBezTo>
                  <a:cubicBezTo>
                    <a:pt x="1296" y="33"/>
                    <a:pt x="1208" y="0"/>
                    <a:pt x="11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2" name="Google Shape;10392;p79"/>
          <p:cNvGrpSpPr/>
          <p:nvPr/>
        </p:nvGrpSpPr>
        <p:grpSpPr>
          <a:xfrm>
            <a:off x="2624852" y="2938609"/>
            <a:ext cx="359154" cy="314991"/>
            <a:chOff x="-46033225" y="1982825"/>
            <a:chExt cx="300900" cy="263900"/>
          </a:xfrm>
        </p:grpSpPr>
        <p:sp>
          <p:nvSpPr>
            <p:cNvPr id="10393" name="Google Shape;10393;p79"/>
            <p:cNvSpPr/>
            <p:nvPr/>
          </p:nvSpPr>
          <p:spPr>
            <a:xfrm>
              <a:off x="-45962325" y="2053725"/>
              <a:ext cx="157525" cy="157550"/>
            </a:xfrm>
            <a:custGeom>
              <a:avLst/>
              <a:gdLst/>
              <a:ahLst/>
              <a:cxnLst/>
              <a:rect l="l" t="t" r="r" b="b"/>
              <a:pathLst>
                <a:path w="6301" h="6302" extrusionOk="0">
                  <a:moveTo>
                    <a:pt x="3151" y="725"/>
                  </a:moveTo>
                  <a:cubicBezTo>
                    <a:pt x="4505" y="725"/>
                    <a:pt x="5608" y="1828"/>
                    <a:pt x="5608" y="3151"/>
                  </a:cubicBezTo>
                  <a:cubicBezTo>
                    <a:pt x="5608" y="4506"/>
                    <a:pt x="4505" y="5608"/>
                    <a:pt x="3151" y="5608"/>
                  </a:cubicBezTo>
                  <a:cubicBezTo>
                    <a:pt x="1827" y="5608"/>
                    <a:pt x="725" y="4474"/>
                    <a:pt x="725" y="3151"/>
                  </a:cubicBezTo>
                  <a:cubicBezTo>
                    <a:pt x="725" y="1828"/>
                    <a:pt x="1827" y="725"/>
                    <a:pt x="3151" y="725"/>
                  </a:cubicBezTo>
                  <a:close/>
                  <a:moveTo>
                    <a:pt x="3151" y="0"/>
                  </a:moveTo>
                  <a:cubicBezTo>
                    <a:pt x="1418" y="0"/>
                    <a:pt x="0" y="1418"/>
                    <a:pt x="0" y="3151"/>
                  </a:cubicBezTo>
                  <a:cubicBezTo>
                    <a:pt x="0" y="4884"/>
                    <a:pt x="1418" y="6301"/>
                    <a:pt x="3151" y="6301"/>
                  </a:cubicBezTo>
                  <a:cubicBezTo>
                    <a:pt x="4883" y="6301"/>
                    <a:pt x="6301" y="4884"/>
                    <a:pt x="6301" y="3151"/>
                  </a:cubicBezTo>
                  <a:cubicBezTo>
                    <a:pt x="6301" y="1418"/>
                    <a:pt x="4883"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4" name="Google Shape;10394;p79"/>
            <p:cNvSpPr/>
            <p:nvPr/>
          </p:nvSpPr>
          <p:spPr>
            <a:xfrm>
              <a:off x="-45927675" y="2088375"/>
              <a:ext cx="89025" cy="88250"/>
            </a:xfrm>
            <a:custGeom>
              <a:avLst/>
              <a:gdLst/>
              <a:ahLst/>
              <a:cxnLst/>
              <a:rect l="l" t="t" r="r" b="b"/>
              <a:pathLst>
                <a:path w="3561" h="3530" extrusionOk="0">
                  <a:moveTo>
                    <a:pt x="1765" y="694"/>
                  </a:moveTo>
                  <a:cubicBezTo>
                    <a:pt x="2363" y="694"/>
                    <a:pt x="2836" y="1166"/>
                    <a:pt x="2836" y="1765"/>
                  </a:cubicBezTo>
                  <a:cubicBezTo>
                    <a:pt x="2804" y="2363"/>
                    <a:pt x="2332" y="2836"/>
                    <a:pt x="1765" y="2836"/>
                  </a:cubicBezTo>
                  <a:cubicBezTo>
                    <a:pt x="1197" y="2836"/>
                    <a:pt x="725" y="2363"/>
                    <a:pt x="725" y="1765"/>
                  </a:cubicBezTo>
                  <a:cubicBezTo>
                    <a:pt x="725" y="1166"/>
                    <a:pt x="1197" y="694"/>
                    <a:pt x="1765" y="694"/>
                  </a:cubicBezTo>
                  <a:close/>
                  <a:moveTo>
                    <a:pt x="1765" y="1"/>
                  </a:moveTo>
                  <a:cubicBezTo>
                    <a:pt x="788" y="1"/>
                    <a:pt x="0" y="788"/>
                    <a:pt x="0" y="1765"/>
                  </a:cubicBezTo>
                  <a:cubicBezTo>
                    <a:pt x="0" y="2741"/>
                    <a:pt x="788" y="3529"/>
                    <a:pt x="1765" y="3529"/>
                  </a:cubicBezTo>
                  <a:cubicBezTo>
                    <a:pt x="2773" y="3529"/>
                    <a:pt x="3560" y="2741"/>
                    <a:pt x="3560" y="1765"/>
                  </a:cubicBezTo>
                  <a:cubicBezTo>
                    <a:pt x="3497" y="788"/>
                    <a:pt x="2710"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5" name="Google Shape;10395;p79"/>
            <p:cNvSpPr/>
            <p:nvPr/>
          </p:nvSpPr>
          <p:spPr>
            <a:xfrm>
              <a:off x="-46033225" y="1982825"/>
              <a:ext cx="300900" cy="263900"/>
            </a:xfrm>
            <a:custGeom>
              <a:avLst/>
              <a:gdLst/>
              <a:ahLst/>
              <a:cxnLst/>
              <a:rect l="l" t="t" r="r" b="b"/>
              <a:pathLst>
                <a:path w="12036" h="10556" extrusionOk="0">
                  <a:moveTo>
                    <a:pt x="7184" y="726"/>
                  </a:moveTo>
                  <a:lnTo>
                    <a:pt x="7530" y="1419"/>
                  </a:lnTo>
                  <a:lnTo>
                    <a:pt x="4474" y="1419"/>
                  </a:lnTo>
                  <a:lnTo>
                    <a:pt x="4821" y="726"/>
                  </a:lnTo>
                  <a:close/>
                  <a:moveTo>
                    <a:pt x="694" y="3750"/>
                  </a:moveTo>
                  <a:lnTo>
                    <a:pt x="1387" y="4097"/>
                  </a:lnTo>
                  <a:lnTo>
                    <a:pt x="1387" y="7877"/>
                  </a:lnTo>
                  <a:lnTo>
                    <a:pt x="694" y="8224"/>
                  </a:lnTo>
                  <a:lnTo>
                    <a:pt x="694" y="3750"/>
                  </a:lnTo>
                  <a:close/>
                  <a:moveTo>
                    <a:pt x="11279" y="3750"/>
                  </a:moveTo>
                  <a:lnTo>
                    <a:pt x="11279" y="8224"/>
                  </a:lnTo>
                  <a:lnTo>
                    <a:pt x="10555" y="7877"/>
                  </a:lnTo>
                  <a:lnTo>
                    <a:pt x="10555" y="4097"/>
                  </a:lnTo>
                  <a:lnTo>
                    <a:pt x="11279" y="3750"/>
                  </a:lnTo>
                  <a:close/>
                  <a:moveTo>
                    <a:pt x="10933" y="2175"/>
                  </a:moveTo>
                  <a:cubicBezTo>
                    <a:pt x="11122" y="2175"/>
                    <a:pt x="11279" y="2332"/>
                    <a:pt x="11279" y="2521"/>
                  </a:cubicBezTo>
                  <a:lnTo>
                    <a:pt x="11279" y="2994"/>
                  </a:lnTo>
                  <a:lnTo>
                    <a:pt x="10051" y="3592"/>
                  </a:lnTo>
                  <a:cubicBezTo>
                    <a:pt x="9925" y="3655"/>
                    <a:pt x="9862" y="3781"/>
                    <a:pt x="9862" y="3908"/>
                  </a:cubicBezTo>
                  <a:lnTo>
                    <a:pt x="9862" y="8098"/>
                  </a:lnTo>
                  <a:cubicBezTo>
                    <a:pt x="9862" y="8224"/>
                    <a:pt x="9925" y="8350"/>
                    <a:pt x="10051" y="8444"/>
                  </a:cubicBezTo>
                  <a:lnTo>
                    <a:pt x="11279" y="9011"/>
                  </a:lnTo>
                  <a:lnTo>
                    <a:pt x="11279" y="9484"/>
                  </a:lnTo>
                  <a:cubicBezTo>
                    <a:pt x="11279" y="9704"/>
                    <a:pt x="11122" y="9830"/>
                    <a:pt x="10933" y="9830"/>
                  </a:cubicBezTo>
                  <a:lnTo>
                    <a:pt x="1040" y="9830"/>
                  </a:lnTo>
                  <a:cubicBezTo>
                    <a:pt x="851" y="9830"/>
                    <a:pt x="694" y="9673"/>
                    <a:pt x="694" y="9484"/>
                  </a:cubicBezTo>
                  <a:lnTo>
                    <a:pt x="694" y="9011"/>
                  </a:lnTo>
                  <a:lnTo>
                    <a:pt x="1891" y="8444"/>
                  </a:lnTo>
                  <a:cubicBezTo>
                    <a:pt x="2017" y="8350"/>
                    <a:pt x="2111" y="8224"/>
                    <a:pt x="2111" y="8098"/>
                  </a:cubicBezTo>
                  <a:lnTo>
                    <a:pt x="2111" y="3908"/>
                  </a:lnTo>
                  <a:cubicBezTo>
                    <a:pt x="2111" y="3781"/>
                    <a:pt x="2017" y="3655"/>
                    <a:pt x="1891" y="3592"/>
                  </a:cubicBezTo>
                  <a:lnTo>
                    <a:pt x="694" y="2994"/>
                  </a:lnTo>
                  <a:lnTo>
                    <a:pt x="694" y="2521"/>
                  </a:lnTo>
                  <a:cubicBezTo>
                    <a:pt x="694" y="2332"/>
                    <a:pt x="851" y="2175"/>
                    <a:pt x="1040" y="2175"/>
                  </a:cubicBezTo>
                  <a:close/>
                  <a:moveTo>
                    <a:pt x="4632" y="1"/>
                  </a:moveTo>
                  <a:cubicBezTo>
                    <a:pt x="4506" y="1"/>
                    <a:pt x="4380" y="95"/>
                    <a:pt x="4317" y="190"/>
                  </a:cubicBezTo>
                  <a:lnTo>
                    <a:pt x="3718" y="1419"/>
                  </a:lnTo>
                  <a:lnTo>
                    <a:pt x="2143" y="1419"/>
                  </a:lnTo>
                  <a:lnTo>
                    <a:pt x="2143" y="1072"/>
                  </a:lnTo>
                  <a:cubicBezTo>
                    <a:pt x="2143" y="883"/>
                    <a:pt x="1985" y="694"/>
                    <a:pt x="1796" y="694"/>
                  </a:cubicBezTo>
                  <a:cubicBezTo>
                    <a:pt x="1576" y="694"/>
                    <a:pt x="1418" y="883"/>
                    <a:pt x="1418" y="1072"/>
                  </a:cubicBezTo>
                  <a:lnTo>
                    <a:pt x="1418" y="1419"/>
                  </a:lnTo>
                  <a:lnTo>
                    <a:pt x="1072" y="1419"/>
                  </a:lnTo>
                  <a:cubicBezTo>
                    <a:pt x="473" y="1419"/>
                    <a:pt x="1" y="1891"/>
                    <a:pt x="1" y="2490"/>
                  </a:cubicBezTo>
                  <a:lnTo>
                    <a:pt x="1" y="9484"/>
                  </a:lnTo>
                  <a:cubicBezTo>
                    <a:pt x="1" y="10082"/>
                    <a:pt x="473" y="10555"/>
                    <a:pt x="1072" y="10555"/>
                  </a:cubicBezTo>
                  <a:lnTo>
                    <a:pt x="10964" y="10555"/>
                  </a:lnTo>
                  <a:cubicBezTo>
                    <a:pt x="11563" y="10555"/>
                    <a:pt x="12035" y="10082"/>
                    <a:pt x="12035" y="9484"/>
                  </a:cubicBezTo>
                  <a:lnTo>
                    <a:pt x="12035" y="2490"/>
                  </a:lnTo>
                  <a:cubicBezTo>
                    <a:pt x="12004" y="1891"/>
                    <a:pt x="11500" y="1419"/>
                    <a:pt x="10933" y="1419"/>
                  </a:cubicBezTo>
                  <a:lnTo>
                    <a:pt x="8318" y="1419"/>
                  </a:lnTo>
                  <a:lnTo>
                    <a:pt x="7719" y="190"/>
                  </a:lnTo>
                  <a:cubicBezTo>
                    <a:pt x="7656" y="95"/>
                    <a:pt x="7530" y="1"/>
                    <a:pt x="74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6" name="Google Shape;10396;p79"/>
          <p:cNvGrpSpPr/>
          <p:nvPr/>
        </p:nvGrpSpPr>
        <p:grpSpPr>
          <a:xfrm>
            <a:off x="2621569" y="3365866"/>
            <a:ext cx="365719" cy="326151"/>
            <a:chOff x="-46034000" y="2334500"/>
            <a:chExt cx="306400" cy="273250"/>
          </a:xfrm>
        </p:grpSpPr>
        <p:sp>
          <p:nvSpPr>
            <p:cNvPr id="10397" name="Google Shape;10397;p79"/>
            <p:cNvSpPr/>
            <p:nvPr/>
          </p:nvSpPr>
          <p:spPr>
            <a:xfrm>
              <a:off x="-46034000" y="2334500"/>
              <a:ext cx="306400" cy="273250"/>
            </a:xfrm>
            <a:custGeom>
              <a:avLst/>
              <a:gdLst/>
              <a:ahLst/>
              <a:cxnLst/>
              <a:rect l="l" t="t" r="r" b="b"/>
              <a:pathLst>
                <a:path w="12256" h="10930" extrusionOk="0">
                  <a:moveTo>
                    <a:pt x="9519" y="718"/>
                  </a:moveTo>
                  <a:cubicBezTo>
                    <a:pt x="9971" y="718"/>
                    <a:pt x="10428" y="883"/>
                    <a:pt x="10775" y="1214"/>
                  </a:cubicBezTo>
                  <a:cubicBezTo>
                    <a:pt x="11499" y="1875"/>
                    <a:pt x="11499" y="2978"/>
                    <a:pt x="10806" y="3640"/>
                  </a:cubicBezTo>
                  <a:lnTo>
                    <a:pt x="5734" y="8743"/>
                  </a:lnTo>
                  <a:lnTo>
                    <a:pt x="3403" y="8113"/>
                  </a:lnTo>
                  <a:lnTo>
                    <a:pt x="3214" y="6286"/>
                  </a:lnTo>
                  <a:lnTo>
                    <a:pt x="8286" y="1214"/>
                  </a:lnTo>
                  <a:cubicBezTo>
                    <a:pt x="8617" y="883"/>
                    <a:pt x="9066" y="718"/>
                    <a:pt x="9519" y="718"/>
                  </a:cubicBezTo>
                  <a:close/>
                  <a:moveTo>
                    <a:pt x="2678" y="7830"/>
                  </a:moveTo>
                  <a:lnTo>
                    <a:pt x="2773" y="8460"/>
                  </a:lnTo>
                  <a:cubicBezTo>
                    <a:pt x="2773" y="8617"/>
                    <a:pt x="2867" y="8743"/>
                    <a:pt x="3025" y="8775"/>
                  </a:cubicBezTo>
                  <a:lnTo>
                    <a:pt x="4411" y="9121"/>
                  </a:lnTo>
                  <a:lnTo>
                    <a:pt x="3277" y="10224"/>
                  </a:lnTo>
                  <a:lnTo>
                    <a:pt x="1040" y="9500"/>
                  </a:lnTo>
                  <a:lnTo>
                    <a:pt x="2678" y="7830"/>
                  </a:lnTo>
                  <a:close/>
                  <a:moveTo>
                    <a:pt x="9578" y="1"/>
                  </a:moveTo>
                  <a:cubicBezTo>
                    <a:pt x="8947" y="1"/>
                    <a:pt x="8317" y="237"/>
                    <a:pt x="7845" y="710"/>
                  </a:cubicBezTo>
                  <a:lnTo>
                    <a:pt x="2647" y="5908"/>
                  </a:lnTo>
                  <a:cubicBezTo>
                    <a:pt x="2583" y="5971"/>
                    <a:pt x="2520" y="6097"/>
                    <a:pt x="2520" y="6160"/>
                  </a:cubicBezTo>
                  <a:lnTo>
                    <a:pt x="2615" y="6885"/>
                  </a:lnTo>
                  <a:lnTo>
                    <a:pt x="126" y="9373"/>
                  </a:lnTo>
                  <a:cubicBezTo>
                    <a:pt x="32" y="9437"/>
                    <a:pt x="0" y="9563"/>
                    <a:pt x="32" y="9689"/>
                  </a:cubicBezTo>
                  <a:cubicBezTo>
                    <a:pt x="95" y="9815"/>
                    <a:pt x="158" y="9878"/>
                    <a:pt x="284" y="9909"/>
                  </a:cubicBezTo>
                  <a:lnTo>
                    <a:pt x="3277" y="10917"/>
                  </a:lnTo>
                  <a:cubicBezTo>
                    <a:pt x="3308" y="10925"/>
                    <a:pt x="3342" y="10929"/>
                    <a:pt x="3375" y="10929"/>
                  </a:cubicBezTo>
                  <a:cubicBezTo>
                    <a:pt x="3475" y="10929"/>
                    <a:pt x="3576" y="10894"/>
                    <a:pt x="3623" y="10823"/>
                  </a:cubicBezTo>
                  <a:lnTo>
                    <a:pt x="5198" y="9247"/>
                  </a:lnTo>
                  <a:lnTo>
                    <a:pt x="5797" y="9405"/>
                  </a:lnTo>
                  <a:cubicBezTo>
                    <a:pt x="5831" y="9413"/>
                    <a:pt x="5865" y="9417"/>
                    <a:pt x="5898" y="9417"/>
                  </a:cubicBezTo>
                  <a:cubicBezTo>
                    <a:pt x="5988" y="9417"/>
                    <a:pt x="6074" y="9388"/>
                    <a:pt x="6144" y="9342"/>
                  </a:cubicBezTo>
                  <a:lnTo>
                    <a:pt x="11342" y="4144"/>
                  </a:lnTo>
                  <a:cubicBezTo>
                    <a:pt x="12256" y="3230"/>
                    <a:pt x="12256" y="1655"/>
                    <a:pt x="11310" y="710"/>
                  </a:cubicBezTo>
                  <a:cubicBezTo>
                    <a:pt x="10838" y="237"/>
                    <a:pt x="10208" y="1"/>
                    <a:pt x="9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79"/>
            <p:cNvSpPr/>
            <p:nvPr/>
          </p:nvSpPr>
          <p:spPr>
            <a:xfrm>
              <a:off x="-45879625" y="2374275"/>
              <a:ext cx="105550" cy="104000"/>
            </a:xfrm>
            <a:custGeom>
              <a:avLst/>
              <a:gdLst/>
              <a:ahLst/>
              <a:cxnLst/>
              <a:rect l="l" t="t" r="r" b="b"/>
              <a:pathLst>
                <a:path w="4222" h="4160" extrusionOk="0">
                  <a:moveTo>
                    <a:pt x="2899" y="788"/>
                  </a:moveTo>
                  <a:lnTo>
                    <a:pt x="3403" y="1324"/>
                  </a:lnTo>
                  <a:lnTo>
                    <a:pt x="2899" y="1828"/>
                  </a:lnTo>
                  <a:lnTo>
                    <a:pt x="2363" y="1324"/>
                  </a:lnTo>
                  <a:lnTo>
                    <a:pt x="2899" y="788"/>
                  </a:lnTo>
                  <a:close/>
                  <a:moveTo>
                    <a:pt x="1859" y="1828"/>
                  </a:moveTo>
                  <a:lnTo>
                    <a:pt x="2363" y="2332"/>
                  </a:lnTo>
                  <a:lnTo>
                    <a:pt x="1386" y="3340"/>
                  </a:lnTo>
                  <a:lnTo>
                    <a:pt x="882" y="2805"/>
                  </a:lnTo>
                  <a:lnTo>
                    <a:pt x="1859" y="1828"/>
                  </a:lnTo>
                  <a:close/>
                  <a:moveTo>
                    <a:pt x="2879" y="1"/>
                  </a:moveTo>
                  <a:cubicBezTo>
                    <a:pt x="2788" y="1"/>
                    <a:pt x="2694" y="32"/>
                    <a:pt x="2615" y="95"/>
                  </a:cubicBezTo>
                  <a:lnTo>
                    <a:pt x="126" y="2584"/>
                  </a:lnTo>
                  <a:cubicBezTo>
                    <a:pt x="0" y="2710"/>
                    <a:pt x="0" y="2931"/>
                    <a:pt x="126" y="3088"/>
                  </a:cubicBezTo>
                  <a:lnTo>
                    <a:pt x="1103" y="4065"/>
                  </a:lnTo>
                  <a:cubicBezTo>
                    <a:pt x="1166" y="4128"/>
                    <a:pt x="1260" y="4159"/>
                    <a:pt x="1359" y="4159"/>
                  </a:cubicBezTo>
                  <a:cubicBezTo>
                    <a:pt x="1457" y="4159"/>
                    <a:pt x="1560" y="4128"/>
                    <a:pt x="1638" y="4065"/>
                  </a:cubicBezTo>
                  <a:lnTo>
                    <a:pt x="4096" y="1608"/>
                  </a:lnTo>
                  <a:cubicBezTo>
                    <a:pt x="4222" y="1482"/>
                    <a:pt x="4222" y="1229"/>
                    <a:pt x="4096" y="1072"/>
                  </a:cubicBezTo>
                  <a:lnTo>
                    <a:pt x="3119" y="95"/>
                  </a:lnTo>
                  <a:cubicBezTo>
                    <a:pt x="3056" y="32"/>
                    <a:pt x="2969" y="1"/>
                    <a:pt x="28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79"/>
            <p:cNvSpPr/>
            <p:nvPr/>
          </p:nvSpPr>
          <p:spPr>
            <a:xfrm>
              <a:off x="-45922950" y="2474125"/>
              <a:ext cx="49625" cy="47475"/>
            </a:xfrm>
            <a:custGeom>
              <a:avLst/>
              <a:gdLst/>
              <a:ahLst/>
              <a:cxnLst/>
              <a:rect l="l" t="t" r="r" b="b"/>
              <a:pathLst>
                <a:path w="1985" h="1899" extrusionOk="0">
                  <a:moveTo>
                    <a:pt x="1607" y="0"/>
                  </a:moveTo>
                  <a:cubicBezTo>
                    <a:pt x="1520" y="0"/>
                    <a:pt x="1434" y="24"/>
                    <a:pt x="1355" y="71"/>
                  </a:cubicBezTo>
                  <a:lnTo>
                    <a:pt x="126" y="1300"/>
                  </a:lnTo>
                  <a:cubicBezTo>
                    <a:pt x="0" y="1426"/>
                    <a:pt x="0" y="1646"/>
                    <a:pt x="126" y="1804"/>
                  </a:cubicBezTo>
                  <a:cubicBezTo>
                    <a:pt x="189" y="1867"/>
                    <a:pt x="276" y="1898"/>
                    <a:pt x="367" y="1898"/>
                  </a:cubicBezTo>
                  <a:cubicBezTo>
                    <a:pt x="457" y="1898"/>
                    <a:pt x="552" y="1867"/>
                    <a:pt x="630" y="1804"/>
                  </a:cubicBezTo>
                  <a:lnTo>
                    <a:pt x="1859" y="607"/>
                  </a:lnTo>
                  <a:cubicBezTo>
                    <a:pt x="1985" y="480"/>
                    <a:pt x="1985" y="228"/>
                    <a:pt x="1859" y="71"/>
                  </a:cubicBezTo>
                  <a:cubicBezTo>
                    <a:pt x="1780" y="24"/>
                    <a:pt x="1694"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0" name="Google Shape;10400;p79"/>
          <p:cNvGrpSpPr/>
          <p:nvPr/>
        </p:nvGrpSpPr>
        <p:grpSpPr>
          <a:xfrm>
            <a:off x="2667627" y="3820255"/>
            <a:ext cx="273603" cy="356439"/>
            <a:chOff x="-45998575" y="2702625"/>
            <a:chExt cx="229225" cy="298625"/>
          </a:xfrm>
        </p:grpSpPr>
        <p:sp>
          <p:nvSpPr>
            <p:cNvPr id="10401" name="Google Shape;10401;p79"/>
            <p:cNvSpPr/>
            <p:nvPr/>
          </p:nvSpPr>
          <p:spPr>
            <a:xfrm>
              <a:off x="-45944225" y="2702625"/>
              <a:ext cx="125250" cy="298625"/>
            </a:xfrm>
            <a:custGeom>
              <a:avLst/>
              <a:gdLst/>
              <a:ahLst/>
              <a:cxnLst/>
              <a:rect l="l" t="t" r="r" b="b"/>
              <a:pathLst>
                <a:path w="5010" h="11945" extrusionOk="0">
                  <a:moveTo>
                    <a:pt x="2427" y="682"/>
                  </a:moveTo>
                  <a:cubicBezTo>
                    <a:pt x="2860" y="682"/>
                    <a:pt x="3308" y="817"/>
                    <a:pt x="3624" y="1107"/>
                  </a:cubicBezTo>
                  <a:cubicBezTo>
                    <a:pt x="4033" y="1454"/>
                    <a:pt x="4254" y="1926"/>
                    <a:pt x="4254" y="2430"/>
                  </a:cubicBezTo>
                  <a:cubicBezTo>
                    <a:pt x="4159" y="2745"/>
                    <a:pt x="4096" y="3060"/>
                    <a:pt x="3939" y="3344"/>
                  </a:cubicBezTo>
                  <a:cubicBezTo>
                    <a:pt x="3844" y="3470"/>
                    <a:pt x="3813" y="3533"/>
                    <a:pt x="3750" y="3659"/>
                  </a:cubicBezTo>
                  <a:cubicBezTo>
                    <a:pt x="3498" y="4005"/>
                    <a:pt x="3214" y="4446"/>
                    <a:pt x="3151" y="4919"/>
                  </a:cubicBezTo>
                  <a:lnTo>
                    <a:pt x="2805" y="4919"/>
                  </a:lnTo>
                  <a:lnTo>
                    <a:pt x="2805" y="2808"/>
                  </a:lnTo>
                  <a:lnTo>
                    <a:pt x="3151" y="2808"/>
                  </a:lnTo>
                  <a:cubicBezTo>
                    <a:pt x="3340" y="2808"/>
                    <a:pt x="3498" y="2651"/>
                    <a:pt x="3498" y="2430"/>
                  </a:cubicBezTo>
                  <a:cubicBezTo>
                    <a:pt x="3498" y="2241"/>
                    <a:pt x="3340" y="2084"/>
                    <a:pt x="3151" y="2084"/>
                  </a:cubicBezTo>
                  <a:lnTo>
                    <a:pt x="1733" y="2084"/>
                  </a:lnTo>
                  <a:cubicBezTo>
                    <a:pt x="1544" y="2084"/>
                    <a:pt x="1387" y="2241"/>
                    <a:pt x="1387" y="2430"/>
                  </a:cubicBezTo>
                  <a:cubicBezTo>
                    <a:pt x="1387" y="2651"/>
                    <a:pt x="1544" y="2808"/>
                    <a:pt x="1733" y="2808"/>
                  </a:cubicBezTo>
                  <a:lnTo>
                    <a:pt x="2080" y="2808"/>
                  </a:lnTo>
                  <a:lnTo>
                    <a:pt x="2080" y="4919"/>
                  </a:lnTo>
                  <a:lnTo>
                    <a:pt x="1733" y="4919"/>
                  </a:lnTo>
                  <a:cubicBezTo>
                    <a:pt x="1639" y="4478"/>
                    <a:pt x="1418" y="4100"/>
                    <a:pt x="1166" y="3690"/>
                  </a:cubicBezTo>
                  <a:cubicBezTo>
                    <a:pt x="1072" y="3533"/>
                    <a:pt x="977" y="3375"/>
                    <a:pt x="914" y="3218"/>
                  </a:cubicBezTo>
                  <a:cubicBezTo>
                    <a:pt x="757" y="2871"/>
                    <a:pt x="662" y="2525"/>
                    <a:pt x="757" y="2115"/>
                  </a:cubicBezTo>
                  <a:cubicBezTo>
                    <a:pt x="883" y="1422"/>
                    <a:pt x="1450" y="823"/>
                    <a:pt x="2174" y="697"/>
                  </a:cubicBezTo>
                  <a:cubicBezTo>
                    <a:pt x="2257" y="687"/>
                    <a:pt x="2342" y="682"/>
                    <a:pt x="2427" y="682"/>
                  </a:cubicBezTo>
                  <a:close/>
                  <a:moveTo>
                    <a:pt x="3151" y="5644"/>
                  </a:moveTo>
                  <a:lnTo>
                    <a:pt x="3151" y="6337"/>
                  </a:lnTo>
                  <a:lnTo>
                    <a:pt x="1733" y="6337"/>
                  </a:lnTo>
                  <a:lnTo>
                    <a:pt x="1733" y="5644"/>
                  </a:lnTo>
                  <a:close/>
                  <a:moveTo>
                    <a:pt x="3151" y="7061"/>
                  </a:moveTo>
                  <a:lnTo>
                    <a:pt x="3151" y="8983"/>
                  </a:lnTo>
                  <a:cubicBezTo>
                    <a:pt x="2915" y="8904"/>
                    <a:pt x="2671" y="8865"/>
                    <a:pt x="2430" y="8865"/>
                  </a:cubicBezTo>
                  <a:cubicBezTo>
                    <a:pt x="2190" y="8865"/>
                    <a:pt x="1954" y="8904"/>
                    <a:pt x="1733" y="8983"/>
                  </a:cubicBezTo>
                  <a:lnTo>
                    <a:pt x="1733" y="7061"/>
                  </a:lnTo>
                  <a:close/>
                  <a:moveTo>
                    <a:pt x="2442" y="9558"/>
                  </a:moveTo>
                  <a:cubicBezTo>
                    <a:pt x="2639" y="9558"/>
                    <a:pt x="2836" y="9598"/>
                    <a:pt x="3025" y="9676"/>
                  </a:cubicBezTo>
                  <a:lnTo>
                    <a:pt x="2427" y="10873"/>
                  </a:lnTo>
                  <a:lnTo>
                    <a:pt x="1859" y="9676"/>
                  </a:lnTo>
                  <a:cubicBezTo>
                    <a:pt x="2048" y="9598"/>
                    <a:pt x="2245" y="9558"/>
                    <a:pt x="2442" y="9558"/>
                  </a:cubicBezTo>
                  <a:close/>
                  <a:moveTo>
                    <a:pt x="2441" y="1"/>
                  </a:moveTo>
                  <a:cubicBezTo>
                    <a:pt x="2309" y="1"/>
                    <a:pt x="2178" y="12"/>
                    <a:pt x="2048" y="36"/>
                  </a:cubicBezTo>
                  <a:cubicBezTo>
                    <a:pt x="1072" y="193"/>
                    <a:pt x="221" y="1012"/>
                    <a:pt x="64" y="1989"/>
                  </a:cubicBezTo>
                  <a:cubicBezTo>
                    <a:pt x="1" y="2556"/>
                    <a:pt x="64" y="3060"/>
                    <a:pt x="316" y="3533"/>
                  </a:cubicBezTo>
                  <a:cubicBezTo>
                    <a:pt x="379" y="3753"/>
                    <a:pt x="505" y="3911"/>
                    <a:pt x="631" y="4068"/>
                  </a:cubicBezTo>
                  <a:cubicBezTo>
                    <a:pt x="820" y="4320"/>
                    <a:pt x="977" y="4604"/>
                    <a:pt x="1072" y="4888"/>
                  </a:cubicBezTo>
                  <a:lnTo>
                    <a:pt x="410" y="4888"/>
                  </a:lnTo>
                  <a:cubicBezTo>
                    <a:pt x="190" y="4888"/>
                    <a:pt x="32" y="5045"/>
                    <a:pt x="32" y="5234"/>
                  </a:cubicBezTo>
                  <a:cubicBezTo>
                    <a:pt x="32" y="5423"/>
                    <a:pt x="190" y="5581"/>
                    <a:pt x="410" y="5581"/>
                  </a:cubicBezTo>
                  <a:lnTo>
                    <a:pt x="1103" y="5581"/>
                  </a:lnTo>
                  <a:lnTo>
                    <a:pt x="1103" y="9487"/>
                  </a:lnTo>
                  <a:cubicBezTo>
                    <a:pt x="1103" y="9645"/>
                    <a:pt x="1103" y="9582"/>
                    <a:pt x="2206" y="11724"/>
                  </a:cubicBezTo>
                  <a:cubicBezTo>
                    <a:pt x="2301" y="11850"/>
                    <a:pt x="2395" y="11945"/>
                    <a:pt x="2521" y="11945"/>
                  </a:cubicBezTo>
                  <a:cubicBezTo>
                    <a:pt x="2647" y="11945"/>
                    <a:pt x="2773" y="11850"/>
                    <a:pt x="2836" y="11724"/>
                  </a:cubicBezTo>
                  <a:cubicBezTo>
                    <a:pt x="3939" y="9519"/>
                    <a:pt x="3939" y="9613"/>
                    <a:pt x="3939" y="9487"/>
                  </a:cubicBezTo>
                  <a:lnTo>
                    <a:pt x="3939" y="5581"/>
                  </a:lnTo>
                  <a:lnTo>
                    <a:pt x="4663" y="5581"/>
                  </a:lnTo>
                  <a:cubicBezTo>
                    <a:pt x="4852" y="5581"/>
                    <a:pt x="5010" y="5423"/>
                    <a:pt x="5010" y="5234"/>
                  </a:cubicBezTo>
                  <a:cubicBezTo>
                    <a:pt x="5010" y="5045"/>
                    <a:pt x="4852" y="4888"/>
                    <a:pt x="4663" y="4888"/>
                  </a:cubicBezTo>
                  <a:lnTo>
                    <a:pt x="3970" y="4888"/>
                  </a:lnTo>
                  <a:cubicBezTo>
                    <a:pt x="4065" y="4604"/>
                    <a:pt x="4254" y="4289"/>
                    <a:pt x="4443" y="4005"/>
                  </a:cubicBezTo>
                  <a:cubicBezTo>
                    <a:pt x="4411" y="3942"/>
                    <a:pt x="4506" y="3816"/>
                    <a:pt x="4569" y="3690"/>
                  </a:cubicBezTo>
                  <a:cubicBezTo>
                    <a:pt x="4821" y="3344"/>
                    <a:pt x="4915" y="2903"/>
                    <a:pt x="4915" y="2493"/>
                  </a:cubicBezTo>
                  <a:cubicBezTo>
                    <a:pt x="4915" y="1769"/>
                    <a:pt x="4600" y="1075"/>
                    <a:pt x="4065" y="603"/>
                  </a:cubicBezTo>
                  <a:cubicBezTo>
                    <a:pt x="3603" y="218"/>
                    <a:pt x="3017" y="1"/>
                    <a:pt x="2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79"/>
            <p:cNvSpPr/>
            <p:nvPr/>
          </p:nvSpPr>
          <p:spPr>
            <a:xfrm>
              <a:off x="-45804025" y="2755500"/>
              <a:ext cx="34675" cy="18125"/>
            </a:xfrm>
            <a:custGeom>
              <a:avLst/>
              <a:gdLst/>
              <a:ahLst/>
              <a:cxnLst/>
              <a:rect l="l" t="t" r="r" b="b"/>
              <a:pathLst>
                <a:path w="1387" h="725" extrusionOk="0">
                  <a:moveTo>
                    <a:pt x="347" y="0"/>
                  </a:moveTo>
                  <a:cubicBezTo>
                    <a:pt x="127" y="0"/>
                    <a:pt x="1" y="158"/>
                    <a:pt x="1" y="378"/>
                  </a:cubicBezTo>
                  <a:cubicBezTo>
                    <a:pt x="1" y="567"/>
                    <a:pt x="127" y="725"/>
                    <a:pt x="347" y="725"/>
                  </a:cubicBezTo>
                  <a:lnTo>
                    <a:pt x="1040" y="725"/>
                  </a:lnTo>
                  <a:cubicBezTo>
                    <a:pt x="1261" y="725"/>
                    <a:pt x="1387" y="567"/>
                    <a:pt x="1387" y="378"/>
                  </a:cubicBezTo>
                  <a:cubicBezTo>
                    <a:pt x="1387" y="158"/>
                    <a:pt x="1261"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79"/>
            <p:cNvSpPr/>
            <p:nvPr/>
          </p:nvSpPr>
          <p:spPr>
            <a:xfrm>
              <a:off x="-45998575" y="2755500"/>
              <a:ext cx="35475" cy="18125"/>
            </a:xfrm>
            <a:custGeom>
              <a:avLst/>
              <a:gdLst/>
              <a:ahLst/>
              <a:cxnLst/>
              <a:rect l="l" t="t" r="r" b="b"/>
              <a:pathLst>
                <a:path w="1419" h="725" extrusionOk="0">
                  <a:moveTo>
                    <a:pt x="379" y="0"/>
                  </a:moveTo>
                  <a:cubicBezTo>
                    <a:pt x="158" y="0"/>
                    <a:pt x="1" y="158"/>
                    <a:pt x="1" y="378"/>
                  </a:cubicBezTo>
                  <a:cubicBezTo>
                    <a:pt x="1" y="567"/>
                    <a:pt x="158" y="725"/>
                    <a:pt x="379" y="725"/>
                  </a:cubicBezTo>
                  <a:lnTo>
                    <a:pt x="1072" y="725"/>
                  </a:lnTo>
                  <a:cubicBezTo>
                    <a:pt x="1261" y="693"/>
                    <a:pt x="1419" y="536"/>
                    <a:pt x="1419" y="378"/>
                  </a:cubicBezTo>
                  <a:cubicBezTo>
                    <a:pt x="1419"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4" name="Google Shape;10404;p79"/>
            <p:cNvSpPr/>
            <p:nvPr/>
          </p:nvSpPr>
          <p:spPr>
            <a:xfrm>
              <a:off x="-45818200" y="2703175"/>
              <a:ext cx="35475" cy="26100"/>
            </a:xfrm>
            <a:custGeom>
              <a:avLst/>
              <a:gdLst/>
              <a:ahLst/>
              <a:cxnLst/>
              <a:rect l="l" t="t" r="r" b="b"/>
              <a:pathLst>
                <a:path w="1419" h="1044" extrusionOk="0">
                  <a:moveTo>
                    <a:pt x="991" y="1"/>
                  </a:moveTo>
                  <a:cubicBezTo>
                    <a:pt x="930" y="1"/>
                    <a:pt x="870" y="15"/>
                    <a:pt x="820" y="45"/>
                  </a:cubicBezTo>
                  <a:lnTo>
                    <a:pt x="252" y="423"/>
                  </a:lnTo>
                  <a:cubicBezTo>
                    <a:pt x="95" y="486"/>
                    <a:pt x="0" y="738"/>
                    <a:pt x="126" y="896"/>
                  </a:cubicBezTo>
                  <a:cubicBezTo>
                    <a:pt x="205" y="994"/>
                    <a:pt x="309" y="1044"/>
                    <a:pt x="414" y="1044"/>
                  </a:cubicBezTo>
                  <a:cubicBezTo>
                    <a:pt x="476" y="1044"/>
                    <a:pt x="540" y="1026"/>
                    <a:pt x="599" y="990"/>
                  </a:cubicBezTo>
                  <a:lnTo>
                    <a:pt x="1166" y="644"/>
                  </a:lnTo>
                  <a:cubicBezTo>
                    <a:pt x="1324" y="581"/>
                    <a:pt x="1418" y="329"/>
                    <a:pt x="1292" y="171"/>
                  </a:cubicBezTo>
                  <a:cubicBezTo>
                    <a:pt x="1249" y="64"/>
                    <a:pt x="1119" y="1"/>
                    <a:pt x="9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5" name="Google Shape;10405;p79"/>
            <p:cNvSpPr/>
            <p:nvPr/>
          </p:nvSpPr>
          <p:spPr>
            <a:xfrm>
              <a:off x="-45984400" y="2799050"/>
              <a:ext cx="35475" cy="26100"/>
            </a:xfrm>
            <a:custGeom>
              <a:avLst/>
              <a:gdLst/>
              <a:ahLst/>
              <a:cxnLst/>
              <a:rect l="l" t="t" r="r" b="b"/>
              <a:pathLst>
                <a:path w="1419" h="1044" extrusionOk="0">
                  <a:moveTo>
                    <a:pt x="1014" y="1"/>
                  </a:moveTo>
                  <a:cubicBezTo>
                    <a:pt x="947" y="1"/>
                    <a:pt x="879" y="18"/>
                    <a:pt x="820" y="54"/>
                  </a:cubicBezTo>
                  <a:lnTo>
                    <a:pt x="221" y="400"/>
                  </a:lnTo>
                  <a:cubicBezTo>
                    <a:pt x="64" y="463"/>
                    <a:pt x="1" y="716"/>
                    <a:pt x="95" y="873"/>
                  </a:cubicBezTo>
                  <a:cubicBezTo>
                    <a:pt x="160" y="980"/>
                    <a:pt x="282" y="1043"/>
                    <a:pt x="403" y="1043"/>
                  </a:cubicBezTo>
                  <a:cubicBezTo>
                    <a:pt x="461" y="1043"/>
                    <a:pt x="517" y="1029"/>
                    <a:pt x="568" y="999"/>
                  </a:cubicBezTo>
                  <a:lnTo>
                    <a:pt x="1167" y="621"/>
                  </a:lnTo>
                  <a:cubicBezTo>
                    <a:pt x="1324" y="558"/>
                    <a:pt x="1419" y="306"/>
                    <a:pt x="1293" y="148"/>
                  </a:cubicBezTo>
                  <a:cubicBezTo>
                    <a:pt x="1234" y="50"/>
                    <a:pt x="1125" y="1"/>
                    <a:pt x="10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79"/>
            <p:cNvSpPr/>
            <p:nvPr/>
          </p:nvSpPr>
          <p:spPr>
            <a:xfrm>
              <a:off x="-45815850" y="2799050"/>
              <a:ext cx="33900" cy="25750"/>
            </a:xfrm>
            <a:custGeom>
              <a:avLst/>
              <a:gdLst/>
              <a:ahLst/>
              <a:cxnLst/>
              <a:rect l="l" t="t" r="r" b="b"/>
              <a:pathLst>
                <a:path w="1356" h="1030" extrusionOk="0">
                  <a:moveTo>
                    <a:pt x="343" y="1"/>
                  </a:moveTo>
                  <a:cubicBezTo>
                    <a:pt x="231" y="1"/>
                    <a:pt x="123" y="50"/>
                    <a:pt x="64" y="148"/>
                  </a:cubicBezTo>
                  <a:cubicBezTo>
                    <a:pt x="1" y="306"/>
                    <a:pt x="32" y="558"/>
                    <a:pt x="190" y="621"/>
                  </a:cubicBezTo>
                  <a:lnTo>
                    <a:pt x="789" y="999"/>
                  </a:lnTo>
                  <a:cubicBezTo>
                    <a:pt x="838" y="1019"/>
                    <a:pt x="895" y="1029"/>
                    <a:pt x="951" y="1029"/>
                  </a:cubicBezTo>
                  <a:cubicBezTo>
                    <a:pt x="1073" y="1029"/>
                    <a:pt x="1197" y="981"/>
                    <a:pt x="1261" y="873"/>
                  </a:cubicBezTo>
                  <a:cubicBezTo>
                    <a:pt x="1356" y="716"/>
                    <a:pt x="1293" y="526"/>
                    <a:pt x="1135" y="400"/>
                  </a:cubicBezTo>
                  <a:lnTo>
                    <a:pt x="537" y="54"/>
                  </a:lnTo>
                  <a:cubicBezTo>
                    <a:pt x="477" y="18"/>
                    <a:pt x="410" y="1"/>
                    <a:pt x="3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79"/>
            <p:cNvSpPr/>
            <p:nvPr/>
          </p:nvSpPr>
          <p:spPr>
            <a:xfrm>
              <a:off x="-45983600" y="2702750"/>
              <a:ext cx="34675" cy="25525"/>
            </a:xfrm>
            <a:custGeom>
              <a:avLst/>
              <a:gdLst/>
              <a:ahLst/>
              <a:cxnLst/>
              <a:rect l="l" t="t" r="r" b="b"/>
              <a:pathLst>
                <a:path w="1387" h="1021" extrusionOk="0">
                  <a:moveTo>
                    <a:pt x="398" y="0"/>
                  </a:moveTo>
                  <a:cubicBezTo>
                    <a:pt x="269" y="0"/>
                    <a:pt x="138" y="49"/>
                    <a:pt x="95" y="157"/>
                  </a:cubicBezTo>
                  <a:cubicBezTo>
                    <a:pt x="0" y="314"/>
                    <a:pt x="32" y="535"/>
                    <a:pt x="189" y="629"/>
                  </a:cubicBezTo>
                  <a:lnTo>
                    <a:pt x="788" y="976"/>
                  </a:lnTo>
                  <a:cubicBezTo>
                    <a:pt x="839" y="1006"/>
                    <a:pt x="899" y="1020"/>
                    <a:pt x="959" y="1020"/>
                  </a:cubicBezTo>
                  <a:cubicBezTo>
                    <a:pt x="1088" y="1020"/>
                    <a:pt x="1218" y="957"/>
                    <a:pt x="1261" y="850"/>
                  </a:cubicBezTo>
                  <a:cubicBezTo>
                    <a:pt x="1387" y="692"/>
                    <a:pt x="1292" y="503"/>
                    <a:pt x="1135" y="377"/>
                  </a:cubicBezTo>
                  <a:lnTo>
                    <a:pt x="567" y="31"/>
                  </a:lnTo>
                  <a:cubicBezTo>
                    <a:pt x="518" y="11"/>
                    <a:pt x="458"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8" name="Google Shape;10408;p79"/>
          <p:cNvSpPr/>
          <p:nvPr/>
        </p:nvSpPr>
        <p:spPr>
          <a:xfrm>
            <a:off x="3986479" y="3841352"/>
            <a:ext cx="314961" cy="358199"/>
          </a:xfrm>
          <a:custGeom>
            <a:avLst/>
            <a:gdLst/>
            <a:ahLst/>
            <a:cxnLst/>
            <a:rect l="l" t="t" r="r" b="b"/>
            <a:pathLst>
              <a:path w="10555" h="12004" extrusionOk="0">
                <a:moveTo>
                  <a:pt x="5262" y="709"/>
                </a:moveTo>
                <a:lnTo>
                  <a:pt x="9420" y="2788"/>
                </a:lnTo>
                <a:lnTo>
                  <a:pt x="8066" y="3450"/>
                </a:lnTo>
                <a:lnTo>
                  <a:pt x="5451" y="2127"/>
                </a:lnTo>
                <a:cubicBezTo>
                  <a:pt x="5403" y="2111"/>
                  <a:pt x="5348" y="2103"/>
                  <a:pt x="5293" y="2103"/>
                </a:cubicBezTo>
                <a:cubicBezTo>
                  <a:pt x="5238" y="2103"/>
                  <a:pt x="5183" y="2111"/>
                  <a:pt x="5136" y="2127"/>
                </a:cubicBezTo>
                <a:lnTo>
                  <a:pt x="2489" y="3450"/>
                </a:lnTo>
                <a:lnTo>
                  <a:pt x="1197" y="2788"/>
                </a:lnTo>
                <a:lnTo>
                  <a:pt x="5262" y="709"/>
                </a:lnTo>
                <a:close/>
                <a:moveTo>
                  <a:pt x="4915" y="3040"/>
                </a:moveTo>
                <a:lnTo>
                  <a:pt x="4915" y="6222"/>
                </a:lnTo>
                <a:lnTo>
                  <a:pt x="2804" y="7294"/>
                </a:lnTo>
                <a:lnTo>
                  <a:pt x="2804" y="4080"/>
                </a:lnTo>
                <a:lnTo>
                  <a:pt x="4915" y="3040"/>
                </a:lnTo>
                <a:close/>
                <a:moveTo>
                  <a:pt x="5640" y="3040"/>
                </a:moveTo>
                <a:lnTo>
                  <a:pt x="7750" y="4080"/>
                </a:lnTo>
                <a:lnTo>
                  <a:pt x="7750" y="7294"/>
                </a:lnTo>
                <a:lnTo>
                  <a:pt x="5640" y="6222"/>
                </a:lnTo>
                <a:lnTo>
                  <a:pt x="5640" y="3040"/>
                </a:lnTo>
                <a:close/>
                <a:moveTo>
                  <a:pt x="5262" y="6758"/>
                </a:moveTo>
                <a:lnTo>
                  <a:pt x="7278" y="7798"/>
                </a:lnTo>
                <a:lnTo>
                  <a:pt x="5262" y="8806"/>
                </a:lnTo>
                <a:lnTo>
                  <a:pt x="3277" y="7798"/>
                </a:lnTo>
                <a:lnTo>
                  <a:pt x="5262" y="6758"/>
                </a:lnTo>
                <a:close/>
                <a:moveTo>
                  <a:pt x="725" y="3372"/>
                </a:moveTo>
                <a:lnTo>
                  <a:pt x="2111" y="4080"/>
                </a:lnTo>
                <a:lnTo>
                  <a:pt x="2111" y="7829"/>
                </a:lnTo>
                <a:cubicBezTo>
                  <a:pt x="2111" y="7955"/>
                  <a:pt x="2206" y="8081"/>
                  <a:pt x="2332" y="8113"/>
                </a:cubicBezTo>
                <a:lnTo>
                  <a:pt x="4915" y="9404"/>
                </a:lnTo>
                <a:lnTo>
                  <a:pt x="4915" y="10980"/>
                </a:lnTo>
                <a:lnTo>
                  <a:pt x="725" y="8869"/>
                </a:lnTo>
                <a:lnTo>
                  <a:pt x="725" y="3372"/>
                </a:lnTo>
                <a:close/>
                <a:moveTo>
                  <a:pt x="9861" y="3387"/>
                </a:moveTo>
                <a:lnTo>
                  <a:pt x="9861" y="8932"/>
                </a:lnTo>
                <a:lnTo>
                  <a:pt x="5640" y="11011"/>
                </a:lnTo>
                <a:lnTo>
                  <a:pt x="5640" y="9436"/>
                </a:lnTo>
                <a:lnTo>
                  <a:pt x="8223" y="8144"/>
                </a:lnTo>
                <a:cubicBezTo>
                  <a:pt x="8349" y="8113"/>
                  <a:pt x="8412" y="7987"/>
                  <a:pt x="8412" y="7829"/>
                </a:cubicBezTo>
                <a:lnTo>
                  <a:pt x="8412" y="4080"/>
                </a:lnTo>
                <a:lnTo>
                  <a:pt x="9861" y="3387"/>
                </a:lnTo>
                <a:close/>
                <a:moveTo>
                  <a:pt x="5262" y="0"/>
                </a:moveTo>
                <a:cubicBezTo>
                  <a:pt x="5206" y="0"/>
                  <a:pt x="5151" y="16"/>
                  <a:pt x="5104" y="47"/>
                </a:cubicBezTo>
                <a:lnTo>
                  <a:pt x="284" y="2473"/>
                </a:lnTo>
                <a:cubicBezTo>
                  <a:pt x="63" y="2536"/>
                  <a:pt x="0" y="2662"/>
                  <a:pt x="0" y="2820"/>
                </a:cubicBezTo>
                <a:lnTo>
                  <a:pt x="0" y="9152"/>
                </a:lnTo>
                <a:cubicBezTo>
                  <a:pt x="0" y="9278"/>
                  <a:pt x="63" y="9404"/>
                  <a:pt x="189" y="9499"/>
                </a:cubicBezTo>
                <a:lnTo>
                  <a:pt x="5104" y="11956"/>
                </a:lnTo>
                <a:cubicBezTo>
                  <a:pt x="5151" y="11988"/>
                  <a:pt x="5206" y="12003"/>
                  <a:pt x="5262" y="12003"/>
                </a:cubicBezTo>
                <a:cubicBezTo>
                  <a:pt x="5317" y="12003"/>
                  <a:pt x="5372" y="11988"/>
                  <a:pt x="5419" y="11956"/>
                </a:cubicBezTo>
                <a:lnTo>
                  <a:pt x="10365" y="9499"/>
                </a:lnTo>
                <a:cubicBezTo>
                  <a:pt x="10460" y="9404"/>
                  <a:pt x="10554" y="9278"/>
                  <a:pt x="10554" y="9152"/>
                </a:cubicBezTo>
                <a:lnTo>
                  <a:pt x="10554" y="2788"/>
                </a:lnTo>
                <a:cubicBezTo>
                  <a:pt x="10554" y="2662"/>
                  <a:pt x="10460" y="2568"/>
                  <a:pt x="10365" y="2505"/>
                </a:cubicBezTo>
                <a:lnTo>
                  <a:pt x="5419" y="47"/>
                </a:lnTo>
                <a:cubicBezTo>
                  <a:pt x="5372" y="16"/>
                  <a:pt x="5317" y="0"/>
                  <a:pt x="52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9" name="Google Shape;10409;p79"/>
          <p:cNvSpPr/>
          <p:nvPr/>
        </p:nvSpPr>
        <p:spPr>
          <a:xfrm>
            <a:off x="2183447" y="1541799"/>
            <a:ext cx="360079" cy="336595"/>
          </a:xfrm>
          <a:custGeom>
            <a:avLst/>
            <a:gdLst/>
            <a:ahLst/>
            <a:cxnLst/>
            <a:rect l="l" t="t" r="r" b="b"/>
            <a:pathLst>
              <a:path w="12067" h="11280" extrusionOk="0">
                <a:moveTo>
                  <a:pt x="5986" y="757"/>
                </a:moveTo>
                <a:cubicBezTo>
                  <a:pt x="7656" y="757"/>
                  <a:pt x="9011" y="2049"/>
                  <a:pt x="9137" y="3718"/>
                </a:cubicBezTo>
                <a:cubicBezTo>
                  <a:pt x="8822" y="3624"/>
                  <a:pt x="8475" y="3561"/>
                  <a:pt x="8066" y="3561"/>
                </a:cubicBezTo>
                <a:cubicBezTo>
                  <a:pt x="7278" y="3561"/>
                  <a:pt x="6585" y="3781"/>
                  <a:pt x="5955" y="4191"/>
                </a:cubicBezTo>
                <a:cubicBezTo>
                  <a:pt x="5356" y="3781"/>
                  <a:pt x="4632" y="3561"/>
                  <a:pt x="3844" y="3561"/>
                </a:cubicBezTo>
                <a:cubicBezTo>
                  <a:pt x="3466" y="3561"/>
                  <a:pt x="3119" y="3592"/>
                  <a:pt x="2773" y="3718"/>
                </a:cubicBezTo>
                <a:cubicBezTo>
                  <a:pt x="2930" y="2049"/>
                  <a:pt x="4285" y="757"/>
                  <a:pt x="5986" y="757"/>
                </a:cubicBezTo>
                <a:close/>
                <a:moveTo>
                  <a:pt x="3875" y="4254"/>
                </a:moveTo>
                <a:cubicBezTo>
                  <a:pt x="4411" y="4254"/>
                  <a:pt x="4915" y="4411"/>
                  <a:pt x="5388" y="4663"/>
                </a:cubicBezTo>
                <a:cubicBezTo>
                  <a:pt x="4852" y="5168"/>
                  <a:pt x="4505" y="5829"/>
                  <a:pt x="4285" y="6585"/>
                </a:cubicBezTo>
                <a:cubicBezTo>
                  <a:pt x="3560" y="6113"/>
                  <a:pt x="2993" y="5325"/>
                  <a:pt x="2836" y="4411"/>
                </a:cubicBezTo>
                <a:cubicBezTo>
                  <a:pt x="3151" y="4317"/>
                  <a:pt x="3497" y="4254"/>
                  <a:pt x="3875" y="4254"/>
                </a:cubicBezTo>
                <a:close/>
                <a:moveTo>
                  <a:pt x="8129" y="4254"/>
                </a:moveTo>
                <a:cubicBezTo>
                  <a:pt x="8475" y="4254"/>
                  <a:pt x="8822" y="4317"/>
                  <a:pt x="9137" y="4411"/>
                </a:cubicBezTo>
                <a:cubicBezTo>
                  <a:pt x="8979" y="5325"/>
                  <a:pt x="8444" y="6113"/>
                  <a:pt x="7687" y="6585"/>
                </a:cubicBezTo>
                <a:cubicBezTo>
                  <a:pt x="7498" y="5829"/>
                  <a:pt x="7089" y="5168"/>
                  <a:pt x="6585" y="4663"/>
                </a:cubicBezTo>
                <a:cubicBezTo>
                  <a:pt x="7026" y="4411"/>
                  <a:pt x="7561" y="4254"/>
                  <a:pt x="8129" y="4254"/>
                </a:cubicBezTo>
                <a:close/>
                <a:moveTo>
                  <a:pt x="5986" y="5042"/>
                </a:moveTo>
                <a:cubicBezTo>
                  <a:pt x="6490" y="5514"/>
                  <a:pt x="6900" y="6144"/>
                  <a:pt x="7026" y="6900"/>
                </a:cubicBezTo>
                <a:cubicBezTo>
                  <a:pt x="6648" y="7026"/>
                  <a:pt x="6364" y="7058"/>
                  <a:pt x="5986" y="7058"/>
                </a:cubicBezTo>
                <a:cubicBezTo>
                  <a:pt x="5640" y="7058"/>
                  <a:pt x="5293" y="7026"/>
                  <a:pt x="4978" y="6900"/>
                </a:cubicBezTo>
                <a:cubicBezTo>
                  <a:pt x="5073" y="6176"/>
                  <a:pt x="5451" y="5514"/>
                  <a:pt x="5986" y="5042"/>
                </a:cubicBezTo>
                <a:close/>
                <a:moveTo>
                  <a:pt x="4915" y="7625"/>
                </a:moveTo>
                <a:lnTo>
                  <a:pt x="4915" y="7625"/>
                </a:lnTo>
                <a:cubicBezTo>
                  <a:pt x="5230" y="7688"/>
                  <a:pt x="5608" y="7782"/>
                  <a:pt x="5986" y="7782"/>
                </a:cubicBezTo>
                <a:cubicBezTo>
                  <a:pt x="6333" y="7782"/>
                  <a:pt x="6711" y="7719"/>
                  <a:pt x="7057" y="7625"/>
                </a:cubicBezTo>
                <a:lnTo>
                  <a:pt x="7057" y="7625"/>
                </a:lnTo>
                <a:cubicBezTo>
                  <a:pt x="6963" y="8476"/>
                  <a:pt x="6585" y="9232"/>
                  <a:pt x="5986" y="9767"/>
                </a:cubicBezTo>
                <a:cubicBezTo>
                  <a:pt x="5388" y="9232"/>
                  <a:pt x="5010" y="8476"/>
                  <a:pt x="4915" y="7625"/>
                </a:cubicBezTo>
                <a:close/>
                <a:moveTo>
                  <a:pt x="2206" y="4726"/>
                </a:moveTo>
                <a:cubicBezTo>
                  <a:pt x="2458" y="5892"/>
                  <a:pt x="3245" y="6837"/>
                  <a:pt x="4222" y="7373"/>
                </a:cubicBezTo>
                <a:lnTo>
                  <a:pt x="4222" y="7467"/>
                </a:lnTo>
                <a:cubicBezTo>
                  <a:pt x="4222" y="8570"/>
                  <a:pt x="4663" y="9515"/>
                  <a:pt x="5388" y="10208"/>
                </a:cubicBezTo>
                <a:cubicBezTo>
                  <a:pt x="4915" y="10460"/>
                  <a:pt x="4411" y="10555"/>
                  <a:pt x="3875" y="10555"/>
                </a:cubicBezTo>
                <a:cubicBezTo>
                  <a:pt x="2080" y="10555"/>
                  <a:pt x="662" y="9137"/>
                  <a:pt x="662" y="7404"/>
                </a:cubicBezTo>
                <a:cubicBezTo>
                  <a:pt x="662" y="6270"/>
                  <a:pt x="1260" y="5294"/>
                  <a:pt x="2206" y="4726"/>
                </a:cubicBezTo>
                <a:close/>
                <a:moveTo>
                  <a:pt x="9735" y="4695"/>
                </a:moveTo>
                <a:cubicBezTo>
                  <a:pt x="10649" y="5262"/>
                  <a:pt x="11279" y="6239"/>
                  <a:pt x="11279" y="7373"/>
                </a:cubicBezTo>
                <a:cubicBezTo>
                  <a:pt x="11279" y="9137"/>
                  <a:pt x="9861" y="10555"/>
                  <a:pt x="8066" y="10555"/>
                </a:cubicBezTo>
                <a:cubicBezTo>
                  <a:pt x="7530" y="10555"/>
                  <a:pt x="7026" y="10397"/>
                  <a:pt x="6553" y="10177"/>
                </a:cubicBezTo>
                <a:cubicBezTo>
                  <a:pt x="7246" y="9452"/>
                  <a:pt x="7719" y="8476"/>
                  <a:pt x="7719" y="7404"/>
                </a:cubicBezTo>
                <a:lnTo>
                  <a:pt x="7719" y="7341"/>
                </a:lnTo>
                <a:cubicBezTo>
                  <a:pt x="8759" y="6837"/>
                  <a:pt x="9515" y="5892"/>
                  <a:pt x="9735" y="4695"/>
                </a:cubicBezTo>
                <a:close/>
                <a:moveTo>
                  <a:pt x="5986" y="1"/>
                </a:moveTo>
                <a:cubicBezTo>
                  <a:pt x="3875" y="1"/>
                  <a:pt x="2143" y="1734"/>
                  <a:pt x="2143" y="3876"/>
                </a:cubicBezTo>
                <a:lnTo>
                  <a:pt x="2143" y="3939"/>
                </a:lnTo>
                <a:cubicBezTo>
                  <a:pt x="882" y="4569"/>
                  <a:pt x="0" y="5892"/>
                  <a:pt x="0" y="7404"/>
                </a:cubicBezTo>
                <a:cubicBezTo>
                  <a:pt x="0" y="9547"/>
                  <a:pt x="1733" y="11279"/>
                  <a:pt x="3907" y="11279"/>
                </a:cubicBezTo>
                <a:cubicBezTo>
                  <a:pt x="4695" y="11279"/>
                  <a:pt x="5388" y="11027"/>
                  <a:pt x="6018" y="10649"/>
                </a:cubicBezTo>
                <a:cubicBezTo>
                  <a:pt x="6616" y="11027"/>
                  <a:pt x="7372" y="11279"/>
                  <a:pt x="8160" y="11279"/>
                </a:cubicBezTo>
                <a:cubicBezTo>
                  <a:pt x="10271" y="11279"/>
                  <a:pt x="12067" y="9547"/>
                  <a:pt x="12067" y="7404"/>
                </a:cubicBezTo>
                <a:cubicBezTo>
                  <a:pt x="11972" y="5924"/>
                  <a:pt x="11122" y="4632"/>
                  <a:pt x="9861" y="3939"/>
                </a:cubicBezTo>
                <a:lnTo>
                  <a:pt x="9861" y="3876"/>
                </a:lnTo>
                <a:cubicBezTo>
                  <a:pt x="9861" y="1734"/>
                  <a:pt x="8129" y="1"/>
                  <a:pt x="5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0" name="Google Shape;10410;p79"/>
          <p:cNvSpPr/>
          <p:nvPr/>
        </p:nvSpPr>
        <p:spPr>
          <a:xfrm>
            <a:off x="2345143" y="1972337"/>
            <a:ext cx="20709" cy="62097"/>
          </a:xfrm>
          <a:custGeom>
            <a:avLst/>
            <a:gdLst/>
            <a:ahLst/>
            <a:cxnLst/>
            <a:rect l="l" t="t" r="r" b="b"/>
            <a:pathLst>
              <a:path w="694" h="2081" extrusionOk="0">
                <a:moveTo>
                  <a:pt x="347" y="1"/>
                </a:moveTo>
                <a:cubicBezTo>
                  <a:pt x="158" y="1"/>
                  <a:pt x="1" y="158"/>
                  <a:pt x="1" y="348"/>
                </a:cubicBezTo>
                <a:lnTo>
                  <a:pt x="1" y="1765"/>
                </a:lnTo>
                <a:cubicBezTo>
                  <a:pt x="1" y="1923"/>
                  <a:pt x="158" y="2080"/>
                  <a:pt x="347" y="2080"/>
                </a:cubicBezTo>
                <a:cubicBezTo>
                  <a:pt x="536" y="2080"/>
                  <a:pt x="694" y="1923"/>
                  <a:pt x="694" y="1734"/>
                </a:cubicBezTo>
                <a:lnTo>
                  <a:pt x="694" y="348"/>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1" name="Google Shape;10411;p79"/>
          <p:cNvSpPr/>
          <p:nvPr/>
        </p:nvSpPr>
        <p:spPr>
          <a:xfrm>
            <a:off x="2265235" y="1998803"/>
            <a:ext cx="55502" cy="39389"/>
          </a:xfrm>
          <a:custGeom>
            <a:avLst/>
            <a:gdLst/>
            <a:ahLst/>
            <a:cxnLst/>
            <a:rect l="l" t="t" r="r" b="b"/>
            <a:pathLst>
              <a:path w="1860" h="1320" extrusionOk="0">
                <a:moveTo>
                  <a:pt x="465" y="1"/>
                </a:moveTo>
                <a:cubicBezTo>
                  <a:pt x="344" y="1"/>
                  <a:pt x="222" y="78"/>
                  <a:pt x="158" y="185"/>
                </a:cubicBezTo>
                <a:cubicBezTo>
                  <a:pt x="1" y="311"/>
                  <a:pt x="64" y="563"/>
                  <a:pt x="253" y="658"/>
                </a:cubicBezTo>
                <a:lnTo>
                  <a:pt x="1229" y="1288"/>
                </a:lnTo>
                <a:cubicBezTo>
                  <a:pt x="1261" y="1319"/>
                  <a:pt x="1355" y="1319"/>
                  <a:pt x="1418" y="1319"/>
                </a:cubicBezTo>
                <a:cubicBezTo>
                  <a:pt x="1544" y="1319"/>
                  <a:pt x="1671" y="1288"/>
                  <a:pt x="1734" y="1162"/>
                </a:cubicBezTo>
                <a:cubicBezTo>
                  <a:pt x="1860" y="1004"/>
                  <a:pt x="1765" y="752"/>
                  <a:pt x="1607" y="689"/>
                </a:cubicBezTo>
                <a:lnTo>
                  <a:pt x="631" y="59"/>
                </a:lnTo>
                <a:cubicBezTo>
                  <a:pt x="580" y="18"/>
                  <a:pt x="523" y="1"/>
                  <a:pt x="4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79"/>
          <p:cNvSpPr/>
          <p:nvPr/>
        </p:nvSpPr>
        <p:spPr>
          <a:xfrm>
            <a:off x="2393093" y="2000594"/>
            <a:ext cx="51743" cy="38523"/>
          </a:xfrm>
          <a:custGeom>
            <a:avLst/>
            <a:gdLst/>
            <a:ahLst/>
            <a:cxnLst/>
            <a:rect l="l" t="t" r="r" b="b"/>
            <a:pathLst>
              <a:path w="1734" h="1291" extrusionOk="0">
                <a:moveTo>
                  <a:pt x="1354" y="0"/>
                </a:moveTo>
                <a:cubicBezTo>
                  <a:pt x="1301" y="0"/>
                  <a:pt x="1247" y="11"/>
                  <a:pt x="1198" y="31"/>
                </a:cubicBezTo>
                <a:lnTo>
                  <a:pt x="221" y="661"/>
                </a:lnTo>
                <a:cubicBezTo>
                  <a:pt x="63" y="787"/>
                  <a:pt x="0" y="976"/>
                  <a:pt x="95" y="1133"/>
                </a:cubicBezTo>
                <a:cubicBezTo>
                  <a:pt x="126" y="1228"/>
                  <a:pt x="252" y="1291"/>
                  <a:pt x="347" y="1291"/>
                </a:cubicBezTo>
                <a:cubicBezTo>
                  <a:pt x="441" y="1291"/>
                  <a:pt x="473" y="1291"/>
                  <a:pt x="568" y="1259"/>
                </a:cubicBezTo>
                <a:lnTo>
                  <a:pt x="1544" y="629"/>
                </a:lnTo>
                <a:cubicBezTo>
                  <a:pt x="1702" y="503"/>
                  <a:pt x="1733" y="314"/>
                  <a:pt x="1670" y="157"/>
                </a:cubicBezTo>
                <a:cubicBezTo>
                  <a:pt x="1584" y="49"/>
                  <a:pt x="1469" y="0"/>
                  <a:pt x="13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3" name="Google Shape;10413;p79"/>
          <p:cNvGrpSpPr/>
          <p:nvPr/>
        </p:nvGrpSpPr>
        <p:grpSpPr>
          <a:xfrm>
            <a:off x="2203197" y="2434019"/>
            <a:ext cx="314961" cy="361034"/>
            <a:chOff x="-49398750" y="2684600"/>
            <a:chExt cx="263875" cy="302475"/>
          </a:xfrm>
        </p:grpSpPr>
        <p:sp>
          <p:nvSpPr>
            <p:cNvPr id="10414" name="Google Shape;10414;p79"/>
            <p:cNvSpPr/>
            <p:nvPr/>
          </p:nvSpPr>
          <p:spPr>
            <a:xfrm>
              <a:off x="-49294775" y="2684600"/>
              <a:ext cx="73275" cy="299325"/>
            </a:xfrm>
            <a:custGeom>
              <a:avLst/>
              <a:gdLst/>
              <a:ahLst/>
              <a:cxnLst/>
              <a:rect l="l" t="t" r="r" b="b"/>
              <a:pathLst>
                <a:path w="2931" h="11973" extrusionOk="0">
                  <a:moveTo>
                    <a:pt x="1481" y="1387"/>
                  </a:moveTo>
                  <a:lnTo>
                    <a:pt x="2017" y="2836"/>
                  </a:lnTo>
                  <a:lnTo>
                    <a:pt x="914" y="2836"/>
                  </a:lnTo>
                  <a:lnTo>
                    <a:pt x="1481" y="1387"/>
                  </a:lnTo>
                  <a:close/>
                  <a:moveTo>
                    <a:pt x="2174" y="3529"/>
                  </a:moveTo>
                  <a:lnTo>
                    <a:pt x="2174" y="9893"/>
                  </a:lnTo>
                  <a:lnTo>
                    <a:pt x="757" y="9893"/>
                  </a:lnTo>
                  <a:lnTo>
                    <a:pt x="757" y="3529"/>
                  </a:lnTo>
                  <a:close/>
                  <a:moveTo>
                    <a:pt x="2174" y="10586"/>
                  </a:moveTo>
                  <a:lnTo>
                    <a:pt x="2174" y="10964"/>
                  </a:lnTo>
                  <a:cubicBezTo>
                    <a:pt x="2143" y="11153"/>
                    <a:pt x="1985" y="11311"/>
                    <a:pt x="1828" y="11311"/>
                  </a:cubicBezTo>
                  <a:lnTo>
                    <a:pt x="1103" y="11311"/>
                  </a:lnTo>
                  <a:cubicBezTo>
                    <a:pt x="914" y="11311"/>
                    <a:pt x="757" y="11153"/>
                    <a:pt x="757" y="10964"/>
                  </a:cubicBezTo>
                  <a:lnTo>
                    <a:pt x="757" y="10586"/>
                  </a:lnTo>
                  <a:close/>
                  <a:moveTo>
                    <a:pt x="1450" y="1"/>
                  </a:moveTo>
                  <a:cubicBezTo>
                    <a:pt x="1355" y="1"/>
                    <a:pt x="1198" y="95"/>
                    <a:pt x="1135" y="253"/>
                  </a:cubicBezTo>
                  <a:cubicBezTo>
                    <a:pt x="1" y="3246"/>
                    <a:pt x="95" y="3088"/>
                    <a:pt x="95" y="3151"/>
                  </a:cubicBezTo>
                  <a:lnTo>
                    <a:pt x="95" y="10933"/>
                  </a:lnTo>
                  <a:cubicBezTo>
                    <a:pt x="95" y="11500"/>
                    <a:pt x="568" y="11973"/>
                    <a:pt x="1135" y="11973"/>
                  </a:cubicBezTo>
                  <a:lnTo>
                    <a:pt x="1859" y="11973"/>
                  </a:lnTo>
                  <a:cubicBezTo>
                    <a:pt x="2458" y="11973"/>
                    <a:pt x="2931" y="11500"/>
                    <a:pt x="2931" y="10933"/>
                  </a:cubicBezTo>
                  <a:lnTo>
                    <a:pt x="2931" y="3120"/>
                  </a:lnTo>
                  <a:cubicBezTo>
                    <a:pt x="2836" y="3088"/>
                    <a:pt x="2931" y="3277"/>
                    <a:pt x="1765" y="253"/>
                  </a:cubicBezTo>
                  <a:cubicBezTo>
                    <a:pt x="1733" y="127"/>
                    <a:pt x="1576" y="1"/>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5" name="Google Shape;10415;p79"/>
            <p:cNvSpPr/>
            <p:nvPr/>
          </p:nvSpPr>
          <p:spPr>
            <a:xfrm>
              <a:off x="-49398750" y="2684600"/>
              <a:ext cx="87450" cy="300900"/>
            </a:xfrm>
            <a:custGeom>
              <a:avLst/>
              <a:gdLst/>
              <a:ahLst/>
              <a:cxnLst/>
              <a:rect l="l" t="t" r="r" b="b"/>
              <a:pathLst>
                <a:path w="3498" h="12036" extrusionOk="0">
                  <a:moveTo>
                    <a:pt x="2773" y="662"/>
                  </a:moveTo>
                  <a:lnTo>
                    <a:pt x="2773" y="11311"/>
                  </a:lnTo>
                  <a:lnTo>
                    <a:pt x="662" y="11311"/>
                  </a:lnTo>
                  <a:lnTo>
                    <a:pt x="662" y="10586"/>
                  </a:lnTo>
                  <a:lnTo>
                    <a:pt x="1734" y="10586"/>
                  </a:lnTo>
                  <a:cubicBezTo>
                    <a:pt x="1923" y="10586"/>
                    <a:pt x="2080" y="10429"/>
                    <a:pt x="2080" y="10240"/>
                  </a:cubicBezTo>
                  <a:cubicBezTo>
                    <a:pt x="2080" y="10051"/>
                    <a:pt x="1923" y="9893"/>
                    <a:pt x="1734" y="9893"/>
                  </a:cubicBezTo>
                  <a:lnTo>
                    <a:pt x="662" y="9893"/>
                  </a:lnTo>
                  <a:lnTo>
                    <a:pt x="662" y="9169"/>
                  </a:lnTo>
                  <a:lnTo>
                    <a:pt x="1009" y="9169"/>
                  </a:lnTo>
                  <a:cubicBezTo>
                    <a:pt x="1198" y="9169"/>
                    <a:pt x="1356" y="9011"/>
                    <a:pt x="1356" y="8822"/>
                  </a:cubicBezTo>
                  <a:cubicBezTo>
                    <a:pt x="1356" y="8633"/>
                    <a:pt x="1198" y="8475"/>
                    <a:pt x="1009" y="8475"/>
                  </a:cubicBezTo>
                  <a:lnTo>
                    <a:pt x="662" y="8475"/>
                  </a:lnTo>
                  <a:lnTo>
                    <a:pt x="662" y="7751"/>
                  </a:lnTo>
                  <a:lnTo>
                    <a:pt x="1734" y="7751"/>
                  </a:lnTo>
                  <a:cubicBezTo>
                    <a:pt x="1923" y="7751"/>
                    <a:pt x="2080" y="7593"/>
                    <a:pt x="2080" y="7404"/>
                  </a:cubicBezTo>
                  <a:cubicBezTo>
                    <a:pt x="2080" y="7215"/>
                    <a:pt x="1923" y="7058"/>
                    <a:pt x="1734" y="7058"/>
                  </a:cubicBezTo>
                  <a:lnTo>
                    <a:pt x="662" y="7058"/>
                  </a:lnTo>
                  <a:lnTo>
                    <a:pt x="662" y="6333"/>
                  </a:lnTo>
                  <a:lnTo>
                    <a:pt x="1009" y="6333"/>
                  </a:lnTo>
                  <a:cubicBezTo>
                    <a:pt x="1198" y="6333"/>
                    <a:pt x="1356" y="6176"/>
                    <a:pt x="1356" y="5987"/>
                  </a:cubicBezTo>
                  <a:cubicBezTo>
                    <a:pt x="1356" y="5798"/>
                    <a:pt x="1198" y="5640"/>
                    <a:pt x="1009" y="5640"/>
                  </a:cubicBezTo>
                  <a:lnTo>
                    <a:pt x="662" y="5640"/>
                  </a:lnTo>
                  <a:lnTo>
                    <a:pt x="662" y="4947"/>
                  </a:lnTo>
                  <a:lnTo>
                    <a:pt x="1734" y="4947"/>
                  </a:lnTo>
                  <a:cubicBezTo>
                    <a:pt x="1923" y="4947"/>
                    <a:pt x="2080" y="4789"/>
                    <a:pt x="2080" y="4569"/>
                  </a:cubicBezTo>
                  <a:cubicBezTo>
                    <a:pt x="2080" y="4380"/>
                    <a:pt x="1923" y="4222"/>
                    <a:pt x="1734" y="4222"/>
                  </a:cubicBezTo>
                  <a:lnTo>
                    <a:pt x="662" y="4222"/>
                  </a:lnTo>
                  <a:lnTo>
                    <a:pt x="662" y="3498"/>
                  </a:lnTo>
                  <a:lnTo>
                    <a:pt x="1009" y="3498"/>
                  </a:lnTo>
                  <a:cubicBezTo>
                    <a:pt x="1198" y="3498"/>
                    <a:pt x="1356" y="3340"/>
                    <a:pt x="1356" y="3151"/>
                  </a:cubicBezTo>
                  <a:cubicBezTo>
                    <a:pt x="1356" y="2962"/>
                    <a:pt x="1198" y="2805"/>
                    <a:pt x="1009" y="2805"/>
                  </a:cubicBezTo>
                  <a:lnTo>
                    <a:pt x="662" y="2805"/>
                  </a:lnTo>
                  <a:lnTo>
                    <a:pt x="662" y="2080"/>
                  </a:lnTo>
                  <a:lnTo>
                    <a:pt x="1734" y="2080"/>
                  </a:lnTo>
                  <a:cubicBezTo>
                    <a:pt x="1923" y="2080"/>
                    <a:pt x="2080" y="1922"/>
                    <a:pt x="2080" y="1733"/>
                  </a:cubicBezTo>
                  <a:cubicBezTo>
                    <a:pt x="2080" y="1544"/>
                    <a:pt x="1923" y="1387"/>
                    <a:pt x="1734" y="1387"/>
                  </a:cubicBezTo>
                  <a:lnTo>
                    <a:pt x="662" y="1387"/>
                  </a:lnTo>
                  <a:lnTo>
                    <a:pt x="662" y="662"/>
                  </a:lnTo>
                  <a:close/>
                  <a:moveTo>
                    <a:pt x="347" y="1"/>
                  </a:moveTo>
                  <a:cubicBezTo>
                    <a:pt x="158" y="1"/>
                    <a:pt x="1" y="158"/>
                    <a:pt x="1" y="379"/>
                  </a:cubicBezTo>
                  <a:lnTo>
                    <a:pt x="1" y="11657"/>
                  </a:lnTo>
                  <a:cubicBezTo>
                    <a:pt x="1" y="11878"/>
                    <a:pt x="158" y="12036"/>
                    <a:pt x="347" y="12036"/>
                  </a:cubicBezTo>
                  <a:lnTo>
                    <a:pt x="3151" y="12036"/>
                  </a:lnTo>
                  <a:cubicBezTo>
                    <a:pt x="3340" y="12036"/>
                    <a:pt x="3498" y="11878"/>
                    <a:pt x="3498" y="11657"/>
                  </a:cubicBezTo>
                  <a:lnTo>
                    <a:pt x="3498" y="379"/>
                  </a:lnTo>
                  <a:cubicBezTo>
                    <a:pt x="3498"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79"/>
            <p:cNvSpPr/>
            <p:nvPr/>
          </p:nvSpPr>
          <p:spPr>
            <a:xfrm>
              <a:off x="-49207350" y="2686175"/>
              <a:ext cx="72475" cy="300900"/>
            </a:xfrm>
            <a:custGeom>
              <a:avLst/>
              <a:gdLst/>
              <a:ahLst/>
              <a:cxnLst/>
              <a:rect l="l" t="t" r="r" b="b"/>
              <a:pathLst>
                <a:path w="2899" h="12036" extrusionOk="0">
                  <a:moveTo>
                    <a:pt x="1859" y="694"/>
                  </a:moveTo>
                  <a:lnTo>
                    <a:pt x="1859" y="694"/>
                  </a:lnTo>
                  <a:cubicBezTo>
                    <a:pt x="1828" y="820"/>
                    <a:pt x="1796" y="946"/>
                    <a:pt x="1796" y="1040"/>
                  </a:cubicBezTo>
                  <a:cubicBezTo>
                    <a:pt x="1733" y="1418"/>
                    <a:pt x="1828" y="1765"/>
                    <a:pt x="2111" y="2112"/>
                  </a:cubicBezTo>
                  <a:cubicBezTo>
                    <a:pt x="2143" y="2143"/>
                    <a:pt x="2174" y="2238"/>
                    <a:pt x="2143" y="2301"/>
                  </a:cubicBezTo>
                  <a:cubicBezTo>
                    <a:pt x="2017" y="2584"/>
                    <a:pt x="1796" y="2773"/>
                    <a:pt x="1481" y="2773"/>
                  </a:cubicBezTo>
                  <a:cubicBezTo>
                    <a:pt x="1072" y="2773"/>
                    <a:pt x="757" y="2458"/>
                    <a:pt x="757" y="2080"/>
                  </a:cubicBezTo>
                  <a:cubicBezTo>
                    <a:pt x="757" y="1670"/>
                    <a:pt x="914" y="1324"/>
                    <a:pt x="1166" y="1103"/>
                  </a:cubicBezTo>
                  <a:cubicBezTo>
                    <a:pt x="1387" y="851"/>
                    <a:pt x="1576" y="788"/>
                    <a:pt x="1859" y="694"/>
                  </a:cubicBezTo>
                  <a:close/>
                  <a:moveTo>
                    <a:pt x="1450" y="3466"/>
                  </a:moveTo>
                  <a:cubicBezTo>
                    <a:pt x="1513" y="3529"/>
                    <a:pt x="1702" y="3781"/>
                    <a:pt x="1859" y="4600"/>
                  </a:cubicBezTo>
                  <a:cubicBezTo>
                    <a:pt x="1954" y="4726"/>
                    <a:pt x="1954" y="4789"/>
                    <a:pt x="1954" y="4884"/>
                  </a:cubicBezTo>
                  <a:lnTo>
                    <a:pt x="946" y="4884"/>
                  </a:lnTo>
                  <a:cubicBezTo>
                    <a:pt x="946" y="4789"/>
                    <a:pt x="1009" y="4726"/>
                    <a:pt x="1009" y="4600"/>
                  </a:cubicBezTo>
                  <a:cubicBezTo>
                    <a:pt x="1198" y="3781"/>
                    <a:pt x="1355" y="3529"/>
                    <a:pt x="1450" y="3466"/>
                  </a:cubicBezTo>
                  <a:close/>
                  <a:moveTo>
                    <a:pt x="2111" y="5546"/>
                  </a:moveTo>
                  <a:cubicBezTo>
                    <a:pt x="2174" y="6081"/>
                    <a:pt x="2237" y="6680"/>
                    <a:pt x="2237" y="7310"/>
                  </a:cubicBezTo>
                  <a:cubicBezTo>
                    <a:pt x="2174" y="9389"/>
                    <a:pt x="1796" y="10901"/>
                    <a:pt x="1481" y="11216"/>
                  </a:cubicBezTo>
                  <a:cubicBezTo>
                    <a:pt x="1387" y="11122"/>
                    <a:pt x="1198" y="10901"/>
                    <a:pt x="1040" y="10082"/>
                  </a:cubicBezTo>
                  <a:cubicBezTo>
                    <a:pt x="883" y="9326"/>
                    <a:pt x="757" y="8349"/>
                    <a:pt x="757" y="7310"/>
                  </a:cubicBezTo>
                  <a:cubicBezTo>
                    <a:pt x="757" y="6680"/>
                    <a:pt x="788" y="6081"/>
                    <a:pt x="883" y="5546"/>
                  </a:cubicBezTo>
                  <a:close/>
                  <a:moveTo>
                    <a:pt x="2489" y="1"/>
                  </a:moveTo>
                  <a:cubicBezTo>
                    <a:pt x="1796" y="1"/>
                    <a:pt x="1229" y="32"/>
                    <a:pt x="662" y="631"/>
                  </a:cubicBezTo>
                  <a:cubicBezTo>
                    <a:pt x="253" y="1009"/>
                    <a:pt x="1" y="1576"/>
                    <a:pt x="1" y="2112"/>
                  </a:cubicBezTo>
                  <a:cubicBezTo>
                    <a:pt x="1" y="2616"/>
                    <a:pt x="284" y="3088"/>
                    <a:pt x="725" y="3340"/>
                  </a:cubicBezTo>
                  <a:cubicBezTo>
                    <a:pt x="190" y="4285"/>
                    <a:pt x="1" y="6302"/>
                    <a:pt x="1" y="7436"/>
                  </a:cubicBezTo>
                  <a:cubicBezTo>
                    <a:pt x="1" y="8539"/>
                    <a:pt x="127" y="10555"/>
                    <a:pt x="725" y="11531"/>
                  </a:cubicBezTo>
                  <a:cubicBezTo>
                    <a:pt x="914" y="11878"/>
                    <a:pt x="1166" y="12036"/>
                    <a:pt x="1450" y="12036"/>
                  </a:cubicBezTo>
                  <a:cubicBezTo>
                    <a:pt x="1702" y="12036"/>
                    <a:pt x="1954" y="11878"/>
                    <a:pt x="2143" y="11531"/>
                  </a:cubicBezTo>
                  <a:cubicBezTo>
                    <a:pt x="2710" y="10586"/>
                    <a:pt x="2868" y="8570"/>
                    <a:pt x="2868" y="7436"/>
                  </a:cubicBezTo>
                  <a:cubicBezTo>
                    <a:pt x="2836" y="6239"/>
                    <a:pt x="2742" y="4254"/>
                    <a:pt x="2174" y="3309"/>
                  </a:cubicBezTo>
                  <a:cubicBezTo>
                    <a:pt x="2458" y="3151"/>
                    <a:pt x="2710" y="2868"/>
                    <a:pt x="2773" y="2553"/>
                  </a:cubicBezTo>
                  <a:cubicBezTo>
                    <a:pt x="2899" y="2238"/>
                    <a:pt x="2805" y="1923"/>
                    <a:pt x="2616" y="1670"/>
                  </a:cubicBezTo>
                  <a:cubicBezTo>
                    <a:pt x="2426" y="1450"/>
                    <a:pt x="2300" y="1135"/>
                    <a:pt x="2773" y="536"/>
                  </a:cubicBezTo>
                  <a:cubicBezTo>
                    <a:pt x="2836" y="410"/>
                    <a:pt x="2899" y="316"/>
                    <a:pt x="2805" y="190"/>
                  </a:cubicBezTo>
                  <a:cubicBezTo>
                    <a:pt x="2773" y="64"/>
                    <a:pt x="261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79"/>
          <p:cNvGrpSpPr/>
          <p:nvPr/>
        </p:nvGrpSpPr>
        <p:grpSpPr>
          <a:xfrm>
            <a:off x="873121" y="2928284"/>
            <a:ext cx="314006" cy="359154"/>
            <a:chOff x="-47509225" y="1974175"/>
            <a:chExt cx="263075" cy="300900"/>
          </a:xfrm>
        </p:grpSpPr>
        <p:sp>
          <p:nvSpPr>
            <p:cNvPr id="10418" name="Google Shape;10418;p79"/>
            <p:cNvSpPr/>
            <p:nvPr/>
          </p:nvSpPr>
          <p:spPr>
            <a:xfrm>
              <a:off x="-47439925" y="2026950"/>
              <a:ext cx="124475" cy="124450"/>
            </a:xfrm>
            <a:custGeom>
              <a:avLst/>
              <a:gdLst/>
              <a:ahLst/>
              <a:cxnLst/>
              <a:rect l="l" t="t" r="r" b="b"/>
              <a:pathLst>
                <a:path w="4979" h="4978" extrusionOk="0">
                  <a:moveTo>
                    <a:pt x="1828" y="725"/>
                  </a:moveTo>
                  <a:cubicBezTo>
                    <a:pt x="2301" y="725"/>
                    <a:pt x="2679" y="1008"/>
                    <a:pt x="2805" y="1418"/>
                  </a:cubicBezTo>
                  <a:lnTo>
                    <a:pt x="1828" y="1418"/>
                  </a:lnTo>
                  <a:cubicBezTo>
                    <a:pt x="1607" y="1418"/>
                    <a:pt x="1450" y="1575"/>
                    <a:pt x="1450" y="1796"/>
                  </a:cubicBezTo>
                  <a:lnTo>
                    <a:pt x="1450" y="2773"/>
                  </a:lnTo>
                  <a:cubicBezTo>
                    <a:pt x="1040" y="2615"/>
                    <a:pt x="757" y="2206"/>
                    <a:pt x="757" y="1796"/>
                  </a:cubicBezTo>
                  <a:cubicBezTo>
                    <a:pt x="757" y="1197"/>
                    <a:pt x="1229" y="725"/>
                    <a:pt x="1828" y="725"/>
                  </a:cubicBezTo>
                  <a:close/>
                  <a:moveTo>
                    <a:pt x="2805" y="2143"/>
                  </a:moveTo>
                  <a:cubicBezTo>
                    <a:pt x="2679" y="2458"/>
                    <a:pt x="2458" y="2678"/>
                    <a:pt x="2175" y="2773"/>
                  </a:cubicBezTo>
                  <a:lnTo>
                    <a:pt x="2175" y="2143"/>
                  </a:lnTo>
                  <a:close/>
                  <a:moveTo>
                    <a:pt x="4254" y="2111"/>
                  </a:moveTo>
                  <a:lnTo>
                    <a:pt x="4254" y="4222"/>
                  </a:lnTo>
                  <a:lnTo>
                    <a:pt x="2143" y="4222"/>
                  </a:lnTo>
                  <a:lnTo>
                    <a:pt x="2143" y="3466"/>
                  </a:lnTo>
                  <a:cubicBezTo>
                    <a:pt x="2805" y="3308"/>
                    <a:pt x="3372" y="2804"/>
                    <a:pt x="3529" y="2111"/>
                  </a:cubicBezTo>
                  <a:close/>
                  <a:moveTo>
                    <a:pt x="1765" y="0"/>
                  </a:moveTo>
                  <a:cubicBezTo>
                    <a:pt x="788" y="0"/>
                    <a:pt x="1" y="788"/>
                    <a:pt x="1" y="1796"/>
                  </a:cubicBezTo>
                  <a:cubicBezTo>
                    <a:pt x="1" y="2647"/>
                    <a:pt x="599" y="3340"/>
                    <a:pt x="1418" y="3529"/>
                  </a:cubicBezTo>
                  <a:lnTo>
                    <a:pt x="1418" y="4631"/>
                  </a:lnTo>
                  <a:cubicBezTo>
                    <a:pt x="1418" y="4820"/>
                    <a:pt x="1576" y="4978"/>
                    <a:pt x="1765" y="4978"/>
                  </a:cubicBezTo>
                  <a:lnTo>
                    <a:pt x="4569" y="4978"/>
                  </a:lnTo>
                  <a:cubicBezTo>
                    <a:pt x="4789" y="4978"/>
                    <a:pt x="4916" y="4820"/>
                    <a:pt x="4916" y="4631"/>
                  </a:cubicBezTo>
                  <a:lnTo>
                    <a:pt x="4916" y="1827"/>
                  </a:lnTo>
                  <a:cubicBezTo>
                    <a:pt x="4979" y="1575"/>
                    <a:pt x="4821" y="1418"/>
                    <a:pt x="4600" y="1418"/>
                  </a:cubicBezTo>
                  <a:lnTo>
                    <a:pt x="3498" y="1418"/>
                  </a:lnTo>
                  <a:cubicBezTo>
                    <a:pt x="3340" y="630"/>
                    <a:pt x="2647"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79"/>
            <p:cNvSpPr/>
            <p:nvPr/>
          </p:nvSpPr>
          <p:spPr>
            <a:xfrm>
              <a:off x="-47439125" y="2184475"/>
              <a:ext cx="88225" cy="18125"/>
            </a:xfrm>
            <a:custGeom>
              <a:avLst/>
              <a:gdLst/>
              <a:ahLst/>
              <a:cxnLst/>
              <a:rect l="l" t="t" r="r" b="b"/>
              <a:pathLst>
                <a:path w="3529" h="725" extrusionOk="0">
                  <a:moveTo>
                    <a:pt x="378" y="0"/>
                  </a:moveTo>
                  <a:cubicBezTo>
                    <a:pt x="158" y="0"/>
                    <a:pt x="32" y="158"/>
                    <a:pt x="32" y="378"/>
                  </a:cubicBezTo>
                  <a:cubicBezTo>
                    <a:pt x="0" y="567"/>
                    <a:pt x="158" y="725"/>
                    <a:pt x="378" y="725"/>
                  </a:cubicBezTo>
                  <a:lnTo>
                    <a:pt x="3182" y="725"/>
                  </a:lnTo>
                  <a:cubicBezTo>
                    <a:pt x="3371" y="725"/>
                    <a:pt x="3529" y="567"/>
                    <a:pt x="3529" y="378"/>
                  </a:cubicBezTo>
                  <a:cubicBezTo>
                    <a:pt x="3529" y="158"/>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79"/>
            <p:cNvSpPr/>
            <p:nvPr/>
          </p:nvSpPr>
          <p:spPr>
            <a:xfrm>
              <a:off x="-47438350" y="2219900"/>
              <a:ext cx="122900" cy="18150"/>
            </a:xfrm>
            <a:custGeom>
              <a:avLst/>
              <a:gdLst/>
              <a:ahLst/>
              <a:cxnLst/>
              <a:rect l="l" t="t" r="r" b="b"/>
              <a:pathLst>
                <a:path w="4916" h="726" extrusionOk="0">
                  <a:moveTo>
                    <a:pt x="347" y="1"/>
                  </a:moveTo>
                  <a:cubicBezTo>
                    <a:pt x="127" y="1"/>
                    <a:pt x="1" y="158"/>
                    <a:pt x="1" y="379"/>
                  </a:cubicBezTo>
                  <a:cubicBezTo>
                    <a:pt x="1" y="568"/>
                    <a:pt x="127" y="725"/>
                    <a:pt x="347" y="725"/>
                  </a:cubicBezTo>
                  <a:lnTo>
                    <a:pt x="4537" y="725"/>
                  </a:lnTo>
                  <a:cubicBezTo>
                    <a:pt x="4758" y="725"/>
                    <a:pt x="4916" y="568"/>
                    <a:pt x="4916" y="379"/>
                  </a:cubicBezTo>
                  <a:cubicBezTo>
                    <a:pt x="4916" y="158"/>
                    <a:pt x="4758" y="1"/>
                    <a:pt x="45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79"/>
            <p:cNvSpPr/>
            <p:nvPr/>
          </p:nvSpPr>
          <p:spPr>
            <a:xfrm>
              <a:off x="-47333600" y="218605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6" y="536"/>
                    <a:pt x="726" y="347"/>
                  </a:cubicBezTo>
                  <a:cubicBezTo>
                    <a:pt x="726" y="126"/>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79"/>
            <p:cNvSpPr/>
            <p:nvPr/>
          </p:nvSpPr>
          <p:spPr>
            <a:xfrm>
              <a:off x="-47509225" y="1974175"/>
              <a:ext cx="263075" cy="300900"/>
            </a:xfrm>
            <a:custGeom>
              <a:avLst/>
              <a:gdLst/>
              <a:ahLst/>
              <a:cxnLst/>
              <a:rect l="l" t="t" r="r" b="b"/>
              <a:pathLst>
                <a:path w="10523" h="12036" extrusionOk="0">
                  <a:moveTo>
                    <a:pt x="9483" y="2111"/>
                  </a:moveTo>
                  <a:cubicBezTo>
                    <a:pt x="9672" y="2111"/>
                    <a:pt x="9830" y="2269"/>
                    <a:pt x="9830" y="2489"/>
                  </a:cubicBezTo>
                  <a:lnTo>
                    <a:pt x="9830" y="3529"/>
                  </a:lnTo>
                  <a:lnTo>
                    <a:pt x="9105" y="3529"/>
                  </a:lnTo>
                  <a:lnTo>
                    <a:pt x="9105" y="2111"/>
                  </a:lnTo>
                  <a:close/>
                  <a:moveTo>
                    <a:pt x="9830" y="4222"/>
                  </a:moveTo>
                  <a:lnTo>
                    <a:pt x="9830" y="5640"/>
                  </a:lnTo>
                  <a:lnTo>
                    <a:pt x="9105" y="5640"/>
                  </a:lnTo>
                  <a:lnTo>
                    <a:pt x="9105" y="4222"/>
                  </a:lnTo>
                  <a:close/>
                  <a:moveTo>
                    <a:pt x="9861" y="6333"/>
                  </a:moveTo>
                  <a:lnTo>
                    <a:pt x="9861" y="7751"/>
                  </a:lnTo>
                  <a:lnTo>
                    <a:pt x="9168" y="7751"/>
                  </a:lnTo>
                  <a:lnTo>
                    <a:pt x="9168" y="6333"/>
                  </a:lnTo>
                  <a:close/>
                  <a:moveTo>
                    <a:pt x="9830" y="8412"/>
                  </a:moveTo>
                  <a:lnTo>
                    <a:pt x="9830" y="9483"/>
                  </a:lnTo>
                  <a:cubicBezTo>
                    <a:pt x="9830" y="9672"/>
                    <a:pt x="9672" y="9830"/>
                    <a:pt x="9483" y="9830"/>
                  </a:cubicBezTo>
                  <a:lnTo>
                    <a:pt x="9137" y="9830"/>
                  </a:lnTo>
                  <a:lnTo>
                    <a:pt x="9137" y="8412"/>
                  </a:lnTo>
                  <a:close/>
                  <a:moveTo>
                    <a:pt x="8444" y="630"/>
                  </a:moveTo>
                  <a:lnTo>
                    <a:pt x="8444" y="11248"/>
                  </a:lnTo>
                  <a:lnTo>
                    <a:pt x="1450" y="11248"/>
                  </a:lnTo>
                  <a:lnTo>
                    <a:pt x="1450" y="10554"/>
                  </a:lnTo>
                  <a:lnTo>
                    <a:pt x="1796" y="10554"/>
                  </a:lnTo>
                  <a:cubicBezTo>
                    <a:pt x="1985" y="10554"/>
                    <a:pt x="2143" y="10397"/>
                    <a:pt x="2143" y="10176"/>
                  </a:cubicBezTo>
                  <a:cubicBezTo>
                    <a:pt x="2143" y="9987"/>
                    <a:pt x="1985" y="9830"/>
                    <a:pt x="1796" y="9830"/>
                  </a:cubicBezTo>
                  <a:lnTo>
                    <a:pt x="1450" y="9830"/>
                  </a:lnTo>
                  <a:lnTo>
                    <a:pt x="1450" y="8412"/>
                  </a:lnTo>
                  <a:lnTo>
                    <a:pt x="1796" y="8412"/>
                  </a:lnTo>
                  <a:cubicBezTo>
                    <a:pt x="1985" y="8412"/>
                    <a:pt x="2143" y="8255"/>
                    <a:pt x="2143" y="8066"/>
                  </a:cubicBezTo>
                  <a:cubicBezTo>
                    <a:pt x="2143" y="7877"/>
                    <a:pt x="1985" y="7719"/>
                    <a:pt x="1796" y="7719"/>
                  </a:cubicBezTo>
                  <a:lnTo>
                    <a:pt x="1450" y="7719"/>
                  </a:lnTo>
                  <a:lnTo>
                    <a:pt x="1450" y="6301"/>
                  </a:lnTo>
                  <a:lnTo>
                    <a:pt x="1796" y="6301"/>
                  </a:lnTo>
                  <a:cubicBezTo>
                    <a:pt x="1985" y="6301"/>
                    <a:pt x="2143" y="6144"/>
                    <a:pt x="2143" y="5923"/>
                  </a:cubicBezTo>
                  <a:cubicBezTo>
                    <a:pt x="2143" y="5734"/>
                    <a:pt x="1985" y="5577"/>
                    <a:pt x="1796" y="5577"/>
                  </a:cubicBezTo>
                  <a:lnTo>
                    <a:pt x="1450" y="5577"/>
                  </a:lnTo>
                  <a:lnTo>
                    <a:pt x="1450" y="4159"/>
                  </a:lnTo>
                  <a:lnTo>
                    <a:pt x="1796" y="4159"/>
                  </a:lnTo>
                  <a:cubicBezTo>
                    <a:pt x="1985" y="4159"/>
                    <a:pt x="2143" y="4001"/>
                    <a:pt x="2143" y="3812"/>
                  </a:cubicBezTo>
                  <a:cubicBezTo>
                    <a:pt x="2143" y="3623"/>
                    <a:pt x="1985" y="3466"/>
                    <a:pt x="1796" y="3466"/>
                  </a:cubicBezTo>
                  <a:lnTo>
                    <a:pt x="1450" y="3466"/>
                  </a:lnTo>
                  <a:lnTo>
                    <a:pt x="1450" y="2048"/>
                  </a:lnTo>
                  <a:lnTo>
                    <a:pt x="1796" y="2048"/>
                  </a:lnTo>
                  <a:cubicBezTo>
                    <a:pt x="1985" y="2048"/>
                    <a:pt x="2143" y="1891"/>
                    <a:pt x="2143" y="1670"/>
                  </a:cubicBezTo>
                  <a:cubicBezTo>
                    <a:pt x="2143" y="1481"/>
                    <a:pt x="1985" y="1324"/>
                    <a:pt x="1796" y="1324"/>
                  </a:cubicBezTo>
                  <a:lnTo>
                    <a:pt x="1450" y="1324"/>
                  </a:lnTo>
                  <a:lnTo>
                    <a:pt x="1450" y="630"/>
                  </a:lnTo>
                  <a:close/>
                  <a:moveTo>
                    <a:pt x="1040" y="0"/>
                  </a:moveTo>
                  <a:cubicBezTo>
                    <a:pt x="851" y="0"/>
                    <a:pt x="693" y="158"/>
                    <a:pt x="693" y="347"/>
                  </a:cubicBezTo>
                  <a:lnTo>
                    <a:pt x="693" y="1418"/>
                  </a:lnTo>
                  <a:lnTo>
                    <a:pt x="347" y="1418"/>
                  </a:lnTo>
                  <a:cubicBezTo>
                    <a:pt x="158" y="1418"/>
                    <a:pt x="0" y="1576"/>
                    <a:pt x="0" y="1765"/>
                  </a:cubicBezTo>
                  <a:cubicBezTo>
                    <a:pt x="0" y="1954"/>
                    <a:pt x="158" y="2111"/>
                    <a:pt x="347" y="2111"/>
                  </a:cubicBezTo>
                  <a:lnTo>
                    <a:pt x="693" y="2111"/>
                  </a:lnTo>
                  <a:lnTo>
                    <a:pt x="693" y="3529"/>
                  </a:lnTo>
                  <a:lnTo>
                    <a:pt x="347" y="3529"/>
                  </a:lnTo>
                  <a:cubicBezTo>
                    <a:pt x="158" y="3529"/>
                    <a:pt x="0" y="3686"/>
                    <a:pt x="0" y="3907"/>
                  </a:cubicBezTo>
                  <a:cubicBezTo>
                    <a:pt x="0" y="4096"/>
                    <a:pt x="158" y="4254"/>
                    <a:pt x="347" y="4254"/>
                  </a:cubicBezTo>
                  <a:lnTo>
                    <a:pt x="693" y="4254"/>
                  </a:lnTo>
                  <a:lnTo>
                    <a:pt x="693" y="5671"/>
                  </a:lnTo>
                  <a:lnTo>
                    <a:pt x="347" y="5671"/>
                  </a:lnTo>
                  <a:cubicBezTo>
                    <a:pt x="158" y="5671"/>
                    <a:pt x="0" y="5829"/>
                    <a:pt x="0" y="6018"/>
                  </a:cubicBezTo>
                  <a:cubicBezTo>
                    <a:pt x="0" y="6207"/>
                    <a:pt x="158" y="6364"/>
                    <a:pt x="347" y="6364"/>
                  </a:cubicBezTo>
                  <a:lnTo>
                    <a:pt x="693" y="6364"/>
                  </a:lnTo>
                  <a:lnTo>
                    <a:pt x="693" y="7782"/>
                  </a:lnTo>
                  <a:lnTo>
                    <a:pt x="347" y="7782"/>
                  </a:lnTo>
                  <a:cubicBezTo>
                    <a:pt x="158" y="7782"/>
                    <a:pt x="0" y="7940"/>
                    <a:pt x="0" y="8160"/>
                  </a:cubicBezTo>
                  <a:cubicBezTo>
                    <a:pt x="0" y="8349"/>
                    <a:pt x="158" y="8507"/>
                    <a:pt x="347" y="8507"/>
                  </a:cubicBezTo>
                  <a:lnTo>
                    <a:pt x="693" y="8507"/>
                  </a:lnTo>
                  <a:lnTo>
                    <a:pt x="693" y="9924"/>
                  </a:lnTo>
                  <a:lnTo>
                    <a:pt x="347" y="9924"/>
                  </a:lnTo>
                  <a:cubicBezTo>
                    <a:pt x="158" y="9924"/>
                    <a:pt x="0" y="10082"/>
                    <a:pt x="0" y="10271"/>
                  </a:cubicBezTo>
                  <a:cubicBezTo>
                    <a:pt x="0" y="10460"/>
                    <a:pt x="158" y="10617"/>
                    <a:pt x="347" y="10617"/>
                  </a:cubicBezTo>
                  <a:lnTo>
                    <a:pt x="693" y="10617"/>
                  </a:lnTo>
                  <a:lnTo>
                    <a:pt x="693" y="11689"/>
                  </a:lnTo>
                  <a:cubicBezTo>
                    <a:pt x="693" y="11878"/>
                    <a:pt x="851" y="12035"/>
                    <a:pt x="1040" y="12035"/>
                  </a:cubicBezTo>
                  <a:lnTo>
                    <a:pt x="8759" y="12035"/>
                  </a:lnTo>
                  <a:cubicBezTo>
                    <a:pt x="8979" y="12035"/>
                    <a:pt x="9137" y="11878"/>
                    <a:pt x="9137" y="11689"/>
                  </a:cubicBezTo>
                  <a:lnTo>
                    <a:pt x="9137" y="10617"/>
                  </a:lnTo>
                  <a:lnTo>
                    <a:pt x="9483" y="10617"/>
                  </a:lnTo>
                  <a:cubicBezTo>
                    <a:pt x="10050" y="10617"/>
                    <a:pt x="10523" y="10145"/>
                    <a:pt x="10523" y="9578"/>
                  </a:cubicBezTo>
                  <a:lnTo>
                    <a:pt x="10523" y="2552"/>
                  </a:lnTo>
                  <a:cubicBezTo>
                    <a:pt x="10523" y="1891"/>
                    <a:pt x="10050" y="1418"/>
                    <a:pt x="9483" y="1418"/>
                  </a:cubicBezTo>
                  <a:lnTo>
                    <a:pt x="9137" y="1418"/>
                  </a:lnTo>
                  <a:lnTo>
                    <a:pt x="9137" y="347"/>
                  </a:lnTo>
                  <a:cubicBezTo>
                    <a:pt x="9137" y="158"/>
                    <a:pt x="8979" y="0"/>
                    <a:pt x="87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79"/>
          <p:cNvGrpSpPr/>
          <p:nvPr/>
        </p:nvGrpSpPr>
        <p:grpSpPr>
          <a:xfrm>
            <a:off x="849622" y="3374818"/>
            <a:ext cx="361004" cy="357961"/>
            <a:chOff x="-47529700" y="2342000"/>
            <a:chExt cx="302450" cy="299900"/>
          </a:xfrm>
        </p:grpSpPr>
        <p:sp>
          <p:nvSpPr>
            <p:cNvPr id="10424" name="Google Shape;10424;p79"/>
            <p:cNvSpPr/>
            <p:nvPr/>
          </p:nvSpPr>
          <p:spPr>
            <a:xfrm>
              <a:off x="-47529700" y="2342000"/>
              <a:ext cx="302450" cy="299900"/>
            </a:xfrm>
            <a:custGeom>
              <a:avLst/>
              <a:gdLst/>
              <a:ahLst/>
              <a:cxnLst/>
              <a:rect l="l" t="t" r="r" b="b"/>
              <a:pathLst>
                <a:path w="12098" h="11996" extrusionOk="0">
                  <a:moveTo>
                    <a:pt x="7530" y="725"/>
                  </a:moveTo>
                  <a:cubicBezTo>
                    <a:pt x="9672" y="725"/>
                    <a:pt x="11405" y="2457"/>
                    <a:pt x="11405" y="4568"/>
                  </a:cubicBezTo>
                  <a:cubicBezTo>
                    <a:pt x="11405" y="6711"/>
                    <a:pt x="9672" y="8443"/>
                    <a:pt x="7530" y="8443"/>
                  </a:cubicBezTo>
                  <a:cubicBezTo>
                    <a:pt x="5419" y="8443"/>
                    <a:pt x="3686" y="6711"/>
                    <a:pt x="3686" y="4568"/>
                  </a:cubicBezTo>
                  <a:cubicBezTo>
                    <a:pt x="3686" y="2457"/>
                    <a:pt x="5419" y="725"/>
                    <a:pt x="7530" y="725"/>
                  </a:cubicBezTo>
                  <a:close/>
                  <a:moveTo>
                    <a:pt x="4064" y="7530"/>
                  </a:moveTo>
                  <a:cubicBezTo>
                    <a:pt x="4222" y="7719"/>
                    <a:pt x="4379" y="7876"/>
                    <a:pt x="4568" y="8034"/>
                  </a:cubicBezTo>
                  <a:lnTo>
                    <a:pt x="3686" y="8947"/>
                  </a:lnTo>
                  <a:lnTo>
                    <a:pt x="3151" y="8443"/>
                  </a:lnTo>
                  <a:lnTo>
                    <a:pt x="4064" y="7530"/>
                  </a:lnTo>
                  <a:close/>
                  <a:moveTo>
                    <a:pt x="2647" y="8916"/>
                  </a:moveTo>
                  <a:lnTo>
                    <a:pt x="3151" y="9420"/>
                  </a:lnTo>
                  <a:lnTo>
                    <a:pt x="1386" y="11184"/>
                  </a:lnTo>
                  <a:cubicBezTo>
                    <a:pt x="1323" y="11247"/>
                    <a:pt x="1237" y="11279"/>
                    <a:pt x="1146" y="11279"/>
                  </a:cubicBezTo>
                  <a:cubicBezTo>
                    <a:pt x="1056" y="11279"/>
                    <a:pt x="961" y="11247"/>
                    <a:pt x="882" y="11184"/>
                  </a:cubicBezTo>
                  <a:cubicBezTo>
                    <a:pt x="756" y="11090"/>
                    <a:pt x="756" y="10838"/>
                    <a:pt x="882" y="10680"/>
                  </a:cubicBezTo>
                  <a:lnTo>
                    <a:pt x="2647" y="8916"/>
                  </a:lnTo>
                  <a:close/>
                  <a:moveTo>
                    <a:pt x="7530" y="0"/>
                  </a:moveTo>
                  <a:cubicBezTo>
                    <a:pt x="5009" y="0"/>
                    <a:pt x="2962" y="2048"/>
                    <a:pt x="2962" y="4568"/>
                  </a:cubicBezTo>
                  <a:cubicBezTo>
                    <a:pt x="2962" y="5450"/>
                    <a:pt x="3214" y="6270"/>
                    <a:pt x="3623" y="6963"/>
                  </a:cubicBezTo>
                  <a:lnTo>
                    <a:pt x="410" y="10208"/>
                  </a:lnTo>
                  <a:cubicBezTo>
                    <a:pt x="0" y="10586"/>
                    <a:pt x="0" y="11279"/>
                    <a:pt x="410" y="11688"/>
                  </a:cubicBezTo>
                  <a:cubicBezTo>
                    <a:pt x="599" y="11893"/>
                    <a:pt x="867" y="11996"/>
                    <a:pt x="1138" y="11996"/>
                  </a:cubicBezTo>
                  <a:cubicBezTo>
                    <a:pt x="1410" y="11996"/>
                    <a:pt x="1686" y="11893"/>
                    <a:pt x="1890" y="11688"/>
                  </a:cubicBezTo>
                  <a:lnTo>
                    <a:pt x="5135" y="8475"/>
                  </a:lnTo>
                  <a:cubicBezTo>
                    <a:pt x="5829" y="8916"/>
                    <a:pt x="6679" y="9137"/>
                    <a:pt x="7530" y="9137"/>
                  </a:cubicBezTo>
                  <a:cubicBezTo>
                    <a:pt x="10050" y="9137"/>
                    <a:pt x="12098" y="7089"/>
                    <a:pt x="12098" y="4568"/>
                  </a:cubicBezTo>
                  <a:cubicBezTo>
                    <a:pt x="12098" y="2048"/>
                    <a:pt x="10050" y="0"/>
                    <a:pt x="75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79"/>
            <p:cNvSpPr/>
            <p:nvPr/>
          </p:nvSpPr>
          <p:spPr>
            <a:xfrm>
              <a:off x="-47404475" y="2395550"/>
              <a:ext cx="124475" cy="123675"/>
            </a:xfrm>
            <a:custGeom>
              <a:avLst/>
              <a:gdLst/>
              <a:ahLst/>
              <a:cxnLst/>
              <a:rect l="l" t="t" r="r" b="b"/>
              <a:pathLst>
                <a:path w="4979" h="4947" extrusionOk="0">
                  <a:moveTo>
                    <a:pt x="2804" y="2080"/>
                  </a:moveTo>
                  <a:cubicBezTo>
                    <a:pt x="2678" y="2395"/>
                    <a:pt x="2458" y="2647"/>
                    <a:pt x="2174" y="2710"/>
                  </a:cubicBezTo>
                  <a:lnTo>
                    <a:pt x="2174" y="2080"/>
                  </a:lnTo>
                  <a:close/>
                  <a:moveTo>
                    <a:pt x="1828" y="694"/>
                  </a:moveTo>
                  <a:cubicBezTo>
                    <a:pt x="2300" y="694"/>
                    <a:pt x="2678" y="977"/>
                    <a:pt x="2804" y="1418"/>
                  </a:cubicBezTo>
                  <a:lnTo>
                    <a:pt x="1828" y="1418"/>
                  </a:lnTo>
                  <a:cubicBezTo>
                    <a:pt x="1607" y="1418"/>
                    <a:pt x="1481" y="1576"/>
                    <a:pt x="1481" y="1765"/>
                  </a:cubicBezTo>
                  <a:lnTo>
                    <a:pt x="1481" y="2741"/>
                  </a:lnTo>
                  <a:cubicBezTo>
                    <a:pt x="1072" y="2584"/>
                    <a:pt x="757" y="2206"/>
                    <a:pt x="757" y="1765"/>
                  </a:cubicBezTo>
                  <a:cubicBezTo>
                    <a:pt x="757" y="1166"/>
                    <a:pt x="1229" y="694"/>
                    <a:pt x="1828" y="694"/>
                  </a:cubicBezTo>
                  <a:close/>
                  <a:moveTo>
                    <a:pt x="4254" y="2080"/>
                  </a:moveTo>
                  <a:lnTo>
                    <a:pt x="4254" y="4222"/>
                  </a:lnTo>
                  <a:lnTo>
                    <a:pt x="2143" y="4222"/>
                  </a:lnTo>
                  <a:lnTo>
                    <a:pt x="2143" y="3466"/>
                  </a:lnTo>
                  <a:cubicBezTo>
                    <a:pt x="2804" y="3308"/>
                    <a:pt x="3371" y="2804"/>
                    <a:pt x="3498" y="2080"/>
                  </a:cubicBezTo>
                  <a:close/>
                  <a:moveTo>
                    <a:pt x="1796" y="0"/>
                  </a:moveTo>
                  <a:cubicBezTo>
                    <a:pt x="788" y="0"/>
                    <a:pt x="0" y="788"/>
                    <a:pt x="0" y="1765"/>
                  </a:cubicBezTo>
                  <a:cubicBezTo>
                    <a:pt x="0" y="2615"/>
                    <a:pt x="599" y="3340"/>
                    <a:pt x="1418" y="3497"/>
                  </a:cubicBezTo>
                  <a:lnTo>
                    <a:pt x="1418" y="4600"/>
                  </a:lnTo>
                  <a:cubicBezTo>
                    <a:pt x="1418" y="4789"/>
                    <a:pt x="1576" y="4947"/>
                    <a:pt x="1796" y="4947"/>
                  </a:cubicBezTo>
                  <a:lnTo>
                    <a:pt x="4569" y="4947"/>
                  </a:lnTo>
                  <a:cubicBezTo>
                    <a:pt x="4789" y="4947"/>
                    <a:pt x="4947" y="4789"/>
                    <a:pt x="4947" y="4600"/>
                  </a:cubicBezTo>
                  <a:lnTo>
                    <a:pt x="4947" y="1796"/>
                  </a:lnTo>
                  <a:cubicBezTo>
                    <a:pt x="4978" y="1576"/>
                    <a:pt x="4821" y="1418"/>
                    <a:pt x="4632" y="1418"/>
                  </a:cubicBezTo>
                  <a:lnTo>
                    <a:pt x="3498" y="1418"/>
                  </a:lnTo>
                  <a:cubicBezTo>
                    <a:pt x="3371" y="631"/>
                    <a:pt x="2647"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6" name="Google Shape;10426;p79"/>
          <p:cNvGrpSpPr/>
          <p:nvPr/>
        </p:nvGrpSpPr>
        <p:grpSpPr>
          <a:xfrm>
            <a:off x="851025" y="3873967"/>
            <a:ext cx="358199" cy="272648"/>
            <a:chOff x="-47527350" y="2747625"/>
            <a:chExt cx="300100" cy="228425"/>
          </a:xfrm>
        </p:grpSpPr>
        <p:sp>
          <p:nvSpPr>
            <p:cNvPr id="10427" name="Google Shape;10427;p79"/>
            <p:cNvSpPr/>
            <p:nvPr/>
          </p:nvSpPr>
          <p:spPr>
            <a:xfrm>
              <a:off x="-47475350" y="2782275"/>
              <a:ext cx="124450" cy="124475"/>
            </a:xfrm>
            <a:custGeom>
              <a:avLst/>
              <a:gdLst/>
              <a:ahLst/>
              <a:cxnLst/>
              <a:rect l="l" t="t" r="r" b="b"/>
              <a:pathLst>
                <a:path w="4978" h="4979" extrusionOk="0">
                  <a:moveTo>
                    <a:pt x="2804" y="2080"/>
                  </a:moveTo>
                  <a:cubicBezTo>
                    <a:pt x="2678" y="2395"/>
                    <a:pt x="2457" y="2647"/>
                    <a:pt x="2174" y="2710"/>
                  </a:cubicBezTo>
                  <a:lnTo>
                    <a:pt x="2174" y="2080"/>
                  </a:lnTo>
                  <a:close/>
                  <a:moveTo>
                    <a:pt x="1827" y="725"/>
                  </a:moveTo>
                  <a:cubicBezTo>
                    <a:pt x="2300" y="725"/>
                    <a:pt x="2678" y="977"/>
                    <a:pt x="2804" y="1418"/>
                  </a:cubicBezTo>
                  <a:lnTo>
                    <a:pt x="1827" y="1418"/>
                  </a:lnTo>
                  <a:cubicBezTo>
                    <a:pt x="1607" y="1418"/>
                    <a:pt x="1481" y="1576"/>
                    <a:pt x="1481" y="1765"/>
                  </a:cubicBezTo>
                  <a:lnTo>
                    <a:pt x="1481" y="2773"/>
                  </a:lnTo>
                  <a:cubicBezTo>
                    <a:pt x="1071" y="2615"/>
                    <a:pt x="756" y="2206"/>
                    <a:pt x="756" y="1765"/>
                  </a:cubicBezTo>
                  <a:cubicBezTo>
                    <a:pt x="756" y="1197"/>
                    <a:pt x="1229" y="725"/>
                    <a:pt x="1827" y="725"/>
                  </a:cubicBezTo>
                  <a:close/>
                  <a:moveTo>
                    <a:pt x="4253" y="2080"/>
                  </a:moveTo>
                  <a:lnTo>
                    <a:pt x="4253" y="4222"/>
                  </a:lnTo>
                  <a:lnTo>
                    <a:pt x="2142" y="4222"/>
                  </a:lnTo>
                  <a:lnTo>
                    <a:pt x="2142" y="3466"/>
                  </a:lnTo>
                  <a:cubicBezTo>
                    <a:pt x="2804" y="3308"/>
                    <a:pt x="3371" y="2804"/>
                    <a:pt x="3529" y="2080"/>
                  </a:cubicBezTo>
                  <a:close/>
                  <a:moveTo>
                    <a:pt x="1764" y="0"/>
                  </a:moveTo>
                  <a:cubicBezTo>
                    <a:pt x="788" y="0"/>
                    <a:pt x="0" y="788"/>
                    <a:pt x="0" y="1765"/>
                  </a:cubicBezTo>
                  <a:cubicBezTo>
                    <a:pt x="0" y="2647"/>
                    <a:pt x="599" y="3340"/>
                    <a:pt x="1418" y="3497"/>
                  </a:cubicBezTo>
                  <a:lnTo>
                    <a:pt x="1418" y="4600"/>
                  </a:lnTo>
                  <a:cubicBezTo>
                    <a:pt x="1418" y="4821"/>
                    <a:pt x="1575" y="4978"/>
                    <a:pt x="1764" y="4978"/>
                  </a:cubicBezTo>
                  <a:lnTo>
                    <a:pt x="4568" y="4978"/>
                  </a:lnTo>
                  <a:cubicBezTo>
                    <a:pt x="4757" y="4978"/>
                    <a:pt x="4915" y="4821"/>
                    <a:pt x="4915" y="4600"/>
                  </a:cubicBezTo>
                  <a:lnTo>
                    <a:pt x="4915" y="1828"/>
                  </a:lnTo>
                  <a:cubicBezTo>
                    <a:pt x="4978" y="1576"/>
                    <a:pt x="4820" y="1418"/>
                    <a:pt x="4600" y="1418"/>
                  </a:cubicBezTo>
                  <a:lnTo>
                    <a:pt x="3497" y="1418"/>
                  </a:lnTo>
                  <a:cubicBezTo>
                    <a:pt x="3340" y="630"/>
                    <a:pt x="2646"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8" name="Google Shape;10428;p79"/>
            <p:cNvSpPr/>
            <p:nvPr/>
          </p:nvSpPr>
          <p:spPr>
            <a:xfrm>
              <a:off x="-47333600" y="278227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9" name="Google Shape;10429;p79"/>
            <p:cNvSpPr/>
            <p:nvPr/>
          </p:nvSpPr>
          <p:spPr>
            <a:xfrm>
              <a:off x="-47333600" y="281772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79"/>
            <p:cNvSpPr/>
            <p:nvPr/>
          </p:nvSpPr>
          <p:spPr>
            <a:xfrm>
              <a:off x="-47333600" y="2852375"/>
              <a:ext cx="53600" cy="17350"/>
            </a:xfrm>
            <a:custGeom>
              <a:avLst/>
              <a:gdLst/>
              <a:ahLst/>
              <a:cxnLst/>
              <a:rect l="l" t="t" r="r" b="b"/>
              <a:pathLst>
                <a:path w="2144" h="694" extrusionOk="0">
                  <a:moveTo>
                    <a:pt x="347" y="0"/>
                  </a:moveTo>
                  <a:cubicBezTo>
                    <a:pt x="158" y="0"/>
                    <a:pt x="1" y="158"/>
                    <a:pt x="1" y="347"/>
                  </a:cubicBezTo>
                  <a:cubicBezTo>
                    <a:pt x="1" y="536"/>
                    <a:pt x="158" y="693"/>
                    <a:pt x="347" y="693"/>
                  </a:cubicBezTo>
                  <a:lnTo>
                    <a:pt x="1797" y="693"/>
                  </a:lnTo>
                  <a:cubicBezTo>
                    <a:pt x="1986" y="693"/>
                    <a:pt x="2143" y="536"/>
                    <a:pt x="2143" y="347"/>
                  </a:cubicBezTo>
                  <a:cubicBezTo>
                    <a:pt x="2143" y="158"/>
                    <a:pt x="1986"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1" name="Google Shape;10431;p79"/>
            <p:cNvSpPr/>
            <p:nvPr/>
          </p:nvSpPr>
          <p:spPr>
            <a:xfrm>
              <a:off x="-47333600" y="2887800"/>
              <a:ext cx="53600" cy="17375"/>
            </a:xfrm>
            <a:custGeom>
              <a:avLst/>
              <a:gdLst/>
              <a:ahLst/>
              <a:cxnLst/>
              <a:rect l="l" t="t" r="r" b="b"/>
              <a:pathLst>
                <a:path w="2144" h="695" extrusionOk="0">
                  <a:moveTo>
                    <a:pt x="347" y="1"/>
                  </a:moveTo>
                  <a:cubicBezTo>
                    <a:pt x="158" y="1"/>
                    <a:pt x="1" y="158"/>
                    <a:pt x="1" y="347"/>
                  </a:cubicBezTo>
                  <a:cubicBezTo>
                    <a:pt x="1" y="537"/>
                    <a:pt x="158" y="694"/>
                    <a:pt x="347" y="694"/>
                  </a:cubicBezTo>
                  <a:lnTo>
                    <a:pt x="1797" y="694"/>
                  </a:lnTo>
                  <a:cubicBezTo>
                    <a:pt x="1986" y="694"/>
                    <a:pt x="2143" y="537"/>
                    <a:pt x="2143" y="347"/>
                  </a:cubicBezTo>
                  <a:cubicBezTo>
                    <a:pt x="2143" y="158"/>
                    <a:pt x="1986"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79"/>
            <p:cNvSpPr/>
            <p:nvPr/>
          </p:nvSpPr>
          <p:spPr>
            <a:xfrm>
              <a:off x="-47527350" y="2747625"/>
              <a:ext cx="300100" cy="228425"/>
            </a:xfrm>
            <a:custGeom>
              <a:avLst/>
              <a:gdLst/>
              <a:ahLst/>
              <a:cxnLst/>
              <a:rect l="l" t="t" r="r" b="b"/>
              <a:pathLst>
                <a:path w="12004" h="9137" extrusionOk="0">
                  <a:moveTo>
                    <a:pt x="10586" y="693"/>
                  </a:moveTo>
                  <a:lnTo>
                    <a:pt x="10586" y="7026"/>
                  </a:lnTo>
                  <a:lnTo>
                    <a:pt x="1418" y="7026"/>
                  </a:lnTo>
                  <a:lnTo>
                    <a:pt x="1418" y="693"/>
                  </a:lnTo>
                  <a:close/>
                  <a:moveTo>
                    <a:pt x="11311" y="7687"/>
                  </a:moveTo>
                  <a:lnTo>
                    <a:pt x="11311" y="8412"/>
                  </a:lnTo>
                  <a:lnTo>
                    <a:pt x="725" y="8412"/>
                  </a:lnTo>
                  <a:lnTo>
                    <a:pt x="725" y="7687"/>
                  </a:lnTo>
                  <a:close/>
                  <a:moveTo>
                    <a:pt x="1072" y="0"/>
                  </a:moveTo>
                  <a:cubicBezTo>
                    <a:pt x="883" y="0"/>
                    <a:pt x="725" y="158"/>
                    <a:pt x="725" y="378"/>
                  </a:cubicBezTo>
                  <a:lnTo>
                    <a:pt x="725" y="7026"/>
                  </a:lnTo>
                  <a:lnTo>
                    <a:pt x="347" y="7026"/>
                  </a:lnTo>
                  <a:cubicBezTo>
                    <a:pt x="158" y="7026"/>
                    <a:pt x="1" y="7183"/>
                    <a:pt x="1" y="7372"/>
                  </a:cubicBezTo>
                  <a:lnTo>
                    <a:pt x="1" y="8790"/>
                  </a:lnTo>
                  <a:cubicBezTo>
                    <a:pt x="1" y="8979"/>
                    <a:pt x="158" y="9136"/>
                    <a:pt x="347" y="9136"/>
                  </a:cubicBezTo>
                  <a:lnTo>
                    <a:pt x="11658" y="9136"/>
                  </a:lnTo>
                  <a:cubicBezTo>
                    <a:pt x="11847" y="9136"/>
                    <a:pt x="12004" y="8979"/>
                    <a:pt x="12004" y="8790"/>
                  </a:cubicBezTo>
                  <a:lnTo>
                    <a:pt x="12004" y="7372"/>
                  </a:lnTo>
                  <a:cubicBezTo>
                    <a:pt x="12004" y="7183"/>
                    <a:pt x="11847" y="7026"/>
                    <a:pt x="11658" y="7026"/>
                  </a:cubicBezTo>
                  <a:lnTo>
                    <a:pt x="11311" y="7026"/>
                  </a:lnTo>
                  <a:lnTo>
                    <a:pt x="11311" y="378"/>
                  </a:lnTo>
                  <a:cubicBezTo>
                    <a:pt x="11311" y="158"/>
                    <a:pt x="11153" y="0"/>
                    <a:pt x="109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3" name="Google Shape;10433;p79"/>
          <p:cNvSpPr/>
          <p:nvPr/>
        </p:nvSpPr>
        <p:spPr>
          <a:xfrm>
            <a:off x="3077474" y="2915682"/>
            <a:ext cx="356319" cy="360795"/>
          </a:xfrm>
          <a:custGeom>
            <a:avLst/>
            <a:gdLst/>
            <a:ahLst/>
            <a:cxnLst/>
            <a:rect l="l" t="t" r="r" b="b"/>
            <a:pathLst>
              <a:path w="11941" h="12091" extrusionOk="0">
                <a:moveTo>
                  <a:pt x="5955" y="796"/>
                </a:moveTo>
                <a:lnTo>
                  <a:pt x="10933" y="3915"/>
                </a:lnTo>
                <a:lnTo>
                  <a:pt x="5955" y="7034"/>
                </a:lnTo>
                <a:lnTo>
                  <a:pt x="977" y="3915"/>
                </a:lnTo>
                <a:lnTo>
                  <a:pt x="5955" y="796"/>
                </a:lnTo>
                <a:close/>
                <a:moveTo>
                  <a:pt x="9924" y="5428"/>
                </a:moveTo>
                <a:lnTo>
                  <a:pt x="10964" y="6058"/>
                </a:lnTo>
                <a:lnTo>
                  <a:pt x="5955" y="9145"/>
                </a:lnTo>
                <a:lnTo>
                  <a:pt x="977" y="6058"/>
                </a:lnTo>
                <a:lnTo>
                  <a:pt x="2017" y="5428"/>
                </a:lnTo>
                <a:lnTo>
                  <a:pt x="5797" y="7790"/>
                </a:lnTo>
                <a:cubicBezTo>
                  <a:pt x="5860" y="7822"/>
                  <a:pt x="5931" y="7838"/>
                  <a:pt x="5994" y="7838"/>
                </a:cubicBezTo>
                <a:cubicBezTo>
                  <a:pt x="6057" y="7838"/>
                  <a:pt x="6112" y="7822"/>
                  <a:pt x="6144" y="7790"/>
                </a:cubicBezTo>
                <a:lnTo>
                  <a:pt x="9924" y="5428"/>
                </a:lnTo>
                <a:close/>
                <a:moveTo>
                  <a:pt x="9956" y="7538"/>
                </a:moveTo>
                <a:lnTo>
                  <a:pt x="10964" y="8169"/>
                </a:lnTo>
                <a:lnTo>
                  <a:pt x="5986" y="11288"/>
                </a:lnTo>
                <a:lnTo>
                  <a:pt x="1040" y="8169"/>
                </a:lnTo>
                <a:lnTo>
                  <a:pt x="2048" y="7538"/>
                </a:lnTo>
                <a:lnTo>
                  <a:pt x="5829" y="9901"/>
                </a:lnTo>
                <a:cubicBezTo>
                  <a:pt x="5892" y="9949"/>
                  <a:pt x="5963" y="9972"/>
                  <a:pt x="6026" y="9972"/>
                </a:cubicBezTo>
                <a:cubicBezTo>
                  <a:pt x="6089" y="9972"/>
                  <a:pt x="6144" y="9949"/>
                  <a:pt x="6175" y="9901"/>
                </a:cubicBezTo>
                <a:lnTo>
                  <a:pt x="9956" y="7538"/>
                </a:lnTo>
                <a:close/>
                <a:moveTo>
                  <a:pt x="5959" y="1"/>
                </a:moveTo>
                <a:cubicBezTo>
                  <a:pt x="5900" y="1"/>
                  <a:pt x="5845" y="25"/>
                  <a:pt x="5797" y="72"/>
                </a:cubicBezTo>
                <a:lnTo>
                  <a:pt x="158" y="3600"/>
                </a:lnTo>
                <a:cubicBezTo>
                  <a:pt x="32" y="3695"/>
                  <a:pt x="0" y="3758"/>
                  <a:pt x="0" y="3915"/>
                </a:cubicBezTo>
                <a:cubicBezTo>
                  <a:pt x="0" y="4073"/>
                  <a:pt x="95" y="4136"/>
                  <a:pt x="158" y="4230"/>
                </a:cubicBezTo>
                <a:lnTo>
                  <a:pt x="1387" y="4987"/>
                </a:lnTo>
                <a:lnTo>
                  <a:pt x="158" y="5743"/>
                </a:lnTo>
                <a:cubicBezTo>
                  <a:pt x="32" y="5806"/>
                  <a:pt x="0" y="5869"/>
                  <a:pt x="0" y="6058"/>
                </a:cubicBezTo>
                <a:cubicBezTo>
                  <a:pt x="0" y="6152"/>
                  <a:pt x="95" y="6278"/>
                  <a:pt x="158" y="6373"/>
                </a:cubicBezTo>
                <a:lnTo>
                  <a:pt x="1387" y="7097"/>
                </a:lnTo>
                <a:lnTo>
                  <a:pt x="158" y="7854"/>
                </a:lnTo>
                <a:cubicBezTo>
                  <a:pt x="32" y="7948"/>
                  <a:pt x="0" y="8011"/>
                  <a:pt x="0" y="8169"/>
                </a:cubicBezTo>
                <a:cubicBezTo>
                  <a:pt x="0" y="8295"/>
                  <a:pt x="95" y="8421"/>
                  <a:pt x="158" y="8484"/>
                </a:cubicBezTo>
                <a:lnTo>
                  <a:pt x="5797" y="12044"/>
                </a:lnTo>
                <a:cubicBezTo>
                  <a:pt x="5860" y="12075"/>
                  <a:pt x="5931" y="12091"/>
                  <a:pt x="5994" y="12091"/>
                </a:cubicBezTo>
                <a:cubicBezTo>
                  <a:pt x="6057" y="12091"/>
                  <a:pt x="6112" y="12075"/>
                  <a:pt x="6144" y="12044"/>
                </a:cubicBezTo>
                <a:lnTo>
                  <a:pt x="11783" y="8484"/>
                </a:lnTo>
                <a:cubicBezTo>
                  <a:pt x="11909" y="8421"/>
                  <a:pt x="11941" y="8326"/>
                  <a:pt x="11941" y="8169"/>
                </a:cubicBezTo>
                <a:cubicBezTo>
                  <a:pt x="11941" y="8043"/>
                  <a:pt x="11846" y="7948"/>
                  <a:pt x="11783" y="7854"/>
                </a:cubicBezTo>
                <a:lnTo>
                  <a:pt x="10555" y="7097"/>
                </a:lnTo>
                <a:lnTo>
                  <a:pt x="11783" y="6373"/>
                </a:lnTo>
                <a:cubicBezTo>
                  <a:pt x="11909" y="6278"/>
                  <a:pt x="11941" y="6152"/>
                  <a:pt x="11941" y="6058"/>
                </a:cubicBezTo>
                <a:cubicBezTo>
                  <a:pt x="11941" y="5932"/>
                  <a:pt x="11846" y="5806"/>
                  <a:pt x="11783" y="5743"/>
                </a:cubicBezTo>
                <a:lnTo>
                  <a:pt x="10555" y="4987"/>
                </a:lnTo>
                <a:lnTo>
                  <a:pt x="11783" y="4230"/>
                </a:lnTo>
                <a:cubicBezTo>
                  <a:pt x="11909" y="4136"/>
                  <a:pt x="11941" y="4073"/>
                  <a:pt x="11941" y="3915"/>
                </a:cubicBezTo>
                <a:cubicBezTo>
                  <a:pt x="11941" y="3758"/>
                  <a:pt x="11846" y="3695"/>
                  <a:pt x="11783" y="3600"/>
                </a:cubicBezTo>
                <a:lnTo>
                  <a:pt x="6144" y="72"/>
                </a:lnTo>
                <a:cubicBezTo>
                  <a:pt x="6081" y="25"/>
                  <a:pt x="6018" y="1"/>
                  <a:pt x="59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4" name="Google Shape;10434;p79"/>
          <p:cNvGrpSpPr/>
          <p:nvPr/>
        </p:nvGrpSpPr>
        <p:grpSpPr>
          <a:xfrm>
            <a:off x="3073924" y="3387022"/>
            <a:ext cx="358229" cy="314961"/>
            <a:chOff x="-45664625" y="2352225"/>
            <a:chExt cx="300125" cy="263875"/>
          </a:xfrm>
        </p:grpSpPr>
        <p:sp>
          <p:nvSpPr>
            <p:cNvPr id="10435" name="Google Shape;10435;p79"/>
            <p:cNvSpPr/>
            <p:nvPr/>
          </p:nvSpPr>
          <p:spPr>
            <a:xfrm>
              <a:off x="-45664625" y="2352225"/>
              <a:ext cx="300125" cy="263875"/>
            </a:xfrm>
            <a:custGeom>
              <a:avLst/>
              <a:gdLst/>
              <a:ahLst/>
              <a:cxnLst/>
              <a:rect l="l" t="t" r="r" b="b"/>
              <a:pathLst>
                <a:path w="12005" h="10555" extrusionOk="0">
                  <a:moveTo>
                    <a:pt x="10965" y="694"/>
                  </a:moveTo>
                  <a:cubicBezTo>
                    <a:pt x="11154" y="694"/>
                    <a:pt x="11311" y="851"/>
                    <a:pt x="11311" y="1072"/>
                  </a:cubicBezTo>
                  <a:lnTo>
                    <a:pt x="11311" y="2836"/>
                  </a:lnTo>
                  <a:lnTo>
                    <a:pt x="726" y="2836"/>
                  </a:lnTo>
                  <a:lnTo>
                    <a:pt x="726" y="1072"/>
                  </a:lnTo>
                  <a:cubicBezTo>
                    <a:pt x="694" y="851"/>
                    <a:pt x="852" y="694"/>
                    <a:pt x="1072" y="694"/>
                  </a:cubicBezTo>
                  <a:close/>
                  <a:moveTo>
                    <a:pt x="11311" y="3498"/>
                  </a:moveTo>
                  <a:lnTo>
                    <a:pt x="11311" y="9484"/>
                  </a:lnTo>
                  <a:cubicBezTo>
                    <a:pt x="11311" y="9673"/>
                    <a:pt x="11154" y="9830"/>
                    <a:pt x="10933" y="9830"/>
                  </a:cubicBezTo>
                  <a:lnTo>
                    <a:pt x="1072" y="9830"/>
                  </a:lnTo>
                  <a:cubicBezTo>
                    <a:pt x="852" y="9830"/>
                    <a:pt x="694" y="9673"/>
                    <a:pt x="694" y="9484"/>
                  </a:cubicBezTo>
                  <a:lnTo>
                    <a:pt x="694" y="3498"/>
                  </a:lnTo>
                  <a:close/>
                  <a:moveTo>
                    <a:pt x="1072" y="1"/>
                  </a:moveTo>
                  <a:cubicBezTo>
                    <a:pt x="473" y="1"/>
                    <a:pt x="1" y="473"/>
                    <a:pt x="1" y="1040"/>
                  </a:cubicBezTo>
                  <a:lnTo>
                    <a:pt x="1" y="9484"/>
                  </a:lnTo>
                  <a:cubicBezTo>
                    <a:pt x="1" y="10082"/>
                    <a:pt x="473" y="10555"/>
                    <a:pt x="1072" y="10555"/>
                  </a:cubicBezTo>
                  <a:lnTo>
                    <a:pt x="10933" y="10555"/>
                  </a:lnTo>
                  <a:cubicBezTo>
                    <a:pt x="11532" y="10555"/>
                    <a:pt x="12004" y="10082"/>
                    <a:pt x="12004" y="9484"/>
                  </a:cubicBezTo>
                  <a:lnTo>
                    <a:pt x="12004" y="1040"/>
                  </a:lnTo>
                  <a:cubicBezTo>
                    <a:pt x="11973" y="473"/>
                    <a:pt x="11500"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79"/>
            <p:cNvSpPr/>
            <p:nvPr/>
          </p:nvSpPr>
          <p:spPr>
            <a:xfrm>
              <a:off x="-45612625" y="2475100"/>
              <a:ext cx="55150" cy="88225"/>
            </a:xfrm>
            <a:custGeom>
              <a:avLst/>
              <a:gdLst/>
              <a:ahLst/>
              <a:cxnLst/>
              <a:rect l="l" t="t" r="r" b="b"/>
              <a:pathLst>
                <a:path w="2206" h="3529" extrusionOk="0">
                  <a:moveTo>
                    <a:pt x="1808" y="0"/>
                  </a:moveTo>
                  <a:cubicBezTo>
                    <a:pt x="1717" y="0"/>
                    <a:pt x="1623" y="32"/>
                    <a:pt x="1544" y="95"/>
                  </a:cubicBezTo>
                  <a:lnTo>
                    <a:pt x="126" y="1513"/>
                  </a:lnTo>
                  <a:cubicBezTo>
                    <a:pt x="0" y="1607"/>
                    <a:pt x="0" y="1859"/>
                    <a:pt x="126" y="2017"/>
                  </a:cubicBezTo>
                  <a:lnTo>
                    <a:pt x="1544" y="3434"/>
                  </a:lnTo>
                  <a:cubicBezTo>
                    <a:pt x="1607" y="3497"/>
                    <a:pt x="1694" y="3529"/>
                    <a:pt x="1784" y="3529"/>
                  </a:cubicBezTo>
                  <a:cubicBezTo>
                    <a:pt x="1875" y="3529"/>
                    <a:pt x="1969" y="3497"/>
                    <a:pt x="2048" y="3434"/>
                  </a:cubicBezTo>
                  <a:cubicBezTo>
                    <a:pt x="2174" y="3308"/>
                    <a:pt x="2174" y="3088"/>
                    <a:pt x="2048" y="2930"/>
                  </a:cubicBezTo>
                  <a:lnTo>
                    <a:pt x="914" y="1765"/>
                  </a:lnTo>
                  <a:lnTo>
                    <a:pt x="2048" y="631"/>
                  </a:lnTo>
                  <a:cubicBezTo>
                    <a:pt x="2206" y="473"/>
                    <a:pt x="2206" y="252"/>
                    <a:pt x="2048" y="95"/>
                  </a:cubicBezTo>
                  <a:cubicBezTo>
                    <a:pt x="1985" y="32"/>
                    <a:pt x="1898" y="0"/>
                    <a:pt x="18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7" name="Google Shape;10437;p79"/>
            <p:cNvSpPr/>
            <p:nvPr/>
          </p:nvSpPr>
          <p:spPr>
            <a:xfrm>
              <a:off x="-45471650" y="2475100"/>
              <a:ext cx="54375" cy="86850"/>
            </a:xfrm>
            <a:custGeom>
              <a:avLst/>
              <a:gdLst/>
              <a:ahLst/>
              <a:cxnLst/>
              <a:rect l="l" t="t" r="r" b="b"/>
              <a:pathLst>
                <a:path w="2175" h="3474" extrusionOk="0">
                  <a:moveTo>
                    <a:pt x="391" y="0"/>
                  </a:moveTo>
                  <a:cubicBezTo>
                    <a:pt x="300" y="0"/>
                    <a:pt x="205" y="32"/>
                    <a:pt x="127" y="95"/>
                  </a:cubicBezTo>
                  <a:cubicBezTo>
                    <a:pt x="1" y="189"/>
                    <a:pt x="1" y="441"/>
                    <a:pt x="127" y="599"/>
                  </a:cubicBezTo>
                  <a:lnTo>
                    <a:pt x="1261" y="1733"/>
                  </a:lnTo>
                  <a:lnTo>
                    <a:pt x="127" y="2867"/>
                  </a:lnTo>
                  <a:cubicBezTo>
                    <a:pt x="1" y="2993"/>
                    <a:pt x="1" y="3245"/>
                    <a:pt x="127" y="3403"/>
                  </a:cubicBezTo>
                  <a:cubicBezTo>
                    <a:pt x="174" y="3450"/>
                    <a:pt x="261" y="3474"/>
                    <a:pt x="355" y="3474"/>
                  </a:cubicBezTo>
                  <a:cubicBezTo>
                    <a:pt x="450" y="3474"/>
                    <a:pt x="552" y="3450"/>
                    <a:pt x="631" y="3403"/>
                  </a:cubicBezTo>
                  <a:lnTo>
                    <a:pt x="2048" y="1985"/>
                  </a:lnTo>
                  <a:cubicBezTo>
                    <a:pt x="2174" y="1859"/>
                    <a:pt x="2174" y="1607"/>
                    <a:pt x="2048" y="1450"/>
                  </a:cubicBezTo>
                  <a:lnTo>
                    <a:pt x="631" y="95"/>
                  </a:lnTo>
                  <a:cubicBezTo>
                    <a:pt x="568" y="32"/>
                    <a:pt x="481" y="0"/>
                    <a:pt x="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8" name="Google Shape;10438;p79"/>
            <p:cNvSpPr/>
            <p:nvPr/>
          </p:nvSpPr>
          <p:spPr>
            <a:xfrm>
              <a:off x="-45542525" y="2456975"/>
              <a:ext cx="55150" cy="123300"/>
            </a:xfrm>
            <a:custGeom>
              <a:avLst/>
              <a:gdLst/>
              <a:ahLst/>
              <a:cxnLst/>
              <a:rect l="l" t="t" r="r" b="b"/>
              <a:pathLst>
                <a:path w="2206" h="4932" extrusionOk="0">
                  <a:moveTo>
                    <a:pt x="1791" y="0"/>
                  </a:moveTo>
                  <a:cubicBezTo>
                    <a:pt x="1651" y="0"/>
                    <a:pt x="1529" y="108"/>
                    <a:pt x="1481" y="253"/>
                  </a:cubicBezTo>
                  <a:lnTo>
                    <a:pt x="63" y="4474"/>
                  </a:lnTo>
                  <a:cubicBezTo>
                    <a:pt x="0" y="4664"/>
                    <a:pt x="126" y="4853"/>
                    <a:pt x="315" y="4916"/>
                  </a:cubicBezTo>
                  <a:cubicBezTo>
                    <a:pt x="349" y="4927"/>
                    <a:pt x="382" y="4932"/>
                    <a:pt x="415" y="4932"/>
                  </a:cubicBezTo>
                  <a:cubicBezTo>
                    <a:pt x="567" y="4932"/>
                    <a:pt x="704" y="4819"/>
                    <a:pt x="756" y="4664"/>
                  </a:cubicBezTo>
                  <a:lnTo>
                    <a:pt x="2174" y="442"/>
                  </a:lnTo>
                  <a:cubicBezTo>
                    <a:pt x="2206" y="284"/>
                    <a:pt x="2111" y="95"/>
                    <a:pt x="1922" y="32"/>
                  </a:cubicBezTo>
                  <a:cubicBezTo>
                    <a:pt x="1878" y="10"/>
                    <a:pt x="1834" y="0"/>
                    <a:pt x="17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79"/>
            <p:cNvSpPr/>
            <p:nvPr/>
          </p:nvSpPr>
          <p:spPr>
            <a:xfrm>
              <a:off x="-45541750" y="2386100"/>
              <a:ext cx="35475" cy="18125"/>
            </a:xfrm>
            <a:custGeom>
              <a:avLst/>
              <a:gdLst/>
              <a:ahLst/>
              <a:cxnLst/>
              <a:rect l="l" t="t" r="r" b="b"/>
              <a:pathLst>
                <a:path w="1419" h="725" extrusionOk="0">
                  <a:moveTo>
                    <a:pt x="347" y="0"/>
                  </a:moveTo>
                  <a:cubicBezTo>
                    <a:pt x="158" y="0"/>
                    <a:pt x="1" y="189"/>
                    <a:pt x="1" y="378"/>
                  </a:cubicBezTo>
                  <a:cubicBezTo>
                    <a:pt x="32" y="567"/>
                    <a:pt x="221"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79"/>
            <p:cNvSpPr/>
            <p:nvPr/>
          </p:nvSpPr>
          <p:spPr>
            <a:xfrm>
              <a:off x="-45488175" y="2386100"/>
              <a:ext cx="35450" cy="18125"/>
            </a:xfrm>
            <a:custGeom>
              <a:avLst/>
              <a:gdLst/>
              <a:ahLst/>
              <a:cxnLst/>
              <a:rect l="l" t="t" r="r" b="b"/>
              <a:pathLst>
                <a:path w="1418" h="725" extrusionOk="0">
                  <a:moveTo>
                    <a:pt x="347" y="0"/>
                  </a:moveTo>
                  <a:cubicBezTo>
                    <a:pt x="158" y="0"/>
                    <a:pt x="0" y="189"/>
                    <a:pt x="0" y="378"/>
                  </a:cubicBezTo>
                  <a:cubicBezTo>
                    <a:pt x="0" y="567"/>
                    <a:pt x="158" y="725"/>
                    <a:pt x="347" y="725"/>
                  </a:cubicBezTo>
                  <a:lnTo>
                    <a:pt x="1040" y="725"/>
                  </a:lnTo>
                  <a:cubicBezTo>
                    <a:pt x="1260" y="725"/>
                    <a:pt x="1418" y="567"/>
                    <a:pt x="1418" y="378"/>
                  </a:cubicBezTo>
                  <a:cubicBezTo>
                    <a:pt x="1418" y="189"/>
                    <a:pt x="1260"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79"/>
            <p:cNvSpPr/>
            <p:nvPr/>
          </p:nvSpPr>
          <p:spPr>
            <a:xfrm>
              <a:off x="-45436200" y="2386100"/>
              <a:ext cx="35450" cy="18125"/>
            </a:xfrm>
            <a:custGeom>
              <a:avLst/>
              <a:gdLst/>
              <a:ahLst/>
              <a:cxnLst/>
              <a:rect l="l" t="t" r="r" b="b"/>
              <a:pathLst>
                <a:path w="1418" h="725" extrusionOk="0">
                  <a:moveTo>
                    <a:pt x="347" y="0"/>
                  </a:moveTo>
                  <a:cubicBezTo>
                    <a:pt x="158" y="0"/>
                    <a:pt x="0" y="189"/>
                    <a:pt x="0" y="378"/>
                  </a:cubicBezTo>
                  <a:cubicBezTo>
                    <a:pt x="32" y="567"/>
                    <a:pt x="189"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2" name="Google Shape;10442;p79"/>
          <p:cNvGrpSpPr/>
          <p:nvPr/>
        </p:nvGrpSpPr>
        <p:grpSpPr>
          <a:xfrm>
            <a:off x="3073103" y="3821001"/>
            <a:ext cx="359870" cy="357573"/>
            <a:chOff x="-45665400" y="2703250"/>
            <a:chExt cx="301500" cy="299575"/>
          </a:xfrm>
        </p:grpSpPr>
        <p:sp>
          <p:nvSpPr>
            <p:cNvPr id="10443" name="Google Shape;10443;p79"/>
            <p:cNvSpPr/>
            <p:nvPr/>
          </p:nvSpPr>
          <p:spPr>
            <a:xfrm>
              <a:off x="-45664625" y="2703250"/>
              <a:ext cx="300725" cy="299575"/>
            </a:xfrm>
            <a:custGeom>
              <a:avLst/>
              <a:gdLst/>
              <a:ahLst/>
              <a:cxnLst/>
              <a:rect l="l" t="t" r="r" b="b"/>
              <a:pathLst>
                <a:path w="12029" h="11983" extrusionOk="0">
                  <a:moveTo>
                    <a:pt x="9799" y="1271"/>
                  </a:moveTo>
                  <a:lnTo>
                    <a:pt x="4947" y="4926"/>
                  </a:lnTo>
                  <a:lnTo>
                    <a:pt x="1482" y="3823"/>
                  </a:lnTo>
                  <a:lnTo>
                    <a:pt x="9799" y="1271"/>
                  </a:lnTo>
                  <a:close/>
                  <a:moveTo>
                    <a:pt x="9830" y="2153"/>
                  </a:moveTo>
                  <a:lnTo>
                    <a:pt x="6459" y="6627"/>
                  </a:lnTo>
                  <a:lnTo>
                    <a:pt x="4727" y="7257"/>
                  </a:lnTo>
                  <a:lnTo>
                    <a:pt x="5357" y="5524"/>
                  </a:lnTo>
                  <a:lnTo>
                    <a:pt x="9830" y="2153"/>
                  </a:lnTo>
                  <a:close/>
                  <a:moveTo>
                    <a:pt x="10681" y="2153"/>
                  </a:moveTo>
                  <a:lnTo>
                    <a:pt x="8098" y="10439"/>
                  </a:lnTo>
                  <a:lnTo>
                    <a:pt x="6995" y="6973"/>
                  </a:lnTo>
                  <a:lnTo>
                    <a:pt x="10681" y="2153"/>
                  </a:lnTo>
                  <a:close/>
                  <a:moveTo>
                    <a:pt x="11627" y="0"/>
                  </a:moveTo>
                  <a:cubicBezTo>
                    <a:pt x="11596" y="0"/>
                    <a:pt x="11564" y="4"/>
                    <a:pt x="11532" y="11"/>
                  </a:cubicBezTo>
                  <a:lnTo>
                    <a:pt x="221" y="3508"/>
                  </a:lnTo>
                  <a:cubicBezTo>
                    <a:pt x="64" y="3571"/>
                    <a:pt x="1" y="3728"/>
                    <a:pt x="1" y="3886"/>
                  </a:cubicBezTo>
                  <a:cubicBezTo>
                    <a:pt x="1" y="4043"/>
                    <a:pt x="127" y="4138"/>
                    <a:pt x="221" y="4232"/>
                  </a:cubicBezTo>
                  <a:lnTo>
                    <a:pt x="4569" y="5619"/>
                  </a:lnTo>
                  <a:lnTo>
                    <a:pt x="3750" y="7824"/>
                  </a:lnTo>
                  <a:cubicBezTo>
                    <a:pt x="3687" y="7919"/>
                    <a:pt x="3750" y="8076"/>
                    <a:pt x="3813" y="8171"/>
                  </a:cubicBezTo>
                  <a:cubicBezTo>
                    <a:pt x="3880" y="8215"/>
                    <a:pt x="3978" y="8260"/>
                    <a:pt x="4063" y="8260"/>
                  </a:cubicBezTo>
                  <a:cubicBezTo>
                    <a:pt x="4099" y="8260"/>
                    <a:pt x="4132" y="8252"/>
                    <a:pt x="4160" y="8234"/>
                  </a:cubicBezTo>
                  <a:lnTo>
                    <a:pt x="6365" y="7414"/>
                  </a:lnTo>
                  <a:lnTo>
                    <a:pt x="7751" y="11762"/>
                  </a:lnTo>
                  <a:cubicBezTo>
                    <a:pt x="7783" y="11920"/>
                    <a:pt x="7940" y="11983"/>
                    <a:pt x="8098" y="11983"/>
                  </a:cubicBezTo>
                  <a:cubicBezTo>
                    <a:pt x="8255" y="11983"/>
                    <a:pt x="8381" y="11857"/>
                    <a:pt x="8476" y="11762"/>
                  </a:cubicBezTo>
                  <a:lnTo>
                    <a:pt x="11973" y="483"/>
                  </a:lnTo>
                  <a:cubicBezTo>
                    <a:pt x="12029" y="205"/>
                    <a:pt x="11862" y="0"/>
                    <a:pt x="116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4" name="Google Shape;10444;p79"/>
            <p:cNvSpPr/>
            <p:nvPr/>
          </p:nvSpPr>
          <p:spPr>
            <a:xfrm>
              <a:off x="-45663825" y="2879150"/>
              <a:ext cx="71700" cy="71500"/>
            </a:xfrm>
            <a:custGeom>
              <a:avLst/>
              <a:gdLst/>
              <a:ahLst/>
              <a:cxnLst/>
              <a:rect l="l" t="t" r="r" b="b"/>
              <a:pathLst>
                <a:path w="2868" h="2860" extrusionOk="0">
                  <a:moveTo>
                    <a:pt x="2517" y="0"/>
                  </a:moveTo>
                  <a:cubicBezTo>
                    <a:pt x="2418" y="0"/>
                    <a:pt x="2316" y="32"/>
                    <a:pt x="2237" y="95"/>
                  </a:cubicBezTo>
                  <a:lnTo>
                    <a:pt x="126" y="2237"/>
                  </a:lnTo>
                  <a:cubicBezTo>
                    <a:pt x="0" y="2363"/>
                    <a:pt x="0" y="2584"/>
                    <a:pt x="126" y="2741"/>
                  </a:cubicBezTo>
                  <a:cubicBezTo>
                    <a:pt x="205" y="2820"/>
                    <a:pt x="300" y="2859"/>
                    <a:pt x="390" y="2859"/>
                  </a:cubicBezTo>
                  <a:cubicBezTo>
                    <a:pt x="481" y="2859"/>
                    <a:pt x="568" y="2820"/>
                    <a:pt x="631" y="2741"/>
                  </a:cubicBezTo>
                  <a:lnTo>
                    <a:pt x="2773" y="630"/>
                  </a:lnTo>
                  <a:cubicBezTo>
                    <a:pt x="2867" y="504"/>
                    <a:pt x="2867" y="252"/>
                    <a:pt x="2773" y="95"/>
                  </a:cubicBezTo>
                  <a:cubicBezTo>
                    <a:pt x="2710" y="32"/>
                    <a:pt x="2615" y="0"/>
                    <a:pt x="25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79"/>
            <p:cNvSpPr/>
            <p:nvPr/>
          </p:nvSpPr>
          <p:spPr>
            <a:xfrm>
              <a:off x="-45613425" y="2929750"/>
              <a:ext cx="71700" cy="71500"/>
            </a:xfrm>
            <a:custGeom>
              <a:avLst/>
              <a:gdLst/>
              <a:ahLst/>
              <a:cxnLst/>
              <a:rect l="l" t="t" r="r" b="b"/>
              <a:pathLst>
                <a:path w="2868" h="2860" extrusionOk="0">
                  <a:moveTo>
                    <a:pt x="2478" y="1"/>
                  </a:moveTo>
                  <a:cubicBezTo>
                    <a:pt x="2387" y="1"/>
                    <a:pt x="2301" y="40"/>
                    <a:pt x="2238" y="119"/>
                  </a:cubicBezTo>
                  <a:lnTo>
                    <a:pt x="127" y="2261"/>
                  </a:lnTo>
                  <a:cubicBezTo>
                    <a:pt x="1" y="2387"/>
                    <a:pt x="1" y="2608"/>
                    <a:pt x="127" y="2765"/>
                  </a:cubicBezTo>
                  <a:cubicBezTo>
                    <a:pt x="190" y="2828"/>
                    <a:pt x="276" y="2860"/>
                    <a:pt x="367" y="2860"/>
                  </a:cubicBezTo>
                  <a:cubicBezTo>
                    <a:pt x="458" y="2860"/>
                    <a:pt x="552" y="2828"/>
                    <a:pt x="631" y="2765"/>
                  </a:cubicBezTo>
                  <a:lnTo>
                    <a:pt x="2742" y="654"/>
                  </a:lnTo>
                  <a:cubicBezTo>
                    <a:pt x="2868" y="528"/>
                    <a:pt x="2868" y="276"/>
                    <a:pt x="2742" y="119"/>
                  </a:cubicBezTo>
                  <a:cubicBezTo>
                    <a:pt x="2663" y="40"/>
                    <a:pt x="2568" y="1"/>
                    <a:pt x="24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6" name="Google Shape;10446;p79"/>
            <p:cNvSpPr/>
            <p:nvPr/>
          </p:nvSpPr>
          <p:spPr>
            <a:xfrm>
              <a:off x="-45665400" y="2923050"/>
              <a:ext cx="81150" cy="79000"/>
            </a:xfrm>
            <a:custGeom>
              <a:avLst/>
              <a:gdLst/>
              <a:ahLst/>
              <a:cxnLst/>
              <a:rect l="l" t="t" r="r" b="b"/>
              <a:pathLst>
                <a:path w="3246" h="3160" extrusionOk="0">
                  <a:moveTo>
                    <a:pt x="2859" y="1"/>
                  </a:moveTo>
                  <a:cubicBezTo>
                    <a:pt x="2765" y="1"/>
                    <a:pt x="2663" y="24"/>
                    <a:pt x="2584" y="72"/>
                  </a:cubicBezTo>
                  <a:lnTo>
                    <a:pt x="95" y="2561"/>
                  </a:lnTo>
                  <a:cubicBezTo>
                    <a:pt x="0" y="2687"/>
                    <a:pt x="0" y="2907"/>
                    <a:pt x="95" y="3065"/>
                  </a:cubicBezTo>
                  <a:cubicBezTo>
                    <a:pt x="158" y="3128"/>
                    <a:pt x="252" y="3159"/>
                    <a:pt x="351" y="3159"/>
                  </a:cubicBezTo>
                  <a:cubicBezTo>
                    <a:pt x="449" y="3159"/>
                    <a:pt x="552" y="3128"/>
                    <a:pt x="631" y="3065"/>
                  </a:cubicBezTo>
                  <a:lnTo>
                    <a:pt x="3088" y="607"/>
                  </a:lnTo>
                  <a:cubicBezTo>
                    <a:pt x="3245" y="450"/>
                    <a:pt x="3245" y="229"/>
                    <a:pt x="3088" y="72"/>
                  </a:cubicBezTo>
                  <a:cubicBezTo>
                    <a:pt x="3041" y="24"/>
                    <a:pt x="2954" y="1"/>
                    <a:pt x="2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7" name="Google Shape;10447;p79"/>
          <p:cNvGrpSpPr/>
          <p:nvPr/>
        </p:nvGrpSpPr>
        <p:grpSpPr>
          <a:xfrm>
            <a:off x="2174760" y="4261937"/>
            <a:ext cx="359154" cy="360109"/>
            <a:chOff x="-44528075" y="1982825"/>
            <a:chExt cx="300900" cy="301700"/>
          </a:xfrm>
        </p:grpSpPr>
        <p:sp>
          <p:nvSpPr>
            <p:cNvPr id="10448" name="Google Shape;10448;p79"/>
            <p:cNvSpPr/>
            <p:nvPr/>
          </p:nvSpPr>
          <p:spPr>
            <a:xfrm>
              <a:off x="-44528075" y="1982825"/>
              <a:ext cx="300900" cy="301700"/>
            </a:xfrm>
            <a:custGeom>
              <a:avLst/>
              <a:gdLst/>
              <a:ahLst/>
              <a:cxnLst/>
              <a:rect l="l" t="t" r="r" b="b"/>
              <a:pathLst>
                <a:path w="12036" h="12068" extrusionOk="0">
                  <a:moveTo>
                    <a:pt x="9547" y="2175"/>
                  </a:moveTo>
                  <a:cubicBezTo>
                    <a:pt x="9736" y="2175"/>
                    <a:pt x="9893" y="2332"/>
                    <a:pt x="9893" y="2521"/>
                  </a:cubicBezTo>
                  <a:lnTo>
                    <a:pt x="9893" y="9547"/>
                  </a:lnTo>
                  <a:cubicBezTo>
                    <a:pt x="9893" y="9736"/>
                    <a:pt x="9736" y="9893"/>
                    <a:pt x="9547" y="9893"/>
                  </a:cubicBezTo>
                  <a:lnTo>
                    <a:pt x="2552" y="9893"/>
                  </a:lnTo>
                  <a:cubicBezTo>
                    <a:pt x="2332" y="9893"/>
                    <a:pt x="2206" y="9736"/>
                    <a:pt x="2206" y="9547"/>
                  </a:cubicBezTo>
                  <a:lnTo>
                    <a:pt x="2206" y="2521"/>
                  </a:lnTo>
                  <a:cubicBezTo>
                    <a:pt x="2206" y="2332"/>
                    <a:pt x="2332" y="2175"/>
                    <a:pt x="2552" y="2175"/>
                  </a:cubicBezTo>
                  <a:close/>
                  <a:moveTo>
                    <a:pt x="3183" y="1"/>
                  </a:moveTo>
                  <a:cubicBezTo>
                    <a:pt x="2994" y="1"/>
                    <a:pt x="2836" y="158"/>
                    <a:pt x="2836" y="347"/>
                  </a:cubicBezTo>
                  <a:lnTo>
                    <a:pt x="2836" y="1419"/>
                  </a:lnTo>
                  <a:lnTo>
                    <a:pt x="2458" y="1419"/>
                  </a:lnTo>
                  <a:cubicBezTo>
                    <a:pt x="1891" y="1419"/>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2"/>
                    <a:pt x="1" y="4601"/>
                  </a:cubicBezTo>
                  <a:cubicBezTo>
                    <a:pt x="1" y="4821"/>
                    <a:pt x="158" y="4979"/>
                    <a:pt x="347" y="4979"/>
                  </a:cubicBezTo>
                  <a:lnTo>
                    <a:pt x="1418" y="4979"/>
                  </a:lnTo>
                  <a:lnTo>
                    <a:pt x="1418" y="5672"/>
                  </a:lnTo>
                  <a:lnTo>
                    <a:pt x="347" y="5672"/>
                  </a:lnTo>
                  <a:cubicBezTo>
                    <a:pt x="158" y="5672"/>
                    <a:pt x="1" y="5829"/>
                    <a:pt x="1" y="6018"/>
                  </a:cubicBezTo>
                  <a:cubicBezTo>
                    <a:pt x="1" y="6239"/>
                    <a:pt x="158" y="6396"/>
                    <a:pt x="347" y="6396"/>
                  </a:cubicBezTo>
                  <a:lnTo>
                    <a:pt x="1418" y="6396"/>
                  </a:lnTo>
                  <a:lnTo>
                    <a:pt x="1418" y="7090"/>
                  </a:lnTo>
                  <a:lnTo>
                    <a:pt x="347" y="7090"/>
                  </a:lnTo>
                  <a:cubicBezTo>
                    <a:pt x="158" y="7090"/>
                    <a:pt x="1" y="7247"/>
                    <a:pt x="1" y="7436"/>
                  </a:cubicBezTo>
                  <a:cubicBezTo>
                    <a:pt x="1" y="7657"/>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50"/>
                    <a:pt x="2458" y="10650"/>
                  </a:cubicBezTo>
                  <a:lnTo>
                    <a:pt x="2836" y="10650"/>
                  </a:lnTo>
                  <a:lnTo>
                    <a:pt x="2836" y="11689"/>
                  </a:lnTo>
                  <a:cubicBezTo>
                    <a:pt x="2836" y="11910"/>
                    <a:pt x="2994" y="12067"/>
                    <a:pt x="3183" y="12067"/>
                  </a:cubicBezTo>
                  <a:cubicBezTo>
                    <a:pt x="3372" y="12067"/>
                    <a:pt x="3529" y="11910"/>
                    <a:pt x="3529" y="11689"/>
                  </a:cubicBezTo>
                  <a:lnTo>
                    <a:pt x="3529" y="10555"/>
                  </a:lnTo>
                  <a:lnTo>
                    <a:pt x="4254" y="10555"/>
                  </a:lnTo>
                  <a:lnTo>
                    <a:pt x="4254" y="11626"/>
                  </a:lnTo>
                  <a:cubicBezTo>
                    <a:pt x="4254" y="11815"/>
                    <a:pt x="4411" y="11973"/>
                    <a:pt x="4600" y="11973"/>
                  </a:cubicBezTo>
                  <a:cubicBezTo>
                    <a:pt x="4789" y="11973"/>
                    <a:pt x="4947" y="11815"/>
                    <a:pt x="4947" y="11626"/>
                  </a:cubicBezTo>
                  <a:lnTo>
                    <a:pt x="4947" y="10555"/>
                  </a:lnTo>
                  <a:lnTo>
                    <a:pt x="5671" y="10555"/>
                  </a:lnTo>
                  <a:lnTo>
                    <a:pt x="5671" y="11626"/>
                  </a:lnTo>
                  <a:cubicBezTo>
                    <a:pt x="5671" y="11815"/>
                    <a:pt x="5829" y="11973"/>
                    <a:pt x="6018" y="11973"/>
                  </a:cubicBezTo>
                  <a:cubicBezTo>
                    <a:pt x="6207" y="11973"/>
                    <a:pt x="6365" y="11815"/>
                    <a:pt x="6365" y="11626"/>
                  </a:cubicBezTo>
                  <a:lnTo>
                    <a:pt x="6365" y="10555"/>
                  </a:lnTo>
                  <a:lnTo>
                    <a:pt x="7089" y="10555"/>
                  </a:lnTo>
                  <a:lnTo>
                    <a:pt x="7089" y="11626"/>
                  </a:lnTo>
                  <a:cubicBezTo>
                    <a:pt x="7089" y="11815"/>
                    <a:pt x="7247" y="11973"/>
                    <a:pt x="7436" y="11973"/>
                  </a:cubicBezTo>
                  <a:cubicBezTo>
                    <a:pt x="7625" y="11973"/>
                    <a:pt x="7782" y="11815"/>
                    <a:pt x="7782" y="11626"/>
                  </a:cubicBezTo>
                  <a:lnTo>
                    <a:pt x="7782" y="10555"/>
                  </a:lnTo>
                  <a:lnTo>
                    <a:pt x="8507" y="10555"/>
                  </a:lnTo>
                  <a:lnTo>
                    <a:pt x="8507" y="11626"/>
                  </a:lnTo>
                  <a:cubicBezTo>
                    <a:pt x="8507" y="11815"/>
                    <a:pt x="8664" y="11973"/>
                    <a:pt x="8853" y="11973"/>
                  </a:cubicBezTo>
                  <a:cubicBezTo>
                    <a:pt x="9042" y="11973"/>
                    <a:pt x="9200" y="11815"/>
                    <a:pt x="9200" y="11626"/>
                  </a:cubicBezTo>
                  <a:lnTo>
                    <a:pt x="9200" y="10555"/>
                  </a:lnTo>
                  <a:lnTo>
                    <a:pt x="9547" y="10555"/>
                  </a:lnTo>
                  <a:cubicBezTo>
                    <a:pt x="10145" y="10555"/>
                    <a:pt x="10618" y="10082"/>
                    <a:pt x="10618" y="9484"/>
                  </a:cubicBezTo>
                  <a:lnTo>
                    <a:pt x="10618" y="9137"/>
                  </a:lnTo>
                  <a:lnTo>
                    <a:pt x="11689" y="9137"/>
                  </a:lnTo>
                  <a:cubicBezTo>
                    <a:pt x="11878" y="9137"/>
                    <a:pt x="12035" y="8980"/>
                    <a:pt x="12035" y="8791"/>
                  </a:cubicBezTo>
                  <a:cubicBezTo>
                    <a:pt x="12035" y="8602"/>
                    <a:pt x="11878" y="8444"/>
                    <a:pt x="11689" y="8444"/>
                  </a:cubicBezTo>
                  <a:lnTo>
                    <a:pt x="10618" y="8444"/>
                  </a:lnTo>
                  <a:lnTo>
                    <a:pt x="10618" y="7720"/>
                  </a:lnTo>
                  <a:lnTo>
                    <a:pt x="11689" y="7720"/>
                  </a:lnTo>
                  <a:cubicBezTo>
                    <a:pt x="11878" y="7720"/>
                    <a:pt x="12035" y="7562"/>
                    <a:pt x="12035" y="7373"/>
                  </a:cubicBezTo>
                  <a:cubicBezTo>
                    <a:pt x="12035" y="7153"/>
                    <a:pt x="11878" y="6995"/>
                    <a:pt x="11689" y="6995"/>
                  </a:cubicBezTo>
                  <a:lnTo>
                    <a:pt x="10618" y="6995"/>
                  </a:lnTo>
                  <a:lnTo>
                    <a:pt x="10618" y="6302"/>
                  </a:lnTo>
                  <a:lnTo>
                    <a:pt x="11689" y="6302"/>
                  </a:lnTo>
                  <a:cubicBezTo>
                    <a:pt x="11878" y="6302"/>
                    <a:pt x="12035" y="6144"/>
                    <a:pt x="12035" y="5955"/>
                  </a:cubicBezTo>
                  <a:cubicBezTo>
                    <a:pt x="12035" y="5735"/>
                    <a:pt x="11878" y="5577"/>
                    <a:pt x="11689" y="5577"/>
                  </a:cubicBezTo>
                  <a:lnTo>
                    <a:pt x="10618" y="5577"/>
                  </a:lnTo>
                  <a:lnTo>
                    <a:pt x="10618" y="4884"/>
                  </a:lnTo>
                  <a:lnTo>
                    <a:pt x="11689" y="4884"/>
                  </a:lnTo>
                  <a:lnTo>
                    <a:pt x="11689" y="4979"/>
                  </a:lnTo>
                  <a:cubicBezTo>
                    <a:pt x="11878" y="4979"/>
                    <a:pt x="12035" y="4821"/>
                    <a:pt x="12035" y="4601"/>
                  </a:cubicBezTo>
                  <a:cubicBezTo>
                    <a:pt x="12035" y="4412"/>
                    <a:pt x="11878" y="4254"/>
                    <a:pt x="11689" y="4254"/>
                  </a:cubicBezTo>
                  <a:lnTo>
                    <a:pt x="10618" y="4254"/>
                  </a:lnTo>
                  <a:lnTo>
                    <a:pt x="10618" y="3529"/>
                  </a:lnTo>
                  <a:lnTo>
                    <a:pt x="11689" y="3529"/>
                  </a:lnTo>
                  <a:cubicBezTo>
                    <a:pt x="11878" y="3529"/>
                    <a:pt x="12035" y="3372"/>
                    <a:pt x="12035" y="3183"/>
                  </a:cubicBezTo>
                  <a:cubicBezTo>
                    <a:pt x="12035" y="2994"/>
                    <a:pt x="11878" y="2836"/>
                    <a:pt x="11689" y="2836"/>
                  </a:cubicBezTo>
                  <a:lnTo>
                    <a:pt x="10618" y="2836"/>
                  </a:lnTo>
                  <a:lnTo>
                    <a:pt x="10618" y="2490"/>
                  </a:lnTo>
                  <a:cubicBezTo>
                    <a:pt x="10618" y="1891"/>
                    <a:pt x="10145" y="1419"/>
                    <a:pt x="9547" y="1419"/>
                  </a:cubicBezTo>
                  <a:lnTo>
                    <a:pt x="9200" y="1419"/>
                  </a:lnTo>
                  <a:lnTo>
                    <a:pt x="9200" y="347"/>
                  </a:lnTo>
                  <a:cubicBezTo>
                    <a:pt x="9200" y="158"/>
                    <a:pt x="9042" y="1"/>
                    <a:pt x="8853" y="1"/>
                  </a:cubicBezTo>
                  <a:cubicBezTo>
                    <a:pt x="8664" y="1"/>
                    <a:pt x="8507" y="158"/>
                    <a:pt x="8507" y="347"/>
                  </a:cubicBezTo>
                  <a:lnTo>
                    <a:pt x="8507" y="1419"/>
                  </a:lnTo>
                  <a:lnTo>
                    <a:pt x="7782" y="1419"/>
                  </a:lnTo>
                  <a:lnTo>
                    <a:pt x="7782" y="347"/>
                  </a:lnTo>
                  <a:cubicBezTo>
                    <a:pt x="7782" y="158"/>
                    <a:pt x="7625" y="1"/>
                    <a:pt x="7436" y="1"/>
                  </a:cubicBezTo>
                  <a:cubicBezTo>
                    <a:pt x="7247" y="1"/>
                    <a:pt x="7089" y="158"/>
                    <a:pt x="7089" y="347"/>
                  </a:cubicBezTo>
                  <a:lnTo>
                    <a:pt x="7089" y="1419"/>
                  </a:lnTo>
                  <a:lnTo>
                    <a:pt x="6365" y="1419"/>
                  </a:lnTo>
                  <a:lnTo>
                    <a:pt x="6365" y="347"/>
                  </a:lnTo>
                  <a:cubicBezTo>
                    <a:pt x="6365" y="158"/>
                    <a:pt x="6207" y="1"/>
                    <a:pt x="6018" y="1"/>
                  </a:cubicBezTo>
                  <a:cubicBezTo>
                    <a:pt x="5829" y="1"/>
                    <a:pt x="5671" y="158"/>
                    <a:pt x="5671" y="347"/>
                  </a:cubicBezTo>
                  <a:lnTo>
                    <a:pt x="5671" y="1419"/>
                  </a:lnTo>
                  <a:lnTo>
                    <a:pt x="4947" y="1419"/>
                  </a:lnTo>
                  <a:lnTo>
                    <a:pt x="4947" y="347"/>
                  </a:lnTo>
                  <a:cubicBezTo>
                    <a:pt x="4947" y="158"/>
                    <a:pt x="4789" y="1"/>
                    <a:pt x="4600" y="1"/>
                  </a:cubicBezTo>
                  <a:cubicBezTo>
                    <a:pt x="4411" y="1"/>
                    <a:pt x="4254" y="158"/>
                    <a:pt x="4254" y="347"/>
                  </a:cubicBezTo>
                  <a:lnTo>
                    <a:pt x="4254" y="1419"/>
                  </a:lnTo>
                  <a:lnTo>
                    <a:pt x="3529" y="1419"/>
                  </a:ln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79"/>
            <p:cNvSpPr/>
            <p:nvPr/>
          </p:nvSpPr>
          <p:spPr>
            <a:xfrm>
              <a:off x="-44455600" y="205372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79"/>
            <p:cNvSpPr/>
            <p:nvPr/>
          </p:nvSpPr>
          <p:spPr>
            <a:xfrm>
              <a:off x="-44455600"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79"/>
            <p:cNvSpPr/>
            <p:nvPr/>
          </p:nvSpPr>
          <p:spPr>
            <a:xfrm>
              <a:off x="-44314625"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79"/>
            <p:cNvSpPr/>
            <p:nvPr/>
          </p:nvSpPr>
          <p:spPr>
            <a:xfrm>
              <a:off x="-44314625" y="2053725"/>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3" name="Google Shape;10453;p79"/>
            <p:cNvSpPr/>
            <p:nvPr/>
          </p:nvSpPr>
          <p:spPr>
            <a:xfrm>
              <a:off x="-44447725" y="2062375"/>
              <a:ext cx="143350" cy="140225"/>
            </a:xfrm>
            <a:custGeom>
              <a:avLst/>
              <a:gdLst/>
              <a:ahLst/>
              <a:cxnLst/>
              <a:rect l="l" t="t" r="r" b="b"/>
              <a:pathLst>
                <a:path w="5734" h="5609" extrusionOk="0">
                  <a:moveTo>
                    <a:pt x="3182" y="757"/>
                  </a:moveTo>
                  <a:lnTo>
                    <a:pt x="3182" y="883"/>
                  </a:lnTo>
                  <a:cubicBezTo>
                    <a:pt x="3182" y="1041"/>
                    <a:pt x="3277" y="1167"/>
                    <a:pt x="3434" y="1198"/>
                  </a:cubicBezTo>
                  <a:cubicBezTo>
                    <a:pt x="3623" y="1261"/>
                    <a:pt x="3812" y="1387"/>
                    <a:pt x="3970" y="1513"/>
                  </a:cubicBezTo>
                  <a:cubicBezTo>
                    <a:pt x="4049" y="1553"/>
                    <a:pt x="4142" y="1593"/>
                    <a:pt x="4231" y="1593"/>
                  </a:cubicBezTo>
                  <a:cubicBezTo>
                    <a:pt x="4282" y="1593"/>
                    <a:pt x="4333" y="1579"/>
                    <a:pt x="4379" y="1545"/>
                  </a:cubicBezTo>
                  <a:lnTo>
                    <a:pt x="4505" y="1482"/>
                  </a:lnTo>
                  <a:lnTo>
                    <a:pt x="4852" y="2049"/>
                  </a:lnTo>
                  <a:lnTo>
                    <a:pt x="4726" y="2143"/>
                  </a:lnTo>
                  <a:cubicBezTo>
                    <a:pt x="4600" y="2206"/>
                    <a:pt x="4537" y="2364"/>
                    <a:pt x="4568" y="2490"/>
                  </a:cubicBezTo>
                  <a:cubicBezTo>
                    <a:pt x="4600" y="2710"/>
                    <a:pt x="4600" y="2899"/>
                    <a:pt x="4568" y="3120"/>
                  </a:cubicBezTo>
                  <a:cubicBezTo>
                    <a:pt x="4537" y="3277"/>
                    <a:pt x="4600" y="3403"/>
                    <a:pt x="4726" y="3466"/>
                  </a:cubicBezTo>
                  <a:lnTo>
                    <a:pt x="4852" y="3561"/>
                  </a:lnTo>
                  <a:lnTo>
                    <a:pt x="4505" y="4128"/>
                  </a:lnTo>
                  <a:lnTo>
                    <a:pt x="4379" y="4065"/>
                  </a:lnTo>
                  <a:cubicBezTo>
                    <a:pt x="4323" y="4037"/>
                    <a:pt x="4260" y="4021"/>
                    <a:pt x="4196" y="4021"/>
                  </a:cubicBezTo>
                  <a:cubicBezTo>
                    <a:pt x="4118" y="4021"/>
                    <a:pt x="4039" y="4044"/>
                    <a:pt x="3970" y="4097"/>
                  </a:cubicBezTo>
                  <a:cubicBezTo>
                    <a:pt x="3812" y="4254"/>
                    <a:pt x="3623" y="4349"/>
                    <a:pt x="3434" y="4412"/>
                  </a:cubicBezTo>
                  <a:cubicBezTo>
                    <a:pt x="3277" y="4475"/>
                    <a:pt x="3182" y="4632"/>
                    <a:pt x="3182" y="4727"/>
                  </a:cubicBezTo>
                  <a:lnTo>
                    <a:pt x="3182" y="4853"/>
                  </a:lnTo>
                  <a:lnTo>
                    <a:pt x="2489" y="4853"/>
                  </a:lnTo>
                  <a:lnTo>
                    <a:pt x="2489" y="4727"/>
                  </a:lnTo>
                  <a:cubicBezTo>
                    <a:pt x="2489" y="4569"/>
                    <a:pt x="2394" y="4475"/>
                    <a:pt x="2237" y="4412"/>
                  </a:cubicBezTo>
                  <a:cubicBezTo>
                    <a:pt x="2048" y="4349"/>
                    <a:pt x="1859" y="4223"/>
                    <a:pt x="1701" y="4097"/>
                  </a:cubicBezTo>
                  <a:cubicBezTo>
                    <a:pt x="1622" y="4057"/>
                    <a:pt x="1529" y="4017"/>
                    <a:pt x="1440" y="4017"/>
                  </a:cubicBezTo>
                  <a:cubicBezTo>
                    <a:pt x="1389" y="4017"/>
                    <a:pt x="1338" y="4030"/>
                    <a:pt x="1292" y="4065"/>
                  </a:cubicBezTo>
                  <a:lnTo>
                    <a:pt x="1166" y="4128"/>
                  </a:lnTo>
                  <a:lnTo>
                    <a:pt x="819" y="3561"/>
                  </a:lnTo>
                  <a:lnTo>
                    <a:pt x="945" y="3466"/>
                  </a:lnTo>
                  <a:cubicBezTo>
                    <a:pt x="1071" y="3403"/>
                    <a:pt x="1134" y="3246"/>
                    <a:pt x="1103" y="3120"/>
                  </a:cubicBezTo>
                  <a:cubicBezTo>
                    <a:pt x="1071" y="2899"/>
                    <a:pt x="1071" y="2710"/>
                    <a:pt x="1103" y="2490"/>
                  </a:cubicBezTo>
                  <a:cubicBezTo>
                    <a:pt x="1134" y="2332"/>
                    <a:pt x="1071" y="2206"/>
                    <a:pt x="945" y="2143"/>
                  </a:cubicBezTo>
                  <a:lnTo>
                    <a:pt x="819" y="2049"/>
                  </a:lnTo>
                  <a:lnTo>
                    <a:pt x="1166" y="1482"/>
                  </a:lnTo>
                  <a:lnTo>
                    <a:pt x="1292" y="1545"/>
                  </a:lnTo>
                  <a:cubicBezTo>
                    <a:pt x="1350" y="1589"/>
                    <a:pt x="1416" y="1612"/>
                    <a:pt x="1481" y="1612"/>
                  </a:cubicBezTo>
                  <a:cubicBezTo>
                    <a:pt x="1557" y="1612"/>
                    <a:pt x="1634" y="1581"/>
                    <a:pt x="1701" y="1513"/>
                  </a:cubicBezTo>
                  <a:cubicBezTo>
                    <a:pt x="1859" y="1356"/>
                    <a:pt x="2048" y="1261"/>
                    <a:pt x="2237" y="1198"/>
                  </a:cubicBezTo>
                  <a:cubicBezTo>
                    <a:pt x="2394" y="1167"/>
                    <a:pt x="2489" y="1009"/>
                    <a:pt x="2489" y="883"/>
                  </a:cubicBezTo>
                  <a:lnTo>
                    <a:pt x="2489" y="757"/>
                  </a:lnTo>
                  <a:close/>
                  <a:moveTo>
                    <a:pt x="2174" y="1"/>
                  </a:moveTo>
                  <a:cubicBezTo>
                    <a:pt x="1953" y="1"/>
                    <a:pt x="1796" y="158"/>
                    <a:pt x="1796" y="347"/>
                  </a:cubicBezTo>
                  <a:lnTo>
                    <a:pt x="1796" y="599"/>
                  </a:lnTo>
                  <a:cubicBezTo>
                    <a:pt x="1701" y="631"/>
                    <a:pt x="1575" y="726"/>
                    <a:pt x="1481" y="789"/>
                  </a:cubicBezTo>
                  <a:lnTo>
                    <a:pt x="1292" y="663"/>
                  </a:lnTo>
                  <a:cubicBezTo>
                    <a:pt x="1242" y="643"/>
                    <a:pt x="1186" y="632"/>
                    <a:pt x="1129" y="632"/>
                  </a:cubicBezTo>
                  <a:cubicBezTo>
                    <a:pt x="1007" y="632"/>
                    <a:pt x="884" y="681"/>
                    <a:pt x="819" y="789"/>
                  </a:cubicBezTo>
                  <a:lnTo>
                    <a:pt x="126" y="2017"/>
                  </a:lnTo>
                  <a:cubicBezTo>
                    <a:pt x="32" y="2175"/>
                    <a:pt x="63" y="2395"/>
                    <a:pt x="221" y="2490"/>
                  </a:cubicBezTo>
                  <a:lnTo>
                    <a:pt x="441" y="2616"/>
                  </a:lnTo>
                  <a:lnTo>
                    <a:pt x="441" y="2994"/>
                  </a:lnTo>
                  <a:lnTo>
                    <a:pt x="221" y="3120"/>
                  </a:lnTo>
                  <a:cubicBezTo>
                    <a:pt x="95" y="3183"/>
                    <a:pt x="0" y="3435"/>
                    <a:pt x="126" y="3592"/>
                  </a:cubicBezTo>
                  <a:lnTo>
                    <a:pt x="819" y="4821"/>
                  </a:lnTo>
                  <a:cubicBezTo>
                    <a:pt x="879" y="4921"/>
                    <a:pt x="989" y="4983"/>
                    <a:pt x="1102" y="4983"/>
                  </a:cubicBezTo>
                  <a:cubicBezTo>
                    <a:pt x="1168" y="4983"/>
                    <a:pt x="1234" y="4962"/>
                    <a:pt x="1292" y="4916"/>
                  </a:cubicBezTo>
                  <a:lnTo>
                    <a:pt x="1481" y="4821"/>
                  </a:lnTo>
                  <a:cubicBezTo>
                    <a:pt x="1607" y="4884"/>
                    <a:pt x="1733" y="4979"/>
                    <a:pt x="1796" y="5010"/>
                  </a:cubicBezTo>
                  <a:lnTo>
                    <a:pt x="1796" y="5231"/>
                  </a:lnTo>
                  <a:cubicBezTo>
                    <a:pt x="1796" y="5451"/>
                    <a:pt x="1953" y="5609"/>
                    <a:pt x="2174" y="5609"/>
                  </a:cubicBezTo>
                  <a:lnTo>
                    <a:pt x="3592" y="5609"/>
                  </a:lnTo>
                  <a:cubicBezTo>
                    <a:pt x="3781" y="5609"/>
                    <a:pt x="3938" y="5451"/>
                    <a:pt x="3938" y="5231"/>
                  </a:cubicBezTo>
                  <a:lnTo>
                    <a:pt x="3938" y="5010"/>
                  </a:lnTo>
                  <a:cubicBezTo>
                    <a:pt x="4064" y="4979"/>
                    <a:pt x="4159" y="4884"/>
                    <a:pt x="4253" y="4821"/>
                  </a:cubicBezTo>
                  <a:lnTo>
                    <a:pt x="4442" y="4916"/>
                  </a:lnTo>
                  <a:cubicBezTo>
                    <a:pt x="4501" y="4951"/>
                    <a:pt x="4574" y="4969"/>
                    <a:pt x="4644" y="4969"/>
                  </a:cubicBezTo>
                  <a:cubicBezTo>
                    <a:pt x="4762" y="4969"/>
                    <a:pt x="4875" y="4920"/>
                    <a:pt x="4915" y="4821"/>
                  </a:cubicBezTo>
                  <a:lnTo>
                    <a:pt x="5639" y="3592"/>
                  </a:lnTo>
                  <a:cubicBezTo>
                    <a:pt x="5702" y="3435"/>
                    <a:pt x="5671" y="3246"/>
                    <a:pt x="5513" y="3120"/>
                  </a:cubicBezTo>
                  <a:lnTo>
                    <a:pt x="5324" y="2994"/>
                  </a:lnTo>
                  <a:lnTo>
                    <a:pt x="5324" y="2616"/>
                  </a:lnTo>
                  <a:lnTo>
                    <a:pt x="5513" y="2490"/>
                  </a:lnTo>
                  <a:cubicBezTo>
                    <a:pt x="5671" y="2395"/>
                    <a:pt x="5734" y="2175"/>
                    <a:pt x="5639" y="2017"/>
                  </a:cubicBezTo>
                  <a:lnTo>
                    <a:pt x="4915" y="789"/>
                  </a:lnTo>
                  <a:cubicBezTo>
                    <a:pt x="4872" y="681"/>
                    <a:pt x="4742" y="618"/>
                    <a:pt x="4614" y="618"/>
                  </a:cubicBezTo>
                  <a:cubicBezTo>
                    <a:pt x="4553" y="618"/>
                    <a:pt x="4493" y="632"/>
                    <a:pt x="4442" y="663"/>
                  </a:cubicBezTo>
                  <a:lnTo>
                    <a:pt x="4253" y="789"/>
                  </a:lnTo>
                  <a:cubicBezTo>
                    <a:pt x="4127" y="726"/>
                    <a:pt x="4001" y="631"/>
                    <a:pt x="3938" y="599"/>
                  </a:cubicBezTo>
                  <a:lnTo>
                    <a:pt x="3938" y="347"/>
                  </a:lnTo>
                  <a:cubicBezTo>
                    <a:pt x="3938" y="158"/>
                    <a:pt x="3781" y="1"/>
                    <a:pt x="35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4" name="Google Shape;10454;p79"/>
            <p:cNvSpPr/>
            <p:nvPr/>
          </p:nvSpPr>
          <p:spPr>
            <a:xfrm>
              <a:off x="-44403625" y="2107275"/>
              <a:ext cx="53575" cy="52800"/>
            </a:xfrm>
            <a:custGeom>
              <a:avLst/>
              <a:gdLst/>
              <a:ahLst/>
              <a:cxnLst/>
              <a:rect l="l" t="t" r="r" b="b"/>
              <a:pathLst>
                <a:path w="2143" h="2112" extrusionOk="0">
                  <a:moveTo>
                    <a:pt x="1072" y="662"/>
                  </a:moveTo>
                  <a:cubicBezTo>
                    <a:pt x="1261" y="662"/>
                    <a:pt x="1418" y="820"/>
                    <a:pt x="1418" y="1009"/>
                  </a:cubicBezTo>
                  <a:cubicBezTo>
                    <a:pt x="1418" y="1198"/>
                    <a:pt x="1261" y="1355"/>
                    <a:pt x="1072" y="1355"/>
                  </a:cubicBezTo>
                  <a:cubicBezTo>
                    <a:pt x="882" y="1355"/>
                    <a:pt x="725" y="1198"/>
                    <a:pt x="725" y="1009"/>
                  </a:cubicBezTo>
                  <a:cubicBezTo>
                    <a:pt x="725" y="820"/>
                    <a:pt x="882" y="662"/>
                    <a:pt x="1072" y="662"/>
                  </a:cubicBezTo>
                  <a:close/>
                  <a:moveTo>
                    <a:pt x="1072" y="1"/>
                  </a:moveTo>
                  <a:cubicBezTo>
                    <a:pt x="473" y="1"/>
                    <a:pt x="0" y="473"/>
                    <a:pt x="0" y="1040"/>
                  </a:cubicBezTo>
                  <a:cubicBezTo>
                    <a:pt x="0" y="1639"/>
                    <a:pt x="473" y="2112"/>
                    <a:pt x="1072" y="2112"/>
                  </a:cubicBezTo>
                  <a:cubicBezTo>
                    <a:pt x="1670" y="2112"/>
                    <a:pt x="2143" y="1639"/>
                    <a:pt x="2143" y="1040"/>
                  </a:cubicBezTo>
                  <a:cubicBezTo>
                    <a:pt x="2143" y="473"/>
                    <a:pt x="1670"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55" name="Google Shape;10455;p79"/>
          <p:cNvSpPr/>
          <p:nvPr/>
        </p:nvSpPr>
        <p:spPr>
          <a:xfrm>
            <a:off x="2628711" y="1531475"/>
            <a:ext cx="358199" cy="358199"/>
          </a:xfrm>
          <a:custGeom>
            <a:avLst/>
            <a:gdLst/>
            <a:ahLst/>
            <a:cxnLst/>
            <a:rect l="l" t="t" r="r" b="b"/>
            <a:pathLst>
              <a:path w="12004" h="12004" extrusionOk="0">
                <a:moveTo>
                  <a:pt x="5671" y="725"/>
                </a:moveTo>
                <a:lnTo>
                  <a:pt x="5671" y="2395"/>
                </a:lnTo>
                <a:cubicBezTo>
                  <a:pt x="5671" y="2616"/>
                  <a:pt x="5843" y="2760"/>
                  <a:pt x="6021" y="2760"/>
                </a:cubicBezTo>
                <a:cubicBezTo>
                  <a:pt x="6097" y="2760"/>
                  <a:pt x="6173" y="2734"/>
                  <a:pt x="6239" y="2678"/>
                </a:cubicBezTo>
                <a:cubicBezTo>
                  <a:pt x="6365" y="2552"/>
                  <a:pt x="6554" y="2489"/>
                  <a:pt x="6711" y="2489"/>
                </a:cubicBezTo>
                <a:cubicBezTo>
                  <a:pt x="7121" y="2489"/>
                  <a:pt x="7436" y="2804"/>
                  <a:pt x="7436" y="3182"/>
                </a:cubicBezTo>
                <a:cubicBezTo>
                  <a:pt x="7436" y="3592"/>
                  <a:pt x="7121" y="3907"/>
                  <a:pt x="6711" y="3907"/>
                </a:cubicBezTo>
                <a:cubicBezTo>
                  <a:pt x="6554" y="3907"/>
                  <a:pt x="6365" y="3812"/>
                  <a:pt x="6239" y="3686"/>
                </a:cubicBezTo>
                <a:cubicBezTo>
                  <a:pt x="6173" y="3630"/>
                  <a:pt x="6097" y="3605"/>
                  <a:pt x="6021" y="3605"/>
                </a:cubicBezTo>
                <a:cubicBezTo>
                  <a:pt x="5843" y="3605"/>
                  <a:pt x="5671" y="3748"/>
                  <a:pt x="5671" y="3970"/>
                </a:cubicBezTo>
                <a:lnTo>
                  <a:pt x="5671" y="5640"/>
                </a:lnTo>
                <a:lnTo>
                  <a:pt x="4569" y="5640"/>
                </a:lnTo>
                <a:cubicBezTo>
                  <a:pt x="4600" y="5514"/>
                  <a:pt x="4600" y="5388"/>
                  <a:pt x="4600" y="5262"/>
                </a:cubicBezTo>
                <a:cubicBezTo>
                  <a:pt x="4600" y="4474"/>
                  <a:pt x="3970" y="3875"/>
                  <a:pt x="3183" y="3875"/>
                </a:cubicBezTo>
                <a:cubicBezTo>
                  <a:pt x="2395" y="3875"/>
                  <a:pt x="1765" y="4474"/>
                  <a:pt x="1765" y="5262"/>
                </a:cubicBezTo>
                <a:cubicBezTo>
                  <a:pt x="1765" y="5388"/>
                  <a:pt x="1765" y="5514"/>
                  <a:pt x="1796" y="5640"/>
                </a:cubicBezTo>
                <a:lnTo>
                  <a:pt x="694" y="5640"/>
                </a:lnTo>
                <a:lnTo>
                  <a:pt x="694" y="1071"/>
                </a:lnTo>
                <a:cubicBezTo>
                  <a:pt x="694" y="882"/>
                  <a:pt x="851" y="725"/>
                  <a:pt x="1040" y="725"/>
                </a:cubicBezTo>
                <a:close/>
                <a:moveTo>
                  <a:pt x="10964" y="725"/>
                </a:moveTo>
                <a:cubicBezTo>
                  <a:pt x="11122" y="725"/>
                  <a:pt x="11311" y="882"/>
                  <a:pt x="11311" y="1071"/>
                </a:cubicBezTo>
                <a:lnTo>
                  <a:pt x="11311" y="5671"/>
                </a:lnTo>
                <a:lnTo>
                  <a:pt x="9610" y="5671"/>
                </a:lnTo>
                <a:cubicBezTo>
                  <a:pt x="9295" y="5671"/>
                  <a:pt x="9169" y="6018"/>
                  <a:pt x="9326" y="6270"/>
                </a:cubicBezTo>
                <a:cubicBezTo>
                  <a:pt x="9452" y="6396"/>
                  <a:pt x="9515" y="6585"/>
                  <a:pt x="9515" y="6742"/>
                </a:cubicBezTo>
                <a:cubicBezTo>
                  <a:pt x="9515" y="7120"/>
                  <a:pt x="9200" y="7435"/>
                  <a:pt x="8822" y="7435"/>
                </a:cubicBezTo>
                <a:cubicBezTo>
                  <a:pt x="8412" y="7435"/>
                  <a:pt x="8097" y="7120"/>
                  <a:pt x="8097" y="6742"/>
                </a:cubicBezTo>
                <a:cubicBezTo>
                  <a:pt x="8097" y="6585"/>
                  <a:pt x="8192" y="6364"/>
                  <a:pt x="8286" y="6270"/>
                </a:cubicBezTo>
                <a:cubicBezTo>
                  <a:pt x="8507" y="6018"/>
                  <a:pt x="8349" y="5671"/>
                  <a:pt x="8034" y="5671"/>
                </a:cubicBezTo>
                <a:lnTo>
                  <a:pt x="6365" y="5671"/>
                </a:lnTo>
                <a:lnTo>
                  <a:pt x="6365" y="4568"/>
                </a:lnTo>
                <a:cubicBezTo>
                  <a:pt x="6491" y="4600"/>
                  <a:pt x="6617" y="4600"/>
                  <a:pt x="6711" y="4600"/>
                </a:cubicBezTo>
                <a:cubicBezTo>
                  <a:pt x="7499" y="4600"/>
                  <a:pt x="8160" y="3970"/>
                  <a:pt x="8160" y="3182"/>
                </a:cubicBezTo>
                <a:cubicBezTo>
                  <a:pt x="8160" y="2395"/>
                  <a:pt x="7499" y="1764"/>
                  <a:pt x="6711" y="1764"/>
                </a:cubicBezTo>
                <a:cubicBezTo>
                  <a:pt x="6617" y="1764"/>
                  <a:pt x="6491" y="1764"/>
                  <a:pt x="6365" y="1796"/>
                </a:cubicBezTo>
                <a:lnTo>
                  <a:pt x="6365" y="725"/>
                </a:lnTo>
                <a:close/>
                <a:moveTo>
                  <a:pt x="3183" y="4568"/>
                </a:moveTo>
                <a:cubicBezTo>
                  <a:pt x="3561" y="4568"/>
                  <a:pt x="3876" y="4883"/>
                  <a:pt x="3876" y="5293"/>
                </a:cubicBezTo>
                <a:cubicBezTo>
                  <a:pt x="3876" y="5451"/>
                  <a:pt x="3813" y="5640"/>
                  <a:pt x="3687" y="5766"/>
                </a:cubicBezTo>
                <a:cubicBezTo>
                  <a:pt x="3498" y="5986"/>
                  <a:pt x="3655" y="6333"/>
                  <a:pt x="3970" y="6333"/>
                </a:cubicBezTo>
                <a:lnTo>
                  <a:pt x="5608" y="6333"/>
                </a:lnTo>
                <a:lnTo>
                  <a:pt x="5608" y="7435"/>
                </a:lnTo>
                <a:cubicBezTo>
                  <a:pt x="5514" y="7404"/>
                  <a:pt x="5388" y="7404"/>
                  <a:pt x="5262" y="7404"/>
                </a:cubicBezTo>
                <a:cubicBezTo>
                  <a:pt x="4474" y="7404"/>
                  <a:pt x="3844" y="8034"/>
                  <a:pt x="3844" y="8822"/>
                </a:cubicBezTo>
                <a:cubicBezTo>
                  <a:pt x="3844" y="9609"/>
                  <a:pt x="4474" y="10239"/>
                  <a:pt x="5262" y="10239"/>
                </a:cubicBezTo>
                <a:cubicBezTo>
                  <a:pt x="5388" y="10239"/>
                  <a:pt x="5514" y="10239"/>
                  <a:pt x="5608" y="10208"/>
                </a:cubicBezTo>
                <a:lnTo>
                  <a:pt x="5608" y="11310"/>
                </a:lnTo>
                <a:lnTo>
                  <a:pt x="1009" y="11310"/>
                </a:lnTo>
                <a:cubicBezTo>
                  <a:pt x="851" y="11310"/>
                  <a:pt x="694" y="11153"/>
                  <a:pt x="694" y="10964"/>
                </a:cubicBezTo>
                <a:lnTo>
                  <a:pt x="694" y="6333"/>
                </a:lnTo>
                <a:lnTo>
                  <a:pt x="2395" y="6333"/>
                </a:lnTo>
                <a:cubicBezTo>
                  <a:pt x="2710" y="6333"/>
                  <a:pt x="2868" y="5986"/>
                  <a:pt x="2679" y="5766"/>
                </a:cubicBezTo>
                <a:cubicBezTo>
                  <a:pt x="2552" y="5640"/>
                  <a:pt x="2458" y="5482"/>
                  <a:pt x="2458" y="5293"/>
                </a:cubicBezTo>
                <a:cubicBezTo>
                  <a:pt x="2458" y="4883"/>
                  <a:pt x="2773" y="4568"/>
                  <a:pt x="3183" y="4568"/>
                </a:cubicBezTo>
                <a:close/>
                <a:moveTo>
                  <a:pt x="11311" y="6333"/>
                </a:moveTo>
                <a:lnTo>
                  <a:pt x="11311" y="10964"/>
                </a:lnTo>
                <a:cubicBezTo>
                  <a:pt x="11311" y="11153"/>
                  <a:pt x="11153" y="11310"/>
                  <a:pt x="10933" y="11310"/>
                </a:cubicBezTo>
                <a:lnTo>
                  <a:pt x="6333" y="11310"/>
                </a:lnTo>
                <a:lnTo>
                  <a:pt x="6333" y="9609"/>
                </a:lnTo>
                <a:cubicBezTo>
                  <a:pt x="6333" y="9388"/>
                  <a:pt x="6162" y="9244"/>
                  <a:pt x="5972" y="9244"/>
                </a:cubicBezTo>
                <a:cubicBezTo>
                  <a:pt x="5892" y="9244"/>
                  <a:pt x="5809" y="9270"/>
                  <a:pt x="5735" y="9326"/>
                </a:cubicBezTo>
                <a:cubicBezTo>
                  <a:pt x="5640" y="9452"/>
                  <a:pt x="5482" y="9546"/>
                  <a:pt x="5262" y="9546"/>
                </a:cubicBezTo>
                <a:cubicBezTo>
                  <a:pt x="4884" y="9546"/>
                  <a:pt x="4569" y="9231"/>
                  <a:pt x="4569" y="8822"/>
                </a:cubicBezTo>
                <a:cubicBezTo>
                  <a:pt x="4569" y="8443"/>
                  <a:pt x="4884" y="8097"/>
                  <a:pt x="5262" y="8097"/>
                </a:cubicBezTo>
                <a:cubicBezTo>
                  <a:pt x="5419" y="8097"/>
                  <a:pt x="5640" y="8191"/>
                  <a:pt x="5735" y="8317"/>
                </a:cubicBezTo>
                <a:cubicBezTo>
                  <a:pt x="5809" y="8374"/>
                  <a:pt x="5892" y="8399"/>
                  <a:pt x="5972" y="8399"/>
                </a:cubicBezTo>
                <a:cubicBezTo>
                  <a:pt x="6162" y="8399"/>
                  <a:pt x="6333" y="8255"/>
                  <a:pt x="6333" y="8034"/>
                </a:cubicBezTo>
                <a:lnTo>
                  <a:pt x="6333" y="6333"/>
                </a:lnTo>
                <a:lnTo>
                  <a:pt x="7436" y="6333"/>
                </a:lnTo>
                <a:cubicBezTo>
                  <a:pt x="7404" y="6459"/>
                  <a:pt x="7404" y="6585"/>
                  <a:pt x="7404" y="6711"/>
                </a:cubicBezTo>
                <a:cubicBezTo>
                  <a:pt x="7404" y="7498"/>
                  <a:pt x="8034" y="8097"/>
                  <a:pt x="8822" y="8097"/>
                </a:cubicBezTo>
                <a:cubicBezTo>
                  <a:pt x="9610" y="8097"/>
                  <a:pt x="10240" y="7498"/>
                  <a:pt x="10240" y="6711"/>
                </a:cubicBezTo>
                <a:cubicBezTo>
                  <a:pt x="10240" y="6585"/>
                  <a:pt x="10240" y="6459"/>
                  <a:pt x="10208" y="6333"/>
                </a:cubicBezTo>
                <a:close/>
                <a:moveTo>
                  <a:pt x="1040" y="0"/>
                </a:moveTo>
                <a:cubicBezTo>
                  <a:pt x="473" y="0"/>
                  <a:pt x="1" y="473"/>
                  <a:pt x="1" y="1071"/>
                </a:cubicBezTo>
                <a:lnTo>
                  <a:pt x="1" y="10964"/>
                </a:lnTo>
                <a:cubicBezTo>
                  <a:pt x="1" y="11531"/>
                  <a:pt x="473" y="12004"/>
                  <a:pt x="1040" y="12004"/>
                </a:cubicBezTo>
                <a:lnTo>
                  <a:pt x="10933" y="12004"/>
                </a:lnTo>
                <a:cubicBezTo>
                  <a:pt x="11531" y="12004"/>
                  <a:pt x="12004" y="11531"/>
                  <a:pt x="12004" y="10964"/>
                </a:cubicBezTo>
                <a:lnTo>
                  <a:pt x="12004" y="1071"/>
                </a:lnTo>
                <a:cubicBezTo>
                  <a:pt x="11972" y="473"/>
                  <a:pt x="11500" y="0"/>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56" name="Google Shape;10456;p79"/>
          <p:cNvGrpSpPr/>
          <p:nvPr/>
        </p:nvGrpSpPr>
        <p:grpSpPr>
          <a:xfrm>
            <a:off x="2625923" y="1987485"/>
            <a:ext cx="358199" cy="358229"/>
            <a:chOff x="-49048250" y="2316775"/>
            <a:chExt cx="300100" cy="300125"/>
          </a:xfrm>
        </p:grpSpPr>
        <p:sp>
          <p:nvSpPr>
            <p:cNvPr id="10457" name="Google Shape;10457;p79"/>
            <p:cNvSpPr/>
            <p:nvPr/>
          </p:nvSpPr>
          <p:spPr>
            <a:xfrm>
              <a:off x="-49048250" y="2316775"/>
              <a:ext cx="300100" cy="300125"/>
            </a:xfrm>
            <a:custGeom>
              <a:avLst/>
              <a:gdLst/>
              <a:ahLst/>
              <a:cxnLst/>
              <a:rect l="l" t="t" r="r" b="b"/>
              <a:pathLst>
                <a:path w="12004" h="12005" extrusionOk="0">
                  <a:moveTo>
                    <a:pt x="10933" y="663"/>
                  </a:moveTo>
                  <a:cubicBezTo>
                    <a:pt x="11122" y="694"/>
                    <a:pt x="11311" y="852"/>
                    <a:pt x="11311" y="1009"/>
                  </a:cubicBezTo>
                  <a:lnTo>
                    <a:pt x="11311" y="1734"/>
                  </a:lnTo>
                  <a:lnTo>
                    <a:pt x="10366" y="1734"/>
                  </a:lnTo>
                  <a:lnTo>
                    <a:pt x="9106" y="663"/>
                  </a:lnTo>
                  <a:close/>
                  <a:moveTo>
                    <a:pt x="5136" y="694"/>
                  </a:moveTo>
                  <a:lnTo>
                    <a:pt x="6396" y="1765"/>
                  </a:lnTo>
                  <a:lnTo>
                    <a:pt x="4726" y="1765"/>
                  </a:lnTo>
                  <a:lnTo>
                    <a:pt x="3466" y="694"/>
                  </a:lnTo>
                  <a:close/>
                  <a:moveTo>
                    <a:pt x="7971" y="694"/>
                  </a:moveTo>
                  <a:lnTo>
                    <a:pt x="9232" y="1765"/>
                  </a:lnTo>
                  <a:lnTo>
                    <a:pt x="7562" y="1765"/>
                  </a:lnTo>
                  <a:lnTo>
                    <a:pt x="6302" y="694"/>
                  </a:lnTo>
                  <a:close/>
                  <a:moveTo>
                    <a:pt x="2363" y="663"/>
                  </a:moveTo>
                  <a:lnTo>
                    <a:pt x="4033" y="2080"/>
                  </a:lnTo>
                  <a:lnTo>
                    <a:pt x="2363" y="3498"/>
                  </a:lnTo>
                  <a:lnTo>
                    <a:pt x="694" y="3498"/>
                  </a:lnTo>
                  <a:lnTo>
                    <a:pt x="694" y="1009"/>
                  </a:lnTo>
                  <a:cubicBezTo>
                    <a:pt x="694" y="820"/>
                    <a:pt x="851" y="663"/>
                    <a:pt x="1040" y="663"/>
                  </a:cubicBezTo>
                  <a:close/>
                  <a:moveTo>
                    <a:pt x="6396" y="2427"/>
                  </a:moveTo>
                  <a:lnTo>
                    <a:pt x="5136" y="3498"/>
                  </a:lnTo>
                  <a:lnTo>
                    <a:pt x="3466" y="3498"/>
                  </a:lnTo>
                  <a:lnTo>
                    <a:pt x="4726" y="2427"/>
                  </a:lnTo>
                  <a:close/>
                  <a:moveTo>
                    <a:pt x="9200" y="2427"/>
                  </a:moveTo>
                  <a:lnTo>
                    <a:pt x="7940" y="3498"/>
                  </a:lnTo>
                  <a:lnTo>
                    <a:pt x="6239" y="3498"/>
                  </a:lnTo>
                  <a:lnTo>
                    <a:pt x="7499" y="2427"/>
                  </a:lnTo>
                  <a:close/>
                  <a:moveTo>
                    <a:pt x="11248" y="2427"/>
                  </a:moveTo>
                  <a:lnTo>
                    <a:pt x="11248" y="3498"/>
                  </a:lnTo>
                  <a:lnTo>
                    <a:pt x="9043" y="3498"/>
                  </a:lnTo>
                  <a:lnTo>
                    <a:pt x="10303" y="2427"/>
                  </a:lnTo>
                  <a:close/>
                  <a:moveTo>
                    <a:pt x="11311" y="4160"/>
                  </a:moveTo>
                  <a:lnTo>
                    <a:pt x="11311" y="10902"/>
                  </a:lnTo>
                  <a:cubicBezTo>
                    <a:pt x="11311" y="11091"/>
                    <a:pt x="11153" y="11248"/>
                    <a:pt x="10933" y="11248"/>
                  </a:cubicBezTo>
                  <a:lnTo>
                    <a:pt x="1072" y="11248"/>
                  </a:lnTo>
                  <a:cubicBezTo>
                    <a:pt x="851" y="11248"/>
                    <a:pt x="694" y="11091"/>
                    <a:pt x="694" y="10902"/>
                  </a:cubicBezTo>
                  <a:lnTo>
                    <a:pt x="694" y="4160"/>
                  </a:lnTo>
                  <a:close/>
                  <a:moveTo>
                    <a:pt x="1040" y="1"/>
                  </a:moveTo>
                  <a:cubicBezTo>
                    <a:pt x="473" y="1"/>
                    <a:pt x="1" y="474"/>
                    <a:pt x="1" y="1041"/>
                  </a:cubicBezTo>
                  <a:lnTo>
                    <a:pt x="1" y="10933"/>
                  </a:lnTo>
                  <a:cubicBezTo>
                    <a:pt x="1" y="11532"/>
                    <a:pt x="473" y="12004"/>
                    <a:pt x="1040" y="12004"/>
                  </a:cubicBezTo>
                  <a:lnTo>
                    <a:pt x="10933" y="12004"/>
                  </a:lnTo>
                  <a:cubicBezTo>
                    <a:pt x="11531" y="12004"/>
                    <a:pt x="12004" y="11532"/>
                    <a:pt x="12004" y="10933"/>
                  </a:cubicBezTo>
                  <a:lnTo>
                    <a:pt x="12004" y="3845"/>
                  </a:lnTo>
                  <a:lnTo>
                    <a:pt x="12004" y="1041"/>
                  </a:lnTo>
                  <a:cubicBezTo>
                    <a:pt x="11972" y="474"/>
                    <a:pt x="11500"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79"/>
            <p:cNvSpPr/>
            <p:nvPr/>
          </p:nvSpPr>
          <p:spPr>
            <a:xfrm>
              <a:off x="-49004150" y="23601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79"/>
            <p:cNvSpPr/>
            <p:nvPr/>
          </p:nvSpPr>
          <p:spPr>
            <a:xfrm>
              <a:off x="-48925375" y="2465650"/>
              <a:ext cx="71700" cy="86650"/>
            </a:xfrm>
            <a:custGeom>
              <a:avLst/>
              <a:gdLst/>
              <a:ahLst/>
              <a:cxnLst/>
              <a:rect l="l" t="t" r="r" b="b"/>
              <a:pathLst>
                <a:path w="2868" h="3466" extrusionOk="0">
                  <a:moveTo>
                    <a:pt x="693" y="1040"/>
                  </a:moveTo>
                  <a:lnTo>
                    <a:pt x="1859" y="1796"/>
                  </a:lnTo>
                  <a:lnTo>
                    <a:pt x="693" y="2552"/>
                  </a:lnTo>
                  <a:lnTo>
                    <a:pt x="693" y="1040"/>
                  </a:lnTo>
                  <a:close/>
                  <a:moveTo>
                    <a:pt x="343" y="1"/>
                  </a:moveTo>
                  <a:cubicBezTo>
                    <a:pt x="167" y="1"/>
                    <a:pt x="0" y="141"/>
                    <a:pt x="0" y="347"/>
                  </a:cubicBezTo>
                  <a:lnTo>
                    <a:pt x="0" y="3151"/>
                  </a:lnTo>
                  <a:cubicBezTo>
                    <a:pt x="0" y="3333"/>
                    <a:pt x="165" y="3466"/>
                    <a:pt x="340" y="3466"/>
                  </a:cubicBezTo>
                  <a:cubicBezTo>
                    <a:pt x="407" y="3466"/>
                    <a:pt x="475" y="3446"/>
                    <a:pt x="536" y="3403"/>
                  </a:cubicBezTo>
                  <a:lnTo>
                    <a:pt x="2678" y="1985"/>
                  </a:lnTo>
                  <a:cubicBezTo>
                    <a:pt x="2867" y="1922"/>
                    <a:pt x="2867" y="1639"/>
                    <a:pt x="2678" y="1481"/>
                  </a:cubicBezTo>
                  <a:lnTo>
                    <a:pt x="536" y="63"/>
                  </a:lnTo>
                  <a:cubicBezTo>
                    <a:pt x="476" y="20"/>
                    <a:pt x="409" y="1"/>
                    <a:pt x="3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79"/>
            <p:cNvSpPr/>
            <p:nvPr/>
          </p:nvSpPr>
          <p:spPr>
            <a:xfrm>
              <a:off x="-48977350" y="2431000"/>
              <a:ext cx="157525" cy="157550"/>
            </a:xfrm>
            <a:custGeom>
              <a:avLst/>
              <a:gdLst/>
              <a:ahLst/>
              <a:cxnLst/>
              <a:rect l="l" t="t" r="r" b="b"/>
              <a:pathLst>
                <a:path w="6301" h="6302" extrusionOk="0">
                  <a:moveTo>
                    <a:pt x="3151" y="756"/>
                  </a:moveTo>
                  <a:cubicBezTo>
                    <a:pt x="4474" y="756"/>
                    <a:pt x="5576" y="1859"/>
                    <a:pt x="5576" y="3182"/>
                  </a:cubicBezTo>
                  <a:cubicBezTo>
                    <a:pt x="5608" y="4537"/>
                    <a:pt x="4537" y="5640"/>
                    <a:pt x="3151" y="5640"/>
                  </a:cubicBezTo>
                  <a:cubicBezTo>
                    <a:pt x="1796" y="5640"/>
                    <a:pt x="693" y="4537"/>
                    <a:pt x="693" y="3182"/>
                  </a:cubicBezTo>
                  <a:cubicBezTo>
                    <a:pt x="693" y="1859"/>
                    <a:pt x="1796" y="756"/>
                    <a:pt x="3151" y="756"/>
                  </a:cubicBezTo>
                  <a:close/>
                  <a:moveTo>
                    <a:pt x="3151" y="0"/>
                  </a:moveTo>
                  <a:cubicBezTo>
                    <a:pt x="1418" y="0"/>
                    <a:pt x="0" y="1418"/>
                    <a:pt x="0" y="3151"/>
                  </a:cubicBezTo>
                  <a:cubicBezTo>
                    <a:pt x="0" y="4883"/>
                    <a:pt x="1418" y="6301"/>
                    <a:pt x="3151" y="6301"/>
                  </a:cubicBezTo>
                  <a:cubicBezTo>
                    <a:pt x="4883" y="6301"/>
                    <a:pt x="6301" y="4883"/>
                    <a:pt x="6301" y="3151"/>
                  </a:cubicBezTo>
                  <a:cubicBezTo>
                    <a:pt x="6301" y="1418"/>
                    <a:pt x="4915"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1" name="Google Shape;10461;p79"/>
          <p:cNvSpPr/>
          <p:nvPr/>
        </p:nvSpPr>
        <p:spPr>
          <a:xfrm>
            <a:off x="2627309" y="2435125"/>
            <a:ext cx="361004" cy="357871"/>
          </a:xfrm>
          <a:custGeom>
            <a:avLst/>
            <a:gdLst/>
            <a:ahLst/>
            <a:cxnLst/>
            <a:rect l="l" t="t" r="r" b="b"/>
            <a:pathLst>
              <a:path w="12098" h="11993" extrusionOk="0">
                <a:moveTo>
                  <a:pt x="9042" y="4337"/>
                </a:moveTo>
                <a:lnTo>
                  <a:pt x="10208" y="4935"/>
                </a:lnTo>
                <a:lnTo>
                  <a:pt x="8695" y="4935"/>
                </a:lnTo>
                <a:lnTo>
                  <a:pt x="9042" y="4337"/>
                </a:lnTo>
                <a:close/>
                <a:moveTo>
                  <a:pt x="5167" y="1753"/>
                </a:moveTo>
                <a:lnTo>
                  <a:pt x="7593" y="5534"/>
                </a:lnTo>
                <a:lnTo>
                  <a:pt x="7026" y="6574"/>
                </a:lnTo>
                <a:lnTo>
                  <a:pt x="5356" y="4022"/>
                </a:lnTo>
                <a:lnTo>
                  <a:pt x="5167" y="1753"/>
                </a:lnTo>
                <a:close/>
                <a:moveTo>
                  <a:pt x="9105" y="5629"/>
                </a:moveTo>
                <a:lnTo>
                  <a:pt x="8664" y="9189"/>
                </a:lnTo>
                <a:lnTo>
                  <a:pt x="7435" y="7298"/>
                </a:lnTo>
                <a:cubicBezTo>
                  <a:pt x="7593" y="7015"/>
                  <a:pt x="8223" y="5849"/>
                  <a:pt x="8349" y="5629"/>
                </a:cubicBezTo>
                <a:close/>
                <a:moveTo>
                  <a:pt x="3088" y="1753"/>
                </a:moveTo>
                <a:lnTo>
                  <a:pt x="8034" y="9504"/>
                </a:lnTo>
                <a:lnTo>
                  <a:pt x="3623" y="7834"/>
                </a:lnTo>
                <a:lnTo>
                  <a:pt x="3088" y="1753"/>
                </a:lnTo>
                <a:close/>
                <a:moveTo>
                  <a:pt x="1355" y="9378"/>
                </a:moveTo>
                <a:lnTo>
                  <a:pt x="4096" y="10134"/>
                </a:lnTo>
                <a:lnTo>
                  <a:pt x="4757" y="11268"/>
                </a:lnTo>
                <a:lnTo>
                  <a:pt x="2773" y="11268"/>
                </a:lnTo>
                <a:lnTo>
                  <a:pt x="1355" y="9378"/>
                </a:lnTo>
                <a:close/>
                <a:moveTo>
                  <a:pt x="4064" y="8748"/>
                </a:moveTo>
                <a:lnTo>
                  <a:pt x="8380" y="10354"/>
                </a:lnTo>
                <a:lnTo>
                  <a:pt x="7971" y="11268"/>
                </a:lnTo>
                <a:lnTo>
                  <a:pt x="5545" y="11268"/>
                </a:lnTo>
                <a:cubicBezTo>
                  <a:pt x="5387" y="10984"/>
                  <a:pt x="4253" y="9063"/>
                  <a:pt x="4064" y="8748"/>
                </a:cubicBezTo>
                <a:close/>
                <a:moveTo>
                  <a:pt x="2485" y="1"/>
                </a:moveTo>
                <a:cubicBezTo>
                  <a:pt x="2453" y="1"/>
                  <a:pt x="2422" y="7"/>
                  <a:pt x="2394" y="21"/>
                </a:cubicBezTo>
                <a:cubicBezTo>
                  <a:pt x="2237" y="52"/>
                  <a:pt x="2174" y="210"/>
                  <a:pt x="2174" y="367"/>
                </a:cubicBezTo>
                <a:cubicBezTo>
                  <a:pt x="2930" y="8527"/>
                  <a:pt x="2836" y="8117"/>
                  <a:pt x="2930" y="8243"/>
                </a:cubicBezTo>
                <a:lnTo>
                  <a:pt x="3497" y="9252"/>
                </a:lnTo>
                <a:lnTo>
                  <a:pt x="473" y="8432"/>
                </a:lnTo>
                <a:cubicBezTo>
                  <a:pt x="437" y="8425"/>
                  <a:pt x="402" y="8422"/>
                  <a:pt x="368" y="8422"/>
                </a:cubicBezTo>
                <a:cubicBezTo>
                  <a:pt x="249" y="8422"/>
                  <a:pt x="143" y="8468"/>
                  <a:pt x="95" y="8590"/>
                </a:cubicBezTo>
                <a:cubicBezTo>
                  <a:pt x="0" y="8716"/>
                  <a:pt x="0" y="8874"/>
                  <a:pt x="95" y="9000"/>
                </a:cubicBezTo>
                <a:lnTo>
                  <a:pt x="2205" y="11835"/>
                </a:lnTo>
                <a:cubicBezTo>
                  <a:pt x="2300" y="11898"/>
                  <a:pt x="2363" y="11993"/>
                  <a:pt x="2489" y="11993"/>
                </a:cubicBezTo>
                <a:lnTo>
                  <a:pt x="8128" y="11993"/>
                </a:lnTo>
                <a:cubicBezTo>
                  <a:pt x="8223" y="11993"/>
                  <a:pt x="8380" y="11898"/>
                  <a:pt x="8443" y="11772"/>
                </a:cubicBezTo>
                <a:lnTo>
                  <a:pt x="9137" y="10354"/>
                </a:lnTo>
                <a:cubicBezTo>
                  <a:pt x="9137" y="10323"/>
                  <a:pt x="9168" y="10291"/>
                  <a:pt x="9168" y="10260"/>
                </a:cubicBezTo>
                <a:lnTo>
                  <a:pt x="9735" y="5629"/>
                </a:lnTo>
                <a:lnTo>
                  <a:pt x="11657" y="5629"/>
                </a:lnTo>
                <a:cubicBezTo>
                  <a:pt x="11814" y="5629"/>
                  <a:pt x="11972" y="5534"/>
                  <a:pt x="12003" y="5377"/>
                </a:cubicBezTo>
                <a:cubicBezTo>
                  <a:pt x="12098" y="5219"/>
                  <a:pt x="12003" y="4998"/>
                  <a:pt x="11846" y="4967"/>
                </a:cubicBezTo>
                <a:lnTo>
                  <a:pt x="9042" y="3549"/>
                </a:lnTo>
                <a:cubicBezTo>
                  <a:pt x="9001" y="3533"/>
                  <a:pt x="8954" y="3525"/>
                  <a:pt x="8906" y="3525"/>
                </a:cubicBezTo>
                <a:cubicBezTo>
                  <a:pt x="8767" y="3525"/>
                  <a:pt x="8616" y="3590"/>
                  <a:pt x="8569" y="3707"/>
                </a:cubicBezTo>
                <a:lnTo>
                  <a:pt x="7908" y="4841"/>
                </a:lnTo>
                <a:lnTo>
                  <a:pt x="4915" y="178"/>
                </a:lnTo>
                <a:cubicBezTo>
                  <a:pt x="4866" y="80"/>
                  <a:pt x="4740" y="1"/>
                  <a:pt x="4627" y="1"/>
                </a:cubicBezTo>
                <a:cubicBezTo>
                  <a:pt x="4595" y="1"/>
                  <a:pt x="4564" y="7"/>
                  <a:pt x="4537" y="21"/>
                </a:cubicBezTo>
                <a:cubicBezTo>
                  <a:pt x="4411" y="52"/>
                  <a:pt x="4285" y="210"/>
                  <a:pt x="4285" y="367"/>
                </a:cubicBezTo>
                <a:lnTo>
                  <a:pt x="4505" y="2762"/>
                </a:lnTo>
                <a:lnTo>
                  <a:pt x="2804" y="178"/>
                </a:lnTo>
                <a:cubicBezTo>
                  <a:pt x="2730" y="80"/>
                  <a:pt x="2599" y="1"/>
                  <a:pt x="24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2" name="Google Shape;10462;p79"/>
          <p:cNvGrpSpPr/>
          <p:nvPr/>
        </p:nvGrpSpPr>
        <p:grpSpPr>
          <a:xfrm>
            <a:off x="1290494" y="2928284"/>
            <a:ext cx="360109" cy="358199"/>
            <a:chOff x="-47160325" y="1974175"/>
            <a:chExt cx="301700" cy="300100"/>
          </a:xfrm>
        </p:grpSpPr>
        <p:sp>
          <p:nvSpPr>
            <p:cNvPr id="10463" name="Google Shape;10463;p79"/>
            <p:cNvSpPr/>
            <p:nvPr/>
          </p:nvSpPr>
          <p:spPr>
            <a:xfrm>
              <a:off x="-47160325" y="1974175"/>
              <a:ext cx="301700" cy="300100"/>
            </a:xfrm>
            <a:custGeom>
              <a:avLst/>
              <a:gdLst/>
              <a:ahLst/>
              <a:cxnLst/>
              <a:rect l="l" t="t" r="r" b="b"/>
              <a:pathLst>
                <a:path w="12068" h="12004" extrusionOk="0">
                  <a:moveTo>
                    <a:pt x="8539" y="1166"/>
                  </a:moveTo>
                  <a:lnTo>
                    <a:pt x="9452" y="2080"/>
                  </a:lnTo>
                  <a:lnTo>
                    <a:pt x="8539" y="2080"/>
                  </a:lnTo>
                  <a:lnTo>
                    <a:pt x="8539" y="1166"/>
                  </a:lnTo>
                  <a:close/>
                  <a:moveTo>
                    <a:pt x="7846" y="693"/>
                  </a:moveTo>
                  <a:lnTo>
                    <a:pt x="7846" y="2489"/>
                  </a:lnTo>
                  <a:cubicBezTo>
                    <a:pt x="7846" y="2678"/>
                    <a:pt x="8003" y="2836"/>
                    <a:pt x="8192" y="2836"/>
                  </a:cubicBezTo>
                  <a:lnTo>
                    <a:pt x="9957" y="2836"/>
                  </a:lnTo>
                  <a:lnTo>
                    <a:pt x="9957" y="4254"/>
                  </a:lnTo>
                  <a:lnTo>
                    <a:pt x="4916" y="4254"/>
                  </a:lnTo>
                  <a:lnTo>
                    <a:pt x="4538" y="3434"/>
                  </a:lnTo>
                  <a:cubicBezTo>
                    <a:pt x="4349" y="3056"/>
                    <a:pt x="3971" y="2836"/>
                    <a:pt x="3593" y="2836"/>
                  </a:cubicBezTo>
                  <a:lnTo>
                    <a:pt x="2206" y="2836"/>
                  </a:lnTo>
                  <a:lnTo>
                    <a:pt x="2206" y="693"/>
                  </a:lnTo>
                  <a:close/>
                  <a:moveTo>
                    <a:pt x="3561" y="3529"/>
                  </a:moveTo>
                  <a:cubicBezTo>
                    <a:pt x="3656" y="3529"/>
                    <a:pt x="3782" y="3623"/>
                    <a:pt x="3876" y="3718"/>
                  </a:cubicBezTo>
                  <a:lnTo>
                    <a:pt x="4380" y="4758"/>
                  </a:lnTo>
                  <a:cubicBezTo>
                    <a:pt x="4443" y="4884"/>
                    <a:pt x="4569" y="4947"/>
                    <a:pt x="4695" y="4947"/>
                  </a:cubicBezTo>
                  <a:lnTo>
                    <a:pt x="11028" y="4947"/>
                  </a:lnTo>
                  <a:cubicBezTo>
                    <a:pt x="11248" y="4947"/>
                    <a:pt x="11406" y="5104"/>
                    <a:pt x="11406" y="5293"/>
                  </a:cubicBezTo>
                  <a:lnTo>
                    <a:pt x="11406" y="10933"/>
                  </a:lnTo>
                  <a:lnTo>
                    <a:pt x="11343" y="10933"/>
                  </a:lnTo>
                  <a:cubicBezTo>
                    <a:pt x="11343" y="11153"/>
                    <a:pt x="11185" y="11311"/>
                    <a:pt x="10996" y="11311"/>
                  </a:cubicBezTo>
                  <a:lnTo>
                    <a:pt x="1104" y="11311"/>
                  </a:lnTo>
                  <a:cubicBezTo>
                    <a:pt x="915" y="11311"/>
                    <a:pt x="757" y="11153"/>
                    <a:pt x="757" y="10933"/>
                  </a:cubicBezTo>
                  <a:lnTo>
                    <a:pt x="757" y="3875"/>
                  </a:lnTo>
                  <a:cubicBezTo>
                    <a:pt x="757" y="3686"/>
                    <a:pt x="915" y="3529"/>
                    <a:pt x="1104" y="3529"/>
                  </a:cubicBezTo>
                  <a:close/>
                  <a:moveTo>
                    <a:pt x="1797" y="0"/>
                  </a:moveTo>
                  <a:cubicBezTo>
                    <a:pt x="1576" y="0"/>
                    <a:pt x="1419" y="158"/>
                    <a:pt x="1419" y="347"/>
                  </a:cubicBezTo>
                  <a:lnTo>
                    <a:pt x="1419" y="2836"/>
                  </a:lnTo>
                  <a:lnTo>
                    <a:pt x="1072" y="2836"/>
                  </a:lnTo>
                  <a:cubicBezTo>
                    <a:pt x="474" y="2836"/>
                    <a:pt x="1" y="3308"/>
                    <a:pt x="1" y="3907"/>
                  </a:cubicBezTo>
                  <a:lnTo>
                    <a:pt x="1" y="10933"/>
                  </a:lnTo>
                  <a:cubicBezTo>
                    <a:pt x="1" y="11531"/>
                    <a:pt x="474" y="12004"/>
                    <a:pt x="1072" y="12004"/>
                  </a:cubicBezTo>
                  <a:lnTo>
                    <a:pt x="10965" y="12004"/>
                  </a:lnTo>
                  <a:cubicBezTo>
                    <a:pt x="11563" y="12004"/>
                    <a:pt x="12036" y="11531"/>
                    <a:pt x="12036" y="10933"/>
                  </a:cubicBezTo>
                  <a:lnTo>
                    <a:pt x="12036" y="5325"/>
                  </a:lnTo>
                  <a:cubicBezTo>
                    <a:pt x="12067" y="4726"/>
                    <a:pt x="11595" y="4254"/>
                    <a:pt x="10996" y="4254"/>
                  </a:cubicBezTo>
                  <a:lnTo>
                    <a:pt x="10650" y="4254"/>
                  </a:lnTo>
                  <a:lnTo>
                    <a:pt x="10650" y="2489"/>
                  </a:lnTo>
                  <a:cubicBezTo>
                    <a:pt x="10650" y="2395"/>
                    <a:pt x="10618" y="2269"/>
                    <a:pt x="10524" y="2237"/>
                  </a:cubicBezTo>
                  <a:lnTo>
                    <a:pt x="8413" y="126"/>
                  </a:lnTo>
                  <a:cubicBezTo>
                    <a:pt x="8318" y="32"/>
                    <a:pt x="8255" y="0"/>
                    <a:pt x="81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79"/>
            <p:cNvSpPr/>
            <p:nvPr/>
          </p:nvSpPr>
          <p:spPr>
            <a:xfrm>
              <a:off x="-47070525" y="2115150"/>
              <a:ext cx="123675" cy="123675"/>
            </a:xfrm>
            <a:custGeom>
              <a:avLst/>
              <a:gdLst/>
              <a:ahLst/>
              <a:cxnLst/>
              <a:rect l="l" t="t" r="r" b="b"/>
              <a:pathLst>
                <a:path w="4947" h="4947" extrusionOk="0">
                  <a:moveTo>
                    <a:pt x="1796" y="694"/>
                  </a:moveTo>
                  <a:cubicBezTo>
                    <a:pt x="2269" y="694"/>
                    <a:pt x="2678" y="977"/>
                    <a:pt x="2804" y="1418"/>
                  </a:cubicBezTo>
                  <a:lnTo>
                    <a:pt x="1796" y="1418"/>
                  </a:lnTo>
                  <a:cubicBezTo>
                    <a:pt x="1607" y="1418"/>
                    <a:pt x="1450" y="1576"/>
                    <a:pt x="1450" y="1765"/>
                  </a:cubicBezTo>
                  <a:lnTo>
                    <a:pt x="1450" y="2742"/>
                  </a:lnTo>
                  <a:cubicBezTo>
                    <a:pt x="1009" y="2584"/>
                    <a:pt x="757" y="2175"/>
                    <a:pt x="757" y="1765"/>
                  </a:cubicBezTo>
                  <a:cubicBezTo>
                    <a:pt x="757" y="1166"/>
                    <a:pt x="1229" y="694"/>
                    <a:pt x="1796" y="694"/>
                  </a:cubicBezTo>
                  <a:close/>
                  <a:moveTo>
                    <a:pt x="2804" y="2112"/>
                  </a:moveTo>
                  <a:cubicBezTo>
                    <a:pt x="2678" y="2427"/>
                    <a:pt x="2426" y="2679"/>
                    <a:pt x="2174" y="2742"/>
                  </a:cubicBezTo>
                  <a:lnTo>
                    <a:pt x="2174" y="2112"/>
                  </a:lnTo>
                  <a:close/>
                  <a:moveTo>
                    <a:pt x="4254" y="2080"/>
                  </a:moveTo>
                  <a:lnTo>
                    <a:pt x="4254" y="4191"/>
                  </a:lnTo>
                  <a:lnTo>
                    <a:pt x="2143" y="4191"/>
                  </a:lnTo>
                  <a:lnTo>
                    <a:pt x="2143" y="3466"/>
                  </a:lnTo>
                  <a:cubicBezTo>
                    <a:pt x="2804" y="3309"/>
                    <a:pt x="3340" y="2773"/>
                    <a:pt x="3498" y="2080"/>
                  </a:cubicBezTo>
                  <a:close/>
                  <a:moveTo>
                    <a:pt x="1765" y="1"/>
                  </a:moveTo>
                  <a:cubicBezTo>
                    <a:pt x="788" y="1"/>
                    <a:pt x="1" y="788"/>
                    <a:pt x="1" y="1765"/>
                  </a:cubicBezTo>
                  <a:cubicBezTo>
                    <a:pt x="1" y="2616"/>
                    <a:pt x="599" y="3340"/>
                    <a:pt x="1418" y="3498"/>
                  </a:cubicBezTo>
                  <a:lnTo>
                    <a:pt x="1418" y="4600"/>
                  </a:lnTo>
                  <a:cubicBezTo>
                    <a:pt x="1418" y="4789"/>
                    <a:pt x="1576" y="4947"/>
                    <a:pt x="1765" y="4947"/>
                  </a:cubicBezTo>
                  <a:lnTo>
                    <a:pt x="4569" y="4947"/>
                  </a:lnTo>
                  <a:cubicBezTo>
                    <a:pt x="4758" y="4947"/>
                    <a:pt x="4915" y="4789"/>
                    <a:pt x="4915" y="4600"/>
                  </a:cubicBezTo>
                  <a:lnTo>
                    <a:pt x="4915" y="1797"/>
                  </a:lnTo>
                  <a:cubicBezTo>
                    <a:pt x="4947" y="1576"/>
                    <a:pt x="4789" y="1387"/>
                    <a:pt x="4600" y="1387"/>
                  </a:cubicBezTo>
                  <a:lnTo>
                    <a:pt x="3498" y="1387"/>
                  </a:lnTo>
                  <a:cubicBezTo>
                    <a:pt x="3340" y="599"/>
                    <a:pt x="2647"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65" name="Google Shape;10465;p79"/>
          <p:cNvGrpSpPr/>
          <p:nvPr/>
        </p:nvGrpSpPr>
        <p:grpSpPr>
          <a:xfrm>
            <a:off x="1290971" y="3374818"/>
            <a:ext cx="359154" cy="359124"/>
            <a:chOff x="-47159525" y="2342000"/>
            <a:chExt cx="300900" cy="300875"/>
          </a:xfrm>
        </p:grpSpPr>
        <p:sp>
          <p:nvSpPr>
            <p:cNvPr id="10466" name="Google Shape;10466;p79"/>
            <p:cNvSpPr/>
            <p:nvPr/>
          </p:nvSpPr>
          <p:spPr>
            <a:xfrm>
              <a:off x="-47122500" y="2376650"/>
              <a:ext cx="123675" cy="125250"/>
            </a:xfrm>
            <a:custGeom>
              <a:avLst/>
              <a:gdLst/>
              <a:ahLst/>
              <a:cxnLst/>
              <a:rect l="l" t="t" r="r" b="b"/>
              <a:pathLst>
                <a:path w="4947" h="5010" extrusionOk="0">
                  <a:moveTo>
                    <a:pt x="1765" y="756"/>
                  </a:moveTo>
                  <a:cubicBezTo>
                    <a:pt x="2237" y="756"/>
                    <a:pt x="2615" y="1008"/>
                    <a:pt x="2741" y="1450"/>
                  </a:cubicBezTo>
                  <a:lnTo>
                    <a:pt x="1765" y="1450"/>
                  </a:lnTo>
                  <a:cubicBezTo>
                    <a:pt x="1575" y="1450"/>
                    <a:pt x="1418" y="1607"/>
                    <a:pt x="1418" y="1828"/>
                  </a:cubicBezTo>
                  <a:lnTo>
                    <a:pt x="1418" y="2804"/>
                  </a:lnTo>
                  <a:cubicBezTo>
                    <a:pt x="1008" y="2647"/>
                    <a:pt x="693" y="2237"/>
                    <a:pt x="693" y="1828"/>
                  </a:cubicBezTo>
                  <a:cubicBezTo>
                    <a:pt x="693" y="1229"/>
                    <a:pt x="1166" y="756"/>
                    <a:pt x="1765" y="756"/>
                  </a:cubicBezTo>
                  <a:close/>
                  <a:moveTo>
                    <a:pt x="2741" y="2174"/>
                  </a:moveTo>
                  <a:cubicBezTo>
                    <a:pt x="2615" y="2458"/>
                    <a:pt x="2395" y="2678"/>
                    <a:pt x="2111" y="2804"/>
                  </a:cubicBezTo>
                  <a:lnTo>
                    <a:pt x="2111" y="2174"/>
                  </a:lnTo>
                  <a:close/>
                  <a:moveTo>
                    <a:pt x="4253" y="2143"/>
                  </a:moveTo>
                  <a:lnTo>
                    <a:pt x="4253" y="4285"/>
                  </a:lnTo>
                  <a:lnTo>
                    <a:pt x="2111" y="4285"/>
                  </a:lnTo>
                  <a:lnTo>
                    <a:pt x="2111" y="3497"/>
                  </a:lnTo>
                  <a:cubicBezTo>
                    <a:pt x="2804" y="3340"/>
                    <a:pt x="3340" y="2836"/>
                    <a:pt x="3497" y="2143"/>
                  </a:cubicBezTo>
                  <a:close/>
                  <a:moveTo>
                    <a:pt x="1765" y="0"/>
                  </a:moveTo>
                  <a:cubicBezTo>
                    <a:pt x="788" y="0"/>
                    <a:pt x="0" y="788"/>
                    <a:pt x="0" y="1765"/>
                  </a:cubicBezTo>
                  <a:cubicBezTo>
                    <a:pt x="0" y="2647"/>
                    <a:pt x="567" y="3340"/>
                    <a:pt x="1418" y="3497"/>
                  </a:cubicBezTo>
                  <a:lnTo>
                    <a:pt x="1418" y="4663"/>
                  </a:lnTo>
                  <a:cubicBezTo>
                    <a:pt x="1418" y="4852"/>
                    <a:pt x="1575" y="5010"/>
                    <a:pt x="1765" y="5010"/>
                  </a:cubicBezTo>
                  <a:lnTo>
                    <a:pt x="4600" y="5010"/>
                  </a:lnTo>
                  <a:cubicBezTo>
                    <a:pt x="4789" y="5010"/>
                    <a:pt x="4947" y="4852"/>
                    <a:pt x="4947" y="4663"/>
                  </a:cubicBezTo>
                  <a:lnTo>
                    <a:pt x="4947" y="1765"/>
                  </a:lnTo>
                  <a:cubicBezTo>
                    <a:pt x="4947" y="1576"/>
                    <a:pt x="4789" y="1418"/>
                    <a:pt x="4600" y="1418"/>
                  </a:cubicBezTo>
                  <a:lnTo>
                    <a:pt x="3497" y="1418"/>
                  </a:lnTo>
                  <a:cubicBezTo>
                    <a:pt x="3340" y="630"/>
                    <a:pt x="261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7" name="Google Shape;10467;p79"/>
            <p:cNvSpPr/>
            <p:nvPr/>
          </p:nvSpPr>
          <p:spPr>
            <a:xfrm>
              <a:off x="-47159525" y="2342000"/>
              <a:ext cx="300900" cy="300875"/>
            </a:xfrm>
            <a:custGeom>
              <a:avLst/>
              <a:gdLst/>
              <a:ahLst/>
              <a:cxnLst/>
              <a:rect l="l" t="t" r="r" b="b"/>
              <a:pathLst>
                <a:path w="12036" h="12035" extrusionOk="0">
                  <a:moveTo>
                    <a:pt x="7089" y="1229"/>
                  </a:moveTo>
                  <a:lnTo>
                    <a:pt x="8003" y="2142"/>
                  </a:lnTo>
                  <a:lnTo>
                    <a:pt x="7089" y="2142"/>
                  </a:lnTo>
                  <a:lnTo>
                    <a:pt x="7089" y="1229"/>
                  </a:lnTo>
                  <a:close/>
                  <a:moveTo>
                    <a:pt x="8538" y="6396"/>
                  </a:moveTo>
                  <a:lnTo>
                    <a:pt x="8538" y="6711"/>
                  </a:lnTo>
                  <a:cubicBezTo>
                    <a:pt x="8538" y="6900"/>
                    <a:pt x="8664" y="7057"/>
                    <a:pt x="8885" y="7057"/>
                  </a:cubicBezTo>
                  <a:cubicBezTo>
                    <a:pt x="9074" y="7057"/>
                    <a:pt x="9231" y="6900"/>
                    <a:pt x="9231" y="6711"/>
                  </a:cubicBezTo>
                  <a:lnTo>
                    <a:pt x="9231" y="6427"/>
                  </a:lnTo>
                  <a:cubicBezTo>
                    <a:pt x="10303" y="6585"/>
                    <a:pt x="11153" y="7467"/>
                    <a:pt x="11311" y="8506"/>
                  </a:cubicBezTo>
                  <a:lnTo>
                    <a:pt x="10996" y="8506"/>
                  </a:lnTo>
                  <a:cubicBezTo>
                    <a:pt x="10807" y="8506"/>
                    <a:pt x="10649" y="8664"/>
                    <a:pt x="10649" y="8884"/>
                  </a:cubicBezTo>
                  <a:cubicBezTo>
                    <a:pt x="10649" y="9073"/>
                    <a:pt x="10807" y="9231"/>
                    <a:pt x="10996" y="9231"/>
                  </a:cubicBezTo>
                  <a:lnTo>
                    <a:pt x="11311" y="9231"/>
                  </a:lnTo>
                  <a:cubicBezTo>
                    <a:pt x="11153" y="10302"/>
                    <a:pt x="10303" y="11121"/>
                    <a:pt x="9231" y="11279"/>
                  </a:cubicBezTo>
                  <a:lnTo>
                    <a:pt x="9231" y="10964"/>
                  </a:lnTo>
                  <a:cubicBezTo>
                    <a:pt x="9231" y="10775"/>
                    <a:pt x="9074" y="10617"/>
                    <a:pt x="8885" y="10617"/>
                  </a:cubicBezTo>
                  <a:cubicBezTo>
                    <a:pt x="8664" y="10617"/>
                    <a:pt x="8538" y="10775"/>
                    <a:pt x="8538" y="10964"/>
                  </a:cubicBezTo>
                  <a:lnTo>
                    <a:pt x="8538" y="11279"/>
                  </a:lnTo>
                  <a:cubicBezTo>
                    <a:pt x="7467" y="11121"/>
                    <a:pt x="6585" y="10239"/>
                    <a:pt x="6428" y="9200"/>
                  </a:cubicBezTo>
                  <a:lnTo>
                    <a:pt x="6743" y="9200"/>
                  </a:lnTo>
                  <a:cubicBezTo>
                    <a:pt x="6963" y="9200"/>
                    <a:pt x="7089" y="9042"/>
                    <a:pt x="7089" y="8821"/>
                  </a:cubicBezTo>
                  <a:cubicBezTo>
                    <a:pt x="7089" y="8632"/>
                    <a:pt x="6963" y="8475"/>
                    <a:pt x="6743" y="8475"/>
                  </a:cubicBezTo>
                  <a:lnTo>
                    <a:pt x="6428" y="8475"/>
                  </a:lnTo>
                  <a:cubicBezTo>
                    <a:pt x="6585" y="7404"/>
                    <a:pt x="7467" y="6553"/>
                    <a:pt x="8538" y="6396"/>
                  </a:cubicBezTo>
                  <a:close/>
                  <a:moveTo>
                    <a:pt x="6428" y="725"/>
                  </a:moveTo>
                  <a:lnTo>
                    <a:pt x="6428" y="2489"/>
                  </a:lnTo>
                  <a:cubicBezTo>
                    <a:pt x="6428" y="2678"/>
                    <a:pt x="6585" y="2836"/>
                    <a:pt x="6774" y="2836"/>
                  </a:cubicBezTo>
                  <a:lnTo>
                    <a:pt x="8570" y="2836"/>
                  </a:lnTo>
                  <a:lnTo>
                    <a:pt x="8570" y="5734"/>
                  </a:lnTo>
                  <a:cubicBezTo>
                    <a:pt x="6995" y="5892"/>
                    <a:pt x="5766" y="7246"/>
                    <a:pt x="5766" y="8884"/>
                  </a:cubicBezTo>
                  <a:cubicBezTo>
                    <a:pt x="5766" y="9861"/>
                    <a:pt x="6238" y="10775"/>
                    <a:pt x="6932" y="11310"/>
                  </a:cubicBezTo>
                  <a:lnTo>
                    <a:pt x="757" y="11310"/>
                  </a:lnTo>
                  <a:lnTo>
                    <a:pt x="757" y="725"/>
                  </a:lnTo>
                  <a:close/>
                  <a:moveTo>
                    <a:pt x="379" y="0"/>
                  </a:moveTo>
                  <a:cubicBezTo>
                    <a:pt x="158" y="0"/>
                    <a:pt x="0" y="158"/>
                    <a:pt x="0" y="378"/>
                  </a:cubicBezTo>
                  <a:lnTo>
                    <a:pt x="0" y="11657"/>
                  </a:lnTo>
                  <a:cubicBezTo>
                    <a:pt x="0" y="11877"/>
                    <a:pt x="158" y="12035"/>
                    <a:pt x="379" y="12035"/>
                  </a:cubicBezTo>
                  <a:lnTo>
                    <a:pt x="8822" y="12035"/>
                  </a:lnTo>
                  <a:cubicBezTo>
                    <a:pt x="10555" y="12035"/>
                    <a:pt x="11972" y="10617"/>
                    <a:pt x="11972" y="8884"/>
                  </a:cubicBezTo>
                  <a:cubicBezTo>
                    <a:pt x="12035" y="7215"/>
                    <a:pt x="10807" y="5892"/>
                    <a:pt x="9231" y="5734"/>
                  </a:cubicBezTo>
                  <a:lnTo>
                    <a:pt x="9231" y="2489"/>
                  </a:lnTo>
                  <a:cubicBezTo>
                    <a:pt x="9231" y="2426"/>
                    <a:pt x="9200" y="2300"/>
                    <a:pt x="9105" y="2268"/>
                  </a:cubicBezTo>
                  <a:lnTo>
                    <a:pt x="6995" y="126"/>
                  </a:lnTo>
                  <a:cubicBezTo>
                    <a:pt x="6900" y="63"/>
                    <a:pt x="6837" y="0"/>
                    <a:pt x="67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8" name="Google Shape;10468;p79"/>
            <p:cNvSpPr/>
            <p:nvPr/>
          </p:nvSpPr>
          <p:spPr>
            <a:xfrm>
              <a:off x="-46946075" y="2537325"/>
              <a:ext cx="35450" cy="35475"/>
            </a:xfrm>
            <a:custGeom>
              <a:avLst/>
              <a:gdLst/>
              <a:ahLst/>
              <a:cxnLst/>
              <a:rect l="l" t="t" r="r" b="b"/>
              <a:pathLst>
                <a:path w="1418" h="1419" extrusionOk="0">
                  <a:moveTo>
                    <a:pt x="347" y="0"/>
                  </a:moveTo>
                  <a:cubicBezTo>
                    <a:pt x="158" y="0"/>
                    <a:pt x="0" y="158"/>
                    <a:pt x="0" y="347"/>
                  </a:cubicBezTo>
                  <a:lnTo>
                    <a:pt x="0" y="1071"/>
                  </a:lnTo>
                  <a:cubicBezTo>
                    <a:pt x="0" y="1260"/>
                    <a:pt x="158" y="1418"/>
                    <a:pt x="347" y="1418"/>
                  </a:cubicBezTo>
                  <a:lnTo>
                    <a:pt x="1040" y="1418"/>
                  </a:lnTo>
                  <a:cubicBezTo>
                    <a:pt x="1261" y="1418"/>
                    <a:pt x="1418" y="1260"/>
                    <a:pt x="1418" y="1071"/>
                  </a:cubicBezTo>
                  <a:cubicBezTo>
                    <a:pt x="1387" y="851"/>
                    <a:pt x="1261"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79"/>
            <p:cNvSpPr/>
            <p:nvPr/>
          </p:nvSpPr>
          <p:spPr>
            <a:xfrm>
              <a:off x="-47122500" y="253732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79"/>
            <p:cNvSpPr/>
            <p:nvPr/>
          </p:nvSpPr>
          <p:spPr>
            <a:xfrm>
              <a:off x="-47122500" y="257277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71" name="Google Shape;10471;p79"/>
          <p:cNvGrpSpPr/>
          <p:nvPr/>
        </p:nvGrpSpPr>
        <p:grpSpPr>
          <a:xfrm>
            <a:off x="1291448" y="3831654"/>
            <a:ext cx="358199" cy="359154"/>
            <a:chOff x="-47157950" y="2712175"/>
            <a:chExt cx="300100" cy="300900"/>
          </a:xfrm>
        </p:grpSpPr>
        <p:sp>
          <p:nvSpPr>
            <p:cNvPr id="10472" name="Google Shape;10472;p79"/>
            <p:cNvSpPr/>
            <p:nvPr/>
          </p:nvSpPr>
          <p:spPr>
            <a:xfrm>
              <a:off x="-47157950" y="2712175"/>
              <a:ext cx="300100" cy="300900"/>
            </a:xfrm>
            <a:custGeom>
              <a:avLst/>
              <a:gdLst/>
              <a:ahLst/>
              <a:cxnLst/>
              <a:rect l="l" t="t" r="r" b="b"/>
              <a:pathLst>
                <a:path w="12004" h="12036" extrusionOk="0">
                  <a:moveTo>
                    <a:pt x="7026" y="1166"/>
                  </a:moveTo>
                  <a:lnTo>
                    <a:pt x="7940" y="2048"/>
                  </a:lnTo>
                  <a:lnTo>
                    <a:pt x="7026" y="2048"/>
                  </a:lnTo>
                  <a:lnTo>
                    <a:pt x="7026" y="1166"/>
                  </a:lnTo>
                  <a:close/>
                  <a:moveTo>
                    <a:pt x="6333" y="693"/>
                  </a:moveTo>
                  <a:lnTo>
                    <a:pt x="6333" y="2458"/>
                  </a:lnTo>
                  <a:cubicBezTo>
                    <a:pt x="6333" y="2647"/>
                    <a:pt x="6491" y="2804"/>
                    <a:pt x="6680" y="2804"/>
                  </a:cubicBezTo>
                  <a:lnTo>
                    <a:pt x="8444" y="2804"/>
                  </a:lnTo>
                  <a:lnTo>
                    <a:pt x="8444" y="4222"/>
                  </a:lnTo>
                  <a:lnTo>
                    <a:pt x="3529" y="4222"/>
                  </a:lnTo>
                  <a:lnTo>
                    <a:pt x="3529" y="693"/>
                  </a:lnTo>
                  <a:close/>
                  <a:moveTo>
                    <a:pt x="10933" y="4222"/>
                  </a:moveTo>
                  <a:cubicBezTo>
                    <a:pt x="11122" y="4222"/>
                    <a:pt x="11279" y="4380"/>
                    <a:pt x="11279" y="4569"/>
                  </a:cubicBezTo>
                  <a:lnTo>
                    <a:pt x="11279" y="8097"/>
                  </a:lnTo>
                  <a:lnTo>
                    <a:pt x="11248" y="8097"/>
                  </a:lnTo>
                  <a:cubicBezTo>
                    <a:pt x="11248" y="8286"/>
                    <a:pt x="11090" y="8444"/>
                    <a:pt x="10901" y="8444"/>
                  </a:cubicBezTo>
                  <a:lnTo>
                    <a:pt x="9137" y="8444"/>
                  </a:lnTo>
                  <a:lnTo>
                    <a:pt x="9137" y="7719"/>
                  </a:lnTo>
                  <a:lnTo>
                    <a:pt x="9483" y="7719"/>
                  </a:lnTo>
                  <a:cubicBezTo>
                    <a:pt x="9673" y="7719"/>
                    <a:pt x="9830" y="7562"/>
                    <a:pt x="9830" y="7372"/>
                  </a:cubicBezTo>
                  <a:cubicBezTo>
                    <a:pt x="9830" y="7183"/>
                    <a:pt x="9673" y="7026"/>
                    <a:pt x="9483" y="7026"/>
                  </a:cubicBezTo>
                  <a:lnTo>
                    <a:pt x="2458" y="7026"/>
                  </a:lnTo>
                  <a:cubicBezTo>
                    <a:pt x="2269" y="7026"/>
                    <a:pt x="2111" y="7183"/>
                    <a:pt x="2111" y="7372"/>
                  </a:cubicBezTo>
                  <a:cubicBezTo>
                    <a:pt x="2111" y="7562"/>
                    <a:pt x="2269" y="7719"/>
                    <a:pt x="2458" y="7719"/>
                  </a:cubicBezTo>
                  <a:lnTo>
                    <a:pt x="2836" y="7719"/>
                  </a:lnTo>
                  <a:lnTo>
                    <a:pt x="2836" y="8444"/>
                  </a:lnTo>
                  <a:lnTo>
                    <a:pt x="1040" y="8444"/>
                  </a:lnTo>
                  <a:cubicBezTo>
                    <a:pt x="851" y="8444"/>
                    <a:pt x="694" y="8286"/>
                    <a:pt x="694" y="8097"/>
                  </a:cubicBezTo>
                  <a:lnTo>
                    <a:pt x="694" y="4569"/>
                  </a:lnTo>
                  <a:cubicBezTo>
                    <a:pt x="694" y="4380"/>
                    <a:pt x="851" y="4222"/>
                    <a:pt x="1040" y="4222"/>
                  </a:cubicBezTo>
                  <a:lnTo>
                    <a:pt x="2836" y="4222"/>
                  </a:lnTo>
                  <a:lnTo>
                    <a:pt x="2836" y="4569"/>
                  </a:lnTo>
                  <a:cubicBezTo>
                    <a:pt x="2836" y="4789"/>
                    <a:pt x="2993" y="4947"/>
                    <a:pt x="3183" y="4947"/>
                  </a:cubicBezTo>
                  <a:lnTo>
                    <a:pt x="8822" y="4947"/>
                  </a:lnTo>
                  <a:cubicBezTo>
                    <a:pt x="9011" y="4947"/>
                    <a:pt x="9168" y="4789"/>
                    <a:pt x="9168" y="4569"/>
                  </a:cubicBezTo>
                  <a:lnTo>
                    <a:pt x="9168" y="4222"/>
                  </a:lnTo>
                  <a:close/>
                  <a:moveTo>
                    <a:pt x="8412" y="7719"/>
                  </a:moveTo>
                  <a:lnTo>
                    <a:pt x="8412" y="11279"/>
                  </a:lnTo>
                  <a:lnTo>
                    <a:pt x="3498" y="11279"/>
                  </a:lnTo>
                  <a:lnTo>
                    <a:pt x="3498" y="7719"/>
                  </a:lnTo>
                  <a:close/>
                  <a:moveTo>
                    <a:pt x="3183" y="0"/>
                  </a:moveTo>
                  <a:cubicBezTo>
                    <a:pt x="2993" y="0"/>
                    <a:pt x="2836" y="158"/>
                    <a:pt x="2836" y="378"/>
                  </a:cubicBezTo>
                  <a:lnTo>
                    <a:pt x="2836" y="3560"/>
                  </a:lnTo>
                  <a:lnTo>
                    <a:pt x="1072" y="3560"/>
                  </a:lnTo>
                  <a:cubicBezTo>
                    <a:pt x="473" y="3560"/>
                    <a:pt x="1" y="4033"/>
                    <a:pt x="1" y="4600"/>
                  </a:cubicBezTo>
                  <a:lnTo>
                    <a:pt x="1" y="8129"/>
                  </a:lnTo>
                  <a:cubicBezTo>
                    <a:pt x="1" y="8696"/>
                    <a:pt x="473" y="9168"/>
                    <a:pt x="1072" y="9168"/>
                  </a:cubicBezTo>
                  <a:lnTo>
                    <a:pt x="2836" y="9168"/>
                  </a:lnTo>
                  <a:lnTo>
                    <a:pt x="2836" y="11657"/>
                  </a:lnTo>
                  <a:cubicBezTo>
                    <a:pt x="2836" y="11846"/>
                    <a:pt x="2993" y="12035"/>
                    <a:pt x="3183" y="12035"/>
                  </a:cubicBezTo>
                  <a:lnTo>
                    <a:pt x="8822" y="12035"/>
                  </a:lnTo>
                  <a:cubicBezTo>
                    <a:pt x="9011" y="12035"/>
                    <a:pt x="9168" y="11846"/>
                    <a:pt x="9168" y="11657"/>
                  </a:cubicBezTo>
                  <a:lnTo>
                    <a:pt x="9168" y="9168"/>
                  </a:lnTo>
                  <a:lnTo>
                    <a:pt x="10933" y="9168"/>
                  </a:lnTo>
                  <a:cubicBezTo>
                    <a:pt x="11531" y="9168"/>
                    <a:pt x="12004" y="8696"/>
                    <a:pt x="12004" y="8129"/>
                  </a:cubicBezTo>
                  <a:lnTo>
                    <a:pt x="12004" y="4600"/>
                  </a:lnTo>
                  <a:cubicBezTo>
                    <a:pt x="11972" y="4001"/>
                    <a:pt x="11500" y="3529"/>
                    <a:pt x="10901" y="3529"/>
                  </a:cubicBezTo>
                  <a:lnTo>
                    <a:pt x="9137" y="3529"/>
                  </a:lnTo>
                  <a:lnTo>
                    <a:pt x="9137" y="2458"/>
                  </a:lnTo>
                  <a:cubicBezTo>
                    <a:pt x="9137" y="2363"/>
                    <a:pt x="9074" y="2269"/>
                    <a:pt x="9011" y="2206"/>
                  </a:cubicBezTo>
                  <a:lnTo>
                    <a:pt x="6932" y="126"/>
                  </a:lnTo>
                  <a:cubicBezTo>
                    <a:pt x="6837" y="63"/>
                    <a:pt x="6774" y="0"/>
                    <a:pt x="6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3" name="Google Shape;10473;p79"/>
            <p:cNvSpPr/>
            <p:nvPr/>
          </p:nvSpPr>
          <p:spPr>
            <a:xfrm>
              <a:off x="-47087075" y="2852375"/>
              <a:ext cx="17350" cy="17350"/>
            </a:xfrm>
            <a:custGeom>
              <a:avLst/>
              <a:gdLst/>
              <a:ahLst/>
              <a:cxnLst/>
              <a:rect l="l" t="t" r="r" b="b"/>
              <a:pathLst>
                <a:path w="694" h="694" extrusionOk="0">
                  <a:moveTo>
                    <a:pt x="348" y="0"/>
                  </a:moveTo>
                  <a:cubicBezTo>
                    <a:pt x="158" y="0"/>
                    <a:pt x="1" y="158"/>
                    <a:pt x="1" y="347"/>
                  </a:cubicBezTo>
                  <a:cubicBezTo>
                    <a:pt x="1" y="536"/>
                    <a:pt x="158" y="693"/>
                    <a:pt x="348" y="693"/>
                  </a:cubicBezTo>
                  <a:cubicBezTo>
                    <a:pt x="537" y="693"/>
                    <a:pt x="694" y="536"/>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4" name="Google Shape;10474;p79"/>
            <p:cNvSpPr/>
            <p:nvPr/>
          </p:nvSpPr>
          <p:spPr>
            <a:xfrm>
              <a:off x="-47052400" y="2852375"/>
              <a:ext cx="17350" cy="17350"/>
            </a:xfrm>
            <a:custGeom>
              <a:avLst/>
              <a:gdLst/>
              <a:ahLst/>
              <a:cxnLst/>
              <a:rect l="l" t="t" r="r" b="b"/>
              <a:pathLst>
                <a:path w="694" h="694" extrusionOk="0">
                  <a:moveTo>
                    <a:pt x="347" y="0"/>
                  </a:moveTo>
                  <a:cubicBezTo>
                    <a:pt x="126" y="0"/>
                    <a:pt x="0" y="158"/>
                    <a:pt x="0" y="347"/>
                  </a:cubicBezTo>
                  <a:cubicBezTo>
                    <a:pt x="0" y="536"/>
                    <a:pt x="126"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79"/>
            <p:cNvSpPr/>
            <p:nvPr/>
          </p:nvSpPr>
          <p:spPr>
            <a:xfrm>
              <a:off x="-47051625" y="295790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79"/>
            <p:cNvSpPr/>
            <p:nvPr/>
          </p:nvSpPr>
          <p:spPr>
            <a:xfrm>
              <a:off x="-47051625" y="292325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7" name="Google Shape;10477;p79"/>
            <p:cNvSpPr/>
            <p:nvPr/>
          </p:nvSpPr>
          <p:spPr>
            <a:xfrm>
              <a:off x="-47017750" y="2852375"/>
              <a:ext cx="35450" cy="17350"/>
            </a:xfrm>
            <a:custGeom>
              <a:avLst/>
              <a:gdLst/>
              <a:ahLst/>
              <a:cxnLst/>
              <a:rect l="l" t="t" r="r" b="b"/>
              <a:pathLst>
                <a:path w="1418" h="694" extrusionOk="0">
                  <a:moveTo>
                    <a:pt x="378" y="0"/>
                  </a:moveTo>
                  <a:cubicBezTo>
                    <a:pt x="158" y="0"/>
                    <a:pt x="0" y="158"/>
                    <a:pt x="0" y="347"/>
                  </a:cubicBezTo>
                  <a:cubicBezTo>
                    <a:pt x="0" y="536"/>
                    <a:pt x="158" y="693"/>
                    <a:pt x="378"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8" name="Google Shape;10478;p79"/>
            <p:cNvSpPr/>
            <p:nvPr/>
          </p:nvSpPr>
          <p:spPr>
            <a:xfrm>
              <a:off x="-46964975" y="2852375"/>
              <a:ext cx="35450" cy="17350"/>
            </a:xfrm>
            <a:custGeom>
              <a:avLst/>
              <a:gdLst/>
              <a:ahLst/>
              <a:cxnLst/>
              <a:rect l="l" t="t" r="r" b="b"/>
              <a:pathLst>
                <a:path w="1418" h="694" extrusionOk="0">
                  <a:moveTo>
                    <a:pt x="347" y="0"/>
                  </a:moveTo>
                  <a:cubicBezTo>
                    <a:pt x="158" y="0"/>
                    <a:pt x="0" y="158"/>
                    <a:pt x="0" y="347"/>
                  </a:cubicBezTo>
                  <a:cubicBezTo>
                    <a:pt x="0" y="536"/>
                    <a:pt x="158" y="693"/>
                    <a:pt x="347" y="693"/>
                  </a:cubicBezTo>
                  <a:lnTo>
                    <a:pt x="1040" y="693"/>
                  </a:lnTo>
                  <a:cubicBezTo>
                    <a:pt x="1260" y="693"/>
                    <a:pt x="1418" y="536"/>
                    <a:pt x="1418" y="347"/>
                  </a:cubicBezTo>
                  <a:cubicBezTo>
                    <a:pt x="1418" y="158"/>
                    <a:pt x="1260"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9" name="Google Shape;10479;p79"/>
          <p:cNvSpPr/>
          <p:nvPr/>
        </p:nvSpPr>
        <p:spPr>
          <a:xfrm>
            <a:off x="3538211" y="2917800"/>
            <a:ext cx="314961" cy="357274"/>
          </a:xfrm>
          <a:custGeom>
            <a:avLst/>
            <a:gdLst/>
            <a:ahLst/>
            <a:cxnLst/>
            <a:rect l="l" t="t" r="r" b="b"/>
            <a:pathLst>
              <a:path w="10555" h="11973" extrusionOk="0">
                <a:moveTo>
                  <a:pt x="3151" y="2836"/>
                </a:moveTo>
                <a:cubicBezTo>
                  <a:pt x="3340" y="2836"/>
                  <a:pt x="3498" y="2994"/>
                  <a:pt x="3498" y="3183"/>
                </a:cubicBezTo>
                <a:lnTo>
                  <a:pt x="3498" y="3529"/>
                </a:lnTo>
                <a:lnTo>
                  <a:pt x="2805" y="3529"/>
                </a:lnTo>
                <a:lnTo>
                  <a:pt x="2805" y="3183"/>
                </a:lnTo>
                <a:cubicBezTo>
                  <a:pt x="2805" y="2994"/>
                  <a:pt x="2962" y="2836"/>
                  <a:pt x="3151" y="2836"/>
                </a:cubicBezTo>
                <a:close/>
                <a:moveTo>
                  <a:pt x="9862" y="4191"/>
                </a:moveTo>
                <a:lnTo>
                  <a:pt x="9862" y="5262"/>
                </a:lnTo>
                <a:cubicBezTo>
                  <a:pt x="9862" y="5451"/>
                  <a:pt x="9704" y="5609"/>
                  <a:pt x="9484" y="5609"/>
                </a:cubicBezTo>
                <a:cubicBezTo>
                  <a:pt x="9295" y="5609"/>
                  <a:pt x="9137" y="5451"/>
                  <a:pt x="9137" y="5262"/>
                </a:cubicBezTo>
                <a:lnTo>
                  <a:pt x="9137" y="4191"/>
                </a:lnTo>
                <a:close/>
                <a:moveTo>
                  <a:pt x="3151" y="5609"/>
                </a:moveTo>
                <a:cubicBezTo>
                  <a:pt x="3340" y="5609"/>
                  <a:pt x="3498" y="5766"/>
                  <a:pt x="3498" y="5987"/>
                </a:cubicBezTo>
                <a:cubicBezTo>
                  <a:pt x="3498" y="6176"/>
                  <a:pt x="3340" y="6333"/>
                  <a:pt x="3151" y="6333"/>
                </a:cubicBezTo>
                <a:cubicBezTo>
                  <a:pt x="2962" y="6333"/>
                  <a:pt x="2805" y="6176"/>
                  <a:pt x="2805" y="5987"/>
                </a:cubicBezTo>
                <a:cubicBezTo>
                  <a:pt x="2805" y="5766"/>
                  <a:pt x="2962" y="5609"/>
                  <a:pt x="3151" y="5609"/>
                </a:cubicBezTo>
                <a:close/>
                <a:moveTo>
                  <a:pt x="3592" y="4254"/>
                </a:moveTo>
                <a:cubicBezTo>
                  <a:pt x="4695" y="4443"/>
                  <a:pt x="5640" y="5451"/>
                  <a:pt x="5640" y="6680"/>
                </a:cubicBezTo>
                <a:lnTo>
                  <a:pt x="5640" y="8822"/>
                </a:lnTo>
                <a:cubicBezTo>
                  <a:pt x="5640" y="10145"/>
                  <a:pt x="4538" y="11248"/>
                  <a:pt x="3183" y="11248"/>
                </a:cubicBezTo>
                <a:cubicBezTo>
                  <a:pt x="1860" y="11248"/>
                  <a:pt x="757" y="10145"/>
                  <a:pt x="757" y="8822"/>
                </a:cubicBezTo>
                <a:lnTo>
                  <a:pt x="757" y="6680"/>
                </a:lnTo>
                <a:cubicBezTo>
                  <a:pt x="757" y="5451"/>
                  <a:pt x="1671" y="4443"/>
                  <a:pt x="2868" y="4254"/>
                </a:cubicBezTo>
                <a:lnTo>
                  <a:pt x="2868" y="4979"/>
                </a:lnTo>
                <a:cubicBezTo>
                  <a:pt x="2490" y="5136"/>
                  <a:pt x="2175" y="5546"/>
                  <a:pt x="2175" y="5987"/>
                </a:cubicBezTo>
                <a:cubicBezTo>
                  <a:pt x="2175" y="6396"/>
                  <a:pt x="2458" y="6837"/>
                  <a:pt x="2868" y="6963"/>
                </a:cubicBezTo>
                <a:lnTo>
                  <a:pt x="2868" y="7341"/>
                </a:lnTo>
                <a:cubicBezTo>
                  <a:pt x="2868" y="7562"/>
                  <a:pt x="3025" y="7719"/>
                  <a:pt x="3246" y="7719"/>
                </a:cubicBezTo>
                <a:cubicBezTo>
                  <a:pt x="3435" y="7719"/>
                  <a:pt x="3592" y="7562"/>
                  <a:pt x="3592" y="7341"/>
                </a:cubicBezTo>
                <a:lnTo>
                  <a:pt x="3592" y="6963"/>
                </a:lnTo>
                <a:cubicBezTo>
                  <a:pt x="3970" y="6806"/>
                  <a:pt x="4286" y="6396"/>
                  <a:pt x="4286" y="5987"/>
                </a:cubicBezTo>
                <a:cubicBezTo>
                  <a:pt x="4286" y="5546"/>
                  <a:pt x="4033" y="5105"/>
                  <a:pt x="3592" y="4979"/>
                </a:cubicBezTo>
                <a:lnTo>
                  <a:pt x="3592" y="4254"/>
                </a:lnTo>
                <a:close/>
                <a:moveTo>
                  <a:pt x="5294" y="1"/>
                </a:moveTo>
                <a:cubicBezTo>
                  <a:pt x="4033" y="1"/>
                  <a:pt x="2994" y="946"/>
                  <a:pt x="2836" y="2143"/>
                </a:cubicBezTo>
                <a:cubicBezTo>
                  <a:pt x="2427" y="2301"/>
                  <a:pt x="2143" y="2710"/>
                  <a:pt x="2143" y="3151"/>
                </a:cubicBezTo>
                <a:lnTo>
                  <a:pt x="2143" y="3687"/>
                </a:lnTo>
                <a:cubicBezTo>
                  <a:pt x="914" y="4128"/>
                  <a:pt x="1" y="5294"/>
                  <a:pt x="1" y="6680"/>
                </a:cubicBezTo>
                <a:lnTo>
                  <a:pt x="1" y="8822"/>
                </a:lnTo>
                <a:cubicBezTo>
                  <a:pt x="1" y="10555"/>
                  <a:pt x="1419" y="11973"/>
                  <a:pt x="3151" y="11973"/>
                </a:cubicBezTo>
                <a:cubicBezTo>
                  <a:pt x="4884" y="11973"/>
                  <a:pt x="6302" y="10555"/>
                  <a:pt x="6302" y="8822"/>
                </a:cubicBezTo>
                <a:lnTo>
                  <a:pt x="6302" y="6680"/>
                </a:lnTo>
                <a:cubicBezTo>
                  <a:pt x="6302" y="5294"/>
                  <a:pt x="5451" y="4128"/>
                  <a:pt x="4191" y="3687"/>
                </a:cubicBezTo>
                <a:lnTo>
                  <a:pt x="4191" y="3151"/>
                </a:lnTo>
                <a:cubicBezTo>
                  <a:pt x="4191" y="2710"/>
                  <a:pt x="3907" y="2301"/>
                  <a:pt x="3529" y="2143"/>
                </a:cubicBezTo>
                <a:cubicBezTo>
                  <a:pt x="3624" y="1293"/>
                  <a:pt x="4380" y="662"/>
                  <a:pt x="5262" y="662"/>
                </a:cubicBezTo>
                <a:cubicBezTo>
                  <a:pt x="6239" y="662"/>
                  <a:pt x="7026" y="1450"/>
                  <a:pt x="7026" y="2427"/>
                </a:cubicBezTo>
                <a:lnTo>
                  <a:pt x="7026" y="8413"/>
                </a:lnTo>
                <a:cubicBezTo>
                  <a:pt x="7026" y="9200"/>
                  <a:pt x="7657" y="9830"/>
                  <a:pt x="8444" y="9830"/>
                </a:cubicBezTo>
                <a:cubicBezTo>
                  <a:pt x="9232" y="9830"/>
                  <a:pt x="9862" y="9200"/>
                  <a:pt x="9862" y="8413"/>
                </a:cubicBezTo>
                <a:lnTo>
                  <a:pt x="9862" y="6239"/>
                </a:lnTo>
                <a:cubicBezTo>
                  <a:pt x="10240" y="6081"/>
                  <a:pt x="10555" y="5703"/>
                  <a:pt x="10555" y="5262"/>
                </a:cubicBezTo>
                <a:lnTo>
                  <a:pt x="10555" y="3844"/>
                </a:lnTo>
                <a:cubicBezTo>
                  <a:pt x="10555" y="3687"/>
                  <a:pt x="10397" y="3529"/>
                  <a:pt x="10208" y="3529"/>
                </a:cubicBezTo>
                <a:lnTo>
                  <a:pt x="9862" y="3529"/>
                </a:lnTo>
                <a:lnTo>
                  <a:pt x="9862" y="2458"/>
                </a:lnTo>
                <a:cubicBezTo>
                  <a:pt x="9862" y="2269"/>
                  <a:pt x="9704" y="2112"/>
                  <a:pt x="9515" y="2112"/>
                </a:cubicBezTo>
                <a:cubicBezTo>
                  <a:pt x="9295" y="2112"/>
                  <a:pt x="9137" y="2269"/>
                  <a:pt x="9137" y="2458"/>
                </a:cubicBezTo>
                <a:lnTo>
                  <a:pt x="9137" y="3529"/>
                </a:lnTo>
                <a:lnTo>
                  <a:pt x="8791" y="3529"/>
                </a:lnTo>
                <a:cubicBezTo>
                  <a:pt x="8602" y="3529"/>
                  <a:pt x="8444" y="3687"/>
                  <a:pt x="8444" y="3876"/>
                </a:cubicBezTo>
                <a:lnTo>
                  <a:pt x="8444" y="5294"/>
                </a:lnTo>
                <a:cubicBezTo>
                  <a:pt x="8444" y="5766"/>
                  <a:pt x="8728" y="6176"/>
                  <a:pt x="9137" y="6302"/>
                </a:cubicBezTo>
                <a:lnTo>
                  <a:pt x="9137" y="8444"/>
                </a:lnTo>
                <a:cubicBezTo>
                  <a:pt x="9137" y="8854"/>
                  <a:pt x="8822" y="9169"/>
                  <a:pt x="8444" y="9169"/>
                </a:cubicBezTo>
                <a:cubicBezTo>
                  <a:pt x="8035" y="9169"/>
                  <a:pt x="7720" y="8854"/>
                  <a:pt x="7720" y="8444"/>
                </a:cubicBezTo>
                <a:lnTo>
                  <a:pt x="7720" y="2458"/>
                </a:lnTo>
                <a:cubicBezTo>
                  <a:pt x="7720" y="1103"/>
                  <a:pt x="6617" y="1"/>
                  <a:pt x="5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0" name="Google Shape;10480;p79"/>
          <p:cNvGrpSpPr/>
          <p:nvPr/>
        </p:nvGrpSpPr>
        <p:grpSpPr>
          <a:xfrm>
            <a:off x="3535175" y="3364463"/>
            <a:ext cx="315886" cy="358199"/>
            <a:chOff x="-45278675" y="2333325"/>
            <a:chExt cx="264650" cy="300100"/>
          </a:xfrm>
        </p:grpSpPr>
        <p:sp>
          <p:nvSpPr>
            <p:cNvPr id="10481" name="Google Shape;10481;p79"/>
            <p:cNvSpPr/>
            <p:nvPr/>
          </p:nvSpPr>
          <p:spPr>
            <a:xfrm>
              <a:off x="-45243225" y="2475100"/>
              <a:ext cx="52775" cy="87450"/>
            </a:xfrm>
            <a:custGeom>
              <a:avLst/>
              <a:gdLst/>
              <a:ahLst/>
              <a:cxnLst/>
              <a:rect l="l" t="t" r="r" b="b"/>
              <a:pathLst>
                <a:path w="2111" h="3498" extrusionOk="0">
                  <a:moveTo>
                    <a:pt x="1071" y="725"/>
                  </a:moveTo>
                  <a:cubicBezTo>
                    <a:pt x="1260" y="725"/>
                    <a:pt x="1418" y="883"/>
                    <a:pt x="1418" y="1072"/>
                  </a:cubicBezTo>
                  <a:cubicBezTo>
                    <a:pt x="1418" y="1261"/>
                    <a:pt x="1260" y="1418"/>
                    <a:pt x="1071" y="1418"/>
                  </a:cubicBezTo>
                  <a:lnTo>
                    <a:pt x="725" y="1418"/>
                  </a:lnTo>
                  <a:lnTo>
                    <a:pt x="725" y="725"/>
                  </a:lnTo>
                  <a:close/>
                  <a:moveTo>
                    <a:pt x="347" y="0"/>
                  </a:moveTo>
                  <a:cubicBezTo>
                    <a:pt x="158" y="0"/>
                    <a:pt x="0" y="158"/>
                    <a:pt x="0" y="347"/>
                  </a:cubicBezTo>
                  <a:lnTo>
                    <a:pt x="0" y="3151"/>
                  </a:lnTo>
                  <a:cubicBezTo>
                    <a:pt x="0" y="3340"/>
                    <a:pt x="158" y="3497"/>
                    <a:pt x="347" y="3497"/>
                  </a:cubicBezTo>
                  <a:cubicBezTo>
                    <a:pt x="536" y="3497"/>
                    <a:pt x="693" y="3340"/>
                    <a:pt x="693" y="3151"/>
                  </a:cubicBezTo>
                  <a:lnTo>
                    <a:pt x="693" y="2080"/>
                  </a:lnTo>
                  <a:lnTo>
                    <a:pt x="1071" y="2080"/>
                  </a:lnTo>
                  <a:cubicBezTo>
                    <a:pt x="1638" y="2080"/>
                    <a:pt x="2111" y="1607"/>
                    <a:pt x="2111" y="1040"/>
                  </a:cubicBezTo>
                  <a:cubicBezTo>
                    <a:pt x="2111" y="473"/>
                    <a:pt x="167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2" name="Google Shape;10482;p79"/>
            <p:cNvSpPr/>
            <p:nvPr/>
          </p:nvSpPr>
          <p:spPr>
            <a:xfrm>
              <a:off x="-45172350" y="2475100"/>
              <a:ext cx="52800" cy="89025"/>
            </a:xfrm>
            <a:custGeom>
              <a:avLst/>
              <a:gdLst/>
              <a:ahLst/>
              <a:cxnLst/>
              <a:rect l="l" t="t" r="r" b="b"/>
              <a:pathLst>
                <a:path w="2112" h="3561" extrusionOk="0">
                  <a:moveTo>
                    <a:pt x="1072" y="0"/>
                  </a:moveTo>
                  <a:cubicBezTo>
                    <a:pt x="473" y="0"/>
                    <a:pt x="1" y="473"/>
                    <a:pt x="1" y="1072"/>
                  </a:cubicBezTo>
                  <a:cubicBezTo>
                    <a:pt x="1" y="1670"/>
                    <a:pt x="473" y="2143"/>
                    <a:pt x="1072" y="2143"/>
                  </a:cubicBezTo>
                  <a:cubicBezTo>
                    <a:pt x="1261" y="2143"/>
                    <a:pt x="1418" y="2300"/>
                    <a:pt x="1418" y="2489"/>
                  </a:cubicBezTo>
                  <a:cubicBezTo>
                    <a:pt x="1418" y="2678"/>
                    <a:pt x="1261" y="2836"/>
                    <a:pt x="1072" y="2836"/>
                  </a:cubicBezTo>
                  <a:cubicBezTo>
                    <a:pt x="851" y="2836"/>
                    <a:pt x="694" y="2678"/>
                    <a:pt x="694" y="2489"/>
                  </a:cubicBezTo>
                  <a:cubicBezTo>
                    <a:pt x="694" y="2300"/>
                    <a:pt x="536" y="2143"/>
                    <a:pt x="347" y="2143"/>
                  </a:cubicBezTo>
                  <a:cubicBezTo>
                    <a:pt x="158" y="2143"/>
                    <a:pt x="1" y="2300"/>
                    <a:pt x="1" y="2489"/>
                  </a:cubicBezTo>
                  <a:cubicBezTo>
                    <a:pt x="1" y="3088"/>
                    <a:pt x="473" y="3560"/>
                    <a:pt x="1072" y="3560"/>
                  </a:cubicBezTo>
                  <a:cubicBezTo>
                    <a:pt x="1639" y="3560"/>
                    <a:pt x="2111" y="3088"/>
                    <a:pt x="2111" y="2489"/>
                  </a:cubicBezTo>
                  <a:cubicBezTo>
                    <a:pt x="2111" y="1891"/>
                    <a:pt x="1639" y="1418"/>
                    <a:pt x="1072" y="1418"/>
                  </a:cubicBezTo>
                  <a:cubicBezTo>
                    <a:pt x="851" y="1418"/>
                    <a:pt x="725" y="1261"/>
                    <a:pt x="725" y="1072"/>
                  </a:cubicBezTo>
                  <a:cubicBezTo>
                    <a:pt x="725" y="883"/>
                    <a:pt x="851" y="725"/>
                    <a:pt x="1072" y="725"/>
                  </a:cubicBezTo>
                  <a:cubicBezTo>
                    <a:pt x="1261" y="725"/>
                    <a:pt x="1418" y="883"/>
                    <a:pt x="1418" y="1072"/>
                  </a:cubicBezTo>
                  <a:cubicBezTo>
                    <a:pt x="1418" y="1261"/>
                    <a:pt x="1576" y="1418"/>
                    <a:pt x="1765" y="1418"/>
                  </a:cubicBezTo>
                  <a:cubicBezTo>
                    <a:pt x="1954" y="1418"/>
                    <a:pt x="2111" y="1261"/>
                    <a:pt x="2111" y="1072"/>
                  </a:cubicBezTo>
                  <a:cubicBezTo>
                    <a:pt x="2111" y="473"/>
                    <a:pt x="1639"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3" name="Google Shape;10483;p79"/>
            <p:cNvSpPr/>
            <p:nvPr/>
          </p:nvSpPr>
          <p:spPr>
            <a:xfrm>
              <a:off x="-45102250" y="2475100"/>
              <a:ext cx="52800" cy="87450"/>
            </a:xfrm>
            <a:custGeom>
              <a:avLst/>
              <a:gdLst/>
              <a:ahLst/>
              <a:cxnLst/>
              <a:rect l="l" t="t" r="r" b="b"/>
              <a:pathLst>
                <a:path w="2112" h="3498" extrusionOk="0">
                  <a:moveTo>
                    <a:pt x="1072" y="725"/>
                  </a:moveTo>
                  <a:cubicBezTo>
                    <a:pt x="1261" y="725"/>
                    <a:pt x="1418" y="883"/>
                    <a:pt x="1418" y="1072"/>
                  </a:cubicBezTo>
                  <a:lnTo>
                    <a:pt x="1418" y="2458"/>
                  </a:lnTo>
                  <a:cubicBezTo>
                    <a:pt x="1418" y="2647"/>
                    <a:pt x="1261" y="2804"/>
                    <a:pt x="1072" y="2804"/>
                  </a:cubicBezTo>
                  <a:lnTo>
                    <a:pt x="694" y="2804"/>
                  </a:lnTo>
                  <a:lnTo>
                    <a:pt x="694" y="725"/>
                  </a:lnTo>
                  <a:close/>
                  <a:moveTo>
                    <a:pt x="347" y="0"/>
                  </a:moveTo>
                  <a:cubicBezTo>
                    <a:pt x="158" y="0"/>
                    <a:pt x="0" y="158"/>
                    <a:pt x="0" y="347"/>
                  </a:cubicBezTo>
                  <a:lnTo>
                    <a:pt x="0" y="3151"/>
                  </a:lnTo>
                  <a:cubicBezTo>
                    <a:pt x="0" y="3340"/>
                    <a:pt x="158" y="3497"/>
                    <a:pt x="347" y="3497"/>
                  </a:cubicBezTo>
                  <a:lnTo>
                    <a:pt x="1040" y="3497"/>
                  </a:lnTo>
                  <a:cubicBezTo>
                    <a:pt x="1639" y="3497"/>
                    <a:pt x="2111" y="3025"/>
                    <a:pt x="2111" y="2458"/>
                  </a:cubicBezTo>
                  <a:lnTo>
                    <a:pt x="2111" y="1040"/>
                  </a:lnTo>
                  <a:cubicBezTo>
                    <a:pt x="2111" y="473"/>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79"/>
            <p:cNvSpPr/>
            <p:nvPr/>
          </p:nvSpPr>
          <p:spPr>
            <a:xfrm>
              <a:off x="-45278675" y="2333325"/>
              <a:ext cx="264650" cy="300100"/>
            </a:xfrm>
            <a:custGeom>
              <a:avLst/>
              <a:gdLst/>
              <a:ahLst/>
              <a:cxnLst/>
              <a:rect l="l" t="t" r="r" b="b"/>
              <a:pathLst>
                <a:path w="10586" h="12004" extrusionOk="0">
                  <a:moveTo>
                    <a:pt x="7751" y="1229"/>
                  </a:moveTo>
                  <a:lnTo>
                    <a:pt x="8664" y="2143"/>
                  </a:lnTo>
                  <a:lnTo>
                    <a:pt x="7751" y="2143"/>
                  </a:lnTo>
                  <a:lnTo>
                    <a:pt x="7751" y="1229"/>
                  </a:lnTo>
                  <a:close/>
                  <a:moveTo>
                    <a:pt x="7089" y="725"/>
                  </a:moveTo>
                  <a:lnTo>
                    <a:pt x="7089" y="2489"/>
                  </a:lnTo>
                  <a:cubicBezTo>
                    <a:pt x="7089" y="2678"/>
                    <a:pt x="7246" y="2836"/>
                    <a:pt x="7436" y="2836"/>
                  </a:cubicBezTo>
                  <a:lnTo>
                    <a:pt x="9200" y="2836"/>
                  </a:lnTo>
                  <a:lnTo>
                    <a:pt x="9200" y="4254"/>
                  </a:lnTo>
                  <a:lnTo>
                    <a:pt x="1481" y="4254"/>
                  </a:lnTo>
                  <a:lnTo>
                    <a:pt x="1481" y="725"/>
                  </a:lnTo>
                  <a:close/>
                  <a:moveTo>
                    <a:pt x="9893" y="4978"/>
                  </a:moveTo>
                  <a:lnTo>
                    <a:pt x="9893" y="9893"/>
                  </a:lnTo>
                  <a:lnTo>
                    <a:pt x="756" y="9893"/>
                  </a:lnTo>
                  <a:lnTo>
                    <a:pt x="756" y="4978"/>
                  </a:lnTo>
                  <a:close/>
                  <a:moveTo>
                    <a:pt x="9168" y="10586"/>
                  </a:moveTo>
                  <a:lnTo>
                    <a:pt x="9168" y="11311"/>
                  </a:lnTo>
                  <a:lnTo>
                    <a:pt x="1450" y="11311"/>
                  </a:lnTo>
                  <a:lnTo>
                    <a:pt x="1450" y="10586"/>
                  </a:lnTo>
                  <a:close/>
                  <a:moveTo>
                    <a:pt x="1072" y="1"/>
                  </a:moveTo>
                  <a:cubicBezTo>
                    <a:pt x="851" y="1"/>
                    <a:pt x="725" y="158"/>
                    <a:pt x="725" y="347"/>
                  </a:cubicBezTo>
                  <a:lnTo>
                    <a:pt x="725" y="4254"/>
                  </a:lnTo>
                  <a:lnTo>
                    <a:pt x="347" y="4254"/>
                  </a:lnTo>
                  <a:cubicBezTo>
                    <a:pt x="158" y="4254"/>
                    <a:pt x="0" y="4411"/>
                    <a:pt x="0" y="4600"/>
                  </a:cubicBezTo>
                  <a:lnTo>
                    <a:pt x="0" y="10240"/>
                  </a:lnTo>
                  <a:cubicBezTo>
                    <a:pt x="0" y="10429"/>
                    <a:pt x="158" y="10586"/>
                    <a:pt x="347" y="10586"/>
                  </a:cubicBezTo>
                  <a:lnTo>
                    <a:pt x="725" y="10586"/>
                  </a:lnTo>
                  <a:lnTo>
                    <a:pt x="725" y="11657"/>
                  </a:lnTo>
                  <a:cubicBezTo>
                    <a:pt x="725" y="11846"/>
                    <a:pt x="851" y="12004"/>
                    <a:pt x="1072" y="12004"/>
                  </a:cubicBezTo>
                  <a:lnTo>
                    <a:pt x="9483" y="12004"/>
                  </a:lnTo>
                  <a:cubicBezTo>
                    <a:pt x="9672" y="12004"/>
                    <a:pt x="9830" y="11846"/>
                    <a:pt x="9830" y="11657"/>
                  </a:cubicBezTo>
                  <a:lnTo>
                    <a:pt x="9830" y="10586"/>
                  </a:lnTo>
                  <a:lnTo>
                    <a:pt x="10208" y="10586"/>
                  </a:lnTo>
                  <a:cubicBezTo>
                    <a:pt x="10397" y="10586"/>
                    <a:pt x="10555" y="10429"/>
                    <a:pt x="10555" y="10240"/>
                  </a:cubicBezTo>
                  <a:lnTo>
                    <a:pt x="10555" y="4600"/>
                  </a:lnTo>
                  <a:cubicBezTo>
                    <a:pt x="10586" y="4411"/>
                    <a:pt x="10428" y="4254"/>
                    <a:pt x="10239" y="4254"/>
                  </a:cubicBezTo>
                  <a:lnTo>
                    <a:pt x="9893" y="4254"/>
                  </a:lnTo>
                  <a:lnTo>
                    <a:pt x="9893" y="2489"/>
                  </a:lnTo>
                  <a:cubicBezTo>
                    <a:pt x="9893" y="2395"/>
                    <a:pt x="9830" y="2300"/>
                    <a:pt x="9767" y="2237"/>
                  </a:cubicBezTo>
                  <a:lnTo>
                    <a:pt x="7656" y="127"/>
                  </a:lnTo>
                  <a:cubicBezTo>
                    <a:pt x="7562" y="32"/>
                    <a:pt x="7499" y="1"/>
                    <a:pt x="74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5" name="Google Shape;10485;p79"/>
          <p:cNvGrpSpPr/>
          <p:nvPr/>
        </p:nvGrpSpPr>
        <p:grpSpPr>
          <a:xfrm>
            <a:off x="3545500" y="3819420"/>
            <a:ext cx="295237" cy="358229"/>
            <a:chOff x="-45270025" y="2701925"/>
            <a:chExt cx="247350" cy="300125"/>
          </a:xfrm>
        </p:grpSpPr>
        <p:sp>
          <p:nvSpPr>
            <p:cNvPr id="10486" name="Google Shape;10486;p79"/>
            <p:cNvSpPr/>
            <p:nvPr/>
          </p:nvSpPr>
          <p:spPr>
            <a:xfrm>
              <a:off x="-45128250" y="28437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7" name="Google Shape;10487;p79"/>
            <p:cNvSpPr/>
            <p:nvPr/>
          </p:nvSpPr>
          <p:spPr>
            <a:xfrm>
              <a:off x="-45270025" y="2701925"/>
              <a:ext cx="247350" cy="300125"/>
            </a:xfrm>
            <a:custGeom>
              <a:avLst/>
              <a:gdLst/>
              <a:ahLst/>
              <a:cxnLst/>
              <a:rect l="l" t="t" r="r" b="b"/>
              <a:pathLst>
                <a:path w="9894" h="12005" extrusionOk="0">
                  <a:moveTo>
                    <a:pt x="7751" y="1261"/>
                  </a:moveTo>
                  <a:lnTo>
                    <a:pt x="8665" y="2143"/>
                  </a:lnTo>
                  <a:lnTo>
                    <a:pt x="7751" y="2143"/>
                  </a:lnTo>
                  <a:lnTo>
                    <a:pt x="7751" y="1261"/>
                  </a:lnTo>
                  <a:close/>
                  <a:moveTo>
                    <a:pt x="7090" y="4979"/>
                  </a:moveTo>
                  <a:lnTo>
                    <a:pt x="7090" y="9925"/>
                  </a:lnTo>
                  <a:lnTo>
                    <a:pt x="757" y="9925"/>
                  </a:lnTo>
                  <a:lnTo>
                    <a:pt x="757" y="4979"/>
                  </a:lnTo>
                  <a:close/>
                  <a:moveTo>
                    <a:pt x="7090" y="725"/>
                  </a:moveTo>
                  <a:lnTo>
                    <a:pt x="7090" y="2521"/>
                  </a:lnTo>
                  <a:cubicBezTo>
                    <a:pt x="7090" y="2710"/>
                    <a:pt x="7247" y="2868"/>
                    <a:pt x="7436" y="2868"/>
                  </a:cubicBezTo>
                  <a:lnTo>
                    <a:pt x="9232" y="2868"/>
                  </a:lnTo>
                  <a:lnTo>
                    <a:pt x="9232" y="11343"/>
                  </a:lnTo>
                  <a:lnTo>
                    <a:pt x="1450" y="11343"/>
                  </a:lnTo>
                  <a:lnTo>
                    <a:pt x="1450" y="10618"/>
                  </a:lnTo>
                  <a:lnTo>
                    <a:pt x="7436" y="10618"/>
                  </a:lnTo>
                  <a:cubicBezTo>
                    <a:pt x="7657" y="10618"/>
                    <a:pt x="7814" y="10460"/>
                    <a:pt x="7814" y="10271"/>
                  </a:cubicBezTo>
                  <a:lnTo>
                    <a:pt x="7814" y="4632"/>
                  </a:lnTo>
                  <a:cubicBezTo>
                    <a:pt x="7814" y="4443"/>
                    <a:pt x="7657" y="4285"/>
                    <a:pt x="7436" y="4285"/>
                  </a:cubicBezTo>
                  <a:lnTo>
                    <a:pt x="1450" y="4285"/>
                  </a:lnTo>
                  <a:lnTo>
                    <a:pt x="1450" y="725"/>
                  </a:lnTo>
                  <a:close/>
                  <a:moveTo>
                    <a:pt x="1072" y="1"/>
                  </a:moveTo>
                  <a:cubicBezTo>
                    <a:pt x="883" y="1"/>
                    <a:pt x="726" y="158"/>
                    <a:pt x="726" y="347"/>
                  </a:cubicBezTo>
                  <a:lnTo>
                    <a:pt x="726" y="4254"/>
                  </a:lnTo>
                  <a:lnTo>
                    <a:pt x="379" y="4254"/>
                  </a:lnTo>
                  <a:cubicBezTo>
                    <a:pt x="158" y="4254"/>
                    <a:pt x="1" y="4411"/>
                    <a:pt x="1" y="4601"/>
                  </a:cubicBezTo>
                  <a:lnTo>
                    <a:pt x="1" y="10240"/>
                  </a:lnTo>
                  <a:cubicBezTo>
                    <a:pt x="1" y="10429"/>
                    <a:pt x="158" y="10586"/>
                    <a:pt x="379" y="10586"/>
                  </a:cubicBezTo>
                  <a:lnTo>
                    <a:pt x="726" y="10586"/>
                  </a:lnTo>
                  <a:lnTo>
                    <a:pt x="726" y="11658"/>
                  </a:lnTo>
                  <a:cubicBezTo>
                    <a:pt x="726" y="11847"/>
                    <a:pt x="883" y="12004"/>
                    <a:pt x="1072" y="12004"/>
                  </a:cubicBezTo>
                  <a:lnTo>
                    <a:pt x="9484" y="12004"/>
                  </a:lnTo>
                  <a:cubicBezTo>
                    <a:pt x="9704" y="12004"/>
                    <a:pt x="9862" y="11847"/>
                    <a:pt x="9862" y="11658"/>
                  </a:cubicBezTo>
                  <a:lnTo>
                    <a:pt x="9893" y="2458"/>
                  </a:lnTo>
                  <a:cubicBezTo>
                    <a:pt x="9893" y="2395"/>
                    <a:pt x="9862" y="2269"/>
                    <a:pt x="9767" y="2238"/>
                  </a:cubicBezTo>
                  <a:lnTo>
                    <a:pt x="7657" y="95"/>
                  </a:lnTo>
                  <a:cubicBezTo>
                    <a:pt x="7562" y="32"/>
                    <a:pt x="7499" y="1"/>
                    <a:pt x="74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8" name="Google Shape;10488;p79"/>
            <p:cNvSpPr/>
            <p:nvPr/>
          </p:nvSpPr>
          <p:spPr>
            <a:xfrm>
              <a:off x="-45235350" y="2844500"/>
              <a:ext cx="89800" cy="87450"/>
            </a:xfrm>
            <a:custGeom>
              <a:avLst/>
              <a:gdLst/>
              <a:ahLst/>
              <a:cxnLst/>
              <a:rect l="l" t="t" r="r" b="b"/>
              <a:pathLst>
                <a:path w="3592" h="3498" extrusionOk="0">
                  <a:moveTo>
                    <a:pt x="1796" y="1103"/>
                  </a:moveTo>
                  <a:lnTo>
                    <a:pt x="2268" y="2079"/>
                  </a:lnTo>
                  <a:lnTo>
                    <a:pt x="1292" y="2079"/>
                  </a:lnTo>
                  <a:lnTo>
                    <a:pt x="1796" y="1103"/>
                  </a:lnTo>
                  <a:close/>
                  <a:moveTo>
                    <a:pt x="1764" y="0"/>
                  </a:moveTo>
                  <a:cubicBezTo>
                    <a:pt x="1638" y="0"/>
                    <a:pt x="1544" y="63"/>
                    <a:pt x="1449" y="189"/>
                  </a:cubicBezTo>
                  <a:lnTo>
                    <a:pt x="32" y="2993"/>
                  </a:lnTo>
                  <a:cubicBezTo>
                    <a:pt x="0" y="3151"/>
                    <a:pt x="63" y="3340"/>
                    <a:pt x="284" y="3466"/>
                  </a:cubicBezTo>
                  <a:cubicBezTo>
                    <a:pt x="324" y="3482"/>
                    <a:pt x="369" y="3490"/>
                    <a:pt x="415" y="3490"/>
                  </a:cubicBezTo>
                  <a:cubicBezTo>
                    <a:pt x="547" y="3490"/>
                    <a:pt x="686" y="3425"/>
                    <a:pt x="756" y="3308"/>
                  </a:cubicBezTo>
                  <a:lnTo>
                    <a:pt x="977" y="2804"/>
                  </a:lnTo>
                  <a:lnTo>
                    <a:pt x="2647" y="2804"/>
                  </a:lnTo>
                  <a:lnTo>
                    <a:pt x="2867" y="3308"/>
                  </a:lnTo>
                  <a:cubicBezTo>
                    <a:pt x="2962" y="3434"/>
                    <a:pt x="3056" y="3497"/>
                    <a:pt x="3182" y="3497"/>
                  </a:cubicBezTo>
                  <a:cubicBezTo>
                    <a:pt x="3245" y="3497"/>
                    <a:pt x="3308" y="3497"/>
                    <a:pt x="3340" y="3466"/>
                  </a:cubicBezTo>
                  <a:cubicBezTo>
                    <a:pt x="3497" y="3371"/>
                    <a:pt x="3592" y="3151"/>
                    <a:pt x="3497" y="2993"/>
                  </a:cubicBezTo>
                  <a:lnTo>
                    <a:pt x="2079" y="189"/>
                  </a:lnTo>
                  <a:cubicBezTo>
                    <a:pt x="2016" y="63"/>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9" name="Google Shape;10489;p79"/>
            <p:cNvSpPr/>
            <p:nvPr/>
          </p:nvSpPr>
          <p:spPr>
            <a:xfrm>
              <a:off x="-45128250" y="2879150"/>
              <a:ext cx="18150" cy="52800"/>
            </a:xfrm>
            <a:custGeom>
              <a:avLst/>
              <a:gdLst/>
              <a:ahLst/>
              <a:cxnLst/>
              <a:rect l="l" t="t" r="r" b="b"/>
              <a:pathLst>
                <a:path w="726" h="2112" extrusionOk="0">
                  <a:moveTo>
                    <a:pt x="347" y="0"/>
                  </a:moveTo>
                  <a:cubicBezTo>
                    <a:pt x="158" y="0"/>
                    <a:pt x="1" y="158"/>
                    <a:pt x="1" y="347"/>
                  </a:cubicBezTo>
                  <a:lnTo>
                    <a:pt x="1" y="1765"/>
                  </a:lnTo>
                  <a:cubicBezTo>
                    <a:pt x="1" y="1954"/>
                    <a:pt x="158" y="2111"/>
                    <a:pt x="347" y="2111"/>
                  </a:cubicBezTo>
                  <a:cubicBezTo>
                    <a:pt x="568" y="2111"/>
                    <a:pt x="725" y="1954"/>
                    <a:pt x="725" y="1765"/>
                  </a:cubicBezTo>
                  <a:lnTo>
                    <a:pt x="725" y="347"/>
                  </a:ln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90" name="Google Shape;10490;p79"/>
          <p:cNvSpPr/>
          <p:nvPr/>
        </p:nvSpPr>
        <p:spPr>
          <a:xfrm>
            <a:off x="2628699" y="4289914"/>
            <a:ext cx="358199" cy="358199"/>
          </a:xfrm>
          <a:custGeom>
            <a:avLst/>
            <a:gdLst/>
            <a:ahLst/>
            <a:cxnLst/>
            <a:rect l="l" t="t" r="r" b="b"/>
            <a:pathLst>
              <a:path w="12004" h="12004" extrusionOk="0">
                <a:moveTo>
                  <a:pt x="2867" y="725"/>
                </a:moveTo>
                <a:lnTo>
                  <a:pt x="2867" y="1449"/>
                </a:lnTo>
                <a:lnTo>
                  <a:pt x="2174" y="1449"/>
                </a:lnTo>
                <a:lnTo>
                  <a:pt x="2174" y="725"/>
                </a:lnTo>
                <a:close/>
                <a:moveTo>
                  <a:pt x="7971" y="3592"/>
                </a:moveTo>
                <a:lnTo>
                  <a:pt x="3560" y="8002"/>
                </a:lnTo>
                <a:lnTo>
                  <a:pt x="3560" y="3592"/>
                </a:lnTo>
                <a:close/>
                <a:moveTo>
                  <a:pt x="8506" y="4064"/>
                </a:moveTo>
                <a:lnTo>
                  <a:pt x="8506" y="8475"/>
                </a:lnTo>
                <a:lnTo>
                  <a:pt x="4096" y="8475"/>
                </a:lnTo>
                <a:lnTo>
                  <a:pt x="8506" y="4064"/>
                </a:lnTo>
                <a:close/>
                <a:moveTo>
                  <a:pt x="2867" y="3529"/>
                </a:moveTo>
                <a:lnTo>
                  <a:pt x="2867" y="8821"/>
                </a:lnTo>
                <a:cubicBezTo>
                  <a:pt x="2867" y="9011"/>
                  <a:pt x="3025" y="9168"/>
                  <a:pt x="3214" y="9168"/>
                </a:cubicBezTo>
                <a:lnTo>
                  <a:pt x="8506" y="9168"/>
                </a:lnTo>
                <a:lnTo>
                  <a:pt x="8506" y="9893"/>
                </a:lnTo>
                <a:lnTo>
                  <a:pt x="2174" y="9893"/>
                </a:lnTo>
                <a:lnTo>
                  <a:pt x="2174" y="3529"/>
                </a:lnTo>
                <a:close/>
                <a:moveTo>
                  <a:pt x="11342" y="9168"/>
                </a:moveTo>
                <a:lnTo>
                  <a:pt x="11342" y="9893"/>
                </a:lnTo>
                <a:lnTo>
                  <a:pt x="10617" y="9893"/>
                </a:lnTo>
                <a:lnTo>
                  <a:pt x="10617" y="9168"/>
                </a:lnTo>
                <a:close/>
                <a:moveTo>
                  <a:pt x="9830" y="2111"/>
                </a:moveTo>
                <a:lnTo>
                  <a:pt x="9830" y="11310"/>
                </a:lnTo>
                <a:lnTo>
                  <a:pt x="9168" y="11310"/>
                </a:lnTo>
                <a:lnTo>
                  <a:pt x="9168" y="3182"/>
                </a:lnTo>
                <a:lnTo>
                  <a:pt x="9168" y="3151"/>
                </a:lnTo>
                <a:cubicBezTo>
                  <a:pt x="9168" y="2993"/>
                  <a:pt x="9010" y="2836"/>
                  <a:pt x="8821" y="2836"/>
                </a:cubicBezTo>
                <a:lnTo>
                  <a:pt x="693" y="2836"/>
                </a:lnTo>
                <a:lnTo>
                  <a:pt x="693" y="2111"/>
                </a:lnTo>
                <a:close/>
                <a:moveTo>
                  <a:pt x="1764" y="0"/>
                </a:moveTo>
                <a:cubicBezTo>
                  <a:pt x="1575" y="0"/>
                  <a:pt x="1418" y="158"/>
                  <a:pt x="1418" y="347"/>
                </a:cubicBezTo>
                <a:lnTo>
                  <a:pt x="1418" y="1418"/>
                </a:lnTo>
                <a:lnTo>
                  <a:pt x="347" y="1418"/>
                </a:lnTo>
                <a:cubicBezTo>
                  <a:pt x="158" y="1418"/>
                  <a:pt x="0" y="1575"/>
                  <a:pt x="0" y="1764"/>
                </a:cubicBezTo>
                <a:lnTo>
                  <a:pt x="0" y="3182"/>
                </a:lnTo>
                <a:cubicBezTo>
                  <a:pt x="0" y="3371"/>
                  <a:pt x="158" y="3529"/>
                  <a:pt x="347" y="3529"/>
                </a:cubicBezTo>
                <a:lnTo>
                  <a:pt x="1418" y="3529"/>
                </a:lnTo>
                <a:lnTo>
                  <a:pt x="1418" y="10082"/>
                </a:lnTo>
                <a:lnTo>
                  <a:pt x="819" y="10680"/>
                </a:lnTo>
                <a:cubicBezTo>
                  <a:pt x="693" y="10775"/>
                  <a:pt x="693" y="11027"/>
                  <a:pt x="819" y="11184"/>
                </a:cubicBezTo>
                <a:cubicBezTo>
                  <a:pt x="882" y="11247"/>
                  <a:pt x="969" y="11279"/>
                  <a:pt x="1059" y="11279"/>
                </a:cubicBezTo>
                <a:cubicBezTo>
                  <a:pt x="1150" y="11279"/>
                  <a:pt x="1245" y="11247"/>
                  <a:pt x="1323" y="11184"/>
                </a:cubicBezTo>
                <a:lnTo>
                  <a:pt x="1922" y="10586"/>
                </a:lnTo>
                <a:lnTo>
                  <a:pt x="8475" y="10586"/>
                </a:lnTo>
                <a:lnTo>
                  <a:pt x="8475" y="11657"/>
                </a:lnTo>
                <a:cubicBezTo>
                  <a:pt x="8475" y="11846"/>
                  <a:pt x="8601" y="12003"/>
                  <a:pt x="8821" y="12003"/>
                </a:cubicBezTo>
                <a:lnTo>
                  <a:pt x="10239" y="12003"/>
                </a:lnTo>
                <a:cubicBezTo>
                  <a:pt x="10428" y="12003"/>
                  <a:pt x="10586" y="11846"/>
                  <a:pt x="10586" y="11657"/>
                </a:cubicBezTo>
                <a:lnTo>
                  <a:pt x="10586" y="10586"/>
                </a:lnTo>
                <a:lnTo>
                  <a:pt x="11657" y="10586"/>
                </a:lnTo>
                <a:cubicBezTo>
                  <a:pt x="11846" y="10586"/>
                  <a:pt x="12003" y="10428"/>
                  <a:pt x="12003" y="10239"/>
                </a:cubicBezTo>
                <a:lnTo>
                  <a:pt x="12003" y="8821"/>
                </a:lnTo>
                <a:cubicBezTo>
                  <a:pt x="12003" y="8632"/>
                  <a:pt x="11846" y="8475"/>
                  <a:pt x="11657" y="8475"/>
                </a:cubicBezTo>
                <a:lnTo>
                  <a:pt x="10586" y="8475"/>
                </a:lnTo>
                <a:lnTo>
                  <a:pt x="10586" y="1922"/>
                </a:lnTo>
                <a:lnTo>
                  <a:pt x="11184" y="1323"/>
                </a:lnTo>
                <a:cubicBezTo>
                  <a:pt x="11279" y="1229"/>
                  <a:pt x="11279" y="977"/>
                  <a:pt x="11184" y="819"/>
                </a:cubicBezTo>
                <a:cubicBezTo>
                  <a:pt x="11121" y="756"/>
                  <a:pt x="11035" y="725"/>
                  <a:pt x="10940" y="725"/>
                </a:cubicBezTo>
                <a:cubicBezTo>
                  <a:pt x="10846" y="725"/>
                  <a:pt x="10743" y="756"/>
                  <a:pt x="10649" y="819"/>
                </a:cubicBezTo>
                <a:lnTo>
                  <a:pt x="10082" y="1418"/>
                </a:lnTo>
                <a:lnTo>
                  <a:pt x="3529" y="1418"/>
                </a:lnTo>
                <a:lnTo>
                  <a:pt x="3529" y="347"/>
                </a:lnTo>
                <a:cubicBezTo>
                  <a:pt x="3529" y="158"/>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91" name="Google Shape;10491;p79"/>
          <p:cNvGrpSpPr/>
          <p:nvPr/>
        </p:nvGrpSpPr>
        <p:grpSpPr>
          <a:xfrm>
            <a:off x="2209567" y="2078266"/>
            <a:ext cx="307444" cy="260626"/>
            <a:chOff x="1636184" y="2959225"/>
            <a:chExt cx="232666" cy="197250"/>
          </a:xfrm>
        </p:grpSpPr>
        <p:sp>
          <p:nvSpPr>
            <p:cNvPr id="10492" name="Google Shape;10492;p79"/>
            <p:cNvSpPr/>
            <p:nvPr/>
          </p:nvSpPr>
          <p:spPr>
            <a:xfrm>
              <a:off x="1649300"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79"/>
            <p:cNvSpPr/>
            <p:nvPr/>
          </p:nvSpPr>
          <p:spPr>
            <a:xfrm flipH="1">
              <a:off x="1636184"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79"/>
            <p:cNvSpPr/>
            <p:nvPr/>
          </p:nvSpPr>
          <p:spPr>
            <a:xfrm>
              <a:off x="1734750" y="3136775"/>
              <a:ext cx="36900" cy="19650"/>
            </a:xfrm>
            <a:custGeom>
              <a:avLst/>
              <a:gdLst/>
              <a:ahLst/>
              <a:cxnLst/>
              <a:rect l="l" t="t" r="r" b="b"/>
              <a:pathLst>
                <a:path w="1476" h="786" extrusionOk="0">
                  <a:moveTo>
                    <a:pt x="0" y="786"/>
                  </a:moveTo>
                  <a:lnTo>
                    <a:pt x="1476" y="786"/>
                  </a:lnTo>
                  <a:lnTo>
                    <a:pt x="762" y="0"/>
                  </a:lnTo>
                  <a:close/>
                </a:path>
              </a:pathLst>
            </a:custGeom>
            <a:solidFill>
              <a:srgbClr val="5F7D95"/>
            </a:solidFill>
            <a:ln>
              <a:noFill/>
            </a:ln>
          </p:spPr>
          <p:txBody>
            <a:bodyPr/>
            <a:lstStyle/>
            <a:p>
              <a:endParaRPr lang="de-DE"/>
            </a:p>
          </p:txBody>
        </p:sp>
        <p:sp>
          <p:nvSpPr>
            <p:cNvPr id="10495" name="Google Shape;10495;p79"/>
            <p:cNvSpPr/>
            <p:nvPr/>
          </p:nvSpPr>
          <p:spPr>
            <a:xfrm>
              <a:off x="1684150" y="2963550"/>
              <a:ext cx="139900" cy="11300"/>
            </a:xfrm>
            <a:custGeom>
              <a:avLst/>
              <a:gdLst/>
              <a:ahLst/>
              <a:cxnLst/>
              <a:rect l="l" t="t" r="r" b="b"/>
              <a:pathLst>
                <a:path w="5596" h="452" extrusionOk="0">
                  <a:moveTo>
                    <a:pt x="0" y="452"/>
                  </a:moveTo>
                  <a:lnTo>
                    <a:pt x="5596" y="452"/>
                  </a:lnTo>
                  <a:lnTo>
                    <a:pt x="5500" y="0"/>
                  </a:lnTo>
                  <a:lnTo>
                    <a:pt x="238" y="47"/>
                  </a:lnTo>
                  <a:close/>
                </a:path>
              </a:pathLst>
            </a:custGeom>
            <a:solidFill>
              <a:srgbClr val="5F7D95"/>
            </a:solidFill>
            <a:ln>
              <a:noFill/>
            </a:ln>
          </p:spPr>
          <p:txBody>
            <a:bodyPr/>
            <a:lstStyle/>
            <a:p>
              <a:endParaRPr lang="de-DE"/>
            </a:p>
          </p:txBody>
        </p:sp>
      </p:grpSp>
      <p:grpSp>
        <p:nvGrpSpPr>
          <p:cNvPr id="10496" name="Google Shape;10496;p79"/>
          <p:cNvGrpSpPr/>
          <p:nvPr/>
        </p:nvGrpSpPr>
        <p:grpSpPr>
          <a:xfrm>
            <a:off x="3577265" y="2463611"/>
            <a:ext cx="258542" cy="365154"/>
            <a:chOff x="-47300587" y="123275"/>
            <a:chExt cx="190975" cy="269725"/>
          </a:xfrm>
        </p:grpSpPr>
        <p:sp>
          <p:nvSpPr>
            <p:cNvPr id="10497" name="Google Shape;10497;p79"/>
            <p:cNvSpPr/>
            <p:nvPr/>
          </p:nvSpPr>
          <p:spPr>
            <a:xfrm>
              <a:off x="-47300587" y="123275"/>
              <a:ext cx="190975" cy="269725"/>
            </a:xfrm>
            <a:custGeom>
              <a:avLst/>
              <a:gdLst/>
              <a:ahLst/>
              <a:cxnLst/>
              <a:rect l="l" t="t" r="r" b="b"/>
              <a:pathLst>
                <a:path w="7639" h="10789" extrusionOk="0">
                  <a:moveTo>
                    <a:pt x="5130" y="1283"/>
                  </a:moveTo>
                  <a:cubicBezTo>
                    <a:pt x="5659" y="1283"/>
                    <a:pt x="6050" y="1701"/>
                    <a:pt x="6050" y="2231"/>
                  </a:cubicBezTo>
                  <a:lnTo>
                    <a:pt x="6050" y="6273"/>
                  </a:lnTo>
                  <a:lnTo>
                    <a:pt x="4182" y="6273"/>
                  </a:lnTo>
                  <a:lnTo>
                    <a:pt x="4182" y="5687"/>
                  </a:lnTo>
                  <a:lnTo>
                    <a:pt x="4489" y="5687"/>
                  </a:lnTo>
                  <a:cubicBezTo>
                    <a:pt x="4684" y="5687"/>
                    <a:pt x="4823" y="5548"/>
                    <a:pt x="4823" y="5381"/>
                  </a:cubicBezTo>
                  <a:cubicBezTo>
                    <a:pt x="4823" y="5213"/>
                    <a:pt x="4684" y="5074"/>
                    <a:pt x="4489" y="5074"/>
                  </a:cubicBezTo>
                  <a:lnTo>
                    <a:pt x="4182" y="5074"/>
                  </a:lnTo>
                  <a:lnTo>
                    <a:pt x="4182" y="4433"/>
                  </a:lnTo>
                  <a:lnTo>
                    <a:pt x="4489" y="4433"/>
                  </a:lnTo>
                  <a:cubicBezTo>
                    <a:pt x="4684" y="4433"/>
                    <a:pt x="4823" y="4294"/>
                    <a:pt x="4823" y="4126"/>
                  </a:cubicBezTo>
                  <a:cubicBezTo>
                    <a:pt x="4823" y="3931"/>
                    <a:pt x="4684" y="3792"/>
                    <a:pt x="4489" y="3792"/>
                  </a:cubicBezTo>
                  <a:lnTo>
                    <a:pt x="4182" y="3792"/>
                  </a:lnTo>
                  <a:lnTo>
                    <a:pt x="4182" y="3179"/>
                  </a:lnTo>
                  <a:lnTo>
                    <a:pt x="4489" y="3179"/>
                  </a:lnTo>
                  <a:cubicBezTo>
                    <a:pt x="4684" y="3179"/>
                    <a:pt x="4823" y="3039"/>
                    <a:pt x="4823" y="2872"/>
                  </a:cubicBezTo>
                  <a:cubicBezTo>
                    <a:pt x="4823" y="2677"/>
                    <a:pt x="4684" y="2537"/>
                    <a:pt x="4489" y="2537"/>
                  </a:cubicBezTo>
                  <a:lnTo>
                    <a:pt x="4182" y="2537"/>
                  </a:lnTo>
                  <a:lnTo>
                    <a:pt x="4182" y="2231"/>
                  </a:lnTo>
                  <a:cubicBezTo>
                    <a:pt x="4182" y="1701"/>
                    <a:pt x="4600" y="1283"/>
                    <a:pt x="5130" y="1283"/>
                  </a:cubicBezTo>
                  <a:close/>
                  <a:moveTo>
                    <a:pt x="2649" y="1952"/>
                  </a:moveTo>
                  <a:cubicBezTo>
                    <a:pt x="3178" y="1952"/>
                    <a:pt x="3597" y="2370"/>
                    <a:pt x="3597" y="2900"/>
                  </a:cubicBezTo>
                  <a:lnTo>
                    <a:pt x="3597" y="6328"/>
                  </a:lnTo>
                  <a:lnTo>
                    <a:pt x="1701" y="6328"/>
                  </a:lnTo>
                  <a:lnTo>
                    <a:pt x="1701" y="2900"/>
                  </a:lnTo>
                  <a:cubicBezTo>
                    <a:pt x="1701" y="2370"/>
                    <a:pt x="2119" y="1952"/>
                    <a:pt x="2649" y="1952"/>
                  </a:cubicBezTo>
                  <a:close/>
                  <a:moveTo>
                    <a:pt x="6969" y="6942"/>
                  </a:moveTo>
                  <a:lnTo>
                    <a:pt x="6969" y="7248"/>
                  </a:lnTo>
                  <a:lnTo>
                    <a:pt x="6997" y="7248"/>
                  </a:lnTo>
                  <a:cubicBezTo>
                    <a:pt x="6997" y="7443"/>
                    <a:pt x="6858" y="7583"/>
                    <a:pt x="6691" y="7583"/>
                  </a:cubicBezTo>
                  <a:lnTo>
                    <a:pt x="1088" y="7583"/>
                  </a:lnTo>
                  <a:cubicBezTo>
                    <a:pt x="920" y="7583"/>
                    <a:pt x="781" y="7443"/>
                    <a:pt x="781" y="7248"/>
                  </a:cubicBezTo>
                  <a:lnTo>
                    <a:pt x="781" y="6942"/>
                  </a:lnTo>
                  <a:close/>
                  <a:moveTo>
                    <a:pt x="6273" y="8168"/>
                  </a:moveTo>
                  <a:lnTo>
                    <a:pt x="5827" y="10092"/>
                  </a:lnTo>
                  <a:lnTo>
                    <a:pt x="1952" y="10092"/>
                  </a:lnTo>
                  <a:lnTo>
                    <a:pt x="1506" y="8168"/>
                  </a:lnTo>
                  <a:close/>
                  <a:moveTo>
                    <a:pt x="5102" y="1"/>
                  </a:moveTo>
                  <a:cubicBezTo>
                    <a:pt x="4907" y="1"/>
                    <a:pt x="4767" y="140"/>
                    <a:pt x="4767" y="307"/>
                  </a:cubicBezTo>
                  <a:lnTo>
                    <a:pt x="4767" y="670"/>
                  </a:lnTo>
                  <a:cubicBezTo>
                    <a:pt x="4572" y="698"/>
                    <a:pt x="4405" y="781"/>
                    <a:pt x="4210" y="921"/>
                  </a:cubicBezTo>
                  <a:lnTo>
                    <a:pt x="3987" y="670"/>
                  </a:lnTo>
                  <a:cubicBezTo>
                    <a:pt x="3931" y="614"/>
                    <a:pt x="3847" y="586"/>
                    <a:pt x="3760" y="586"/>
                  </a:cubicBezTo>
                  <a:cubicBezTo>
                    <a:pt x="3673" y="586"/>
                    <a:pt x="3583" y="614"/>
                    <a:pt x="3513" y="670"/>
                  </a:cubicBezTo>
                  <a:cubicBezTo>
                    <a:pt x="3429" y="781"/>
                    <a:pt x="3429" y="976"/>
                    <a:pt x="3513" y="1116"/>
                  </a:cubicBezTo>
                  <a:lnTo>
                    <a:pt x="3764" y="1367"/>
                  </a:lnTo>
                  <a:cubicBezTo>
                    <a:pt x="3708" y="1478"/>
                    <a:pt x="3652" y="1562"/>
                    <a:pt x="3597" y="1673"/>
                  </a:cubicBezTo>
                  <a:cubicBezTo>
                    <a:pt x="3374" y="1506"/>
                    <a:pt x="3123" y="1367"/>
                    <a:pt x="2872" y="1339"/>
                  </a:cubicBezTo>
                  <a:lnTo>
                    <a:pt x="2872" y="976"/>
                  </a:lnTo>
                  <a:cubicBezTo>
                    <a:pt x="2872" y="809"/>
                    <a:pt x="2732" y="670"/>
                    <a:pt x="2537" y="670"/>
                  </a:cubicBezTo>
                  <a:cubicBezTo>
                    <a:pt x="2370" y="670"/>
                    <a:pt x="2231" y="809"/>
                    <a:pt x="2231" y="976"/>
                  </a:cubicBezTo>
                  <a:lnTo>
                    <a:pt x="2231" y="1339"/>
                  </a:lnTo>
                  <a:cubicBezTo>
                    <a:pt x="2036" y="1367"/>
                    <a:pt x="1840" y="1450"/>
                    <a:pt x="1673" y="1562"/>
                  </a:cubicBezTo>
                  <a:lnTo>
                    <a:pt x="1422" y="1339"/>
                  </a:lnTo>
                  <a:cubicBezTo>
                    <a:pt x="1380" y="1283"/>
                    <a:pt x="1304" y="1255"/>
                    <a:pt x="1220" y="1255"/>
                  </a:cubicBezTo>
                  <a:cubicBezTo>
                    <a:pt x="1137" y="1255"/>
                    <a:pt x="1046" y="1283"/>
                    <a:pt x="976" y="1339"/>
                  </a:cubicBezTo>
                  <a:cubicBezTo>
                    <a:pt x="865" y="1450"/>
                    <a:pt x="865" y="1645"/>
                    <a:pt x="976" y="1785"/>
                  </a:cubicBezTo>
                  <a:lnTo>
                    <a:pt x="1227" y="2036"/>
                  </a:lnTo>
                  <a:cubicBezTo>
                    <a:pt x="1116" y="2203"/>
                    <a:pt x="1032" y="2370"/>
                    <a:pt x="976" y="2593"/>
                  </a:cubicBezTo>
                  <a:lnTo>
                    <a:pt x="642" y="2593"/>
                  </a:lnTo>
                  <a:cubicBezTo>
                    <a:pt x="447" y="2593"/>
                    <a:pt x="307" y="2733"/>
                    <a:pt x="307" y="2900"/>
                  </a:cubicBezTo>
                  <a:cubicBezTo>
                    <a:pt x="307" y="3067"/>
                    <a:pt x="447" y="3206"/>
                    <a:pt x="642" y="3206"/>
                  </a:cubicBezTo>
                  <a:lnTo>
                    <a:pt x="948" y="3206"/>
                  </a:lnTo>
                  <a:lnTo>
                    <a:pt x="948" y="3848"/>
                  </a:lnTo>
                  <a:lnTo>
                    <a:pt x="642" y="3848"/>
                  </a:lnTo>
                  <a:cubicBezTo>
                    <a:pt x="447" y="3848"/>
                    <a:pt x="307" y="3987"/>
                    <a:pt x="307" y="4154"/>
                  </a:cubicBezTo>
                  <a:cubicBezTo>
                    <a:pt x="307" y="4321"/>
                    <a:pt x="447" y="4461"/>
                    <a:pt x="642" y="4461"/>
                  </a:cubicBezTo>
                  <a:lnTo>
                    <a:pt x="948" y="4461"/>
                  </a:lnTo>
                  <a:lnTo>
                    <a:pt x="948" y="5102"/>
                  </a:lnTo>
                  <a:lnTo>
                    <a:pt x="642" y="5102"/>
                  </a:lnTo>
                  <a:cubicBezTo>
                    <a:pt x="447" y="5102"/>
                    <a:pt x="307" y="5241"/>
                    <a:pt x="307" y="5409"/>
                  </a:cubicBezTo>
                  <a:cubicBezTo>
                    <a:pt x="307" y="5576"/>
                    <a:pt x="447" y="5715"/>
                    <a:pt x="642" y="5715"/>
                  </a:cubicBezTo>
                  <a:lnTo>
                    <a:pt x="948" y="5715"/>
                  </a:lnTo>
                  <a:lnTo>
                    <a:pt x="948" y="6356"/>
                  </a:lnTo>
                  <a:lnTo>
                    <a:pt x="307" y="6356"/>
                  </a:lnTo>
                  <a:cubicBezTo>
                    <a:pt x="140" y="6356"/>
                    <a:pt x="1" y="6496"/>
                    <a:pt x="1" y="6663"/>
                  </a:cubicBezTo>
                  <a:lnTo>
                    <a:pt x="1" y="7304"/>
                  </a:lnTo>
                  <a:cubicBezTo>
                    <a:pt x="1" y="7722"/>
                    <a:pt x="279" y="8085"/>
                    <a:pt x="697" y="8196"/>
                  </a:cubicBezTo>
                  <a:lnTo>
                    <a:pt x="1255" y="10538"/>
                  </a:lnTo>
                  <a:cubicBezTo>
                    <a:pt x="1283" y="10677"/>
                    <a:pt x="1422" y="10789"/>
                    <a:pt x="1562" y="10789"/>
                  </a:cubicBezTo>
                  <a:lnTo>
                    <a:pt x="5910" y="10789"/>
                  </a:lnTo>
                  <a:cubicBezTo>
                    <a:pt x="6050" y="10789"/>
                    <a:pt x="6217" y="10677"/>
                    <a:pt x="6245" y="10538"/>
                  </a:cubicBezTo>
                  <a:lnTo>
                    <a:pt x="6802" y="8196"/>
                  </a:lnTo>
                  <a:cubicBezTo>
                    <a:pt x="7165" y="8085"/>
                    <a:pt x="7499" y="7722"/>
                    <a:pt x="7499" y="7304"/>
                  </a:cubicBezTo>
                  <a:lnTo>
                    <a:pt x="7499" y="6663"/>
                  </a:lnTo>
                  <a:cubicBezTo>
                    <a:pt x="7638" y="6468"/>
                    <a:pt x="7499" y="6328"/>
                    <a:pt x="7332" y="6328"/>
                  </a:cubicBezTo>
                  <a:lnTo>
                    <a:pt x="6691" y="6328"/>
                  </a:lnTo>
                  <a:lnTo>
                    <a:pt x="6691" y="5074"/>
                  </a:lnTo>
                  <a:lnTo>
                    <a:pt x="6997" y="5074"/>
                  </a:lnTo>
                  <a:cubicBezTo>
                    <a:pt x="7192" y="5074"/>
                    <a:pt x="7332" y="4935"/>
                    <a:pt x="7332" y="4740"/>
                  </a:cubicBezTo>
                  <a:cubicBezTo>
                    <a:pt x="7332" y="4572"/>
                    <a:pt x="7192" y="4433"/>
                    <a:pt x="6997" y="4433"/>
                  </a:cubicBezTo>
                  <a:lnTo>
                    <a:pt x="6691" y="4433"/>
                  </a:lnTo>
                  <a:lnTo>
                    <a:pt x="6691" y="3820"/>
                  </a:lnTo>
                  <a:lnTo>
                    <a:pt x="6997" y="3820"/>
                  </a:lnTo>
                  <a:cubicBezTo>
                    <a:pt x="7192" y="3820"/>
                    <a:pt x="7332" y="3680"/>
                    <a:pt x="7332" y="3485"/>
                  </a:cubicBezTo>
                  <a:cubicBezTo>
                    <a:pt x="7332" y="3318"/>
                    <a:pt x="7192" y="3179"/>
                    <a:pt x="6997" y="3179"/>
                  </a:cubicBezTo>
                  <a:lnTo>
                    <a:pt x="6691" y="3179"/>
                  </a:lnTo>
                  <a:lnTo>
                    <a:pt x="6691" y="2537"/>
                  </a:lnTo>
                  <a:lnTo>
                    <a:pt x="6997" y="2537"/>
                  </a:lnTo>
                  <a:cubicBezTo>
                    <a:pt x="7192" y="2537"/>
                    <a:pt x="7332" y="2398"/>
                    <a:pt x="7332" y="2231"/>
                  </a:cubicBezTo>
                  <a:cubicBezTo>
                    <a:pt x="7332" y="2064"/>
                    <a:pt x="7192" y="1924"/>
                    <a:pt x="6997" y="1924"/>
                  </a:cubicBezTo>
                  <a:lnTo>
                    <a:pt x="6663" y="1924"/>
                  </a:lnTo>
                  <a:cubicBezTo>
                    <a:pt x="6635" y="1701"/>
                    <a:pt x="6551" y="1534"/>
                    <a:pt x="6412" y="1367"/>
                  </a:cubicBezTo>
                  <a:lnTo>
                    <a:pt x="6663" y="1116"/>
                  </a:lnTo>
                  <a:cubicBezTo>
                    <a:pt x="6774" y="1004"/>
                    <a:pt x="6774" y="809"/>
                    <a:pt x="6663" y="670"/>
                  </a:cubicBezTo>
                  <a:cubicBezTo>
                    <a:pt x="6607" y="614"/>
                    <a:pt x="6530" y="586"/>
                    <a:pt x="6450" y="586"/>
                  </a:cubicBezTo>
                  <a:cubicBezTo>
                    <a:pt x="6370" y="586"/>
                    <a:pt x="6286" y="614"/>
                    <a:pt x="6217" y="670"/>
                  </a:cubicBezTo>
                  <a:lnTo>
                    <a:pt x="5966" y="921"/>
                  </a:lnTo>
                  <a:cubicBezTo>
                    <a:pt x="5799" y="809"/>
                    <a:pt x="5604" y="726"/>
                    <a:pt x="5408" y="670"/>
                  </a:cubicBezTo>
                  <a:lnTo>
                    <a:pt x="5408" y="307"/>
                  </a:lnTo>
                  <a:cubicBezTo>
                    <a:pt x="5408" y="140"/>
                    <a:pt x="5269" y="1"/>
                    <a:pt x="51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79"/>
            <p:cNvSpPr/>
            <p:nvPr/>
          </p:nvSpPr>
          <p:spPr>
            <a:xfrm>
              <a:off x="-47242037" y="188100"/>
              <a:ext cx="15350" cy="31375"/>
            </a:xfrm>
            <a:custGeom>
              <a:avLst/>
              <a:gdLst/>
              <a:ahLst/>
              <a:cxnLst/>
              <a:rect l="l" t="t" r="r" b="b"/>
              <a:pathLst>
                <a:path w="614" h="1255" extrusionOk="0">
                  <a:moveTo>
                    <a:pt x="307" y="0"/>
                  </a:moveTo>
                  <a:cubicBezTo>
                    <a:pt x="140" y="0"/>
                    <a:pt x="0" y="140"/>
                    <a:pt x="0" y="307"/>
                  </a:cubicBezTo>
                  <a:lnTo>
                    <a:pt x="0" y="948"/>
                  </a:lnTo>
                  <a:cubicBezTo>
                    <a:pt x="0" y="1115"/>
                    <a:pt x="140" y="1255"/>
                    <a:pt x="307" y="1255"/>
                  </a:cubicBezTo>
                  <a:cubicBezTo>
                    <a:pt x="474" y="1255"/>
                    <a:pt x="613" y="1115"/>
                    <a:pt x="613" y="948"/>
                  </a:cubicBezTo>
                  <a:lnTo>
                    <a:pt x="613" y="307"/>
                  </a:lnTo>
                  <a:cubicBezTo>
                    <a:pt x="613" y="140"/>
                    <a:pt x="474" y="0"/>
                    <a:pt x="3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9" name="Google Shape;10499;p79"/>
            <p:cNvSpPr/>
            <p:nvPr/>
          </p:nvSpPr>
          <p:spPr>
            <a:xfrm>
              <a:off x="-47242037" y="234775"/>
              <a:ext cx="15350" cy="31400"/>
            </a:xfrm>
            <a:custGeom>
              <a:avLst/>
              <a:gdLst/>
              <a:ahLst/>
              <a:cxnLst/>
              <a:rect l="l" t="t" r="r" b="b"/>
              <a:pathLst>
                <a:path w="614" h="1256" extrusionOk="0">
                  <a:moveTo>
                    <a:pt x="307" y="1"/>
                  </a:moveTo>
                  <a:cubicBezTo>
                    <a:pt x="140" y="1"/>
                    <a:pt x="0" y="140"/>
                    <a:pt x="0" y="335"/>
                  </a:cubicBezTo>
                  <a:lnTo>
                    <a:pt x="0" y="949"/>
                  </a:lnTo>
                  <a:cubicBezTo>
                    <a:pt x="0" y="1116"/>
                    <a:pt x="140" y="1255"/>
                    <a:pt x="307" y="1255"/>
                  </a:cubicBezTo>
                  <a:cubicBezTo>
                    <a:pt x="474" y="1255"/>
                    <a:pt x="613" y="1116"/>
                    <a:pt x="613" y="949"/>
                  </a:cubicBezTo>
                  <a:lnTo>
                    <a:pt x="613" y="335"/>
                  </a:lnTo>
                  <a:cubicBezTo>
                    <a:pt x="613" y="140"/>
                    <a:pt x="474" y="1"/>
                    <a:pt x="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0" name="Google Shape;10500;p79"/>
            <p:cNvSpPr/>
            <p:nvPr/>
          </p:nvSpPr>
          <p:spPr>
            <a:xfrm>
              <a:off x="-47180012" y="172075"/>
              <a:ext cx="15350" cy="31375"/>
            </a:xfrm>
            <a:custGeom>
              <a:avLst/>
              <a:gdLst/>
              <a:ahLst/>
              <a:cxnLst/>
              <a:rect l="l" t="t" r="r" b="b"/>
              <a:pathLst>
                <a:path w="614" h="1255" extrusionOk="0">
                  <a:moveTo>
                    <a:pt x="307" y="0"/>
                  </a:moveTo>
                  <a:cubicBezTo>
                    <a:pt x="139" y="0"/>
                    <a:pt x="0" y="139"/>
                    <a:pt x="0" y="335"/>
                  </a:cubicBezTo>
                  <a:lnTo>
                    <a:pt x="0" y="948"/>
                  </a:lnTo>
                  <a:cubicBezTo>
                    <a:pt x="0" y="1115"/>
                    <a:pt x="139" y="1254"/>
                    <a:pt x="307" y="1254"/>
                  </a:cubicBezTo>
                  <a:cubicBezTo>
                    <a:pt x="474" y="1254"/>
                    <a:pt x="613" y="1115"/>
                    <a:pt x="613" y="948"/>
                  </a:cubicBezTo>
                  <a:lnTo>
                    <a:pt x="613" y="335"/>
                  </a:lnTo>
                  <a:cubicBezTo>
                    <a:pt x="613" y="139"/>
                    <a:pt x="474" y="0"/>
                    <a:pt x="3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79"/>
            <p:cNvSpPr/>
            <p:nvPr/>
          </p:nvSpPr>
          <p:spPr>
            <a:xfrm>
              <a:off x="-47180012" y="218050"/>
              <a:ext cx="15350" cy="32100"/>
            </a:xfrm>
            <a:custGeom>
              <a:avLst/>
              <a:gdLst/>
              <a:ahLst/>
              <a:cxnLst/>
              <a:rect l="l" t="t" r="r" b="b"/>
              <a:pathLst>
                <a:path w="614" h="1284" extrusionOk="0">
                  <a:moveTo>
                    <a:pt x="307" y="1"/>
                  </a:moveTo>
                  <a:cubicBezTo>
                    <a:pt x="139" y="1"/>
                    <a:pt x="0" y="140"/>
                    <a:pt x="0" y="335"/>
                  </a:cubicBezTo>
                  <a:lnTo>
                    <a:pt x="0" y="949"/>
                  </a:lnTo>
                  <a:cubicBezTo>
                    <a:pt x="0" y="1144"/>
                    <a:pt x="139" y="1283"/>
                    <a:pt x="307" y="1283"/>
                  </a:cubicBezTo>
                  <a:cubicBezTo>
                    <a:pt x="474" y="1283"/>
                    <a:pt x="613" y="1144"/>
                    <a:pt x="613" y="949"/>
                  </a:cubicBezTo>
                  <a:lnTo>
                    <a:pt x="613" y="335"/>
                  </a:lnTo>
                  <a:cubicBezTo>
                    <a:pt x="613" y="140"/>
                    <a:pt x="474" y="1"/>
                    <a:pt x="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2" name="Google Shape;10502;p79"/>
          <p:cNvGrpSpPr/>
          <p:nvPr/>
        </p:nvGrpSpPr>
        <p:grpSpPr>
          <a:xfrm>
            <a:off x="4870788" y="1532801"/>
            <a:ext cx="342328" cy="339793"/>
            <a:chOff x="-13966675" y="1639700"/>
            <a:chExt cx="354450" cy="351825"/>
          </a:xfrm>
        </p:grpSpPr>
        <p:sp>
          <p:nvSpPr>
            <p:cNvPr id="10503" name="Google Shape;10503;p79"/>
            <p:cNvSpPr/>
            <p:nvPr/>
          </p:nvSpPr>
          <p:spPr>
            <a:xfrm>
              <a:off x="-13776875" y="1888525"/>
              <a:ext cx="104775" cy="37625"/>
            </a:xfrm>
            <a:custGeom>
              <a:avLst/>
              <a:gdLst/>
              <a:ahLst/>
              <a:cxnLst/>
              <a:rect l="l" t="t" r="r" b="b"/>
              <a:pathLst>
                <a:path w="4191" h="1505" extrusionOk="0">
                  <a:moveTo>
                    <a:pt x="442" y="0"/>
                  </a:moveTo>
                  <a:cubicBezTo>
                    <a:pt x="339" y="0"/>
                    <a:pt x="237" y="40"/>
                    <a:pt x="158" y="118"/>
                  </a:cubicBezTo>
                  <a:cubicBezTo>
                    <a:pt x="1" y="276"/>
                    <a:pt x="1" y="559"/>
                    <a:pt x="158" y="717"/>
                  </a:cubicBezTo>
                  <a:cubicBezTo>
                    <a:pt x="725" y="1253"/>
                    <a:pt x="1418" y="1505"/>
                    <a:pt x="2112" y="1505"/>
                  </a:cubicBezTo>
                  <a:cubicBezTo>
                    <a:pt x="2805" y="1505"/>
                    <a:pt x="3498" y="1221"/>
                    <a:pt x="4033" y="717"/>
                  </a:cubicBezTo>
                  <a:cubicBezTo>
                    <a:pt x="4191" y="559"/>
                    <a:pt x="4191" y="276"/>
                    <a:pt x="4033" y="118"/>
                  </a:cubicBezTo>
                  <a:cubicBezTo>
                    <a:pt x="3955" y="40"/>
                    <a:pt x="3844" y="0"/>
                    <a:pt x="3734" y="0"/>
                  </a:cubicBezTo>
                  <a:cubicBezTo>
                    <a:pt x="3624" y="0"/>
                    <a:pt x="3514" y="40"/>
                    <a:pt x="3435" y="118"/>
                  </a:cubicBezTo>
                  <a:cubicBezTo>
                    <a:pt x="3057" y="496"/>
                    <a:pt x="2568" y="685"/>
                    <a:pt x="2080" y="685"/>
                  </a:cubicBezTo>
                  <a:cubicBezTo>
                    <a:pt x="1592" y="685"/>
                    <a:pt x="1103" y="496"/>
                    <a:pt x="725" y="118"/>
                  </a:cubicBezTo>
                  <a:cubicBezTo>
                    <a:pt x="647" y="40"/>
                    <a:pt x="544"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79"/>
            <p:cNvSpPr/>
            <p:nvPr/>
          </p:nvSpPr>
          <p:spPr>
            <a:xfrm>
              <a:off x="-13966675" y="1639700"/>
              <a:ext cx="354450" cy="351825"/>
            </a:xfrm>
            <a:custGeom>
              <a:avLst/>
              <a:gdLst/>
              <a:ahLst/>
              <a:cxnLst/>
              <a:rect l="l" t="t" r="r" b="b"/>
              <a:pathLst>
                <a:path w="14178" h="14073" extrusionOk="0">
                  <a:moveTo>
                    <a:pt x="8412" y="998"/>
                  </a:moveTo>
                  <a:lnTo>
                    <a:pt x="8412" y="4085"/>
                  </a:lnTo>
                  <a:cubicBezTo>
                    <a:pt x="7467" y="3959"/>
                    <a:pt x="6585" y="3739"/>
                    <a:pt x="5671" y="3361"/>
                  </a:cubicBezTo>
                  <a:cubicBezTo>
                    <a:pt x="5625" y="3349"/>
                    <a:pt x="5574" y="3342"/>
                    <a:pt x="5523" y="3342"/>
                  </a:cubicBezTo>
                  <a:cubicBezTo>
                    <a:pt x="5434" y="3342"/>
                    <a:pt x="5341" y="3364"/>
                    <a:pt x="5261" y="3424"/>
                  </a:cubicBezTo>
                  <a:cubicBezTo>
                    <a:pt x="5167" y="3487"/>
                    <a:pt x="5072" y="3613"/>
                    <a:pt x="5072" y="3770"/>
                  </a:cubicBezTo>
                  <a:lnTo>
                    <a:pt x="5072" y="6669"/>
                  </a:lnTo>
                  <a:cubicBezTo>
                    <a:pt x="4957" y="6656"/>
                    <a:pt x="4841" y="6650"/>
                    <a:pt x="4724" y="6650"/>
                  </a:cubicBezTo>
                  <a:cubicBezTo>
                    <a:pt x="3979" y="6650"/>
                    <a:pt x="3223" y="6912"/>
                    <a:pt x="2678" y="7456"/>
                  </a:cubicBezTo>
                  <a:cubicBezTo>
                    <a:pt x="2520" y="7614"/>
                    <a:pt x="2520" y="7898"/>
                    <a:pt x="2678" y="8055"/>
                  </a:cubicBezTo>
                  <a:cubicBezTo>
                    <a:pt x="2757" y="8134"/>
                    <a:pt x="2867" y="8173"/>
                    <a:pt x="2977" y="8173"/>
                  </a:cubicBezTo>
                  <a:cubicBezTo>
                    <a:pt x="3088" y="8173"/>
                    <a:pt x="3198" y="8134"/>
                    <a:pt x="3277" y="8055"/>
                  </a:cubicBezTo>
                  <a:cubicBezTo>
                    <a:pt x="3639" y="7692"/>
                    <a:pt x="4132" y="7497"/>
                    <a:pt x="4627" y="7497"/>
                  </a:cubicBezTo>
                  <a:cubicBezTo>
                    <a:pt x="4776" y="7497"/>
                    <a:pt x="4926" y="7514"/>
                    <a:pt x="5072" y="7551"/>
                  </a:cubicBezTo>
                  <a:lnTo>
                    <a:pt x="5072" y="8654"/>
                  </a:lnTo>
                  <a:cubicBezTo>
                    <a:pt x="5072" y="9032"/>
                    <a:pt x="5104" y="9441"/>
                    <a:pt x="5198" y="9788"/>
                  </a:cubicBezTo>
                  <a:cubicBezTo>
                    <a:pt x="5041" y="9819"/>
                    <a:pt x="4852" y="9914"/>
                    <a:pt x="4631" y="9945"/>
                  </a:cubicBezTo>
                  <a:cubicBezTo>
                    <a:pt x="2489" y="9473"/>
                    <a:pt x="914" y="7551"/>
                    <a:pt x="914" y="5346"/>
                  </a:cubicBezTo>
                  <a:lnTo>
                    <a:pt x="914" y="998"/>
                  </a:lnTo>
                  <a:lnTo>
                    <a:pt x="945" y="998"/>
                  </a:lnTo>
                  <a:cubicBezTo>
                    <a:pt x="2111" y="1408"/>
                    <a:pt x="3434" y="1628"/>
                    <a:pt x="4694" y="1628"/>
                  </a:cubicBezTo>
                  <a:cubicBezTo>
                    <a:pt x="5954" y="1628"/>
                    <a:pt x="7246" y="1439"/>
                    <a:pt x="8412" y="998"/>
                  </a:cubicBezTo>
                  <a:close/>
                  <a:moveTo>
                    <a:pt x="13421" y="4369"/>
                  </a:moveTo>
                  <a:lnTo>
                    <a:pt x="13421" y="8654"/>
                  </a:lnTo>
                  <a:cubicBezTo>
                    <a:pt x="13421" y="10890"/>
                    <a:pt x="11846" y="12812"/>
                    <a:pt x="9672" y="13285"/>
                  </a:cubicBezTo>
                  <a:cubicBezTo>
                    <a:pt x="7530" y="12812"/>
                    <a:pt x="5986" y="10859"/>
                    <a:pt x="5986" y="8654"/>
                  </a:cubicBezTo>
                  <a:lnTo>
                    <a:pt x="5986" y="4369"/>
                  </a:lnTo>
                  <a:cubicBezTo>
                    <a:pt x="7215" y="4779"/>
                    <a:pt x="8475" y="4999"/>
                    <a:pt x="9672" y="4999"/>
                  </a:cubicBezTo>
                  <a:cubicBezTo>
                    <a:pt x="10932" y="4936"/>
                    <a:pt x="12192" y="4747"/>
                    <a:pt x="13421" y="4369"/>
                  </a:cubicBezTo>
                  <a:close/>
                  <a:moveTo>
                    <a:pt x="430" y="1"/>
                  </a:moveTo>
                  <a:cubicBezTo>
                    <a:pt x="348" y="1"/>
                    <a:pt x="263" y="16"/>
                    <a:pt x="189" y="53"/>
                  </a:cubicBezTo>
                  <a:cubicBezTo>
                    <a:pt x="95" y="147"/>
                    <a:pt x="0" y="273"/>
                    <a:pt x="0" y="431"/>
                  </a:cubicBezTo>
                  <a:lnTo>
                    <a:pt x="0" y="5346"/>
                  </a:lnTo>
                  <a:cubicBezTo>
                    <a:pt x="126" y="7929"/>
                    <a:pt x="2016" y="10260"/>
                    <a:pt x="4600" y="10764"/>
                  </a:cubicBezTo>
                  <a:lnTo>
                    <a:pt x="4757" y="10764"/>
                  </a:lnTo>
                  <a:cubicBezTo>
                    <a:pt x="5009" y="10733"/>
                    <a:pt x="5230" y="10670"/>
                    <a:pt x="5482" y="10575"/>
                  </a:cubicBezTo>
                  <a:cubicBezTo>
                    <a:pt x="6144" y="12340"/>
                    <a:pt x="7687" y="13726"/>
                    <a:pt x="9578" y="14072"/>
                  </a:cubicBezTo>
                  <a:lnTo>
                    <a:pt x="9735" y="14072"/>
                  </a:lnTo>
                  <a:cubicBezTo>
                    <a:pt x="12318" y="13568"/>
                    <a:pt x="14177" y="11237"/>
                    <a:pt x="14177" y="8622"/>
                  </a:cubicBezTo>
                  <a:lnTo>
                    <a:pt x="14177" y="3770"/>
                  </a:lnTo>
                  <a:cubicBezTo>
                    <a:pt x="14177" y="3644"/>
                    <a:pt x="14114" y="3487"/>
                    <a:pt x="13988" y="3424"/>
                  </a:cubicBezTo>
                  <a:cubicBezTo>
                    <a:pt x="13908" y="3364"/>
                    <a:pt x="13816" y="3342"/>
                    <a:pt x="13727" y="3342"/>
                  </a:cubicBezTo>
                  <a:cubicBezTo>
                    <a:pt x="13675" y="3342"/>
                    <a:pt x="13625" y="3349"/>
                    <a:pt x="13579" y="3361"/>
                  </a:cubicBezTo>
                  <a:cubicBezTo>
                    <a:pt x="12318" y="3896"/>
                    <a:pt x="10995" y="4117"/>
                    <a:pt x="9609" y="4117"/>
                  </a:cubicBezTo>
                  <a:lnTo>
                    <a:pt x="9231" y="4117"/>
                  </a:lnTo>
                  <a:lnTo>
                    <a:pt x="9231" y="431"/>
                  </a:lnTo>
                  <a:cubicBezTo>
                    <a:pt x="9231" y="305"/>
                    <a:pt x="9136" y="147"/>
                    <a:pt x="9010" y="53"/>
                  </a:cubicBezTo>
                  <a:cubicBezTo>
                    <a:pt x="8955" y="16"/>
                    <a:pt x="8878" y="1"/>
                    <a:pt x="8799" y="1"/>
                  </a:cubicBezTo>
                  <a:cubicBezTo>
                    <a:pt x="8742" y="1"/>
                    <a:pt x="8685" y="8"/>
                    <a:pt x="8632" y="21"/>
                  </a:cubicBezTo>
                  <a:cubicBezTo>
                    <a:pt x="7372" y="525"/>
                    <a:pt x="5986" y="777"/>
                    <a:pt x="4600" y="777"/>
                  </a:cubicBezTo>
                  <a:cubicBezTo>
                    <a:pt x="3245" y="777"/>
                    <a:pt x="1859" y="494"/>
                    <a:pt x="599" y="21"/>
                  </a:cubicBezTo>
                  <a:cubicBezTo>
                    <a:pt x="546" y="8"/>
                    <a:pt x="489" y="1"/>
                    <a:pt x="4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5" name="Google Shape;10505;p79"/>
            <p:cNvSpPr/>
            <p:nvPr/>
          </p:nvSpPr>
          <p:spPr>
            <a:xfrm>
              <a:off x="-13923375" y="1723125"/>
              <a:ext cx="64625" cy="40925"/>
            </a:xfrm>
            <a:custGeom>
              <a:avLst/>
              <a:gdLst/>
              <a:ahLst/>
              <a:cxnLst/>
              <a:rect l="l" t="t" r="r" b="b"/>
              <a:pathLst>
                <a:path w="2585" h="1637" extrusionOk="0">
                  <a:moveTo>
                    <a:pt x="2113" y="1"/>
                  </a:moveTo>
                  <a:cubicBezTo>
                    <a:pt x="2061" y="1"/>
                    <a:pt x="2008" y="9"/>
                    <a:pt x="1954" y="24"/>
                  </a:cubicBezTo>
                  <a:lnTo>
                    <a:pt x="284" y="843"/>
                  </a:lnTo>
                  <a:cubicBezTo>
                    <a:pt x="64" y="969"/>
                    <a:pt x="1" y="1221"/>
                    <a:pt x="64" y="1410"/>
                  </a:cubicBezTo>
                  <a:cubicBezTo>
                    <a:pt x="156" y="1548"/>
                    <a:pt x="316" y="1636"/>
                    <a:pt x="469" y="1636"/>
                  </a:cubicBezTo>
                  <a:cubicBezTo>
                    <a:pt x="525" y="1636"/>
                    <a:pt x="580" y="1624"/>
                    <a:pt x="631" y="1599"/>
                  </a:cubicBezTo>
                  <a:lnTo>
                    <a:pt x="2332" y="780"/>
                  </a:lnTo>
                  <a:cubicBezTo>
                    <a:pt x="2521" y="654"/>
                    <a:pt x="2584" y="433"/>
                    <a:pt x="2521" y="244"/>
                  </a:cubicBezTo>
                  <a:cubicBezTo>
                    <a:pt x="2426" y="77"/>
                    <a:pt x="2276" y="1"/>
                    <a:pt x="2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6" name="Google Shape;10506;p79"/>
            <p:cNvSpPr/>
            <p:nvPr/>
          </p:nvSpPr>
          <p:spPr>
            <a:xfrm>
              <a:off x="-13798125" y="1805500"/>
              <a:ext cx="66175" cy="41575"/>
            </a:xfrm>
            <a:custGeom>
              <a:avLst/>
              <a:gdLst/>
              <a:ahLst/>
              <a:cxnLst/>
              <a:rect l="l" t="t" r="r" b="b"/>
              <a:pathLst>
                <a:path w="2647" h="1663" extrusionOk="0">
                  <a:moveTo>
                    <a:pt x="504" y="0"/>
                  </a:moveTo>
                  <a:cubicBezTo>
                    <a:pt x="350" y="0"/>
                    <a:pt x="188" y="94"/>
                    <a:pt x="95" y="257"/>
                  </a:cubicBezTo>
                  <a:cubicBezTo>
                    <a:pt x="0" y="446"/>
                    <a:pt x="95" y="667"/>
                    <a:pt x="315" y="793"/>
                  </a:cubicBezTo>
                  <a:lnTo>
                    <a:pt x="1953" y="1612"/>
                  </a:lnTo>
                  <a:cubicBezTo>
                    <a:pt x="2006" y="1647"/>
                    <a:pt x="2064" y="1663"/>
                    <a:pt x="2122" y="1663"/>
                  </a:cubicBezTo>
                  <a:cubicBezTo>
                    <a:pt x="2273" y="1663"/>
                    <a:pt x="2430" y="1559"/>
                    <a:pt x="2521" y="1423"/>
                  </a:cubicBezTo>
                  <a:cubicBezTo>
                    <a:pt x="2647" y="1234"/>
                    <a:pt x="2521" y="982"/>
                    <a:pt x="2300" y="887"/>
                  </a:cubicBezTo>
                  <a:lnTo>
                    <a:pt x="662" y="37"/>
                  </a:lnTo>
                  <a:cubicBezTo>
                    <a:pt x="612" y="12"/>
                    <a:pt x="559" y="0"/>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79"/>
            <p:cNvSpPr/>
            <p:nvPr/>
          </p:nvSpPr>
          <p:spPr>
            <a:xfrm>
              <a:off x="-13714650" y="1805825"/>
              <a:ext cx="63825" cy="41250"/>
            </a:xfrm>
            <a:custGeom>
              <a:avLst/>
              <a:gdLst/>
              <a:ahLst/>
              <a:cxnLst/>
              <a:rect l="l" t="t" r="r" b="b"/>
              <a:pathLst>
                <a:path w="2553" h="1650" extrusionOk="0">
                  <a:moveTo>
                    <a:pt x="2068" y="1"/>
                  </a:moveTo>
                  <a:cubicBezTo>
                    <a:pt x="2018" y="1"/>
                    <a:pt x="1968" y="9"/>
                    <a:pt x="1922" y="24"/>
                  </a:cubicBezTo>
                  <a:lnTo>
                    <a:pt x="284" y="874"/>
                  </a:lnTo>
                  <a:cubicBezTo>
                    <a:pt x="64" y="969"/>
                    <a:pt x="1" y="1221"/>
                    <a:pt x="64" y="1410"/>
                  </a:cubicBezTo>
                  <a:cubicBezTo>
                    <a:pt x="132" y="1546"/>
                    <a:pt x="298" y="1650"/>
                    <a:pt x="456" y="1650"/>
                  </a:cubicBezTo>
                  <a:cubicBezTo>
                    <a:pt x="518" y="1650"/>
                    <a:pt x="578" y="1634"/>
                    <a:pt x="631" y="1599"/>
                  </a:cubicBezTo>
                  <a:lnTo>
                    <a:pt x="2269" y="780"/>
                  </a:lnTo>
                  <a:cubicBezTo>
                    <a:pt x="2490" y="654"/>
                    <a:pt x="2553" y="433"/>
                    <a:pt x="2490" y="244"/>
                  </a:cubicBezTo>
                  <a:cubicBezTo>
                    <a:pt x="2394" y="77"/>
                    <a:pt x="2226" y="1"/>
                    <a:pt x="20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08" name="Google Shape;10508;p79"/>
          <p:cNvSpPr/>
          <p:nvPr/>
        </p:nvSpPr>
        <p:spPr>
          <a:xfrm>
            <a:off x="4871549" y="1939732"/>
            <a:ext cx="340807" cy="341579"/>
          </a:xfrm>
          <a:custGeom>
            <a:avLst/>
            <a:gdLst/>
            <a:ahLst/>
            <a:cxnLst/>
            <a:rect l="l" t="t" r="r" b="b"/>
            <a:pathLst>
              <a:path w="14115" h="14147" extrusionOk="0">
                <a:moveTo>
                  <a:pt x="8349" y="883"/>
                </a:moveTo>
                <a:lnTo>
                  <a:pt x="8349" y="2080"/>
                </a:lnTo>
                <a:cubicBezTo>
                  <a:pt x="7971" y="2364"/>
                  <a:pt x="7498" y="2521"/>
                  <a:pt x="7089" y="2521"/>
                </a:cubicBezTo>
                <a:cubicBezTo>
                  <a:pt x="6616" y="2521"/>
                  <a:pt x="6175" y="2364"/>
                  <a:pt x="5828" y="2080"/>
                </a:cubicBezTo>
                <a:lnTo>
                  <a:pt x="5828" y="883"/>
                </a:lnTo>
                <a:close/>
                <a:moveTo>
                  <a:pt x="4946" y="820"/>
                </a:moveTo>
                <a:lnTo>
                  <a:pt x="4946" y="2931"/>
                </a:lnTo>
                <a:cubicBezTo>
                  <a:pt x="4946" y="4380"/>
                  <a:pt x="3844" y="5609"/>
                  <a:pt x="2457" y="5798"/>
                </a:cubicBezTo>
                <a:cubicBezTo>
                  <a:pt x="2993" y="5294"/>
                  <a:pt x="3308" y="4538"/>
                  <a:pt x="3308" y="3750"/>
                </a:cubicBezTo>
                <a:lnTo>
                  <a:pt x="3308" y="2080"/>
                </a:lnTo>
                <a:cubicBezTo>
                  <a:pt x="3308" y="1860"/>
                  <a:pt x="3088" y="1671"/>
                  <a:pt x="2899" y="1671"/>
                </a:cubicBezTo>
                <a:cubicBezTo>
                  <a:pt x="2678" y="1671"/>
                  <a:pt x="2457" y="1860"/>
                  <a:pt x="2457" y="2080"/>
                </a:cubicBezTo>
                <a:lnTo>
                  <a:pt x="2457" y="3750"/>
                </a:lnTo>
                <a:cubicBezTo>
                  <a:pt x="2457" y="4727"/>
                  <a:pt x="1764" y="5609"/>
                  <a:pt x="819" y="5766"/>
                </a:cubicBezTo>
                <a:lnTo>
                  <a:pt x="819" y="820"/>
                </a:lnTo>
                <a:close/>
                <a:moveTo>
                  <a:pt x="13295" y="820"/>
                </a:moveTo>
                <a:lnTo>
                  <a:pt x="13295" y="5766"/>
                </a:lnTo>
                <a:cubicBezTo>
                  <a:pt x="12350" y="5546"/>
                  <a:pt x="11657" y="4727"/>
                  <a:pt x="11657" y="3750"/>
                </a:cubicBezTo>
                <a:lnTo>
                  <a:pt x="11657" y="2080"/>
                </a:lnTo>
                <a:cubicBezTo>
                  <a:pt x="11657" y="1860"/>
                  <a:pt x="11436" y="1671"/>
                  <a:pt x="11247" y="1671"/>
                </a:cubicBezTo>
                <a:cubicBezTo>
                  <a:pt x="11027" y="1671"/>
                  <a:pt x="10806" y="1860"/>
                  <a:pt x="10806" y="2080"/>
                </a:cubicBezTo>
                <a:lnTo>
                  <a:pt x="10806" y="3750"/>
                </a:lnTo>
                <a:cubicBezTo>
                  <a:pt x="10806" y="4538"/>
                  <a:pt x="11121" y="5294"/>
                  <a:pt x="11657" y="5798"/>
                </a:cubicBezTo>
                <a:cubicBezTo>
                  <a:pt x="10239" y="5609"/>
                  <a:pt x="9168" y="4380"/>
                  <a:pt x="9168" y="2899"/>
                </a:cubicBezTo>
                <a:lnTo>
                  <a:pt x="9168" y="820"/>
                </a:lnTo>
                <a:close/>
                <a:moveTo>
                  <a:pt x="8286" y="3025"/>
                </a:moveTo>
                <a:cubicBezTo>
                  <a:pt x="8349" y="4538"/>
                  <a:pt x="9326" y="5829"/>
                  <a:pt x="10649" y="6396"/>
                </a:cubicBezTo>
                <a:lnTo>
                  <a:pt x="9704" y="8318"/>
                </a:lnTo>
                <a:lnTo>
                  <a:pt x="4411" y="8318"/>
                </a:lnTo>
                <a:lnTo>
                  <a:pt x="3466" y="6396"/>
                </a:lnTo>
                <a:cubicBezTo>
                  <a:pt x="4757" y="5829"/>
                  <a:pt x="5734" y="4569"/>
                  <a:pt x="5765" y="3025"/>
                </a:cubicBezTo>
                <a:cubicBezTo>
                  <a:pt x="6175" y="3246"/>
                  <a:pt x="6616" y="3309"/>
                  <a:pt x="7026" y="3309"/>
                </a:cubicBezTo>
                <a:cubicBezTo>
                  <a:pt x="7467" y="3309"/>
                  <a:pt x="7908" y="3183"/>
                  <a:pt x="8286" y="3025"/>
                </a:cubicBezTo>
                <a:close/>
                <a:moveTo>
                  <a:pt x="13295" y="6617"/>
                </a:moveTo>
                <a:lnTo>
                  <a:pt x="13295" y="10555"/>
                </a:lnTo>
                <a:cubicBezTo>
                  <a:pt x="13169" y="10681"/>
                  <a:pt x="13012" y="10744"/>
                  <a:pt x="12854" y="10744"/>
                </a:cubicBezTo>
                <a:cubicBezTo>
                  <a:pt x="12665" y="10744"/>
                  <a:pt x="12508" y="10681"/>
                  <a:pt x="12382" y="10492"/>
                </a:cubicBezTo>
                <a:cubicBezTo>
                  <a:pt x="12129" y="10083"/>
                  <a:pt x="11688" y="9862"/>
                  <a:pt x="11216" y="9862"/>
                </a:cubicBezTo>
                <a:cubicBezTo>
                  <a:pt x="10743" y="9862"/>
                  <a:pt x="10302" y="10083"/>
                  <a:pt x="10019" y="10492"/>
                </a:cubicBezTo>
                <a:cubicBezTo>
                  <a:pt x="9956" y="10650"/>
                  <a:pt x="9798" y="10713"/>
                  <a:pt x="9609" y="10713"/>
                </a:cubicBezTo>
                <a:lnTo>
                  <a:pt x="9389" y="10713"/>
                </a:lnTo>
                <a:lnTo>
                  <a:pt x="11499" y="6617"/>
                </a:lnTo>
                <a:close/>
                <a:moveTo>
                  <a:pt x="2615" y="6617"/>
                </a:moveTo>
                <a:lnTo>
                  <a:pt x="4663" y="10744"/>
                </a:lnTo>
                <a:lnTo>
                  <a:pt x="4474" y="10744"/>
                </a:lnTo>
                <a:cubicBezTo>
                  <a:pt x="4316" y="10713"/>
                  <a:pt x="4159" y="10618"/>
                  <a:pt x="4033" y="10524"/>
                </a:cubicBezTo>
                <a:cubicBezTo>
                  <a:pt x="3781" y="10114"/>
                  <a:pt x="3340" y="9893"/>
                  <a:pt x="2867" y="9893"/>
                </a:cubicBezTo>
                <a:cubicBezTo>
                  <a:pt x="2394" y="9893"/>
                  <a:pt x="1953" y="10114"/>
                  <a:pt x="1670" y="10524"/>
                </a:cubicBezTo>
                <a:cubicBezTo>
                  <a:pt x="1575" y="10681"/>
                  <a:pt x="1418" y="10776"/>
                  <a:pt x="1197" y="10776"/>
                </a:cubicBezTo>
                <a:cubicBezTo>
                  <a:pt x="1040" y="10776"/>
                  <a:pt x="882" y="10713"/>
                  <a:pt x="788" y="10587"/>
                </a:cubicBezTo>
                <a:lnTo>
                  <a:pt x="788" y="6617"/>
                </a:lnTo>
                <a:close/>
                <a:moveTo>
                  <a:pt x="9263" y="9169"/>
                </a:moveTo>
                <a:lnTo>
                  <a:pt x="8412" y="10776"/>
                </a:lnTo>
                <a:cubicBezTo>
                  <a:pt x="8349" y="10933"/>
                  <a:pt x="8380" y="11154"/>
                  <a:pt x="8506" y="11248"/>
                </a:cubicBezTo>
                <a:cubicBezTo>
                  <a:pt x="8790" y="11500"/>
                  <a:pt x="9105" y="11626"/>
                  <a:pt x="9452" y="11626"/>
                </a:cubicBezTo>
                <a:cubicBezTo>
                  <a:pt x="9924" y="11626"/>
                  <a:pt x="10365" y="11374"/>
                  <a:pt x="10617" y="10996"/>
                </a:cubicBezTo>
                <a:cubicBezTo>
                  <a:pt x="10743" y="10839"/>
                  <a:pt x="10901" y="10713"/>
                  <a:pt x="11090" y="10713"/>
                </a:cubicBezTo>
                <a:cubicBezTo>
                  <a:pt x="11310" y="10713"/>
                  <a:pt x="11468" y="10776"/>
                  <a:pt x="11562" y="10996"/>
                </a:cubicBezTo>
                <a:cubicBezTo>
                  <a:pt x="11846" y="11374"/>
                  <a:pt x="12287" y="11626"/>
                  <a:pt x="12760" y="11626"/>
                </a:cubicBezTo>
                <a:cubicBezTo>
                  <a:pt x="12917" y="11626"/>
                  <a:pt x="13075" y="11563"/>
                  <a:pt x="13201" y="11532"/>
                </a:cubicBezTo>
                <a:lnTo>
                  <a:pt x="13201" y="13296"/>
                </a:lnTo>
                <a:lnTo>
                  <a:pt x="819" y="13296"/>
                </a:lnTo>
                <a:lnTo>
                  <a:pt x="819" y="11532"/>
                </a:lnTo>
                <a:cubicBezTo>
                  <a:pt x="977" y="11563"/>
                  <a:pt x="1103" y="11626"/>
                  <a:pt x="1260" y="11626"/>
                </a:cubicBezTo>
                <a:cubicBezTo>
                  <a:pt x="1733" y="11626"/>
                  <a:pt x="2142" y="11374"/>
                  <a:pt x="2426" y="10996"/>
                </a:cubicBezTo>
                <a:cubicBezTo>
                  <a:pt x="2552" y="10839"/>
                  <a:pt x="2709" y="10713"/>
                  <a:pt x="2899" y="10713"/>
                </a:cubicBezTo>
                <a:cubicBezTo>
                  <a:pt x="3088" y="10713"/>
                  <a:pt x="3245" y="10776"/>
                  <a:pt x="3371" y="10996"/>
                </a:cubicBezTo>
                <a:cubicBezTo>
                  <a:pt x="3655" y="11374"/>
                  <a:pt x="4096" y="11626"/>
                  <a:pt x="4568" y="11626"/>
                </a:cubicBezTo>
                <a:cubicBezTo>
                  <a:pt x="4915" y="11626"/>
                  <a:pt x="5261" y="11500"/>
                  <a:pt x="5513" y="11248"/>
                </a:cubicBezTo>
                <a:cubicBezTo>
                  <a:pt x="5608" y="11154"/>
                  <a:pt x="5671" y="10933"/>
                  <a:pt x="5576" y="10776"/>
                </a:cubicBezTo>
                <a:lnTo>
                  <a:pt x="4757" y="9169"/>
                </a:lnTo>
                <a:close/>
                <a:moveTo>
                  <a:pt x="410" y="1"/>
                </a:moveTo>
                <a:cubicBezTo>
                  <a:pt x="189" y="1"/>
                  <a:pt x="0" y="190"/>
                  <a:pt x="0" y="442"/>
                </a:cubicBezTo>
                <a:lnTo>
                  <a:pt x="0" y="13706"/>
                </a:lnTo>
                <a:cubicBezTo>
                  <a:pt x="0" y="13958"/>
                  <a:pt x="189" y="14147"/>
                  <a:pt x="410" y="14147"/>
                </a:cubicBezTo>
                <a:lnTo>
                  <a:pt x="13705" y="14147"/>
                </a:lnTo>
                <a:cubicBezTo>
                  <a:pt x="13925" y="14147"/>
                  <a:pt x="14114" y="13958"/>
                  <a:pt x="14114" y="13706"/>
                </a:cubicBezTo>
                <a:lnTo>
                  <a:pt x="14114" y="442"/>
                </a:lnTo>
                <a:cubicBezTo>
                  <a:pt x="14114" y="190"/>
                  <a:pt x="13925" y="1"/>
                  <a:pt x="137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9" name="Google Shape;10509;p79"/>
          <p:cNvSpPr/>
          <p:nvPr/>
        </p:nvSpPr>
        <p:spPr>
          <a:xfrm>
            <a:off x="4932020" y="2349459"/>
            <a:ext cx="219864" cy="339286"/>
          </a:xfrm>
          <a:custGeom>
            <a:avLst/>
            <a:gdLst/>
            <a:ahLst/>
            <a:cxnLst/>
            <a:rect l="l" t="t" r="r" b="b"/>
            <a:pathLst>
              <a:path w="9106" h="14052" extrusionOk="0">
                <a:moveTo>
                  <a:pt x="1230" y="4096"/>
                </a:moveTo>
                <a:cubicBezTo>
                  <a:pt x="1450" y="4096"/>
                  <a:pt x="1608" y="4285"/>
                  <a:pt x="1608" y="4474"/>
                </a:cubicBezTo>
                <a:cubicBezTo>
                  <a:pt x="1608" y="4726"/>
                  <a:pt x="1419" y="4915"/>
                  <a:pt x="1230" y="4915"/>
                </a:cubicBezTo>
                <a:cubicBezTo>
                  <a:pt x="978" y="4915"/>
                  <a:pt x="789" y="4726"/>
                  <a:pt x="789" y="4474"/>
                </a:cubicBezTo>
                <a:cubicBezTo>
                  <a:pt x="820" y="4285"/>
                  <a:pt x="978" y="4096"/>
                  <a:pt x="1230" y="4096"/>
                </a:cubicBezTo>
                <a:close/>
                <a:moveTo>
                  <a:pt x="7846" y="4096"/>
                </a:moveTo>
                <a:cubicBezTo>
                  <a:pt x="8066" y="4096"/>
                  <a:pt x="8255" y="4285"/>
                  <a:pt x="8255" y="4474"/>
                </a:cubicBezTo>
                <a:cubicBezTo>
                  <a:pt x="8255" y="4726"/>
                  <a:pt x="8066" y="4915"/>
                  <a:pt x="7846" y="4915"/>
                </a:cubicBezTo>
                <a:cubicBezTo>
                  <a:pt x="7594" y="4915"/>
                  <a:pt x="7436" y="4726"/>
                  <a:pt x="7436" y="4474"/>
                </a:cubicBezTo>
                <a:cubicBezTo>
                  <a:pt x="7436" y="4285"/>
                  <a:pt x="7594" y="4096"/>
                  <a:pt x="7846" y="4096"/>
                </a:cubicBezTo>
                <a:close/>
                <a:moveTo>
                  <a:pt x="4538" y="788"/>
                </a:moveTo>
                <a:cubicBezTo>
                  <a:pt x="5514" y="788"/>
                  <a:pt x="6365" y="1481"/>
                  <a:pt x="6523" y="2427"/>
                </a:cubicBezTo>
                <a:lnTo>
                  <a:pt x="5357" y="2427"/>
                </a:lnTo>
                <a:cubicBezTo>
                  <a:pt x="5105" y="2427"/>
                  <a:pt x="4916" y="2616"/>
                  <a:pt x="4916" y="2868"/>
                </a:cubicBezTo>
                <a:cubicBezTo>
                  <a:pt x="4916" y="3088"/>
                  <a:pt x="5105" y="3309"/>
                  <a:pt x="5357" y="3309"/>
                </a:cubicBezTo>
                <a:lnTo>
                  <a:pt x="6617" y="3309"/>
                </a:lnTo>
                <a:lnTo>
                  <a:pt x="6617" y="4128"/>
                </a:lnTo>
                <a:lnTo>
                  <a:pt x="5357" y="4128"/>
                </a:lnTo>
                <a:cubicBezTo>
                  <a:pt x="5105" y="4128"/>
                  <a:pt x="4916" y="4317"/>
                  <a:pt x="4916" y="4506"/>
                </a:cubicBezTo>
                <a:cubicBezTo>
                  <a:pt x="4916" y="4758"/>
                  <a:pt x="5105" y="4947"/>
                  <a:pt x="5357" y="4947"/>
                </a:cubicBezTo>
                <a:lnTo>
                  <a:pt x="6617" y="4947"/>
                </a:lnTo>
                <a:lnTo>
                  <a:pt x="6617" y="5766"/>
                </a:lnTo>
                <a:lnTo>
                  <a:pt x="5357" y="5766"/>
                </a:lnTo>
                <a:cubicBezTo>
                  <a:pt x="5105" y="5766"/>
                  <a:pt x="4916" y="5987"/>
                  <a:pt x="4916" y="6207"/>
                </a:cubicBezTo>
                <a:cubicBezTo>
                  <a:pt x="4916" y="6459"/>
                  <a:pt x="5105" y="6617"/>
                  <a:pt x="5357" y="6617"/>
                </a:cubicBezTo>
                <a:lnTo>
                  <a:pt x="6523" y="6617"/>
                </a:lnTo>
                <a:cubicBezTo>
                  <a:pt x="6333" y="7562"/>
                  <a:pt x="5514" y="8255"/>
                  <a:pt x="4538" y="8255"/>
                </a:cubicBezTo>
                <a:cubicBezTo>
                  <a:pt x="3530" y="8255"/>
                  <a:pt x="2679" y="7562"/>
                  <a:pt x="2521" y="6617"/>
                </a:cubicBezTo>
                <a:lnTo>
                  <a:pt x="3687" y="6617"/>
                </a:lnTo>
                <a:cubicBezTo>
                  <a:pt x="3939" y="6617"/>
                  <a:pt x="4128" y="6396"/>
                  <a:pt x="4128" y="6207"/>
                </a:cubicBezTo>
                <a:cubicBezTo>
                  <a:pt x="4128" y="5987"/>
                  <a:pt x="3939" y="5766"/>
                  <a:pt x="3687" y="5766"/>
                </a:cubicBezTo>
                <a:lnTo>
                  <a:pt x="2490" y="5766"/>
                </a:lnTo>
                <a:lnTo>
                  <a:pt x="2490" y="4947"/>
                </a:lnTo>
                <a:lnTo>
                  <a:pt x="3687" y="4947"/>
                </a:lnTo>
                <a:cubicBezTo>
                  <a:pt x="3939" y="4947"/>
                  <a:pt x="4128" y="4758"/>
                  <a:pt x="4128" y="4506"/>
                </a:cubicBezTo>
                <a:cubicBezTo>
                  <a:pt x="4128" y="4285"/>
                  <a:pt x="3939" y="4128"/>
                  <a:pt x="3687" y="4128"/>
                </a:cubicBezTo>
                <a:lnTo>
                  <a:pt x="2490" y="4128"/>
                </a:lnTo>
                <a:lnTo>
                  <a:pt x="2490" y="3277"/>
                </a:lnTo>
                <a:lnTo>
                  <a:pt x="3687" y="3277"/>
                </a:lnTo>
                <a:cubicBezTo>
                  <a:pt x="3939" y="3277"/>
                  <a:pt x="4128" y="3057"/>
                  <a:pt x="4128" y="2836"/>
                </a:cubicBezTo>
                <a:cubicBezTo>
                  <a:pt x="4128" y="2584"/>
                  <a:pt x="3939" y="2395"/>
                  <a:pt x="3687" y="2395"/>
                </a:cubicBezTo>
                <a:lnTo>
                  <a:pt x="2521" y="2395"/>
                </a:lnTo>
                <a:cubicBezTo>
                  <a:pt x="2710" y="1481"/>
                  <a:pt x="3530" y="788"/>
                  <a:pt x="4538" y="788"/>
                </a:cubicBezTo>
                <a:close/>
                <a:moveTo>
                  <a:pt x="8255" y="5671"/>
                </a:moveTo>
                <a:lnTo>
                  <a:pt x="8255" y="6144"/>
                </a:lnTo>
                <a:cubicBezTo>
                  <a:pt x="8255" y="8066"/>
                  <a:pt x="6806" y="9641"/>
                  <a:pt x="4947" y="9830"/>
                </a:cubicBezTo>
                <a:lnTo>
                  <a:pt x="4947" y="9011"/>
                </a:lnTo>
                <a:cubicBezTo>
                  <a:pt x="6365" y="8822"/>
                  <a:pt x="7436" y="7593"/>
                  <a:pt x="7436" y="6144"/>
                </a:cubicBezTo>
                <a:lnTo>
                  <a:pt x="7436" y="5671"/>
                </a:lnTo>
                <a:cubicBezTo>
                  <a:pt x="7562" y="5703"/>
                  <a:pt x="7720" y="5735"/>
                  <a:pt x="7846" y="5735"/>
                </a:cubicBezTo>
                <a:cubicBezTo>
                  <a:pt x="7940" y="5735"/>
                  <a:pt x="8098" y="5703"/>
                  <a:pt x="8255" y="5671"/>
                </a:cubicBezTo>
                <a:close/>
                <a:moveTo>
                  <a:pt x="1639" y="5703"/>
                </a:moveTo>
                <a:lnTo>
                  <a:pt x="1639" y="6176"/>
                </a:lnTo>
                <a:cubicBezTo>
                  <a:pt x="1639" y="7625"/>
                  <a:pt x="2710" y="8853"/>
                  <a:pt x="4128" y="9043"/>
                </a:cubicBezTo>
                <a:lnTo>
                  <a:pt x="4128" y="9893"/>
                </a:lnTo>
                <a:cubicBezTo>
                  <a:pt x="2238" y="9641"/>
                  <a:pt x="820" y="8066"/>
                  <a:pt x="820" y="6176"/>
                </a:cubicBezTo>
                <a:lnTo>
                  <a:pt x="820" y="5703"/>
                </a:lnTo>
                <a:cubicBezTo>
                  <a:pt x="946" y="5735"/>
                  <a:pt x="1104" y="5798"/>
                  <a:pt x="1261" y="5798"/>
                </a:cubicBezTo>
                <a:cubicBezTo>
                  <a:pt x="1419" y="5798"/>
                  <a:pt x="1545" y="5735"/>
                  <a:pt x="1639" y="5703"/>
                </a:cubicBezTo>
                <a:close/>
                <a:moveTo>
                  <a:pt x="4569" y="12414"/>
                </a:moveTo>
                <a:cubicBezTo>
                  <a:pt x="5073" y="12414"/>
                  <a:pt x="5546" y="12760"/>
                  <a:pt x="5703" y="13233"/>
                </a:cubicBezTo>
                <a:lnTo>
                  <a:pt x="3372" y="13233"/>
                </a:lnTo>
                <a:cubicBezTo>
                  <a:pt x="3530" y="12760"/>
                  <a:pt x="4002" y="12414"/>
                  <a:pt x="4569" y="12414"/>
                </a:cubicBezTo>
                <a:close/>
                <a:moveTo>
                  <a:pt x="4569" y="1"/>
                </a:moveTo>
                <a:cubicBezTo>
                  <a:pt x="2962" y="1"/>
                  <a:pt x="1639" y="1292"/>
                  <a:pt x="1639" y="2868"/>
                </a:cubicBezTo>
                <a:lnTo>
                  <a:pt x="1639" y="3340"/>
                </a:lnTo>
                <a:cubicBezTo>
                  <a:pt x="1545" y="3309"/>
                  <a:pt x="1387" y="3277"/>
                  <a:pt x="1261" y="3277"/>
                </a:cubicBezTo>
                <a:cubicBezTo>
                  <a:pt x="600" y="3277"/>
                  <a:pt x="1" y="3813"/>
                  <a:pt x="1" y="4474"/>
                </a:cubicBezTo>
                <a:lnTo>
                  <a:pt x="1" y="6144"/>
                </a:lnTo>
                <a:cubicBezTo>
                  <a:pt x="1" y="8507"/>
                  <a:pt x="1797" y="10460"/>
                  <a:pt x="4128" y="10681"/>
                </a:cubicBezTo>
                <a:lnTo>
                  <a:pt x="4128" y="11626"/>
                </a:lnTo>
                <a:cubicBezTo>
                  <a:pt x="3183" y="11815"/>
                  <a:pt x="2490" y="12634"/>
                  <a:pt x="2490" y="13611"/>
                </a:cubicBezTo>
                <a:cubicBezTo>
                  <a:pt x="2490" y="13863"/>
                  <a:pt x="2679" y="14052"/>
                  <a:pt x="2868" y="14052"/>
                </a:cubicBezTo>
                <a:lnTo>
                  <a:pt x="6176" y="14052"/>
                </a:lnTo>
                <a:cubicBezTo>
                  <a:pt x="6428" y="14052"/>
                  <a:pt x="6617" y="13863"/>
                  <a:pt x="6617" y="13611"/>
                </a:cubicBezTo>
                <a:cubicBezTo>
                  <a:pt x="6617" y="12634"/>
                  <a:pt x="5892" y="11783"/>
                  <a:pt x="4947" y="11626"/>
                </a:cubicBezTo>
                <a:lnTo>
                  <a:pt x="4947" y="10681"/>
                </a:lnTo>
                <a:cubicBezTo>
                  <a:pt x="7247" y="10460"/>
                  <a:pt x="9106" y="8538"/>
                  <a:pt x="9106" y="6176"/>
                </a:cubicBezTo>
                <a:lnTo>
                  <a:pt x="9106" y="4537"/>
                </a:lnTo>
                <a:cubicBezTo>
                  <a:pt x="9106" y="3844"/>
                  <a:pt x="8539" y="3309"/>
                  <a:pt x="7846" y="3309"/>
                </a:cubicBezTo>
                <a:cubicBezTo>
                  <a:pt x="7688" y="3309"/>
                  <a:pt x="7562" y="3340"/>
                  <a:pt x="7436" y="3372"/>
                </a:cubicBezTo>
                <a:lnTo>
                  <a:pt x="7436" y="2868"/>
                </a:lnTo>
                <a:cubicBezTo>
                  <a:pt x="7436" y="1261"/>
                  <a:pt x="6144"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10" name="Google Shape;10510;p79"/>
          <p:cNvGrpSpPr/>
          <p:nvPr/>
        </p:nvGrpSpPr>
        <p:grpSpPr>
          <a:xfrm>
            <a:off x="6667277" y="1532487"/>
            <a:ext cx="340034" cy="340420"/>
            <a:chOff x="-12199250" y="1662675"/>
            <a:chExt cx="352075" cy="352475"/>
          </a:xfrm>
        </p:grpSpPr>
        <p:sp>
          <p:nvSpPr>
            <p:cNvPr id="10511" name="Google Shape;10511;p79"/>
            <p:cNvSpPr/>
            <p:nvPr/>
          </p:nvSpPr>
          <p:spPr>
            <a:xfrm>
              <a:off x="-12004725" y="1710325"/>
              <a:ext cx="116600" cy="76425"/>
            </a:xfrm>
            <a:custGeom>
              <a:avLst/>
              <a:gdLst/>
              <a:ahLst/>
              <a:cxnLst/>
              <a:rect l="l" t="t" r="r" b="b"/>
              <a:pathLst>
                <a:path w="4664" h="3057" extrusionOk="0">
                  <a:moveTo>
                    <a:pt x="2395" y="788"/>
                  </a:moveTo>
                  <a:cubicBezTo>
                    <a:pt x="2679" y="788"/>
                    <a:pt x="2962" y="819"/>
                    <a:pt x="3246" y="914"/>
                  </a:cubicBezTo>
                  <a:cubicBezTo>
                    <a:pt x="3435" y="945"/>
                    <a:pt x="3624" y="1008"/>
                    <a:pt x="3813" y="1008"/>
                  </a:cubicBezTo>
                  <a:cubicBezTo>
                    <a:pt x="3781" y="1702"/>
                    <a:pt x="3246" y="2206"/>
                    <a:pt x="2616" y="2206"/>
                  </a:cubicBezTo>
                  <a:lnTo>
                    <a:pt x="1986" y="2206"/>
                  </a:lnTo>
                  <a:cubicBezTo>
                    <a:pt x="1608" y="2206"/>
                    <a:pt x="1261" y="2017"/>
                    <a:pt x="1104" y="1702"/>
                  </a:cubicBezTo>
                  <a:lnTo>
                    <a:pt x="946" y="1386"/>
                  </a:lnTo>
                  <a:lnTo>
                    <a:pt x="1041" y="1292"/>
                  </a:lnTo>
                  <a:cubicBezTo>
                    <a:pt x="1450" y="851"/>
                    <a:pt x="2017" y="788"/>
                    <a:pt x="2395" y="788"/>
                  </a:cubicBezTo>
                  <a:close/>
                  <a:moveTo>
                    <a:pt x="2458" y="0"/>
                  </a:moveTo>
                  <a:cubicBezTo>
                    <a:pt x="2017" y="0"/>
                    <a:pt x="1167" y="63"/>
                    <a:pt x="473" y="756"/>
                  </a:cubicBezTo>
                  <a:lnTo>
                    <a:pt x="158" y="1071"/>
                  </a:lnTo>
                  <a:cubicBezTo>
                    <a:pt x="64" y="1166"/>
                    <a:pt x="1" y="1386"/>
                    <a:pt x="95" y="1544"/>
                  </a:cubicBezTo>
                  <a:lnTo>
                    <a:pt x="379" y="2080"/>
                  </a:lnTo>
                  <a:cubicBezTo>
                    <a:pt x="631" y="2678"/>
                    <a:pt x="1261" y="3056"/>
                    <a:pt x="1954" y="3056"/>
                  </a:cubicBezTo>
                  <a:lnTo>
                    <a:pt x="2553" y="3056"/>
                  </a:lnTo>
                  <a:cubicBezTo>
                    <a:pt x="3718" y="3056"/>
                    <a:pt x="4664" y="2111"/>
                    <a:pt x="4664" y="977"/>
                  </a:cubicBezTo>
                  <a:lnTo>
                    <a:pt x="4664" y="662"/>
                  </a:lnTo>
                  <a:cubicBezTo>
                    <a:pt x="4664" y="441"/>
                    <a:pt x="4506" y="284"/>
                    <a:pt x="4254" y="284"/>
                  </a:cubicBezTo>
                  <a:cubicBezTo>
                    <a:pt x="3971" y="284"/>
                    <a:pt x="3718" y="221"/>
                    <a:pt x="3466" y="158"/>
                  </a:cubicBezTo>
                  <a:cubicBezTo>
                    <a:pt x="3120" y="32"/>
                    <a:pt x="277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79"/>
            <p:cNvSpPr/>
            <p:nvPr/>
          </p:nvSpPr>
          <p:spPr>
            <a:xfrm>
              <a:off x="-12158300" y="1709525"/>
              <a:ext cx="116600" cy="77225"/>
            </a:xfrm>
            <a:custGeom>
              <a:avLst/>
              <a:gdLst/>
              <a:ahLst/>
              <a:cxnLst/>
              <a:rect l="l" t="t" r="r" b="b"/>
              <a:pathLst>
                <a:path w="4664" h="3089" extrusionOk="0">
                  <a:moveTo>
                    <a:pt x="2237" y="820"/>
                  </a:moveTo>
                  <a:cubicBezTo>
                    <a:pt x="2647" y="820"/>
                    <a:pt x="3182" y="883"/>
                    <a:pt x="3592" y="1324"/>
                  </a:cubicBezTo>
                  <a:lnTo>
                    <a:pt x="3718" y="1450"/>
                  </a:lnTo>
                  <a:lnTo>
                    <a:pt x="3560" y="1765"/>
                  </a:lnTo>
                  <a:cubicBezTo>
                    <a:pt x="3403" y="2080"/>
                    <a:pt x="3088" y="2269"/>
                    <a:pt x="2710" y="2269"/>
                  </a:cubicBezTo>
                  <a:lnTo>
                    <a:pt x="2048" y="2269"/>
                  </a:lnTo>
                  <a:cubicBezTo>
                    <a:pt x="1387" y="2269"/>
                    <a:pt x="820" y="1765"/>
                    <a:pt x="820" y="1072"/>
                  </a:cubicBezTo>
                  <a:cubicBezTo>
                    <a:pt x="1040" y="1040"/>
                    <a:pt x="1229" y="977"/>
                    <a:pt x="1418" y="946"/>
                  </a:cubicBezTo>
                  <a:cubicBezTo>
                    <a:pt x="1702" y="851"/>
                    <a:pt x="1985" y="820"/>
                    <a:pt x="2237" y="820"/>
                  </a:cubicBezTo>
                  <a:close/>
                  <a:moveTo>
                    <a:pt x="2237" y="1"/>
                  </a:moveTo>
                  <a:cubicBezTo>
                    <a:pt x="1891" y="1"/>
                    <a:pt x="1513" y="32"/>
                    <a:pt x="1198" y="158"/>
                  </a:cubicBezTo>
                  <a:cubicBezTo>
                    <a:pt x="914" y="221"/>
                    <a:pt x="662" y="253"/>
                    <a:pt x="410" y="253"/>
                  </a:cubicBezTo>
                  <a:cubicBezTo>
                    <a:pt x="158" y="253"/>
                    <a:pt x="0" y="473"/>
                    <a:pt x="0" y="662"/>
                  </a:cubicBezTo>
                  <a:lnTo>
                    <a:pt x="0" y="1009"/>
                  </a:lnTo>
                  <a:cubicBezTo>
                    <a:pt x="0" y="2143"/>
                    <a:pt x="914" y="3088"/>
                    <a:pt x="2048" y="3088"/>
                  </a:cubicBezTo>
                  <a:lnTo>
                    <a:pt x="2710" y="3088"/>
                  </a:lnTo>
                  <a:cubicBezTo>
                    <a:pt x="3403" y="3088"/>
                    <a:pt x="3970" y="2742"/>
                    <a:pt x="4285" y="2112"/>
                  </a:cubicBezTo>
                  <a:lnTo>
                    <a:pt x="4569" y="1513"/>
                  </a:lnTo>
                  <a:cubicBezTo>
                    <a:pt x="4663" y="1355"/>
                    <a:pt x="4600" y="1166"/>
                    <a:pt x="4506" y="1040"/>
                  </a:cubicBezTo>
                  <a:lnTo>
                    <a:pt x="4191" y="725"/>
                  </a:lnTo>
                  <a:cubicBezTo>
                    <a:pt x="3560" y="95"/>
                    <a:pt x="2804" y="1"/>
                    <a:pt x="22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79"/>
            <p:cNvSpPr/>
            <p:nvPr/>
          </p:nvSpPr>
          <p:spPr>
            <a:xfrm>
              <a:off x="-12199250" y="1662675"/>
              <a:ext cx="352075" cy="352475"/>
            </a:xfrm>
            <a:custGeom>
              <a:avLst/>
              <a:gdLst/>
              <a:ahLst/>
              <a:cxnLst/>
              <a:rect l="l" t="t" r="r" b="b"/>
              <a:pathLst>
                <a:path w="14083" h="14099" extrusionOk="0">
                  <a:moveTo>
                    <a:pt x="3916" y="1048"/>
                  </a:moveTo>
                  <a:cubicBezTo>
                    <a:pt x="4902" y="1048"/>
                    <a:pt x="5796" y="1401"/>
                    <a:pt x="6459" y="2064"/>
                  </a:cubicBezTo>
                  <a:lnTo>
                    <a:pt x="6774" y="2379"/>
                  </a:lnTo>
                  <a:cubicBezTo>
                    <a:pt x="6837" y="2442"/>
                    <a:pt x="6963" y="2505"/>
                    <a:pt x="7026" y="2505"/>
                  </a:cubicBezTo>
                  <a:cubicBezTo>
                    <a:pt x="7152" y="2505"/>
                    <a:pt x="7246" y="2442"/>
                    <a:pt x="7309" y="2379"/>
                  </a:cubicBezTo>
                  <a:lnTo>
                    <a:pt x="7624" y="2064"/>
                  </a:lnTo>
                  <a:cubicBezTo>
                    <a:pt x="8288" y="1400"/>
                    <a:pt x="9186" y="1062"/>
                    <a:pt x="10163" y="1062"/>
                  </a:cubicBezTo>
                  <a:cubicBezTo>
                    <a:pt x="10577" y="1062"/>
                    <a:pt x="11005" y="1123"/>
                    <a:pt x="11436" y="1245"/>
                  </a:cubicBezTo>
                  <a:cubicBezTo>
                    <a:pt x="11656" y="1302"/>
                    <a:pt x="11880" y="1331"/>
                    <a:pt x="12105" y="1331"/>
                  </a:cubicBezTo>
                  <a:cubicBezTo>
                    <a:pt x="12493" y="1331"/>
                    <a:pt x="12885" y="1247"/>
                    <a:pt x="13264" y="1087"/>
                  </a:cubicBezTo>
                  <a:lnTo>
                    <a:pt x="13264" y="2883"/>
                  </a:lnTo>
                  <a:cubicBezTo>
                    <a:pt x="13264" y="4490"/>
                    <a:pt x="11972" y="5750"/>
                    <a:pt x="10397" y="5750"/>
                  </a:cubicBezTo>
                  <a:lnTo>
                    <a:pt x="9767" y="5750"/>
                  </a:lnTo>
                  <a:cubicBezTo>
                    <a:pt x="8759" y="5750"/>
                    <a:pt x="7876" y="5214"/>
                    <a:pt x="7435" y="4332"/>
                  </a:cubicBezTo>
                  <a:cubicBezTo>
                    <a:pt x="7341" y="4175"/>
                    <a:pt x="7246" y="4112"/>
                    <a:pt x="7089" y="4112"/>
                  </a:cubicBezTo>
                  <a:cubicBezTo>
                    <a:pt x="6931" y="4112"/>
                    <a:pt x="6774" y="4175"/>
                    <a:pt x="6711" y="4332"/>
                  </a:cubicBezTo>
                  <a:cubicBezTo>
                    <a:pt x="6301" y="5214"/>
                    <a:pt x="5388" y="5750"/>
                    <a:pt x="4411" y="5750"/>
                  </a:cubicBezTo>
                  <a:lnTo>
                    <a:pt x="3718" y="5750"/>
                  </a:lnTo>
                  <a:cubicBezTo>
                    <a:pt x="2111" y="5750"/>
                    <a:pt x="851" y="4458"/>
                    <a:pt x="851" y="2883"/>
                  </a:cubicBezTo>
                  <a:lnTo>
                    <a:pt x="851" y="1102"/>
                  </a:lnTo>
                  <a:lnTo>
                    <a:pt x="851" y="1102"/>
                  </a:lnTo>
                  <a:cubicBezTo>
                    <a:pt x="1182" y="1252"/>
                    <a:pt x="1548" y="1331"/>
                    <a:pt x="1926" y="1331"/>
                  </a:cubicBezTo>
                  <a:cubicBezTo>
                    <a:pt x="2153" y="1331"/>
                    <a:pt x="2384" y="1302"/>
                    <a:pt x="2615" y="1245"/>
                  </a:cubicBezTo>
                  <a:cubicBezTo>
                    <a:pt x="3058" y="1113"/>
                    <a:pt x="3495" y="1048"/>
                    <a:pt x="3916" y="1048"/>
                  </a:cubicBezTo>
                  <a:close/>
                  <a:moveTo>
                    <a:pt x="819" y="5214"/>
                  </a:moveTo>
                  <a:cubicBezTo>
                    <a:pt x="1071" y="5529"/>
                    <a:pt x="1323" y="5750"/>
                    <a:pt x="1638" y="6002"/>
                  </a:cubicBezTo>
                  <a:lnTo>
                    <a:pt x="1638" y="6065"/>
                  </a:lnTo>
                  <a:lnTo>
                    <a:pt x="1638" y="10791"/>
                  </a:lnTo>
                  <a:lnTo>
                    <a:pt x="819" y="10791"/>
                  </a:lnTo>
                  <a:lnTo>
                    <a:pt x="819" y="5214"/>
                  </a:lnTo>
                  <a:close/>
                  <a:moveTo>
                    <a:pt x="1607" y="11641"/>
                  </a:moveTo>
                  <a:lnTo>
                    <a:pt x="1607" y="12838"/>
                  </a:lnTo>
                  <a:cubicBezTo>
                    <a:pt x="1638" y="13090"/>
                    <a:pt x="1449" y="13279"/>
                    <a:pt x="1197" y="13279"/>
                  </a:cubicBezTo>
                  <a:cubicBezTo>
                    <a:pt x="977" y="13279"/>
                    <a:pt x="788" y="13090"/>
                    <a:pt x="788" y="12838"/>
                  </a:cubicBezTo>
                  <a:lnTo>
                    <a:pt x="788" y="11641"/>
                  </a:lnTo>
                  <a:close/>
                  <a:moveTo>
                    <a:pt x="13689" y="0"/>
                  </a:moveTo>
                  <a:cubicBezTo>
                    <a:pt x="13618" y="0"/>
                    <a:pt x="13547" y="16"/>
                    <a:pt x="13484" y="47"/>
                  </a:cubicBezTo>
                  <a:lnTo>
                    <a:pt x="12949" y="331"/>
                  </a:lnTo>
                  <a:cubicBezTo>
                    <a:pt x="12686" y="452"/>
                    <a:pt x="12424" y="509"/>
                    <a:pt x="12153" y="509"/>
                  </a:cubicBezTo>
                  <a:cubicBezTo>
                    <a:pt x="12001" y="509"/>
                    <a:pt x="11847" y="491"/>
                    <a:pt x="11689" y="457"/>
                  </a:cubicBezTo>
                  <a:cubicBezTo>
                    <a:pt x="11200" y="307"/>
                    <a:pt x="10699" y="235"/>
                    <a:pt x="10208" y="235"/>
                  </a:cubicBezTo>
                  <a:cubicBezTo>
                    <a:pt x="9876" y="235"/>
                    <a:pt x="9549" y="268"/>
                    <a:pt x="9231" y="331"/>
                  </a:cubicBezTo>
                  <a:cubicBezTo>
                    <a:pt x="8412" y="489"/>
                    <a:pt x="7656" y="867"/>
                    <a:pt x="7026" y="1497"/>
                  </a:cubicBezTo>
                  <a:cubicBezTo>
                    <a:pt x="6396" y="867"/>
                    <a:pt x="5671" y="489"/>
                    <a:pt x="4820" y="331"/>
                  </a:cubicBezTo>
                  <a:cubicBezTo>
                    <a:pt x="4503" y="268"/>
                    <a:pt x="4180" y="235"/>
                    <a:pt x="3855" y="235"/>
                  </a:cubicBezTo>
                  <a:cubicBezTo>
                    <a:pt x="3372" y="235"/>
                    <a:pt x="2883" y="307"/>
                    <a:pt x="2395" y="457"/>
                  </a:cubicBezTo>
                  <a:cubicBezTo>
                    <a:pt x="2236" y="491"/>
                    <a:pt x="2078" y="509"/>
                    <a:pt x="1923" y="509"/>
                  </a:cubicBezTo>
                  <a:cubicBezTo>
                    <a:pt x="1645" y="509"/>
                    <a:pt x="1377" y="452"/>
                    <a:pt x="1134" y="331"/>
                  </a:cubicBezTo>
                  <a:lnTo>
                    <a:pt x="567" y="47"/>
                  </a:lnTo>
                  <a:cubicBezTo>
                    <a:pt x="527" y="21"/>
                    <a:pt x="476" y="11"/>
                    <a:pt x="421" y="11"/>
                  </a:cubicBezTo>
                  <a:cubicBezTo>
                    <a:pt x="345" y="11"/>
                    <a:pt x="262" y="29"/>
                    <a:pt x="189" y="47"/>
                  </a:cubicBezTo>
                  <a:cubicBezTo>
                    <a:pt x="63" y="142"/>
                    <a:pt x="0" y="237"/>
                    <a:pt x="0" y="394"/>
                  </a:cubicBezTo>
                  <a:lnTo>
                    <a:pt x="0" y="12838"/>
                  </a:lnTo>
                  <a:cubicBezTo>
                    <a:pt x="0" y="13563"/>
                    <a:pt x="536" y="14099"/>
                    <a:pt x="1197" y="14099"/>
                  </a:cubicBezTo>
                  <a:cubicBezTo>
                    <a:pt x="1890" y="14099"/>
                    <a:pt x="2458" y="13563"/>
                    <a:pt x="2458" y="12838"/>
                  </a:cubicBezTo>
                  <a:lnTo>
                    <a:pt x="2458" y="6380"/>
                  </a:lnTo>
                  <a:cubicBezTo>
                    <a:pt x="2867" y="6506"/>
                    <a:pt x="3245" y="6600"/>
                    <a:pt x="3686" y="6600"/>
                  </a:cubicBezTo>
                  <a:lnTo>
                    <a:pt x="4348" y="6600"/>
                  </a:lnTo>
                  <a:cubicBezTo>
                    <a:pt x="4978" y="6600"/>
                    <a:pt x="5608" y="6443"/>
                    <a:pt x="6144" y="6065"/>
                  </a:cubicBezTo>
                  <a:cubicBezTo>
                    <a:pt x="6490" y="5876"/>
                    <a:pt x="6774" y="5592"/>
                    <a:pt x="7026" y="5277"/>
                  </a:cubicBezTo>
                  <a:cubicBezTo>
                    <a:pt x="7656" y="6065"/>
                    <a:pt x="8696" y="6600"/>
                    <a:pt x="9767" y="6600"/>
                  </a:cubicBezTo>
                  <a:lnTo>
                    <a:pt x="10397" y="6600"/>
                  </a:lnTo>
                  <a:cubicBezTo>
                    <a:pt x="12445" y="6600"/>
                    <a:pt x="14083" y="4931"/>
                    <a:pt x="14083" y="2883"/>
                  </a:cubicBezTo>
                  <a:lnTo>
                    <a:pt x="14083" y="394"/>
                  </a:lnTo>
                  <a:cubicBezTo>
                    <a:pt x="14083" y="237"/>
                    <a:pt x="14020" y="142"/>
                    <a:pt x="13894" y="47"/>
                  </a:cubicBezTo>
                  <a:cubicBezTo>
                    <a:pt x="13831" y="16"/>
                    <a:pt x="13760" y="0"/>
                    <a:pt x="136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14" name="Google Shape;10514;p79"/>
          <p:cNvGrpSpPr/>
          <p:nvPr/>
        </p:nvGrpSpPr>
        <p:grpSpPr>
          <a:xfrm>
            <a:off x="6666130" y="1939354"/>
            <a:ext cx="342328" cy="342328"/>
            <a:chOff x="-12199250" y="2096250"/>
            <a:chExt cx="354450" cy="354450"/>
          </a:xfrm>
        </p:grpSpPr>
        <p:sp>
          <p:nvSpPr>
            <p:cNvPr id="10515" name="Google Shape;10515;p79"/>
            <p:cNvSpPr/>
            <p:nvPr/>
          </p:nvSpPr>
          <p:spPr>
            <a:xfrm>
              <a:off x="-12199250" y="2096250"/>
              <a:ext cx="354450" cy="354450"/>
            </a:xfrm>
            <a:custGeom>
              <a:avLst/>
              <a:gdLst/>
              <a:ahLst/>
              <a:cxnLst/>
              <a:rect l="l" t="t" r="r" b="b"/>
              <a:pathLst>
                <a:path w="14178" h="14178" extrusionOk="0">
                  <a:moveTo>
                    <a:pt x="8507" y="851"/>
                  </a:moveTo>
                  <a:lnTo>
                    <a:pt x="9609" y="2553"/>
                  </a:lnTo>
                  <a:lnTo>
                    <a:pt x="4505" y="2553"/>
                  </a:lnTo>
                  <a:lnTo>
                    <a:pt x="5608" y="851"/>
                  </a:lnTo>
                  <a:close/>
                  <a:moveTo>
                    <a:pt x="4442" y="3340"/>
                  </a:moveTo>
                  <a:cubicBezTo>
                    <a:pt x="4001" y="3655"/>
                    <a:pt x="3655" y="4002"/>
                    <a:pt x="3340" y="4443"/>
                  </a:cubicBezTo>
                  <a:lnTo>
                    <a:pt x="3340" y="3718"/>
                  </a:lnTo>
                  <a:cubicBezTo>
                    <a:pt x="3308" y="3529"/>
                    <a:pt x="3497" y="3340"/>
                    <a:pt x="3718" y="3340"/>
                  </a:cubicBezTo>
                  <a:close/>
                  <a:moveTo>
                    <a:pt x="10334" y="3340"/>
                  </a:moveTo>
                  <a:cubicBezTo>
                    <a:pt x="10586" y="3340"/>
                    <a:pt x="10775" y="3529"/>
                    <a:pt x="10775" y="3781"/>
                  </a:cubicBezTo>
                  <a:lnTo>
                    <a:pt x="10775" y="4443"/>
                  </a:lnTo>
                  <a:lnTo>
                    <a:pt x="10743" y="4443"/>
                  </a:lnTo>
                  <a:cubicBezTo>
                    <a:pt x="10428" y="4002"/>
                    <a:pt x="10082" y="3655"/>
                    <a:pt x="9641" y="3340"/>
                  </a:cubicBezTo>
                  <a:close/>
                  <a:moveTo>
                    <a:pt x="2521" y="4506"/>
                  </a:moveTo>
                  <a:lnTo>
                    <a:pt x="2521" y="9610"/>
                  </a:lnTo>
                  <a:lnTo>
                    <a:pt x="819" y="8507"/>
                  </a:lnTo>
                  <a:lnTo>
                    <a:pt x="819" y="5640"/>
                  </a:lnTo>
                  <a:lnTo>
                    <a:pt x="2521" y="4506"/>
                  </a:lnTo>
                  <a:close/>
                  <a:moveTo>
                    <a:pt x="11562" y="4537"/>
                  </a:moveTo>
                  <a:lnTo>
                    <a:pt x="13264" y="5640"/>
                  </a:lnTo>
                  <a:lnTo>
                    <a:pt x="13264" y="8507"/>
                  </a:lnTo>
                  <a:lnTo>
                    <a:pt x="11562" y="9610"/>
                  </a:lnTo>
                  <a:lnTo>
                    <a:pt x="11562" y="4537"/>
                  </a:lnTo>
                  <a:close/>
                  <a:moveTo>
                    <a:pt x="3308" y="9673"/>
                  </a:moveTo>
                  <a:cubicBezTo>
                    <a:pt x="3623" y="10114"/>
                    <a:pt x="3970" y="10460"/>
                    <a:pt x="4411" y="10775"/>
                  </a:cubicBezTo>
                  <a:lnTo>
                    <a:pt x="3686" y="10775"/>
                  </a:lnTo>
                  <a:cubicBezTo>
                    <a:pt x="3466" y="10775"/>
                    <a:pt x="3245" y="10586"/>
                    <a:pt x="3245" y="10366"/>
                  </a:cubicBezTo>
                  <a:lnTo>
                    <a:pt x="3245" y="9673"/>
                  </a:lnTo>
                  <a:close/>
                  <a:moveTo>
                    <a:pt x="7026" y="3340"/>
                  </a:moveTo>
                  <a:cubicBezTo>
                    <a:pt x="9074" y="3340"/>
                    <a:pt x="10743" y="4978"/>
                    <a:pt x="10743" y="7089"/>
                  </a:cubicBezTo>
                  <a:cubicBezTo>
                    <a:pt x="10743" y="9137"/>
                    <a:pt x="9074" y="10775"/>
                    <a:pt x="7026" y="10775"/>
                  </a:cubicBezTo>
                  <a:cubicBezTo>
                    <a:pt x="5009" y="10775"/>
                    <a:pt x="3308" y="9137"/>
                    <a:pt x="3308" y="7089"/>
                  </a:cubicBezTo>
                  <a:cubicBezTo>
                    <a:pt x="3308" y="5041"/>
                    <a:pt x="4946" y="3340"/>
                    <a:pt x="7026" y="3340"/>
                  </a:cubicBezTo>
                  <a:close/>
                  <a:moveTo>
                    <a:pt x="10743" y="9673"/>
                  </a:moveTo>
                  <a:lnTo>
                    <a:pt x="10743" y="10397"/>
                  </a:lnTo>
                  <a:cubicBezTo>
                    <a:pt x="10743" y="10618"/>
                    <a:pt x="10586" y="10775"/>
                    <a:pt x="10334" y="10775"/>
                  </a:cubicBezTo>
                  <a:lnTo>
                    <a:pt x="9641" y="10775"/>
                  </a:lnTo>
                  <a:cubicBezTo>
                    <a:pt x="10082" y="10460"/>
                    <a:pt x="10428" y="10114"/>
                    <a:pt x="10743" y="9673"/>
                  </a:cubicBezTo>
                  <a:close/>
                  <a:moveTo>
                    <a:pt x="9578" y="11594"/>
                  </a:moveTo>
                  <a:lnTo>
                    <a:pt x="8443" y="13296"/>
                  </a:lnTo>
                  <a:lnTo>
                    <a:pt x="5577" y="13296"/>
                  </a:lnTo>
                  <a:lnTo>
                    <a:pt x="4474" y="11594"/>
                  </a:lnTo>
                  <a:close/>
                  <a:moveTo>
                    <a:pt x="5419" y="1"/>
                  </a:moveTo>
                  <a:cubicBezTo>
                    <a:pt x="5261" y="1"/>
                    <a:pt x="5167" y="64"/>
                    <a:pt x="5072" y="190"/>
                  </a:cubicBezTo>
                  <a:lnTo>
                    <a:pt x="3529" y="2553"/>
                  </a:lnTo>
                  <a:cubicBezTo>
                    <a:pt x="3025" y="2616"/>
                    <a:pt x="2678" y="3025"/>
                    <a:pt x="2552" y="3529"/>
                  </a:cubicBezTo>
                  <a:lnTo>
                    <a:pt x="189" y="5073"/>
                  </a:lnTo>
                  <a:cubicBezTo>
                    <a:pt x="63" y="5136"/>
                    <a:pt x="0" y="5262"/>
                    <a:pt x="0" y="5419"/>
                  </a:cubicBezTo>
                  <a:lnTo>
                    <a:pt x="0" y="8727"/>
                  </a:lnTo>
                  <a:cubicBezTo>
                    <a:pt x="0" y="8853"/>
                    <a:pt x="63" y="9011"/>
                    <a:pt x="189" y="9105"/>
                  </a:cubicBezTo>
                  <a:lnTo>
                    <a:pt x="2552" y="10618"/>
                  </a:lnTo>
                  <a:cubicBezTo>
                    <a:pt x="2647" y="11153"/>
                    <a:pt x="3025" y="11500"/>
                    <a:pt x="3529" y="11626"/>
                  </a:cubicBezTo>
                  <a:lnTo>
                    <a:pt x="5072" y="13989"/>
                  </a:lnTo>
                  <a:cubicBezTo>
                    <a:pt x="5167" y="14083"/>
                    <a:pt x="5261" y="14178"/>
                    <a:pt x="5419" y="14178"/>
                  </a:cubicBezTo>
                  <a:lnTo>
                    <a:pt x="8727" y="14178"/>
                  </a:lnTo>
                  <a:cubicBezTo>
                    <a:pt x="8885" y="14178"/>
                    <a:pt x="9011" y="14083"/>
                    <a:pt x="9105" y="13989"/>
                  </a:cubicBezTo>
                  <a:lnTo>
                    <a:pt x="10617" y="11626"/>
                  </a:lnTo>
                  <a:cubicBezTo>
                    <a:pt x="11153" y="11531"/>
                    <a:pt x="11499" y="11153"/>
                    <a:pt x="11626" y="10618"/>
                  </a:cubicBezTo>
                  <a:lnTo>
                    <a:pt x="13988" y="9105"/>
                  </a:lnTo>
                  <a:cubicBezTo>
                    <a:pt x="14083" y="9011"/>
                    <a:pt x="14177" y="8885"/>
                    <a:pt x="14177" y="8727"/>
                  </a:cubicBezTo>
                  <a:lnTo>
                    <a:pt x="14177" y="5419"/>
                  </a:lnTo>
                  <a:cubicBezTo>
                    <a:pt x="14177" y="5262"/>
                    <a:pt x="14083" y="5167"/>
                    <a:pt x="13988" y="5073"/>
                  </a:cubicBezTo>
                  <a:lnTo>
                    <a:pt x="11626" y="3529"/>
                  </a:lnTo>
                  <a:cubicBezTo>
                    <a:pt x="11531" y="3025"/>
                    <a:pt x="11153" y="2679"/>
                    <a:pt x="10617" y="2553"/>
                  </a:cubicBezTo>
                  <a:lnTo>
                    <a:pt x="9105" y="190"/>
                  </a:lnTo>
                  <a:cubicBezTo>
                    <a:pt x="9011" y="64"/>
                    <a:pt x="8885" y="1"/>
                    <a:pt x="8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79"/>
            <p:cNvSpPr/>
            <p:nvPr/>
          </p:nvSpPr>
          <p:spPr>
            <a:xfrm>
              <a:off x="-12096075" y="2200225"/>
              <a:ext cx="144950" cy="144950"/>
            </a:xfrm>
            <a:custGeom>
              <a:avLst/>
              <a:gdLst/>
              <a:ahLst/>
              <a:cxnLst/>
              <a:rect l="l" t="t" r="r" b="b"/>
              <a:pathLst>
                <a:path w="5798" h="5798" extrusionOk="0">
                  <a:moveTo>
                    <a:pt x="2899" y="851"/>
                  </a:moveTo>
                  <a:cubicBezTo>
                    <a:pt x="4064" y="851"/>
                    <a:pt x="5010" y="1796"/>
                    <a:pt x="5010" y="2930"/>
                  </a:cubicBezTo>
                  <a:cubicBezTo>
                    <a:pt x="5010" y="4064"/>
                    <a:pt x="4064" y="5010"/>
                    <a:pt x="2899" y="5010"/>
                  </a:cubicBezTo>
                  <a:cubicBezTo>
                    <a:pt x="1765" y="5010"/>
                    <a:pt x="819" y="4064"/>
                    <a:pt x="819" y="2930"/>
                  </a:cubicBezTo>
                  <a:cubicBezTo>
                    <a:pt x="819" y="1796"/>
                    <a:pt x="1765" y="851"/>
                    <a:pt x="2899" y="851"/>
                  </a:cubicBezTo>
                  <a:close/>
                  <a:moveTo>
                    <a:pt x="2899" y="0"/>
                  </a:moveTo>
                  <a:cubicBezTo>
                    <a:pt x="1292" y="0"/>
                    <a:pt x="0" y="1323"/>
                    <a:pt x="0" y="2930"/>
                  </a:cubicBezTo>
                  <a:cubicBezTo>
                    <a:pt x="0" y="4505"/>
                    <a:pt x="1292" y="5797"/>
                    <a:pt x="2899" y="5797"/>
                  </a:cubicBezTo>
                  <a:cubicBezTo>
                    <a:pt x="4537" y="5797"/>
                    <a:pt x="5797" y="4505"/>
                    <a:pt x="5797" y="2930"/>
                  </a:cubicBezTo>
                  <a:cubicBezTo>
                    <a:pt x="5797" y="1323"/>
                    <a:pt x="4474"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17" name="Google Shape;10517;p79"/>
          <p:cNvGrpSpPr/>
          <p:nvPr/>
        </p:nvGrpSpPr>
        <p:grpSpPr>
          <a:xfrm>
            <a:off x="6667277" y="2348308"/>
            <a:ext cx="340034" cy="341579"/>
            <a:chOff x="-12199250" y="2530225"/>
            <a:chExt cx="352075" cy="353675"/>
          </a:xfrm>
        </p:grpSpPr>
        <p:sp>
          <p:nvSpPr>
            <p:cNvPr id="10518" name="Google Shape;10518;p79"/>
            <p:cNvSpPr/>
            <p:nvPr/>
          </p:nvSpPr>
          <p:spPr>
            <a:xfrm>
              <a:off x="-12055900" y="2530225"/>
              <a:ext cx="63025" cy="62250"/>
            </a:xfrm>
            <a:custGeom>
              <a:avLst/>
              <a:gdLst/>
              <a:ahLst/>
              <a:cxnLst/>
              <a:rect l="l" t="t" r="r" b="b"/>
              <a:pathLst>
                <a:path w="2521" h="2490" extrusionOk="0">
                  <a:moveTo>
                    <a:pt x="1292" y="883"/>
                  </a:moveTo>
                  <a:cubicBezTo>
                    <a:pt x="1512" y="883"/>
                    <a:pt x="1733" y="1072"/>
                    <a:pt x="1733" y="1292"/>
                  </a:cubicBezTo>
                  <a:cubicBezTo>
                    <a:pt x="1701" y="1513"/>
                    <a:pt x="1544" y="1702"/>
                    <a:pt x="1292" y="1702"/>
                  </a:cubicBezTo>
                  <a:cubicBezTo>
                    <a:pt x="1071" y="1702"/>
                    <a:pt x="914" y="1513"/>
                    <a:pt x="914" y="1292"/>
                  </a:cubicBezTo>
                  <a:cubicBezTo>
                    <a:pt x="914" y="1072"/>
                    <a:pt x="1103" y="883"/>
                    <a:pt x="1292" y="883"/>
                  </a:cubicBezTo>
                  <a:close/>
                  <a:moveTo>
                    <a:pt x="1260" y="1"/>
                  </a:moveTo>
                  <a:cubicBezTo>
                    <a:pt x="567" y="1"/>
                    <a:pt x="0" y="568"/>
                    <a:pt x="0" y="1261"/>
                  </a:cubicBezTo>
                  <a:cubicBezTo>
                    <a:pt x="0" y="1923"/>
                    <a:pt x="567" y="2490"/>
                    <a:pt x="1260" y="2490"/>
                  </a:cubicBezTo>
                  <a:cubicBezTo>
                    <a:pt x="1985" y="2490"/>
                    <a:pt x="2520" y="1923"/>
                    <a:pt x="2520" y="1261"/>
                  </a:cubicBezTo>
                  <a:cubicBezTo>
                    <a:pt x="2520" y="599"/>
                    <a:pt x="1985"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79"/>
            <p:cNvSpPr/>
            <p:nvPr/>
          </p:nvSpPr>
          <p:spPr>
            <a:xfrm>
              <a:off x="-12116550" y="2592450"/>
              <a:ext cx="185900" cy="291450"/>
            </a:xfrm>
            <a:custGeom>
              <a:avLst/>
              <a:gdLst/>
              <a:ahLst/>
              <a:cxnLst/>
              <a:rect l="l" t="t" r="r" b="b"/>
              <a:pathLst>
                <a:path w="7436" h="11658" extrusionOk="0">
                  <a:moveTo>
                    <a:pt x="5135" y="851"/>
                  </a:moveTo>
                  <a:cubicBezTo>
                    <a:pt x="5388" y="1324"/>
                    <a:pt x="5419" y="1891"/>
                    <a:pt x="5230" y="2395"/>
                  </a:cubicBezTo>
                  <a:lnTo>
                    <a:pt x="3938" y="1765"/>
                  </a:lnTo>
                  <a:cubicBezTo>
                    <a:pt x="3875" y="1749"/>
                    <a:pt x="3812" y="1741"/>
                    <a:pt x="3749" y="1741"/>
                  </a:cubicBezTo>
                  <a:cubicBezTo>
                    <a:pt x="3686" y="1741"/>
                    <a:pt x="3623" y="1749"/>
                    <a:pt x="3560" y="1765"/>
                  </a:cubicBezTo>
                  <a:lnTo>
                    <a:pt x="2269" y="2395"/>
                  </a:lnTo>
                  <a:cubicBezTo>
                    <a:pt x="2048" y="1891"/>
                    <a:pt x="2080" y="1324"/>
                    <a:pt x="2300" y="851"/>
                  </a:cubicBezTo>
                  <a:close/>
                  <a:moveTo>
                    <a:pt x="4159" y="2742"/>
                  </a:moveTo>
                  <a:lnTo>
                    <a:pt x="4946" y="3151"/>
                  </a:lnTo>
                  <a:lnTo>
                    <a:pt x="4253" y="7530"/>
                  </a:lnTo>
                  <a:lnTo>
                    <a:pt x="3308" y="7530"/>
                  </a:lnTo>
                  <a:lnTo>
                    <a:pt x="2552" y="3151"/>
                  </a:lnTo>
                  <a:lnTo>
                    <a:pt x="3340" y="2742"/>
                  </a:lnTo>
                  <a:lnTo>
                    <a:pt x="3340" y="4569"/>
                  </a:lnTo>
                  <a:cubicBezTo>
                    <a:pt x="3340" y="4789"/>
                    <a:pt x="3529" y="5010"/>
                    <a:pt x="3718" y="5010"/>
                  </a:cubicBezTo>
                  <a:cubicBezTo>
                    <a:pt x="3970" y="5010"/>
                    <a:pt x="4159" y="4789"/>
                    <a:pt x="4159" y="4569"/>
                  </a:cubicBezTo>
                  <a:lnTo>
                    <a:pt x="4159" y="2742"/>
                  </a:lnTo>
                  <a:close/>
                  <a:moveTo>
                    <a:pt x="5388" y="8318"/>
                  </a:moveTo>
                  <a:cubicBezTo>
                    <a:pt x="5608" y="8318"/>
                    <a:pt x="5766" y="8507"/>
                    <a:pt x="5766" y="8727"/>
                  </a:cubicBezTo>
                  <a:lnTo>
                    <a:pt x="5766" y="9169"/>
                  </a:lnTo>
                  <a:lnTo>
                    <a:pt x="1638" y="9169"/>
                  </a:lnTo>
                  <a:lnTo>
                    <a:pt x="1638" y="8727"/>
                  </a:lnTo>
                  <a:cubicBezTo>
                    <a:pt x="1638" y="8507"/>
                    <a:pt x="1827" y="8318"/>
                    <a:pt x="2080" y="8318"/>
                  </a:cubicBezTo>
                  <a:close/>
                  <a:moveTo>
                    <a:pt x="6207" y="9956"/>
                  </a:moveTo>
                  <a:cubicBezTo>
                    <a:pt x="6459" y="9956"/>
                    <a:pt x="6616" y="10145"/>
                    <a:pt x="6616" y="10397"/>
                  </a:cubicBezTo>
                  <a:lnTo>
                    <a:pt x="6616" y="10838"/>
                  </a:lnTo>
                  <a:lnTo>
                    <a:pt x="819" y="10838"/>
                  </a:lnTo>
                  <a:lnTo>
                    <a:pt x="819" y="10397"/>
                  </a:lnTo>
                  <a:cubicBezTo>
                    <a:pt x="819" y="10145"/>
                    <a:pt x="1008" y="9956"/>
                    <a:pt x="1260" y="9956"/>
                  </a:cubicBezTo>
                  <a:close/>
                  <a:moveTo>
                    <a:pt x="2080" y="1"/>
                  </a:moveTo>
                  <a:cubicBezTo>
                    <a:pt x="1922" y="1"/>
                    <a:pt x="1796" y="64"/>
                    <a:pt x="1733" y="190"/>
                  </a:cubicBezTo>
                  <a:cubicBezTo>
                    <a:pt x="1134" y="1040"/>
                    <a:pt x="1134" y="2143"/>
                    <a:pt x="1670" y="3057"/>
                  </a:cubicBezTo>
                  <a:lnTo>
                    <a:pt x="2426" y="7530"/>
                  </a:lnTo>
                  <a:lnTo>
                    <a:pt x="2080" y="7530"/>
                  </a:lnTo>
                  <a:cubicBezTo>
                    <a:pt x="1418" y="7530"/>
                    <a:pt x="819" y="8066"/>
                    <a:pt x="819" y="8759"/>
                  </a:cubicBezTo>
                  <a:lnTo>
                    <a:pt x="819" y="9232"/>
                  </a:lnTo>
                  <a:cubicBezTo>
                    <a:pt x="347" y="9389"/>
                    <a:pt x="0" y="9862"/>
                    <a:pt x="0" y="10429"/>
                  </a:cubicBezTo>
                  <a:lnTo>
                    <a:pt x="0" y="11248"/>
                  </a:lnTo>
                  <a:cubicBezTo>
                    <a:pt x="0" y="11500"/>
                    <a:pt x="189" y="11657"/>
                    <a:pt x="378" y="11657"/>
                  </a:cubicBezTo>
                  <a:lnTo>
                    <a:pt x="6994" y="11657"/>
                  </a:lnTo>
                  <a:cubicBezTo>
                    <a:pt x="7246" y="11657"/>
                    <a:pt x="7435" y="11437"/>
                    <a:pt x="7435" y="11248"/>
                  </a:cubicBezTo>
                  <a:lnTo>
                    <a:pt x="7435" y="10429"/>
                  </a:lnTo>
                  <a:cubicBezTo>
                    <a:pt x="7435" y="9862"/>
                    <a:pt x="7089" y="9452"/>
                    <a:pt x="6616" y="9232"/>
                  </a:cubicBezTo>
                  <a:lnTo>
                    <a:pt x="6616" y="8759"/>
                  </a:lnTo>
                  <a:cubicBezTo>
                    <a:pt x="6616" y="8066"/>
                    <a:pt x="6049" y="7530"/>
                    <a:pt x="5388" y="7530"/>
                  </a:cubicBezTo>
                  <a:lnTo>
                    <a:pt x="5041" y="7530"/>
                  </a:lnTo>
                  <a:lnTo>
                    <a:pt x="5766" y="3057"/>
                  </a:lnTo>
                  <a:cubicBezTo>
                    <a:pt x="6333" y="2206"/>
                    <a:pt x="6301" y="1072"/>
                    <a:pt x="5734" y="190"/>
                  </a:cubicBezTo>
                  <a:cubicBezTo>
                    <a:pt x="5671" y="64"/>
                    <a:pt x="5545"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79"/>
            <p:cNvSpPr/>
            <p:nvPr/>
          </p:nvSpPr>
          <p:spPr>
            <a:xfrm>
              <a:off x="-11950375" y="2633400"/>
              <a:ext cx="103200" cy="102425"/>
            </a:xfrm>
            <a:custGeom>
              <a:avLst/>
              <a:gdLst/>
              <a:ahLst/>
              <a:cxnLst/>
              <a:rect l="l" t="t" r="r" b="b"/>
              <a:pathLst>
                <a:path w="4128" h="4097" extrusionOk="0">
                  <a:moveTo>
                    <a:pt x="2017" y="1324"/>
                  </a:moveTo>
                  <a:lnTo>
                    <a:pt x="2206" y="1671"/>
                  </a:lnTo>
                  <a:cubicBezTo>
                    <a:pt x="2238" y="1734"/>
                    <a:pt x="2332" y="1828"/>
                    <a:pt x="2395" y="1860"/>
                  </a:cubicBezTo>
                  <a:lnTo>
                    <a:pt x="2742" y="2049"/>
                  </a:lnTo>
                  <a:lnTo>
                    <a:pt x="2395" y="2269"/>
                  </a:lnTo>
                  <a:cubicBezTo>
                    <a:pt x="2332" y="2301"/>
                    <a:pt x="2238" y="2364"/>
                    <a:pt x="2206" y="2458"/>
                  </a:cubicBezTo>
                  <a:lnTo>
                    <a:pt x="2017" y="2805"/>
                  </a:lnTo>
                  <a:lnTo>
                    <a:pt x="1797" y="2458"/>
                  </a:lnTo>
                  <a:cubicBezTo>
                    <a:pt x="1765" y="2364"/>
                    <a:pt x="1702" y="2301"/>
                    <a:pt x="1607" y="2269"/>
                  </a:cubicBezTo>
                  <a:lnTo>
                    <a:pt x="1261" y="2049"/>
                  </a:lnTo>
                  <a:lnTo>
                    <a:pt x="1607" y="1860"/>
                  </a:lnTo>
                  <a:cubicBezTo>
                    <a:pt x="1702" y="1828"/>
                    <a:pt x="1765" y="1734"/>
                    <a:pt x="1797" y="1671"/>
                  </a:cubicBezTo>
                  <a:lnTo>
                    <a:pt x="2017" y="1324"/>
                  </a:lnTo>
                  <a:close/>
                  <a:moveTo>
                    <a:pt x="2049" y="1"/>
                  </a:moveTo>
                  <a:cubicBezTo>
                    <a:pt x="1891" y="1"/>
                    <a:pt x="1734" y="95"/>
                    <a:pt x="1702" y="253"/>
                  </a:cubicBezTo>
                  <a:lnTo>
                    <a:pt x="1229" y="1230"/>
                  </a:lnTo>
                  <a:lnTo>
                    <a:pt x="221" y="1702"/>
                  </a:lnTo>
                  <a:cubicBezTo>
                    <a:pt x="64" y="1797"/>
                    <a:pt x="1" y="1891"/>
                    <a:pt x="1" y="2049"/>
                  </a:cubicBezTo>
                  <a:cubicBezTo>
                    <a:pt x="1" y="2206"/>
                    <a:pt x="64" y="2364"/>
                    <a:pt x="221" y="2427"/>
                  </a:cubicBezTo>
                  <a:lnTo>
                    <a:pt x="1229" y="2899"/>
                  </a:lnTo>
                  <a:lnTo>
                    <a:pt x="1702" y="3876"/>
                  </a:lnTo>
                  <a:cubicBezTo>
                    <a:pt x="1765" y="4034"/>
                    <a:pt x="1891" y="4097"/>
                    <a:pt x="2049" y="4097"/>
                  </a:cubicBezTo>
                  <a:cubicBezTo>
                    <a:pt x="2206" y="4097"/>
                    <a:pt x="2364" y="4034"/>
                    <a:pt x="2395" y="3876"/>
                  </a:cubicBezTo>
                  <a:lnTo>
                    <a:pt x="2868" y="2899"/>
                  </a:lnTo>
                  <a:lnTo>
                    <a:pt x="3907" y="2427"/>
                  </a:lnTo>
                  <a:cubicBezTo>
                    <a:pt x="4065" y="2332"/>
                    <a:pt x="4128" y="2206"/>
                    <a:pt x="4128" y="2049"/>
                  </a:cubicBezTo>
                  <a:cubicBezTo>
                    <a:pt x="4128" y="1891"/>
                    <a:pt x="4065" y="1734"/>
                    <a:pt x="3907" y="1702"/>
                  </a:cubicBezTo>
                  <a:lnTo>
                    <a:pt x="2868" y="1230"/>
                  </a:lnTo>
                  <a:lnTo>
                    <a:pt x="2395" y="253"/>
                  </a:lnTo>
                  <a:cubicBezTo>
                    <a:pt x="2332" y="95"/>
                    <a:pt x="2206" y="1"/>
                    <a:pt x="2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79"/>
            <p:cNvSpPr/>
            <p:nvPr/>
          </p:nvSpPr>
          <p:spPr>
            <a:xfrm>
              <a:off x="-12199250" y="2633400"/>
              <a:ext cx="103200" cy="102425"/>
            </a:xfrm>
            <a:custGeom>
              <a:avLst/>
              <a:gdLst/>
              <a:ahLst/>
              <a:cxnLst/>
              <a:rect l="l" t="t" r="r" b="b"/>
              <a:pathLst>
                <a:path w="4128" h="4097" extrusionOk="0">
                  <a:moveTo>
                    <a:pt x="2048" y="1324"/>
                  </a:moveTo>
                  <a:lnTo>
                    <a:pt x="2237" y="1671"/>
                  </a:lnTo>
                  <a:cubicBezTo>
                    <a:pt x="2269" y="1734"/>
                    <a:pt x="2363" y="1828"/>
                    <a:pt x="2426" y="1860"/>
                  </a:cubicBezTo>
                  <a:lnTo>
                    <a:pt x="2804" y="2049"/>
                  </a:lnTo>
                  <a:lnTo>
                    <a:pt x="2426" y="2269"/>
                  </a:lnTo>
                  <a:cubicBezTo>
                    <a:pt x="2363" y="2301"/>
                    <a:pt x="2269" y="2364"/>
                    <a:pt x="2237" y="2458"/>
                  </a:cubicBezTo>
                  <a:lnTo>
                    <a:pt x="2048" y="2805"/>
                  </a:lnTo>
                  <a:lnTo>
                    <a:pt x="1859" y="2458"/>
                  </a:lnTo>
                  <a:cubicBezTo>
                    <a:pt x="1796" y="2364"/>
                    <a:pt x="1733" y="2301"/>
                    <a:pt x="1638" y="2269"/>
                  </a:cubicBezTo>
                  <a:lnTo>
                    <a:pt x="1292" y="2049"/>
                  </a:lnTo>
                  <a:lnTo>
                    <a:pt x="1638" y="1860"/>
                  </a:lnTo>
                  <a:cubicBezTo>
                    <a:pt x="1733" y="1828"/>
                    <a:pt x="1796" y="1734"/>
                    <a:pt x="1859" y="1671"/>
                  </a:cubicBezTo>
                  <a:lnTo>
                    <a:pt x="2048" y="1324"/>
                  </a:lnTo>
                  <a:close/>
                  <a:moveTo>
                    <a:pt x="2079" y="1"/>
                  </a:moveTo>
                  <a:cubicBezTo>
                    <a:pt x="1922" y="1"/>
                    <a:pt x="1764" y="95"/>
                    <a:pt x="1733" y="253"/>
                  </a:cubicBezTo>
                  <a:lnTo>
                    <a:pt x="1260" y="1230"/>
                  </a:lnTo>
                  <a:lnTo>
                    <a:pt x="221" y="1702"/>
                  </a:lnTo>
                  <a:cubicBezTo>
                    <a:pt x="63" y="1797"/>
                    <a:pt x="0" y="1891"/>
                    <a:pt x="0" y="2049"/>
                  </a:cubicBezTo>
                  <a:cubicBezTo>
                    <a:pt x="0" y="2206"/>
                    <a:pt x="63" y="2364"/>
                    <a:pt x="221" y="2427"/>
                  </a:cubicBezTo>
                  <a:lnTo>
                    <a:pt x="1260" y="2899"/>
                  </a:lnTo>
                  <a:lnTo>
                    <a:pt x="1733" y="3876"/>
                  </a:lnTo>
                  <a:cubicBezTo>
                    <a:pt x="1796" y="4034"/>
                    <a:pt x="1922" y="4097"/>
                    <a:pt x="2079" y="4097"/>
                  </a:cubicBezTo>
                  <a:cubicBezTo>
                    <a:pt x="2237" y="4097"/>
                    <a:pt x="2395" y="4034"/>
                    <a:pt x="2426" y="3876"/>
                  </a:cubicBezTo>
                  <a:lnTo>
                    <a:pt x="2899" y="2899"/>
                  </a:lnTo>
                  <a:lnTo>
                    <a:pt x="3907" y="2427"/>
                  </a:lnTo>
                  <a:cubicBezTo>
                    <a:pt x="4033" y="2364"/>
                    <a:pt x="4127" y="2206"/>
                    <a:pt x="4127" y="2049"/>
                  </a:cubicBezTo>
                  <a:cubicBezTo>
                    <a:pt x="4127" y="1891"/>
                    <a:pt x="4033" y="1734"/>
                    <a:pt x="3907" y="1702"/>
                  </a:cubicBezTo>
                  <a:lnTo>
                    <a:pt x="2899" y="1230"/>
                  </a:lnTo>
                  <a:lnTo>
                    <a:pt x="2426" y="253"/>
                  </a:lnTo>
                  <a:cubicBezTo>
                    <a:pt x="2363" y="95"/>
                    <a:pt x="2237" y="1"/>
                    <a:pt x="20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79"/>
          <p:cNvSpPr/>
          <p:nvPr/>
        </p:nvSpPr>
        <p:spPr>
          <a:xfrm>
            <a:off x="4871163" y="2779038"/>
            <a:ext cx="341579" cy="341772"/>
          </a:xfrm>
          <a:custGeom>
            <a:avLst/>
            <a:gdLst/>
            <a:ahLst/>
            <a:cxnLst/>
            <a:rect l="l" t="t" r="r" b="b"/>
            <a:pathLst>
              <a:path w="14147" h="14155" extrusionOk="0">
                <a:moveTo>
                  <a:pt x="7058" y="891"/>
                </a:moveTo>
                <a:lnTo>
                  <a:pt x="11311" y="3285"/>
                </a:lnTo>
                <a:lnTo>
                  <a:pt x="2805" y="3285"/>
                </a:lnTo>
                <a:lnTo>
                  <a:pt x="7058" y="891"/>
                </a:lnTo>
                <a:close/>
                <a:moveTo>
                  <a:pt x="12886" y="4136"/>
                </a:moveTo>
                <a:cubicBezTo>
                  <a:pt x="13107" y="4136"/>
                  <a:pt x="13264" y="4325"/>
                  <a:pt x="13264" y="4545"/>
                </a:cubicBezTo>
                <a:lnTo>
                  <a:pt x="13264" y="4986"/>
                </a:lnTo>
                <a:lnTo>
                  <a:pt x="851" y="4986"/>
                </a:lnTo>
                <a:lnTo>
                  <a:pt x="851" y="4545"/>
                </a:lnTo>
                <a:cubicBezTo>
                  <a:pt x="851" y="4325"/>
                  <a:pt x="1040" y="4136"/>
                  <a:pt x="1261" y="4136"/>
                </a:cubicBezTo>
                <a:close/>
                <a:moveTo>
                  <a:pt x="3309" y="5806"/>
                </a:moveTo>
                <a:lnTo>
                  <a:pt x="3309" y="9996"/>
                </a:lnTo>
                <a:lnTo>
                  <a:pt x="2490" y="9996"/>
                </a:lnTo>
                <a:lnTo>
                  <a:pt x="2490" y="5806"/>
                </a:lnTo>
                <a:close/>
                <a:moveTo>
                  <a:pt x="5798" y="5806"/>
                </a:moveTo>
                <a:lnTo>
                  <a:pt x="5798" y="9996"/>
                </a:lnTo>
                <a:lnTo>
                  <a:pt x="4128" y="9996"/>
                </a:lnTo>
                <a:lnTo>
                  <a:pt x="4128" y="5806"/>
                </a:lnTo>
                <a:close/>
                <a:moveTo>
                  <a:pt x="7499" y="5806"/>
                </a:moveTo>
                <a:lnTo>
                  <a:pt x="7499" y="9996"/>
                </a:lnTo>
                <a:lnTo>
                  <a:pt x="6617" y="9996"/>
                </a:lnTo>
                <a:lnTo>
                  <a:pt x="6617" y="5806"/>
                </a:lnTo>
                <a:close/>
                <a:moveTo>
                  <a:pt x="9956" y="5806"/>
                </a:moveTo>
                <a:lnTo>
                  <a:pt x="9956" y="9996"/>
                </a:lnTo>
                <a:lnTo>
                  <a:pt x="8286" y="9996"/>
                </a:lnTo>
                <a:lnTo>
                  <a:pt x="8286" y="5806"/>
                </a:lnTo>
                <a:close/>
                <a:moveTo>
                  <a:pt x="11626" y="5806"/>
                </a:moveTo>
                <a:lnTo>
                  <a:pt x="11626" y="9996"/>
                </a:lnTo>
                <a:lnTo>
                  <a:pt x="10807" y="9996"/>
                </a:lnTo>
                <a:lnTo>
                  <a:pt x="10807" y="5806"/>
                </a:lnTo>
                <a:close/>
                <a:moveTo>
                  <a:pt x="12004" y="10815"/>
                </a:moveTo>
                <a:cubicBezTo>
                  <a:pt x="12256" y="10815"/>
                  <a:pt x="12445" y="11004"/>
                  <a:pt x="12445" y="11256"/>
                </a:cubicBezTo>
                <a:lnTo>
                  <a:pt x="12445" y="11634"/>
                </a:lnTo>
                <a:lnTo>
                  <a:pt x="1670" y="11634"/>
                </a:lnTo>
                <a:lnTo>
                  <a:pt x="1670" y="11256"/>
                </a:lnTo>
                <a:cubicBezTo>
                  <a:pt x="1670" y="11004"/>
                  <a:pt x="1859" y="10815"/>
                  <a:pt x="2048" y="10815"/>
                </a:cubicBezTo>
                <a:close/>
                <a:moveTo>
                  <a:pt x="12886" y="12422"/>
                </a:moveTo>
                <a:cubicBezTo>
                  <a:pt x="13107" y="12422"/>
                  <a:pt x="13264" y="12642"/>
                  <a:pt x="13264" y="12863"/>
                </a:cubicBezTo>
                <a:lnTo>
                  <a:pt x="13264" y="13304"/>
                </a:lnTo>
                <a:lnTo>
                  <a:pt x="851" y="13304"/>
                </a:lnTo>
                <a:lnTo>
                  <a:pt x="851" y="12863"/>
                </a:lnTo>
                <a:cubicBezTo>
                  <a:pt x="851" y="12642"/>
                  <a:pt x="1040" y="12422"/>
                  <a:pt x="1261" y="12422"/>
                </a:cubicBezTo>
                <a:close/>
                <a:moveTo>
                  <a:pt x="7058" y="1"/>
                </a:moveTo>
                <a:cubicBezTo>
                  <a:pt x="6987" y="1"/>
                  <a:pt x="6916" y="24"/>
                  <a:pt x="6869" y="72"/>
                </a:cubicBezTo>
                <a:lnTo>
                  <a:pt x="1103" y="3348"/>
                </a:lnTo>
                <a:cubicBezTo>
                  <a:pt x="473" y="3411"/>
                  <a:pt x="1" y="3915"/>
                  <a:pt x="1" y="4545"/>
                </a:cubicBezTo>
                <a:lnTo>
                  <a:pt x="1" y="5365"/>
                </a:lnTo>
                <a:cubicBezTo>
                  <a:pt x="1" y="5617"/>
                  <a:pt x="221" y="5806"/>
                  <a:pt x="442" y="5806"/>
                </a:cubicBezTo>
                <a:lnTo>
                  <a:pt x="1702" y="5806"/>
                </a:lnTo>
                <a:lnTo>
                  <a:pt x="1702" y="10059"/>
                </a:lnTo>
                <a:cubicBezTo>
                  <a:pt x="1229" y="10216"/>
                  <a:pt x="883" y="10689"/>
                  <a:pt x="883" y="11256"/>
                </a:cubicBezTo>
                <a:lnTo>
                  <a:pt x="883" y="11729"/>
                </a:lnTo>
                <a:cubicBezTo>
                  <a:pt x="410" y="11886"/>
                  <a:pt x="64" y="12359"/>
                  <a:pt x="64" y="12894"/>
                </a:cubicBezTo>
                <a:lnTo>
                  <a:pt x="64" y="13713"/>
                </a:lnTo>
                <a:cubicBezTo>
                  <a:pt x="64" y="13965"/>
                  <a:pt x="253" y="14154"/>
                  <a:pt x="473" y="14154"/>
                </a:cubicBezTo>
                <a:lnTo>
                  <a:pt x="13768" y="14154"/>
                </a:lnTo>
                <a:cubicBezTo>
                  <a:pt x="13989" y="14154"/>
                  <a:pt x="14146" y="13965"/>
                  <a:pt x="14146" y="13713"/>
                </a:cubicBezTo>
                <a:lnTo>
                  <a:pt x="14146" y="12894"/>
                </a:lnTo>
                <a:cubicBezTo>
                  <a:pt x="14146" y="12359"/>
                  <a:pt x="13800" y="11918"/>
                  <a:pt x="13327" y="11729"/>
                </a:cubicBezTo>
                <a:lnTo>
                  <a:pt x="13327" y="11256"/>
                </a:lnTo>
                <a:cubicBezTo>
                  <a:pt x="13327" y="10689"/>
                  <a:pt x="12981" y="10248"/>
                  <a:pt x="12508" y="10059"/>
                </a:cubicBezTo>
                <a:lnTo>
                  <a:pt x="12508" y="5806"/>
                </a:lnTo>
                <a:lnTo>
                  <a:pt x="13768" y="5806"/>
                </a:lnTo>
                <a:cubicBezTo>
                  <a:pt x="13989" y="5806"/>
                  <a:pt x="14146" y="5617"/>
                  <a:pt x="14146" y="5396"/>
                </a:cubicBezTo>
                <a:lnTo>
                  <a:pt x="14146" y="4545"/>
                </a:lnTo>
                <a:cubicBezTo>
                  <a:pt x="14115" y="3915"/>
                  <a:pt x="13642" y="3380"/>
                  <a:pt x="13012" y="3348"/>
                </a:cubicBezTo>
                <a:lnTo>
                  <a:pt x="7247" y="72"/>
                </a:lnTo>
                <a:cubicBezTo>
                  <a:pt x="7200" y="24"/>
                  <a:pt x="7129" y="1"/>
                  <a:pt x="70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79"/>
          <p:cNvGrpSpPr/>
          <p:nvPr/>
        </p:nvGrpSpPr>
        <p:grpSpPr>
          <a:xfrm>
            <a:off x="4870788" y="3188088"/>
            <a:ext cx="342328" cy="339310"/>
            <a:chOff x="-10462550" y="2057650"/>
            <a:chExt cx="354450" cy="351325"/>
          </a:xfrm>
        </p:grpSpPr>
        <p:sp>
          <p:nvSpPr>
            <p:cNvPr id="10524" name="Google Shape;10524;p79"/>
            <p:cNvSpPr/>
            <p:nvPr/>
          </p:nvSpPr>
          <p:spPr>
            <a:xfrm>
              <a:off x="-10462550" y="2057650"/>
              <a:ext cx="354450" cy="351325"/>
            </a:xfrm>
            <a:custGeom>
              <a:avLst/>
              <a:gdLst/>
              <a:ahLst/>
              <a:cxnLst/>
              <a:rect l="l" t="t" r="r" b="b"/>
              <a:pathLst>
                <a:path w="14178" h="14053" extrusionOk="0">
                  <a:moveTo>
                    <a:pt x="7121" y="788"/>
                  </a:moveTo>
                  <a:cubicBezTo>
                    <a:pt x="7341" y="788"/>
                    <a:pt x="7499" y="978"/>
                    <a:pt x="7499" y="1198"/>
                  </a:cubicBezTo>
                  <a:cubicBezTo>
                    <a:pt x="7499" y="1419"/>
                    <a:pt x="7310" y="1608"/>
                    <a:pt x="7121" y="1608"/>
                  </a:cubicBezTo>
                  <a:cubicBezTo>
                    <a:pt x="6932" y="1608"/>
                    <a:pt x="6680" y="1419"/>
                    <a:pt x="6680" y="1198"/>
                  </a:cubicBezTo>
                  <a:cubicBezTo>
                    <a:pt x="6711" y="946"/>
                    <a:pt x="6869" y="788"/>
                    <a:pt x="7121" y="788"/>
                  </a:cubicBezTo>
                  <a:close/>
                  <a:moveTo>
                    <a:pt x="7467" y="2364"/>
                  </a:moveTo>
                  <a:lnTo>
                    <a:pt x="8790" y="4065"/>
                  </a:lnTo>
                  <a:lnTo>
                    <a:pt x="5451" y="4065"/>
                  </a:lnTo>
                  <a:lnTo>
                    <a:pt x="6774" y="2364"/>
                  </a:lnTo>
                  <a:cubicBezTo>
                    <a:pt x="6869" y="2395"/>
                    <a:pt x="6995" y="2395"/>
                    <a:pt x="7121" y="2395"/>
                  </a:cubicBezTo>
                  <a:cubicBezTo>
                    <a:pt x="7247" y="2395"/>
                    <a:pt x="7341" y="2364"/>
                    <a:pt x="7467" y="2364"/>
                  </a:cubicBezTo>
                  <a:close/>
                  <a:moveTo>
                    <a:pt x="12508" y="4065"/>
                  </a:moveTo>
                  <a:cubicBezTo>
                    <a:pt x="12981" y="4065"/>
                    <a:pt x="13327" y="4412"/>
                    <a:pt x="13327" y="4884"/>
                  </a:cubicBezTo>
                  <a:cubicBezTo>
                    <a:pt x="13327" y="5231"/>
                    <a:pt x="13107" y="5546"/>
                    <a:pt x="12792" y="5672"/>
                  </a:cubicBezTo>
                  <a:cubicBezTo>
                    <a:pt x="12634" y="5703"/>
                    <a:pt x="12508" y="5861"/>
                    <a:pt x="12508" y="6081"/>
                  </a:cubicBezTo>
                  <a:lnTo>
                    <a:pt x="12508" y="11217"/>
                  </a:lnTo>
                  <a:cubicBezTo>
                    <a:pt x="12508" y="11437"/>
                    <a:pt x="12634" y="11563"/>
                    <a:pt x="12792" y="11626"/>
                  </a:cubicBezTo>
                  <a:cubicBezTo>
                    <a:pt x="13107" y="11752"/>
                    <a:pt x="13327" y="12067"/>
                    <a:pt x="13327" y="12414"/>
                  </a:cubicBezTo>
                  <a:cubicBezTo>
                    <a:pt x="13327" y="12886"/>
                    <a:pt x="12981" y="13233"/>
                    <a:pt x="12508" y="13233"/>
                  </a:cubicBezTo>
                  <a:cubicBezTo>
                    <a:pt x="12162" y="13233"/>
                    <a:pt x="11846" y="13012"/>
                    <a:pt x="11720" y="12697"/>
                  </a:cubicBezTo>
                  <a:cubicBezTo>
                    <a:pt x="11689" y="12540"/>
                    <a:pt x="11531" y="12414"/>
                    <a:pt x="11342" y="12414"/>
                  </a:cubicBezTo>
                  <a:lnTo>
                    <a:pt x="2868" y="12414"/>
                  </a:lnTo>
                  <a:cubicBezTo>
                    <a:pt x="2710" y="12414"/>
                    <a:pt x="2553" y="12540"/>
                    <a:pt x="2490" y="12697"/>
                  </a:cubicBezTo>
                  <a:cubicBezTo>
                    <a:pt x="2363" y="13012"/>
                    <a:pt x="2048" y="13233"/>
                    <a:pt x="1702" y="13233"/>
                  </a:cubicBezTo>
                  <a:cubicBezTo>
                    <a:pt x="1198" y="13233"/>
                    <a:pt x="851" y="12886"/>
                    <a:pt x="851" y="12414"/>
                  </a:cubicBezTo>
                  <a:cubicBezTo>
                    <a:pt x="851" y="12067"/>
                    <a:pt x="1103" y="11752"/>
                    <a:pt x="1418" y="11626"/>
                  </a:cubicBezTo>
                  <a:cubicBezTo>
                    <a:pt x="1576" y="11595"/>
                    <a:pt x="1702" y="11437"/>
                    <a:pt x="1702" y="11217"/>
                  </a:cubicBezTo>
                  <a:lnTo>
                    <a:pt x="1702" y="6081"/>
                  </a:lnTo>
                  <a:cubicBezTo>
                    <a:pt x="1702" y="5924"/>
                    <a:pt x="1576" y="5766"/>
                    <a:pt x="1418" y="5672"/>
                  </a:cubicBezTo>
                  <a:cubicBezTo>
                    <a:pt x="1103" y="5546"/>
                    <a:pt x="851" y="5231"/>
                    <a:pt x="851" y="4884"/>
                  </a:cubicBezTo>
                  <a:cubicBezTo>
                    <a:pt x="851" y="4412"/>
                    <a:pt x="1229" y="4065"/>
                    <a:pt x="1702" y="4065"/>
                  </a:cubicBezTo>
                  <a:cubicBezTo>
                    <a:pt x="2048" y="4065"/>
                    <a:pt x="2363" y="4286"/>
                    <a:pt x="2490" y="4601"/>
                  </a:cubicBezTo>
                  <a:cubicBezTo>
                    <a:pt x="2521" y="4758"/>
                    <a:pt x="2679" y="4884"/>
                    <a:pt x="2868" y="4884"/>
                  </a:cubicBezTo>
                  <a:lnTo>
                    <a:pt x="11342" y="4884"/>
                  </a:lnTo>
                  <a:cubicBezTo>
                    <a:pt x="11500" y="4884"/>
                    <a:pt x="11657" y="4758"/>
                    <a:pt x="11720" y="4601"/>
                  </a:cubicBezTo>
                  <a:cubicBezTo>
                    <a:pt x="11846" y="4286"/>
                    <a:pt x="12162" y="4065"/>
                    <a:pt x="12508" y="4065"/>
                  </a:cubicBezTo>
                  <a:close/>
                  <a:moveTo>
                    <a:pt x="7089" y="1"/>
                  </a:moveTo>
                  <a:cubicBezTo>
                    <a:pt x="6365" y="1"/>
                    <a:pt x="5829" y="568"/>
                    <a:pt x="5829" y="1230"/>
                  </a:cubicBezTo>
                  <a:cubicBezTo>
                    <a:pt x="5829" y="1450"/>
                    <a:pt x="5892" y="1702"/>
                    <a:pt x="6018" y="1891"/>
                  </a:cubicBezTo>
                  <a:lnTo>
                    <a:pt x="4348" y="4097"/>
                  </a:lnTo>
                  <a:lnTo>
                    <a:pt x="3057" y="4097"/>
                  </a:lnTo>
                  <a:cubicBezTo>
                    <a:pt x="2773" y="3592"/>
                    <a:pt x="2237" y="3277"/>
                    <a:pt x="1639" y="3277"/>
                  </a:cubicBezTo>
                  <a:cubicBezTo>
                    <a:pt x="725" y="3277"/>
                    <a:pt x="1" y="4033"/>
                    <a:pt x="1" y="4916"/>
                  </a:cubicBezTo>
                  <a:cubicBezTo>
                    <a:pt x="1" y="5514"/>
                    <a:pt x="316" y="6081"/>
                    <a:pt x="820" y="6333"/>
                  </a:cubicBezTo>
                  <a:lnTo>
                    <a:pt x="820" y="10996"/>
                  </a:lnTo>
                  <a:cubicBezTo>
                    <a:pt x="316" y="11280"/>
                    <a:pt x="1" y="11815"/>
                    <a:pt x="1" y="12414"/>
                  </a:cubicBezTo>
                  <a:cubicBezTo>
                    <a:pt x="1" y="13327"/>
                    <a:pt x="725" y="14052"/>
                    <a:pt x="1639" y="14052"/>
                  </a:cubicBezTo>
                  <a:cubicBezTo>
                    <a:pt x="2237" y="14052"/>
                    <a:pt x="2773" y="13737"/>
                    <a:pt x="3057" y="13233"/>
                  </a:cubicBezTo>
                  <a:lnTo>
                    <a:pt x="11027" y="13233"/>
                  </a:lnTo>
                  <a:cubicBezTo>
                    <a:pt x="11279" y="13737"/>
                    <a:pt x="11846" y="14052"/>
                    <a:pt x="12445" y="14052"/>
                  </a:cubicBezTo>
                  <a:cubicBezTo>
                    <a:pt x="13327" y="14052"/>
                    <a:pt x="14083" y="13327"/>
                    <a:pt x="14083" y="12414"/>
                  </a:cubicBezTo>
                  <a:cubicBezTo>
                    <a:pt x="14083" y="11815"/>
                    <a:pt x="13768" y="11280"/>
                    <a:pt x="13264" y="10996"/>
                  </a:cubicBezTo>
                  <a:lnTo>
                    <a:pt x="13264" y="6333"/>
                  </a:lnTo>
                  <a:cubicBezTo>
                    <a:pt x="13863" y="6050"/>
                    <a:pt x="14178" y="5514"/>
                    <a:pt x="14178" y="4916"/>
                  </a:cubicBezTo>
                  <a:cubicBezTo>
                    <a:pt x="14178" y="4033"/>
                    <a:pt x="13422" y="3277"/>
                    <a:pt x="12508" y="3277"/>
                  </a:cubicBezTo>
                  <a:cubicBezTo>
                    <a:pt x="11909" y="3277"/>
                    <a:pt x="11374" y="3592"/>
                    <a:pt x="11090" y="4097"/>
                  </a:cubicBezTo>
                  <a:lnTo>
                    <a:pt x="9799" y="4097"/>
                  </a:lnTo>
                  <a:lnTo>
                    <a:pt x="8129" y="1891"/>
                  </a:lnTo>
                  <a:cubicBezTo>
                    <a:pt x="8255" y="1702"/>
                    <a:pt x="8349" y="1450"/>
                    <a:pt x="8349" y="1230"/>
                  </a:cubicBezTo>
                  <a:cubicBezTo>
                    <a:pt x="8349" y="568"/>
                    <a:pt x="7782"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79"/>
            <p:cNvSpPr/>
            <p:nvPr/>
          </p:nvSpPr>
          <p:spPr>
            <a:xfrm>
              <a:off x="-10397950" y="2201800"/>
              <a:ext cx="228425" cy="146525"/>
            </a:xfrm>
            <a:custGeom>
              <a:avLst/>
              <a:gdLst/>
              <a:ahLst/>
              <a:cxnLst/>
              <a:rect l="l" t="t" r="r" b="b"/>
              <a:pathLst>
                <a:path w="9137" h="5861" extrusionOk="0">
                  <a:moveTo>
                    <a:pt x="8286" y="819"/>
                  </a:moveTo>
                  <a:lnTo>
                    <a:pt x="8286" y="4978"/>
                  </a:lnTo>
                  <a:lnTo>
                    <a:pt x="788" y="4978"/>
                  </a:lnTo>
                  <a:lnTo>
                    <a:pt x="788" y="819"/>
                  </a:lnTo>
                  <a:close/>
                  <a:moveTo>
                    <a:pt x="410" y="0"/>
                  </a:moveTo>
                  <a:cubicBezTo>
                    <a:pt x="158" y="0"/>
                    <a:pt x="0" y="189"/>
                    <a:pt x="0" y="410"/>
                  </a:cubicBezTo>
                  <a:lnTo>
                    <a:pt x="0" y="5419"/>
                  </a:lnTo>
                  <a:cubicBezTo>
                    <a:pt x="0" y="5640"/>
                    <a:pt x="189" y="5860"/>
                    <a:pt x="410" y="5860"/>
                  </a:cubicBezTo>
                  <a:lnTo>
                    <a:pt x="8695" y="5860"/>
                  </a:lnTo>
                  <a:cubicBezTo>
                    <a:pt x="8947" y="5860"/>
                    <a:pt x="9136" y="5640"/>
                    <a:pt x="9136" y="5419"/>
                  </a:cubicBezTo>
                  <a:lnTo>
                    <a:pt x="9136" y="410"/>
                  </a:lnTo>
                  <a:cubicBezTo>
                    <a:pt x="9105" y="158"/>
                    <a:pt x="8947" y="0"/>
                    <a:pt x="8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6" name="Google Shape;10526;p79"/>
          <p:cNvSpPr/>
          <p:nvPr/>
        </p:nvSpPr>
        <p:spPr>
          <a:xfrm>
            <a:off x="7591624" y="2805562"/>
            <a:ext cx="313426" cy="341579"/>
          </a:xfrm>
          <a:custGeom>
            <a:avLst/>
            <a:gdLst/>
            <a:ahLst/>
            <a:cxnLst/>
            <a:rect l="l" t="t" r="r" b="b"/>
            <a:pathLst>
              <a:path w="12981" h="14147" extrusionOk="0">
                <a:moveTo>
                  <a:pt x="10712" y="820"/>
                </a:moveTo>
                <a:cubicBezTo>
                  <a:pt x="11279" y="820"/>
                  <a:pt x="11752" y="1166"/>
                  <a:pt x="11909" y="1733"/>
                </a:cubicBezTo>
                <a:cubicBezTo>
                  <a:pt x="12067" y="2615"/>
                  <a:pt x="11531" y="3655"/>
                  <a:pt x="10680" y="3655"/>
                </a:cubicBezTo>
                <a:cubicBezTo>
                  <a:pt x="9924" y="3655"/>
                  <a:pt x="9420" y="2867"/>
                  <a:pt x="9798" y="2521"/>
                </a:cubicBezTo>
                <a:cubicBezTo>
                  <a:pt x="9865" y="2476"/>
                  <a:pt x="9963" y="2432"/>
                  <a:pt x="10071" y="2432"/>
                </a:cubicBezTo>
                <a:cubicBezTo>
                  <a:pt x="10116" y="2432"/>
                  <a:pt x="10162" y="2439"/>
                  <a:pt x="10208" y="2458"/>
                </a:cubicBezTo>
                <a:cubicBezTo>
                  <a:pt x="10271" y="2489"/>
                  <a:pt x="10302" y="2521"/>
                  <a:pt x="10365" y="2615"/>
                </a:cubicBezTo>
                <a:cubicBezTo>
                  <a:pt x="10394" y="2813"/>
                  <a:pt x="10600" y="2935"/>
                  <a:pt x="10801" y="2935"/>
                </a:cubicBezTo>
                <a:cubicBezTo>
                  <a:pt x="10824" y="2935"/>
                  <a:pt x="10847" y="2934"/>
                  <a:pt x="10869" y="2930"/>
                </a:cubicBezTo>
                <a:cubicBezTo>
                  <a:pt x="11090" y="2867"/>
                  <a:pt x="11216" y="2647"/>
                  <a:pt x="11184" y="2395"/>
                </a:cubicBezTo>
                <a:cubicBezTo>
                  <a:pt x="11090" y="2048"/>
                  <a:pt x="10838" y="1733"/>
                  <a:pt x="10491" y="1670"/>
                </a:cubicBezTo>
                <a:cubicBezTo>
                  <a:pt x="10382" y="1637"/>
                  <a:pt x="10265" y="1621"/>
                  <a:pt x="10148" y="1621"/>
                </a:cubicBezTo>
                <a:cubicBezTo>
                  <a:pt x="9828" y="1621"/>
                  <a:pt x="9502" y="1738"/>
                  <a:pt x="9294" y="1922"/>
                </a:cubicBezTo>
                <a:lnTo>
                  <a:pt x="9168" y="2048"/>
                </a:lnTo>
                <a:lnTo>
                  <a:pt x="3907" y="2048"/>
                </a:lnTo>
                <a:lnTo>
                  <a:pt x="3781" y="1922"/>
                </a:lnTo>
                <a:cubicBezTo>
                  <a:pt x="3556" y="1723"/>
                  <a:pt x="3242" y="1617"/>
                  <a:pt x="2934" y="1617"/>
                </a:cubicBezTo>
                <a:cubicBezTo>
                  <a:pt x="2463" y="1617"/>
                  <a:pt x="2005" y="1862"/>
                  <a:pt x="1891" y="2395"/>
                </a:cubicBezTo>
                <a:cubicBezTo>
                  <a:pt x="1859" y="2647"/>
                  <a:pt x="1985" y="2836"/>
                  <a:pt x="2206" y="2930"/>
                </a:cubicBezTo>
                <a:cubicBezTo>
                  <a:pt x="2228" y="2934"/>
                  <a:pt x="2250" y="2935"/>
                  <a:pt x="2272" y="2935"/>
                </a:cubicBezTo>
                <a:cubicBezTo>
                  <a:pt x="2469" y="2935"/>
                  <a:pt x="2653" y="2810"/>
                  <a:pt x="2710" y="2584"/>
                </a:cubicBezTo>
                <a:cubicBezTo>
                  <a:pt x="2741" y="2521"/>
                  <a:pt x="2804" y="2489"/>
                  <a:pt x="2867" y="2426"/>
                </a:cubicBezTo>
                <a:cubicBezTo>
                  <a:pt x="2899" y="2419"/>
                  <a:pt x="2934" y="2415"/>
                  <a:pt x="2971" y="2415"/>
                </a:cubicBezTo>
                <a:cubicBezTo>
                  <a:pt x="3082" y="2415"/>
                  <a:pt x="3206" y="2450"/>
                  <a:pt x="3277" y="2521"/>
                </a:cubicBezTo>
                <a:cubicBezTo>
                  <a:pt x="3623" y="2867"/>
                  <a:pt x="3119" y="3655"/>
                  <a:pt x="2395" y="3655"/>
                </a:cubicBezTo>
                <a:cubicBezTo>
                  <a:pt x="1544" y="3655"/>
                  <a:pt x="1040" y="2584"/>
                  <a:pt x="1292" y="1733"/>
                </a:cubicBezTo>
                <a:cubicBezTo>
                  <a:pt x="1512" y="1135"/>
                  <a:pt x="1922" y="820"/>
                  <a:pt x="2489" y="820"/>
                </a:cubicBezTo>
                <a:close/>
                <a:moveTo>
                  <a:pt x="8822" y="2867"/>
                </a:moveTo>
                <a:cubicBezTo>
                  <a:pt x="8822" y="3183"/>
                  <a:pt x="8948" y="3466"/>
                  <a:pt x="9137" y="3718"/>
                </a:cubicBezTo>
                <a:lnTo>
                  <a:pt x="3749" y="3718"/>
                </a:lnTo>
                <a:cubicBezTo>
                  <a:pt x="3938" y="3466"/>
                  <a:pt x="4064" y="3183"/>
                  <a:pt x="4064" y="2867"/>
                </a:cubicBezTo>
                <a:close/>
                <a:moveTo>
                  <a:pt x="10176" y="4537"/>
                </a:moveTo>
                <a:lnTo>
                  <a:pt x="10176" y="4978"/>
                </a:lnTo>
                <a:lnTo>
                  <a:pt x="10208" y="4978"/>
                </a:lnTo>
                <a:cubicBezTo>
                  <a:pt x="10208" y="5199"/>
                  <a:pt x="9987" y="5388"/>
                  <a:pt x="9767" y="5388"/>
                </a:cubicBezTo>
                <a:lnTo>
                  <a:pt x="3151" y="5388"/>
                </a:lnTo>
                <a:cubicBezTo>
                  <a:pt x="2930" y="5388"/>
                  <a:pt x="2710" y="5199"/>
                  <a:pt x="2710" y="4978"/>
                </a:cubicBezTo>
                <a:lnTo>
                  <a:pt x="2710" y="4537"/>
                </a:lnTo>
                <a:close/>
                <a:moveTo>
                  <a:pt x="9357" y="6175"/>
                </a:moveTo>
                <a:lnTo>
                  <a:pt x="9357" y="11626"/>
                </a:lnTo>
                <a:lnTo>
                  <a:pt x="8538" y="11626"/>
                </a:lnTo>
                <a:lnTo>
                  <a:pt x="8538" y="7436"/>
                </a:lnTo>
                <a:cubicBezTo>
                  <a:pt x="8538" y="7215"/>
                  <a:pt x="8349" y="7026"/>
                  <a:pt x="8128" y="7026"/>
                </a:cubicBezTo>
                <a:cubicBezTo>
                  <a:pt x="7876" y="7026"/>
                  <a:pt x="7687" y="7215"/>
                  <a:pt x="7687" y="7436"/>
                </a:cubicBezTo>
                <a:lnTo>
                  <a:pt x="7687" y="11626"/>
                </a:lnTo>
                <a:lnTo>
                  <a:pt x="6868" y="11626"/>
                </a:lnTo>
                <a:lnTo>
                  <a:pt x="6868" y="7436"/>
                </a:lnTo>
                <a:cubicBezTo>
                  <a:pt x="6868" y="7215"/>
                  <a:pt x="6648" y="7026"/>
                  <a:pt x="6459" y="7026"/>
                </a:cubicBezTo>
                <a:cubicBezTo>
                  <a:pt x="6238" y="7026"/>
                  <a:pt x="6018" y="7215"/>
                  <a:pt x="6018" y="7436"/>
                </a:cubicBezTo>
                <a:lnTo>
                  <a:pt x="6018" y="11626"/>
                </a:lnTo>
                <a:lnTo>
                  <a:pt x="5199" y="11626"/>
                </a:lnTo>
                <a:lnTo>
                  <a:pt x="5199" y="7436"/>
                </a:lnTo>
                <a:cubicBezTo>
                  <a:pt x="5199" y="7215"/>
                  <a:pt x="5010" y="7026"/>
                  <a:pt x="4757" y="7026"/>
                </a:cubicBezTo>
                <a:cubicBezTo>
                  <a:pt x="4537" y="7026"/>
                  <a:pt x="4379" y="7215"/>
                  <a:pt x="4379" y="7436"/>
                </a:cubicBezTo>
                <a:lnTo>
                  <a:pt x="4379" y="11626"/>
                </a:lnTo>
                <a:lnTo>
                  <a:pt x="3560" y="11626"/>
                </a:lnTo>
                <a:lnTo>
                  <a:pt x="3560" y="6175"/>
                </a:lnTo>
                <a:close/>
                <a:moveTo>
                  <a:pt x="9798" y="12413"/>
                </a:moveTo>
                <a:cubicBezTo>
                  <a:pt x="10050" y="12413"/>
                  <a:pt x="10239" y="12602"/>
                  <a:pt x="10239" y="12854"/>
                </a:cubicBezTo>
                <a:lnTo>
                  <a:pt x="10239" y="13264"/>
                </a:lnTo>
                <a:lnTo>
                  <a:pt x="2741" y="13264"/>
                </a:lnTo>
                <a:lnTo>
                  <a:pt x="2741" y="12854"/>
                </a:lnTo>
                <a:cubicBezTo>
                  <a:pt x="2741" y="12602"/>
                  <a:pt x="2962" y="12413"/>
                  <a:pt x="3182" y="12413"/>
                </a:cubicBezTo>
                <a:close/>
                <a:moveTo>
                  <a:pt x="2363" y="1"/>
                </a:moveTo>
                <a:cubicBezTo>
                  <a:pt x="1418" y="1"/>
                  <a:pt x="662" y="599"/>
                  <a:pt x="378" y="1513"/>
                </a:cubicBezTo>
                <a:cubicBezTo>
                  <a:pt x="0" y="2804"/>
                  <a:pt x="693" y="4254"/>
                  <a:pt x="1954" y="4443"/>
                </a:cubicBezTo>
                <a:lnTo>
                  <a:pt x="1954" y="4915"/>
                </a:lnTo>
                <a:cubicBezTo>
                  <a:pt x="1954" y="5482"/>
                  <a:pt x="2332" y="5923"/>
                  <a:pt x="2804" y="6112"/>
                </a:cubicBezTo>
                <a:lnTo>
                  <a:pt x="2804" y="11689"/>
                </a:lnTo>
                <a:cubicBezTo>
                  <a:pt x="2332" y="11846"/>
                  <a:pt x="1954" y="12319"/>
                  <a:pt x="1954" y="12886"/>
                </a:cubicBezTo>
                <a:lnTo>
                  <a:pt x="1954" y="13705"/>
                </a:lnTo>
                <a:cubicBezTo>
                  <a:pt x="1954" y="13957"/>
                  <a:pt x="2174" y="14146"/>
                  <a:pt x="2395" y="14146"/>
                </a:cubicBezTo>
                <a:lnTo>
                  <a:pt x="10680" y="14146"/>
                </a:lnTo>
                <a:cubicBezTo>
                  <a:pt x="10901" y="14146"/>
                  <a:pt x="11058" y="13957"/>
                  <a:pt x="11058" y="13705"/>
                </a:cubicBezTo>
                <a:lnTo>
                  <a:pt x="11058" y="12886"/>
                </a:lnTo>
                <a:cubicBezTo>
                  <a:pt x="11058" y="12319"/>
                  <a:pt x="10712" y="11909"/>
                  <a:pt x="10239" y="11689"/>
                </a:cubicBezTo>
                <a:lnTo>
                  <a:pt x="10239" y="6112"/>
                </a:lnTo>
                <a:cubicBezTo>
                  <a:pt x="10712" y="5955"/>
                  <a:pt x="11058" y="5482"/>
                  <a:pt x="11058" y="4915"/>
                </a:cubicBezTo>
                <a:lnTo>
                  <a:pt x="11058" y="4411"/>
                </a:lnTo>
                <a:cubicBezTo>
                  <a:pt x="12319" y="4191"/>
                  <a:pt x="12980" y="2710"/>
                  <a:pt x="12602" y="1450"/>
                </a:cubicBezTo>
                <a:cubicBezTo>
                  <a:pt x="12287" y="568"/>
                  <a:pt x="11500" y="1"/>
                  <a:pt x="105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7" name="Google Shape;10527;p79"/>
          <p:cNvGrpSpPr/>
          <p:nvPr/>
        </p:nvGrpSpPr>
        <p:grpSpPr>
          <a:xfrm>
            <a:off x="6649772" y="2779651"/>
            <a:ext cx="375044" cy="340541"/>
            <a:chOff x="-8692750" y="1622100"/>
            <a:chExt cx="388325" cy="352600"/>
          </a:xfrm>
        </p:grpSpPr>
        <p:sp>
          <p:nvSpPr>
            <p:cNvPr id="10528" name="Google Shape;10528;p79"/>
            <p:cNvSpPr/>
            <p:nvPr/>
          </p:nvSpPr>
          <p:spPr>
            <a:xfrm>
              <a:off x="-8692750" y="1622100"/>
              <a:ext cx="388325" cy="352600"/>
            </a:xfrm>
            <a:custGeom>
              <a:avLst/>
              <a:gdLst/>
              <a:ahLst/>
              <a:cxnLst/>
              <a:rect l="l" t="t" r="r" b="b"/>
              <a:pathLst>
                <a:path w="15533" h="14104" extrusionOk="0">
                  <a:moveTo>
                    <a:pt x="10365" y="1387"/>
                  </a:moveTo>
                  <a:cubicBezTo>
                    <a:pt x="11027" y="1702"/>
                    <a:pt x="11626" y="2112"/>
                    <a:pt x="12130" y="2616"/>
                  </a:cubicBezTo>
                  <a:cubicBezTo>
                    <a:pt x="12697" y="3183"/>
                    <a:pt x="13106" y="3750"/>
                    <a:pt x="13390" y="4443"/>
                  </a:cubicBezTo>
                  <a:lnTo>
                    <a:pt x="10208" y="5577"/>
                  </a:lnTo>
                  <a:cubicBezTo>
                    <a:pt x="10082" y="5388"/>
                    <a:pt x="9924" y="5168"/>
                    <a:pt x="9767" y="5010"/>
                  </a:cubicBezTo>
                  <a:cubicBezTo>
                    <a:pt x="9609" y="4852"/>
                    <a:pt x="9420" y="4695"/>
                    <a:pt x="9231" y="4600"/>
                  </a:cubicBezTo>
                  <a:lnTo>
                    <a:pt x="10365" y="1387"/>
                  </a:lnTo>
                  <a:close/>
                  <a:moveTo>
                    <a:pt x="7802" y="828"/>
                  </a:moveTo>
                  <a:cubicBezTo>
                    <a:pt x="8424" y="828"/>
                    <a:pt x="9044" y="919"/>
                    <a:pt x="9641" y="1103"/>
                  </a:cubicBezTo>
                  <a:lnTo>
                    <a:pt x="8507" y="4285"/>
                  </a:lnTo>
                  <a:cubicBezTo>
                    <a:pt x="8268" y="4222"/>
                    <a:pt x="8022" y="4190"/>
                    <a:pt x="7776" y="4190"/>
                  </a:cubicBezTo>
                  <a:cubicBezTo>
                    <a:pt x="7044" y="4190"/>
                    <a:pt x="6308" y="4468"/>
                    <a:pt x="5766" y="5010"/>
                  </a:cubicBezTo>
                  <a:cubicBezTo>
                    <a:pt x="4978" y="5798"/>
                    <a:pt x="4726" y="6869"/>
                    <a:pt x="5010" y="7845"/>
                  </a:cubicBezTo>
                  <a:lnTo>
                    <a:pt x="1859" y="9011"/>
                  </a:lnTo>
                  <a:cubicBezTo>
                    <a:pt x="1134" y="6900"/>
                    <a:pt x="1576" y="4380"/>
                    <a:pt x="3340" y="2647"/>
                  </a:cubicBezTo>
                  <a:cubicBezTo>
                    <a:pt x="4567" y="1442"/>
                    <a:pt x="6189" y="828"/>
                    <a:pt x="7802" y="828"/>
                  </a:cubicBezTo>
                  <a:close/>
                  <a:moveTo>
                    <a:pt x="7766" y="5018"/>
                  </a:moveTo>
                  <a:cubicBezTo>
                    <a:pt x="8302" y="5018"/>
                    <a:pt x="8837" y="5215"/>
                    <a:pt x="9231" y="5609"/>
                  </a:cubicBezTo>
                  <a:cubicBezTo>
                    <a:pt x="10019" y="6396"/>
                    <a:pt x="10019" y="7751"/>
                    <a:pt x="9231" y="8539"/>
                  </a:cubicBezTo>
                  <a:cubicBezTo>
                    <a:pt x="8806" y="8948"/>
                    <a:pt x="8270" y="9153"/>
                    <a:pt x="7743" y="9153"/>
                  </a:cubicBezTo>
                  <a:cubicBezTo>
                    <a:pt x="7215" y="9153"/>
                    <a:pt x="6695" y="8948"/>
                    <a:pt x="6301" y="8539"/>
                  </a:cubicBezTo>
                  <a:cubicBezTo>
                    <a:pt x="5514" y="7751"/>
                    <a:pt x="5514" y="6396"/>
                    <a:pt x="6301" y="5609"/>
                  </a:cubicBezTo>
                  <a:cubicBezTo>
                    <a:pt x="6695" y="5215"/>
                    <a:pt x="7231" y="5018"/>
                    <a:pt x="7766" y="5018"/>
                  </a:cubicBezTo>
                  <a:close/>
                  <a:moveTo>
                    <a:pt x="5293" y="8633"/>
                  </a:moveTo>
                  <a:cubicBezTo>
                    <a:pt x="5388" y="8791"/>
                    <a:pt x="5514" y="9011"/>
                    <a:pt x="5671" y="9106"/>
                  </a:cubicBezTo>
                  <a:cubicBezTo>
                    <a:pt x="5829" y="9263"/>
                    <a:pt x="5986" y="9389"/>
                    <a:pt x="6144" y="9515"/>
                  </a:cubicBezTo>
                  <a:lnTo>
                    <a:pt x="5010" y="12697"/>
                  </a:lnTo>
                  <a:cubicBezTo>
                    <a:pt x="4379" y="12382"/>
                    <a:pt x="3812" y="12004"/>
                    <a:pt x="3308" y="11468"/>
                  </a:cubicBezTo>
                  <a:cubicBezTo>
                    <a:pt x="2836" y="10964"/>
                    <a:pt x="2458" y="10366"/>
                    <a:pt x="2143" y="9799"/>
                  </a:cubicBezTo>
                  <a:lnTo>
                    <a:pt x="5293" y="8633"/>
                  </a:lnTo>
                  <a:close/>
                  <a:moveTo>
                    <a:pt x="13705" y="5168"/>
                  </a:moveTo>
                  <a:cubicBezTo>
                    <a:pt x="14335" y="7310"/>
                    <a:pt x="13862" y="9736"/>
                    <a:pt x="12161" y="11437"/>
                  </a:cubicBezTo>
                  <a:cubicBezTo>
                    <a:pt x="10928" y="12670"/>
                    <a:pt x="9328" y="13281"/>
                    <a:pt x="7736" y="13281"/>
                  </a:cubicBezTo>
                  <a:cubicBezTo>
                    <a:pt x="7090" y="13281"/>
                    <a:pt x="6446" y="13181"/>
                    <a:pt x="5829" y="12981"/>
                  </a:cubicBezTo>
                  <a:lnTo>
                    <a:pt x="6963" y="9830"/>
                  </a:lnTo>
                  <a:cubicBezTo>
                    <a:pt x="7230" y="9905"/>
                    <a:pt x="7503" y="9943"/>
                    <a:pt x="7775" y="9943"/>
                  </a:cubicBezTo>
                  <a:cubicBezTo>
                    <a:pt x="8528" y="9943"/>
                    <a:pt x="9265" y="9653"/>
                    <a:pt x="9798" y="9074"/>
                  </a:cubicBezTo>
                  <a:cubicBezTo>
                    <a:pt x="10554" y="8318"/>
                    <a:pt x="10806" y="7278"/>
                    <a:pt x="10554" y="6333"/>
                  </a:cubicBezTo>
                  <a:lnTo>
                    <a:pt x="13705" y="5168"/>
                  </a:lnTo>
                  <a:close/>
                  <a:moveTo>
                    <a:pt x="7766" y="1"/>
                  </a:moveTo>
                  <a:cubicBezTo>
                    <a:pt x="5955" y="1"/>
                    <a:pt x="4143" y="694"/>
                    <a:pt x="2773" y="2080"/>
                  </a:cubicBezTo>
                  <a:cubicBezTo>
                    <a:pt x="0" y="4821"/>
                    <a:pt x="0" y="9263"/>
                    <a:pt x="2773" y="12036"/>
                  </a:cubicBezTo>
                  <a:cubicBezTo>
                    <a:pt x="4155" y="13418"/>
                    <a:pt x="5960" y="14103"/>
                    <a:pt x="7763" y="14103"/>
                  </a:cubicBezTo>
                  <a:cubicBezTo>
                    <a:pt x="9575" y="14103"/>
                    <a:pt x="11385" y="13410"/>
                    <a:pt x="12760" y="12036"/>
                  </a:cubicBezTo>
                  <a:cubicBezTo>
                    <a:pt x="15532" y="9263"/>
                    <a:pt x="15532" y="4821"/>
                    <a:pt x="12760" y="2080"/>
                  </a:cubicBezTo>
                  <a:cubicBezTo>
                    <a:pt x="11389" y="694"/>
                    <a:pt x="9578" y="1"/>
                    <a:pt x="77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79"/>
            <p:cNvSpPr/>
            <p:nvPr/>
          </p:nvSpPr>
          <p:spPr>
            <a:xfrm>
              <a:off x="-8532875" y="1767625"/>
              <a:ext cx="67775" cy="61850"/>
            </a:xfrm>
            <a:custGeom>
              <a:avLst/>
              <a:gdLst/>
              <a:ahLst/>
              <a:cxnLst/>
              <a:rect l="l" t="t" r="r" b="b"/>
              <a:pathLst>
                <a:path w="2711" h="2474" extrusionOk="0">
                  <a:moveTo>
                    <a:pt x="1340" y="804"/>
                  </a:moveTo>
                  <a:cubicBezTo>
                    <a:pt x="1450" y="804"/>
                    <a:pt x="1560" y="843"/>
                    <a:pt x="1639" y="922"/>
                  </a:cubicBezTo>
                  <a:cubicBezTo>
                    <a:pt x="1797" y="1079"/>
                    <a:pt x="1797" y="1363"/>
                    <a:pt x="1639" y="1520"/>
                  </a:cubicBezTo>
                  <a:cubicBezTo>
                    <a:pt x="1560" y="1599"/>
                    <a:pt x="1450" y="1638"/>
                    <a:pt x="1340" y="1638"/>
                  </a:cubicBezTo>
                  <a:cubicBezTo>
                    <a:pt x="1229" y="1638"/>
                    <a:pt x="1119" y="1599"/>
                    <a:pt x="1040" y="1520"/>
                  </a:cubicBezTo>
                  <a:cubicBezTo>
                    <a:pt x="883" y="1363"/>
                    <a:pt x="883" y="1142"/>
                    <a:pt x="1040" y="922"/>
                  </a:cubicBezTo>
                  <a:cubicBezTo>
                    <a:pt x="1119" y="843"/>
                    <a:pt x="1229" y="804"/>
                    <a:pt x="1340" y="804"/>
                  </a:cubicBezTo>
                  <a:close/>
                  <a:moveTo>
                    <a:pt x="1367" y="0"/>
                  </a:moveTo>
                  <a:cubicBezTo>
                    <a:pt x="1048" y="0"/>
                    <a:pt x="725" y="118"/>
                    <a:pt x="473" y="355"/>
                  </a:cubicBezTo>
                  <a:cubicBezTo>
                    <a:pt x="1" y="827"/>
                    <a:pt x="1" y="1615"/>
                    <a:pt x="473" y="2119"/>
                  </a:cubicBezTo>
                  <a:cubicBezTo>
                    <a:pt x="725" y="2355"/>
                    <a:pt x="1048" y="2473"/>
                    <a:pt x="1367" y="2473"/>
                  </a:cubicBezTo>
                  <a:cubicBezTo>
                    <a:pt x="1686" y="2473"/>
                    <a:pt x="2001" y="2355"/>
                    <a:pt x="2238" y="2119"/>
                  </a:cubicBezTo>
                  <a:cubicBezTo>
                    <a:pt x="2710" y="1646"/>
                    <a:pt x="2710" y="859"/>
                    <a:pt x="2238" y="355"/>
                  </a:cubicBezTo>
                  <a:cubicBezTo>
                    <a:pt x="2001" y="118"/>
                    <a:pt x="1686" y="0"/>
                    <a:pt x="13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0" name="Google Shape;10530;p79"/>
          <p:cNvGrpSpPr/>
          <p:nvPr/>
        </p:nvGrpSpPr>
        <p:grpSpPr>
          <a:xfrm>
            <a:off x="5304253" y="1531907"/>
            <a:ext cx="341555" cy="341579"/>
            <a:chOff x="-13529550" y="1639425"/>
            <a:chExt cx="353650" cy="353675"/>
          </a:xfrm>
        </p:grpSpPr>
        <p:sp>
          <p:nvSpPr>
            <p:cNvPr id="10531" name="Google Shape;10531;p79"/>
            <p:cNvSpPr/>
            <p:nvPr/>
          </p:nvSpPr>
          <p:spPr>
            <a:xfrm>
              <a:off x="-13529550" y="1910125"/>
              <a:ext cx="353650" cy="82975"/>
            </a:xfrm>
            <a:custGeom>
              <a:avLst/>
              <a:gdLst/>
              <a:ahLst/>
              <a:cxnLst/>
              <a:rect l="l" t="t" r="r" b="b"/>
              <a:pathLst>
                <a:path w="14146" h="3319" extrusionOk="0">
                  <a:moveTo>
                    <a:pt x="3434" y="893"/>
                  </a:moveTo>
                  <a:lnTo>
                    <a:pt x="3434" y="893"/>
                  </a:lnTo>
                  <a:cubicBezTo>
                    <a:pt x="3340" y="1145"/>
                    <a:pt x="3308" y="1428"/>
                    <a:pt x="3308" y="1649"/>
                  </a:cubicBezTo>
                  <a:cubicBezTo>
                    <a:pt x="3308" y="1932"/>
                    <a:pt x="3340" y="2153"/>
                    <a:pt x="3434" y="2405"/>
                  </a:cubicBezTo>
                  <a:cubicBezTo>
                    <a:pt x="2899" y="2373"/>
                    <a:pt x="2426" y="2279"/>
                    <a:pt x="2017" y="2153"/>
                  </a:cubicBezTo>
                  <a:cubicBezTo>
                    <a:pt x="1229" y="1964"/>
                    <a:pt x="914" y="1743"/>
                    <a:pt x="819" y="1649"/>
                  </a:cubicBezTo>
                  <a:cubicBezTo>
                    <a:pt x="914" y="1586"/>
                    <a:pt x="1166" y="1334"/>
                    <a:pt x="2017" y="1145"/>
                  </a:cubicBezTo>
                  <a:cubicBezTo>
                    <a:pt x="2426" y="1019"/>
                    <a:pt x="2899" y="956"/>
                    <a:pt x="3434" y="893"/>
                  </a:cubicBezTo>
                  <a:close/>
                  <a:moveTo>
                    <a:pt x="6018" y="861"/>
                  </a:moveTo>
                  <a:cubicBezTo>
                    <a:pt x="7908" y="987"/>
                    <a:pt x="8948" y="1428"/>
                    <a:pt x="9137" y="1649"/>
                  </a:cubicBezTo>
                  <a:cubicBezTo>
                    <a:pt x="9042" y="1743"/>
                    <a:pt x="8790" y="1964"/>
                    <a:pt x="7940" y="2153"/>
                  </a:cubicBezTo>
                  <a:cubicBezTo>
                    <a:pt x="7404" y="2279"/>
                    <a:pt x="6742" y="2405"/>
                    <a:pt x="6018" y="2436"/>
                  </a:cubicBezTo>
                  <a:cubicBezTo>
                    <a:pt x="5892" y="2216"/>
                    <a:pt x="5829" y="1932"/>
                    <a:pt x="5829" y="1649"/>
                  </a:cubicBezTo>
                  <a:cubicBezTo>
                    <a:pt x="5829" y="1365"/>
                    <a:pt x="5892" y="1113"/>
                    <a:pt x="6018" y="861"/>
                  </a:cubicBezTo>
                  <a:close/>
                  <a:moveTo>
                    <a:pt x="5104" y="798"/>
                  </a:moveTo>
                  <a:cubicBezTo>
                    <a:pt x="5041" y="1050"/>
                    <a:pt x="4947" y="1334"/>
                    <a:pt x="4947" y="1617"/>
                  </a:cubicBezTo>
                  <a:cubicBezTo>
                    <a:pt x="4947" y="1901"/>
                    <a:pt x="5010" y="2153"/>
                    <a:pt x="5104" y="2436"/>
                  </a:cubicBezTo>
                  <a:cubicBezTo>
                    <a:pt x="4994" y="2452"/>
                    <a:pt x="4876" y="2460"/>
                    <a:pt x="4754" y="2460"/>
                  </a:cubicBezTo>
                  <a:cubicBezTo>
                    <a:pt x="4632" y="2460"/>
                    <a:pt x="4506" y="2452"/>
                    <a:pt x="4379" y="2436"/>
                  </a:cubicBezTo>
                  <a:cubicBezTo>
                    <a:pt x="4222" y="2216"/>
                    <a:pt x="4159" y="1932"/>
                    <a:pt x="4159" y="1617"/>
                  </a:cubicBezTo>
                  <a:cubicBezTo>
                    <a:pt x="4159" y="1334"/>
                    <a:pt x="4253" y="1050"/>
                    <a:pt x="4379" y="798"/>
                  </a:cubicBezTo>
                  <a:close/>
                  <a:moveTo>
                    <a:pt x="10801" y="817"/>
                  </a:moveTo>
                  <a:cubicBezTo>
                    <a:pt x="10917" y="817"/>
                    <a:pt x="11036" y="841"/>
                    <a:pt x="11153" y="893"/>
                  </a:cubicBezTo>
                  <a:lnTo>
                    <a:pt x="12728" y="1649"/>
                  </a:lnTo>
                  <a:lnTo>
                    <a:pt x="11153" y="2405"/>
                  </a:lnTo>
                  <a:cubicBezTo>
                    <a:pt x="11032" y="2465"/>
                    <a:pt x="10908" y="2493"/>
                    <a:pt x="10788" y="2493"/>
                  </a:cubicBezTo>
                  <a:cubicBezTo>
                    <a:pt x="10346" y="2493"/>
                    <a:pt x="9956" y="2120"/>
                    <a:pt x="9956" y="1649"/>
                  </a:cubicBezTo>
                  <a:cubicBezTo>
                    <a:pt x="9956" y="1173"/>
                    <a:pt x="10354" y="817"/>
                    <a:pt x="10801" y="817"/>
                  </a:cubicBezTo>
                  <a:close/>
                  <a:moveTo>
                    <a:pt x="10785" y="0"/>
                  </a:moveTo>
                  <a:cubicBezTo>
                    <a:pt x="10221" y="0"/>
                    <a:pt x="9666" y="291"/>
                    <a:pt x="9357" y="798"/>
                  </a:cubicBezTo>
                  <a:cubicBezTo>
                    <a:pt x="8349" y="168"/>
                    <a:pt x="6207" y="10"/>
                    <a:pt x="5010" y="10"/>
                  </a:cubicBezTo>
                  <a:cubicBezTo>
                    <a:pt x="3592" y="10"/>
                    <a:pt x="0" y="231"/>
                    <a:pt x="0" y="1649"/>
                  </a:cubicBezTo>
                  <a:cubicBezTo>
                    <a:pt x="0" y="3066"/>
                    <a:pt x="3529" y="3318"/>
                    <a:pt x="5010" y="3318"/>
                  </a:cubicBezTo>
                  <a:cubicBezTo>
                    <a:pt x="6207" y="3318"/>
                    <a:pt x="8349" y="3161"/>
                    <a:pt x="9357" y="2531"/>
                  </a:cubicBezTo>
                  <a:cubicBezTo>
                    <a:pt x="9667" y="3039"/>
                    <a:pt x="10224" y="3315"/>
                    <a:pt x="10790" y="3315"/>
                  </a:cubicBezTo>
                  <a:cubicBezTo>
                    <a:pt x="11031" y="3315"/>
                    <a:pt x="11274" y="3265"/>
                    <a:pt x="11500" y="3161"/>
                  </a:cubicBezTo>
                  <a:lnTo>
                    <a:pt x="13894" y="2058"/>
                  </a:lnTo>
                  <a:cubicBezTo>
                    <a:pt x="14052" y="1964"/>
                    <a:pt x="14146" y="1838"/>
                    <a:pt x="14146" y="1649"/>
                  </a:cubicBezTo>
                  <a:cubicBezTo>
                    <a:pt x="14146" y="1491"/>
                    <a:pt x="14020" y="1334"/>
                    <a:pt x="13894" y="1271"/>
                  </a:cubicBezTo>
                  <a:lnTo>
                    <a:pt x="11500" y="168"/>
                  </a:lnTo>
                  <a:cubicBezTo>
                    <a:pt x="11272" y="54"/>
                    <a:pt x="11028" y="0"/>
                    <a:pt x="107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79"/>
            <p:cNvSpPr/>
            <p:nvPr/>
          </p:nvSpPr>
          <p:spPr>
            <a:xfrm>
              <a:off x="-13383850" y="1681175"/>
              <a:ext cx="40975" cy="41775"/>
            </a:xfrm>
            <a:custGeom>
              <a:avLst/>
              <a:gdLst/>
              <a:ahLst/>
              <a:cxnLst/>
              <a:rect l="l" t="t" r="r" b="b"/>
              <a:pathLst>
                <a:path w="1639" h="1671" extrusionOk="0">
                  <a:moveTo>
                    <a:pt x="820" y="1"/>
                  </a:moveTo>
                  <a:cubicBezTo>
                    <a:pt x="379" y="1"/>
                    <a:pt x="1" y="379"/>
                    <a:pt x="1" y="851"/>
                  </a:cubicBezTo>
                  <a:cubicBezTo>
                    <a:pt x="1" y="1292"/>
                    <a:pt x="379" y="1670"/>
                    <a:pt x="820" y="1670"/>
                  </a:cubicBezTo>
                  <a:cubicBezTo>
                    <a:pt x="1292" y="1670"/>
                    <a:pt x="1639" y="1292"/>
                    <a:pt x="1639" y="851"/>
                  </a:cubicBezTo>
                  <a:cubicBezTo>
                    <a:pt x="1639" y="379"/>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79"/>
            <p:cNvSpPr/>
            <p:nvPr/>
          </p:nvSpPr>
          <p:spPr>
            <a:xfrm>
              <a:off x="-13446075" y="1692200"/>
              <a:ext cx="41775" cy="41775"/>
            </a:xfrm>
            <a:custGeom>
              <a:avLst/>
              <a:gdLst/>
              <a:ahLst/>
              <a:cxnLst/>
              <a:rect l="l" t="t" r="r" b="b"/>
              <a:pathLst>
                <a:path w="1671" h="1671" extrusionOk="0">
                  <a:moveTo>
                    <a:pt x="820" y="1"/>
                  </a:moveTo>
                  <a:cubicBezTo>
                    <a:pt x="379" y="1"/>
                    <a:pt x="1" y="379"/>
                    <a:pt x="1" y="851"/>
                  </a:cubicBezTo>
                  <a:cubicBezTo>
                    <a:pt x="1" y="1292"/>
                    <a:pt x="379" y="1670"/>
                    <a:pt x="820" y="1670"/>
                  </a:cubicBezTo>
                  <a:cubicBezTo>
                    <a:pt x="1293" y="1670"/>
                    <a:pt x="1671" y="1292"/>
                    <a:pt x="1671" y="851"/>
                  </a:cubicBezTo>
                  <a:cubicBezTo>
                    <a:pt x="1671" y="379"/>
                    <a:pt x="1293"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79"/>
            <p:cNvSpPr/>
            <p:nvPr/>
          </p:nvSpPr>
          <p:spPr>
            <a:xfrm>
              <a:off x="-13446075" y="1796175"/>
              <a:ext cx="41775" cy="40975"/>
            </a:xfrm>
            <a:custGeom>
              <a:avLst/>
              <a:gdLst/>
              <a:ahLst/>
              <a:cxnLst/>
              <a:rect l="l" t="t" r="r" b="b"/>
              <a:pathLst>
                <a:path w="1671" h="1639" extrusionOk="0">
                  <a:moveTo>
                    <a:pt x="820" y="0"/>
                  </a:moveTo>
                  <a:cubicBezTo>
                    <a:pt x="379" y="0"/>
                    <a:pt x="1" y="347"/>
                    <a:pt x="1" y="819"/>
                  </a:cubicBezTo>
                  <a:cubicBezTo>
                    <a:pt x="1" y="1260"/>
                    <a:pt x="379" y="1639"/>
                    <a:pt x="820" y="1639"/>
                  </a:cubicBezTo>
                  <a:cubicBezTo>
                    <a:pt x="1293" y="1639"/>
                    <a:pt x="1671" y="1260"/>
                    <a:pt x="1671" y="819"/>
                  </a:cubicBezTo>
                  <a:cubicBezTo>
                    <a:pt x="1671" y="347"/>
                    <a:pt x="1293" y="0"/>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79"/>
            <p:cNvSpPr/>
            <p:nvPr/>
          </p:nvSpPr>
          <p:spPr>
            <a:xfrm>
              <a:off x="-13487025" y="1743400"/>
              <a:ext cx="40975" cy="41775"/>
            </a:xfrm>
            <a:custGeom>
              <a:avLst/>
              <a:gdLst/>
              <a:ahLst/>
              <a:cxnLst/>
              <a:rect l="l" t="t" r="r" b="b"/>
              <a:pathLst>
                <a:path w="1639" h="1671" extrusionOk="0">
                  <a:moveTo>
                    <a:pt x="820" y="0"/>
                  </a:moveTo>
                  <a:cubicBezTo>
                    <a:pt x="379" y="0"/>
                    <a:pt x="1" y="379"/>
                    <a:pt x="1" y="851"/>
                  </a:cubicBezTo>
                  <a:cubicBezTo>
                    <a:pt x="1" y="1292"/>
                    <a:pt x="379" y="1670"/>
                    <a:pt x="820" y="1670"/>
                  </a:cubicBezTo>
                  <a:cubicBezTo>
                    <a:pt x="1261" y="1670"/>
                    <a:pt x="1639" y="1292"/>
                    <a:pt x="1639" y="851"/>
                  </a:cubicBezTo>
                  <a:cubicBezTo>
                    <a:pt x="1639" y="379"/>
                    <a:pt x="1261" y="0"/>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6" name="Google Shape;10536;p79"/>
            <p:cNvSpPr/>
            <p:nvPr/>
          </p:nvSpPr>
          <p:spPr>
            <a:xfrm>
              <a:off x="-13383850" y="1805625"/>
              <a:ext cx="40975" cy="41775"/>
            </a:xfrm>
            <a:custGeom>
              <a:avLst/>
              <a:gdLst/>
              <a:ahLst/>
              <a:cxnLst/>
              <a:rect l="l" t="t" r="r" b="b"/>
              <a:pathLst>
                <a:path w="1639" h="1671" extrusionOk="0">
                  <a:moveTo>
                    <a:pt x="820" y="0"/>
                  </a:moveTo>
                  <a:cubicBezTo>
                    <a:pt x="379" y="0"/>
                    <a:pt x="1" y="378"/>
                    <a:pt x="1" y="819"/>
                  </a:cubicBezTo>
                  <a:cubicBezTo>
                    <a:pt x="1" y="1292"/>
                    <a:pt x="379" y="1670"/>
                    <a:pt x="820" y="1670"/>
                  </a:cubicBezTo>
                  <a:cubicBezTo>
                    <a:pt x="1292" y="1670"/>
                    <a:pt x="1639" y="1292"/>
                    <a:pt x="1639" y="819"/>
                  </a:cubicBezTo>
                  <a:cubicBezTo>
                    <a:pt x="1639" y="378"/>
                    <a:pt x="1292" y="0"/>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7" name="Google Shape;10537;p79"/>
            <p:cNvSpPr/>
            <p:nvPr/>
          </p:nvSpPr>
          <p:spPr>
            <a:xfrm>
              <a:off x="-13529550" y="1639425"/>
              <a:ext cx="352075" cy="248925"/>
            </a:xfrm>
            <a:custGeom>
              <a:avLst/>
              <a:gdLst/>
              <a:ahLst/>
              <a:cxnLst/>
              <a:rect l="l" t="t" r="r" b="b"/>
              <a:pathLst>
                <a:path w="14083" h="9957" extrusionOk="0">
                  <a:moveTo>
                    <a:pt x="7057" y="820"/>
                  </a:moveTo>
                  <a:cubicBezTo>
                    <a:pt x="10554" y="820"/>
                    <a:pt x="13264" y="2805"/>
                    <a:pt x="13264" y="5010"/>
                  </a:cubicBezTo>
                  <a:cubicBezTo>
                    <a:pt x="13264" y="7215"/>
                    <a:pt x="10554" y="9137"/>
                    <a:pt x="7057" y="9137"/>
                  </a:cubicBezTo>
                  <a:cubicBezTo>
                    <a:pt x="3529" y="9137"/>
                    <a:pt x="819" y="7215"/>
                    <a:pt x="819" y="5010"/>
                  </a:cubicBezTo>
                  <a:cubicBezTo>
                    <a:pt x="819" y="2742"/>
                    <a:pt x="3623" y="820"/>
                    <a:pt x="7057" y="820"/>
                  </a:cubicBezTo>
                  <a:close/>
                  <a:moveTo>
                    <a:pt x="7057" y="1"/>
                  </a:moveTo>
                  <a:cubicBezTo>
                    <a:pt x="3151" y="1"/>
                    <a:pt x="0" y="2238"/>
                    <a:pt x="0" y="5010"/>
                  </a:cubicBezTo>
                  <a:cubicBezTo>
                    <a:pt x="0" y="7846"/>
                    <a:pt x="3277" y="9956"/>
                    <a:pt x="7057" y="9956"/>
                  </a:cubicBezTo>
                  <a:cubicBezTo>
                    <a:pt x="10870" y="9956"/>
                    <a:pt x="14083" y="7783"/>
                    <a:pt x="14083" y="5010"/>
                  </a:cubicBezTo>
                  <a:cubicBezTo>
                    <a:pt x="14083" y="2238"/>
                    <a:pt x="10933" y="1"/>
                    <a:pt x="70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79"/>
            <p:cNvSpPr/>
            <p:nvPr/>
          </p:nvSpPr>
          <p:spPr>
            <a:xfrm>
              <a:off x="-13323200" y="1722925"/>
              <a:ext cx="104775" cy="82725"/>
            </a:xfrm>
            <a:custGeom>
              <a:avLst/>
              <a:gdLst/>
              <a:ahLst/>
              <a:cxnLst/>
              <a:rect l="l" t="t" r="r" b="b"/>
              <a:pathLst>
                <a:path w="4191" h="3309" extrusionOk="0">
                  <a:moveTo>
                    <a:pt x="2111" y="819"/>
                  </a:moveTo>
                  <a:cubicBezTo>
                    <a:pt x="2773" y="819"/>
                    <a:pt x="3372" y="1229"/>
                    <a:pt x="3372" y="1670"/>
                  </a:cubicBezTo>
                  <a:cubicBezTo>
                    <a:pt x="3372" y="2080"/>
                    <a:pt x="2805" y="2489"/>
                    <a:pt x="2111" y="2489"/>
                  </a:cubicBezTo>
                  <a:cubicBezTo>
                    <a:pt x="1418" y="2489"/>
                    <a:pt x="851" y="2080"/>
                    <a:pt x="851" y="1670"/>
                  </a:cubicBezTo>
                  <a:cubicBezTo>
                    <a:pt x="883" y="1229"/>
                    <a:pt x="1418" y="819"/>
                    <a:pt x="2111" y="819"/>
                  </a:cubicBezTo>
                  <a:close/>
                  <a:moveTo>
                    <a:pt x="2111" y="0"/>
                  </a:moveTo>
                  <a:cubicBezTo>
                    <a:pt x="914" y="0"/>
                    <a:pt x="1" y="756"/>
                    <a:pt x="1" y="1670"/>
                  </a:cubicBezTo>
                  <a:cubicBezTo>
                    <a:pt x="64" y="2552"/>
                    <a:pt x="946" y="3308"/>
                    <a:pt x="2111" y="3308"/>
                  </a:cubicBezTo>
                  <a:cubicBezTo>
                    <a:pt x="3277" y="3308"/>
                    <a:pt x="4191" y="2552"/>
                    <a:pt x="4191" y="1670"/>
                  </a:cubicBezTo>
                  <a:cubicBezTo>
                    <a:pt x="4191" y="756"/>
                    <a:pt x="3277"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79"/>
          <p:cNvGrpSpPr/>
          <p:nvPr/>
        </p:nvGrpSpPr>
        <p:grpSpPr>
          <a:xfrm>
            <a:off x="5303106" y="1940489"/>
            <a:ext cx="343849" cy="340058"/>
            <a:chOff x="-13531925" y="2075775"/>
            <a:chExt cx="356025" cy="352100"/>
          </a:xfrm>
        </p:grpSpPr>
        <p:sp>
          <p:nvSpPr>
            <p:cNvPr id="10540" name="Google Shape;10540;p79"/>
            <p:cNvSpPr/>
            <p:nvPr/>
          </p:nvSpPr>
          <p:spPr>
            <a:xfrm>
              <a:off x="-13531925" y="2075775"/>
              <a:ext cx="356025" cy="352100"/>
            </a:xfrm>
            <a:custGeom>
              <a:avLst/>
              <a:gdLst/>
              <a:ahLst/>
              <a:cxnLst/>
              <a:rect l="l" t="t" r="r" b="b"/>
              <a:pathLst>
                <a:path w="14241" h="14084" extrusionOk="0">
                  <a:moveTo>
                    <a:pt x="9610" y="725"/>
                  </a:moveTo>
                  <a:cubicBezTo>
                    <a:pt x="9862" y="725"/>
                    <a:pt x="10019" y="946"/>
                    <a:pt x="10019" y="1166"/>
                  </a:cubicBezTo>
                  <a:lnTo>
                    <a:pt x="10019" y="2017"/>
                  </a:lnTo>
                  <a:lnTo>
                    <a:pt x="10019" y="2111"/>
                  </a:lnTo>
                  <a:lnTo>
                    <a:pt x="9830" y="2395"/>
                  </a:lnTo>
                  <a:cubicBezTo>
                    <a:pt x="9736" y="2426"/>
                    <a:pt x="9704" y="2426"/>
                    <a:pt x="9610" y="2426"/>
                  </a:cubicBezTo>
                  <a:lnTo>
                    <a:pt x="4632" y="2426"/>
                  </a:lnTo>
                  <a:cubicBezTo>
                    <a:pt x="4538" y="2426"/>
                    <a:pt x="4474" y="2395"/>
                    <a:pt x="4411" y="2395"/>
                  </a:cubicBezTo>
                  <a:lnTo>
                    <a:pt x="4222" y="2111"/>
                  </a:lnTo>
                  <a:lnTo>
                    <a:pt x="4222" y="2017"/>
                  </a:lnTo>
                  <a:lnTo>
                    <a:pt x="4222" y="1166"/>
                  </a:lnTo>
                  <a:cubicBezTo>
                    <a:pt x="4222" y="946"/>
                    <a:pt x="4411" y="725"/>
                    <a:pt x="4632" y="725"/>
                  </a:cubicBezTo>
                  <a:close/>
                  <a:moveTo>
                    <a:pt x="9232" y="3308"/>
                  </a:moveTo>
                  <a:lnTo>
                    <a:pt x="8633" y="4128"/>
                  </a:lnTo>
                  <a:lnTo>
                    <a:pt x="5735" y="4128"/>
                  </a:lnTo>
                  <a:lnTo>
                    <a:pt x="5105" y="3308"/>
                  </a:lnTo>
                  <a:close/>
                  <a:moveTo>
                    <a:pt x="2175" y="4915"/>
                  </a:moveTo>
                  <a:cubicBezTo>
                    <a:pt x="2427" y="4915"/>
                    <a:pt x="2584" y="5104"/>
                    <a:pt x="2584" y="5325"/>
                  </a:cubicBezTo>
                  <a:lnTo>
                    <a:pt x="2584" y="5766"/>
                  </a:lnTo>
                  <a:lnTo>
                    <a:pt x="1734" y="5766"/>
                  </a:lnTo>
                  <a:lnTo>
                    <a:pt x="1734" y="5325"/>
                  </a:lnTo>
                  <a:cubicBezTo>
                    <a:pt x="1734" y="5104"/>
                    <a:pt x="1954" y="4915"/>
                    <a:pt x="2175" y="4915"/>
                  </a:cubicBezTo>
                  <a:close/>
                  <a:moveTo>
                    <a:pt x="12193" y="4915"/>
                  </a:moveTo>
                  <a:cubicBezTo>
                    <a:pt x="12414" y="4915"/>
                    <a:pt x="12603" y="5104"/>
                    <a:pt x="12603" y="5325"/>
                  </a:cubicBezTo>
                  <a:lnTo>
                    <a:pt x="12603" y="5766"/>
                  </a:lnTo>
                  <a:lnTo>
                    <a:pt x="11784" y="5766"/>
                  </a:lnTo>
                  <a:lnTo>
                    <a:pt x="11784" y="5325"/>
                  </a:lnTo>
                  <a:lnTo>
                    <a:pt x="11752" y="5325"/>
                  </a:lnTo>
                  <a:cubicBezTo>
                    <a:pt x="11752" y="5104"/>
                    <a:pt x="11941" y="4915"/>
                    <a:pt x="12193" y="4915"/>
                  </a:cubicBezTo>
                  <a:close/>
                  <a:moveTo>
                    <a:pt x="8570" y="4947"/>
                  </a:moveTo>
                  <a:lnTo>
                    <a:pt x="9263" y="6364"/>
                  </a:lnTo>
                  <a:cubicBezTo>
                    <a:pt x="9358" y="6522"/>
                    <a:pt x="9452" y="6616"/>
                    <a:pt x="9641" y="6616"/>
                  </a:cubicBezTo>
                  <a:lnTo>
                    <a:pt x="12981" y="6616"/>
                  </a:lnTo>
                  <a:cubicBezTo>
                    <a:pt x="13201" y="6616"/>
                    <a:pt x="13390" y="6806"/>
                    <a:pt x="13390" y="7026"/>
                  </a:cubicBezTo>
                  <a:lnTo>
                    <a:pt x="13390" y="7467"/>
                  </a:lnTo>
                  <a:lnTo>
                    <a:pt x="9200" y="7467"/>
                  </a:lnTo>
                  <a:cubicBezTo>
                    <a:pt x="8665" y="6963"/>
                    <a:pt x="7972" y="6648"/>
                    <a:pt x="7184" y="6648"/>
                  </a:cubicBezTo>
                  <a:cubicBezTo>
                    <a:pt x="6396" y="6648"/>
                    <a:pt x="5703" y="6963"/>
                    <a:pt x="5136" y="7467"/>
                  </a:cubicBezTo>
                  <a:lnTo>
                    <a:pt x="977" y="7467"/>
                  </a:lnTo>
                  <a:lnTo>
                    <a:pt x="977" y="7026"/>
                  </a:lnTo>
                  <a:cubicBezTo>
                    <a:pt x="914" y="6774"/>
                    <a:pt x="1103" y="6616"/>
                    <a:pt x="1356" y="6616"/>
                  </a:cubicBezTo>
                  <a:lnTo>
                    <a:pt x="4664" y="6616"/>
                  </a:lnTo>
                  <a:cubicBezTo>
                    <a:pt x="4821" y="6616"/>
                    <a:pt x="4979" y="6522"/>
                    <a:pt x="5010" y="6364"/>
                  </a:cubicBezTo>
                  <a:lnTo>
                    <a:pt x="5735" y="4947"/>
                  </a:lnTo>
                  <a:close/>
                  <a:moveTo>
                    <a:pt x="4506" y="8255"/>
                  </a:moveTo>
                  <a:cubicBezTo>
                    <a:pt x="4317" y="8664"/>
                    <a:pt x="4222" y="9042"/>
                    <a:pt x="4222" y="9515"/>
                  </a:cubicBezTo>
                  <a:cubicBezTo>
                    <a:pt x="4222" y="9956"/>
                    <a:pt x="4348" y="10366"/>
                    <a:pt x="4506" y="10744"/>
                  </a:cubicBezTo>
                  <a:lnTo>
                    <a:pt x="914" y="10744"/>
                  </a:lnTo>
                  <a:lnTo>
                    <a:pt x="914" y="8255"/>
                  </a:lnTo>
                  <a:close/>
                  <a:moveTo>
                    <a:pt x="13390" y="8286"/>
                  </a:moveTo>
                  <a:lnTo>
                    <a:pt x="13390" y="10744"/>
                  </a:lnTo>
                  <a:lnTo>
                    <a:pt x="9767" y="10744"/>
                  </a:lnTo>
                  <a:cubicBezTo>
                    <a:pt x="9988" y="10334"/>
                    <a:pt x="10051" y="9956"/>
                    <a:pt x="10051" y="9515"/>
                  </a:cubicBezTo>
                  <a:cubicBezTo>
                    <a:pt x="10051" y="9074"/>
                    <a:pt x="9925" y="8664"/>
                    <a:pt x="9767" y="8286"/>
                  </a:cubicBezTo>
                  <a:close/>
                  <a:moveTo>
                    <a:pt x="7152" y="7373"/>
                  </a:moveTo>
                  <a:cubicBezTo>
                    <a:pt x="8287" y="7373"/>
                    <a:pt x="9232" y="8318"/>
                    <a:pt x="9232" y="9483"/>
                  </a:cubicBezTo>
                  <a:cubicBezTo>
                    <a:pt x="9232" y="10618"/>
                    <a:pt x="8287" y="11563"/>
                    <a:pt x="7152" y="11563"/>
                  </a:cubicBezTo>
                  <a:cubicBezTo>
                    <a:pt x="5987" y="11563"/>
                    <a:pt x="5042" y="10618"/>
                    <a:pt x="5042" y="9483"/>
                  </a:cubicBezTo>
                  <a:cubicBezTo>
                    <a:pt x="5042" y="8318"/>
                    <a:pt x="5987" y="7373"/>
                    <a:pt x="7152" y="7373"/>
                  </a:cubicBezTo>
                  <a:close/>
                  <a:moveTo>
                    <a:pt x="13390" y="11563"/>
                  </a:moveTo>
                  <a:lnTo>
                    <a:pt x="13390" y="12791"/>
                  </a:lnTo>
                  <a:cubicBezTo>
                    <a:pt x="13390" y="13012"/>
                    <a:pt x="13201" y="13201"/>
                    <a:pt x="12981" y="13201"/>
                  </a:cubicBezTo>
                  <a:lnTo>
                    <a:pt x="1356" y="13201"/>
                  </a:lnTo>
                  <a:cubicBezTo>
                    <a:pt x="1103" y="13201"/>
                    <a:pt x="946" y="13012"/>
                    <a:pt x="946" y="12791"/>
                  </a:cubicBezTo>
                  <a:lnTo>
                    <a:pt x="946" y="11563"/>
                  </a:lnTo>
                  <a:lnTo>
                    <a:pt x="5136" y="11563"/>
                  </a:lnTo>
                  <a:cubicBezTo>
                    <a:pt x="5640" y="12067"/>
                    <a:pt x="6396" y="12382"/>
                    <a:pt x="7184" y="12382"/>
                  </a:cubicBezTo>
                  <a:cubicBezTo>
                    <a:pt x="7972" y="12382"/>
                    <a:pt x="8665" y="12067"/>
                    <a:pt x="9200" y="11563"/>
                  </a:cubicBezTo>
                  <a:close/>
                  <a:moveTo>
                    <a:pt x="4569" y="0"/>
                  </a:moveTo>
                  <a:cubicBezTo>
                    <a:pt x="3907" y="0"/>
                    <a:pt x="3309" y="536"/>
                    <a:pt x="3309" y="1261"/>
                  </a:cubicBezTo>
                  <a:lnTo>
                    <a:pt x="3309" y="2111"/>
                  </a:lnTo>
                  <a:cubicBezTo>
                    <a:pt x="3309" y="2458"/>
                    <a:pt x="3466" y="2836"/>
                    <a:pt x="3750" y="3056"/>
                  </a:cubicBezTo>
                  <a:lnTo>
                    <a:pt x="4884" y="4632"/>
                  </a:lnTo>
                  <a:lnTo>
                    <a:pt x="4317" y="5829"/>
                  </a:lnTo>
                  <a:lnTo>
                    <a:pt x="3309" y="5829"/>
                  </a:lnTo>
                  <a:lnTo>
                    <a:pt x="3309" y="5388"/>
                  </a:lnTo>
                  <a:cubicBezTo>
                    <a:pt x="3309" y="4726"/>
                    <a:pt x="2773" y="4159"/>
                    <a:pt x="2112" y="4159"/>
                  </a:cubicBezTo>
                  <a:cubicBezTo>
                    <a:pt x="1419" y="4159"/>
                    <a:pt x="851" y="4726"/>
                    <a:pt x="851" y="5388"/>
                  </a:cubicBezTo>
                  <a:lnTo>
                    <a:pt x="851" y="5860"/>
                  </a:lnTo>
                  <a:cubicBezTo>
                    <a:pt x="379" y="6018"/>
                    <a:pt x="1" y="6490"/>
                    <a:pt x="1" y="7026"/>
                  </a:cubicBezTo>
                  <a:lnTo>
                    <a:pt x="1" y="12823"/>
                  </a:lnTo>
                  <a:cubicBezTo>
                    <a:pt x="1" y="13485"/>
                    <a:pt x="568" y="14083"/>
                    <a:pt x="1229" y="14083"/>
                  </a:cubicBezTo>
                  <a:lnTo>
                    <a:pt x="12855" y="14083"/>
                  </a:lnTo>
                  <a:cubicBezTo>
                    <a:pt x="13516" y="14083"/>
                    <a:pt x="14115" y="13516"/>
                    <a:pt x="14115" y="12823"/>
                  </a:cubicBezTo>
                  <a:lnTo>
                    <a:pt x="14115" y="7026"/>
                  </a:lnTo>
                  <a:cubicBezTo>
                    <a:pt x="14241" y="6490"/>
                    <a:pt x="13863" y="6018"/>
                    <a:pt x="13390" y="5860"/>
                  </a:cubicBezTo>
                  <a:lnTo>
                    <a:pt x="13390" y="5388"/>
                  </a:lnTo>
                  <a:cubicBezTo>
                    <a:pt x="13390" y="4726"/>
                    <a:pt x="12855" y="4159"/>
                    <a:pt x="12130" y="4159"/>
                  </a:cubicBezTo>
                  <a:cubicBezTo>
                    <a:pt x="11469" y="4159"/>
                    <a:pt x="10870" y="4726"/>
                    <a:pt x="10870" y="5388"/>
                  </a:cubicBezTo>
                  <a:lnTo>
                    <a:pt x="10870" y="5829"/>
                  </a:lnTo>
                  <a:lnTo>
                    <a:pt x="9862" y="5829"/>
                  </a:lnTo>
                  <a:lnTo>
                    <a:pt x="9263" y="4632"/>
                  </a:lnTo>
                  <a:lnTo>
                    <a:pt x="10429" y="3056"/>
                  </a:lnTo>
                  <a:cubicBezTo>
                    <a:pt x="10681" y="2836"/>
                    <a:pt x="10838" y="2521"/>
                    <a:pt x="10838" y="2111"/>
                  </a:cubicBezTo>
                  <a:lnTo>
                    <a:pt x="10838" y="1261"/>
                  </a:lnTo>
                  <a:cubicBezTo>
                    <a:pt x="10838" y="568"/>
                    <a:pt x="10303" y="0"/>
                    <a:pt x="95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79"/>
            <p:cNvSpPr/>
            <p:nvPr/>
          </p:nvSpPr>
          <p:spPr>
            <a:xfrm>
              <a:off x="-13384625" y="2282125"/>
              <a:ext cx="63025" cy="60675"/>
            </a:xfrm>
            <a:custGeom>
              <a:avLst/>
              <a:gdLst/>
              <a:ahLst/>
              <a:cxnLst/>
              <a:rect l="l" t="t" r="r" b="b"/>
              <a:pathLst>
                <a:path w="2521" h="2427" extrusionOk="0">
                  <a:moveTo>
                    <a:pt x="1260" y="788"/>
                  </a:moveTo>
                  <a:cubicBezTo>
                    <a:pt x="1449" y="788"/>
                    <a:pt x="1670" y="977"/>
                    <a:pt x="1670" y="1229"/>
                  </a:cubicBezTo>
                  <a:cubicBezTo>
                    <a:pt x="1670" y="1450"/>
                    <a:pt x="1481" y="1639"/>
                    <a:pt x="1260" y="1639"/>
                  </a:cubicBezTo>
                  <a:cubicBezTo>
                    <a:pt x="1008" y="1639"/>
                    <a:pt x="851" y="1450"/>
                    <a:pt x="851" y="1229"/>
                  </a:cubicBezTo>
                  <a:cubicBezTo>
                    <a:pt x="851" y="977"/>
                    <a:pt x="1040" y="788"/>
                    <a:pt x="1260" y="788"/>
                  </a:cubicBezTo>
                  <a:close/>
                  <a:moveTo>
                    <a:pt x="1260" y="1"/>
                  </a:moveTo>
                  <a:cubicBezTo>
                    <a:pt x="536" y="1"/>
                    <a:pt x="0" y="568"/>
                    <a:pt x="0" y="1229"/>
                  </a:cubicBezTo>
                  <a:cubicBezTo>
                    <a:pt x="0" y="1891"/>
                    <a:pt x="536" y="2427"/>
                    <a:pt x="1260" y="2427"/>
                  </a:cubicBezTo>
                  <a:cubicBezTo>
                    <a:pt x="1954" y="2427"/>
                    <a:pt x="2521" y="1923"/>
                    <a:pt x="2521" y="1229"/>
                  </a:cubicBezTo>
                  <a:cubicBezTo>
                    <a:pt x="2521" y="568"/>
                    <a:pt x="1954"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2" name="Google Shape;10542;p79"/>
          <p:cNvGrpSpPr/>
          <p:nvPr/>
        </p:nvGrpSpPr>
        <p:grpSpPr>
          <a:xfrm>
            <a:off x="5304627" y="2348694"/>
            <a:ext cx="340807" cy="340807"/>
            <a:chOff x="-13528775" y="2507400"/>
            <a:chExt cx="352875" cy="352875"/>
          </a:xfrm>
        </p:grpSpPr>
        <p:sp>
          <p:nvSpPr>
            <p:cNvPr id="10543" name="Google Shape;10543;p79"/>
            <p:cNvSpPr/>
            <p:nvPr/>
          </p:nvSpPr>
          <p:spPr>
            <a:xfrm>
              <a:off x="-13528775" y="2507400"/>
              <a:ext cx="352875" cy="352875"/>
            </a:xfrm>
            <a:custGeom>
              <a:avLst/>
              <a:gdLst/>
              <a:ahLst/>
              <a:cxnLst/>
              <a:rect l="l" t="t" r="r" b="b"/>
              <a:pathLst>
                <a:path w="14115" h="14115" extrusionOk="0">
                  <a:moveTo>
                    <a:pt x="6018" y="851"/>
                  </a:moveTo>
                  <a:lnTo>
                    <a:pt x="7121" y="2489"/>
                  </a:lnTo>
                  <a:lnTo>
                    <a:pt x="5640" y="2489"/>
                  </a:lnTo>
                  <a:lnTo>
                    <a:pt x="4538" y="851"/>
                  </a:lnTo>
                  <a:close/>
                  <a:moveTo>
                    <a:pt x="8507" y="851"/>
                  </a:moveTo>
                  <a:lnTo>
                    <a:pt x="9610" y="2489"/>
                  </a:lnTo>
                  <a:lnTo>
                    <a:pt x="8129" y="2489"/>
                  </a:lnTo>
                  <a:lnTo>
                    <a:pt x="7026" y="851"/>
                  </a:lnTo>
                  <a:close/>
                  <a:moveTo>
                    <a:pt x="10996" y="851"/>
                  </a:moveTo>
                  <a:lnTo>
                    <a:pt x="12099" y="2489"/>
                  </a:lnTo>
                  <a:lnTo>
                    <a:pt x="10586" y="2489"/>
                  </a:lnTo>
                  <a:lnTo>
                    <a:pt x="9484" y="851"/>
                  </a:lnTo>
                  <a:close/>
                  <a:moveTo>
                    <a:pt x="12855" y="851"/>
                  </a:moveTo>
                  <a:cubicBezTo>
                    <a:pt x="13075" y="851"/>
                    <a:pt x="13264" y="1040"/>
                    <a:pt x="13264" y="1260"/>
                  </a:cubicBezTo>
                  <a:lnTo>
                    <a:pt x="13264" y="2489"/>
                  </a:lnTo>
                  <a:lnTo>
                    <a:pt x="13075" y="2489"/>
                  </a:lnTo>
                  <a:lnTo>
                    <a:pt x="11973" y="851"/>
                  </a:lnTo>
                  <a:close/>
                  <a:moveTo>
                    <a:pt x="7121" y="3308"/>
                  </a:moveTo>
                  <a:lnTo>
                    <a:pt x="6018" y="4978"/>
                  </a:lnTo>
                  <a:lnTo>
                    <a:pt x="4538" y="4978"/>
                  </a:lnTo>
                  <a:lnTo>
                    <a:pt x="5640" y="3308"/>
                  </a:lnTo>
                  <a:close/>
                  <a:moveTo>
                    <a:pt x="9610" y="3308"/>
                  </a:moveTo>
                  <a:lnTo>
                    <a:pt x="8507" y="4978"/>
                  </a:lnTo>
                  <a:lnTo>
                    <a:pt x="7026" y="4978"/>
                  </a:lnTo>
                  <a:lnTo>
                    <a:pt x="8129" y="3308"/>
                  </a:lnTo>
                  <a:close/>
                  <a:moveTo>
                    <a:pt x="12099" y="3308"/>
                  </a:moveTo>
                  <a:lnTo>
                    <a:pt x="10996" y="4978"/>
                  </a:lnTo>
                  <a:lnTo>
                    <a:pt x="9484" y="4978"/>
                  </a:lnTo>
                  <a:lnTo>
                    <a:pt x="10586" y="3308"/>
                  </a:lnTo>
                  <a:close/>
                  <a:moveTo>
                    <a:pt x="13264" y="3308"/>
                  </a:moveTo>
                  <a:lnTo>
                    <a:pt x="13264" y="4978"/>
                  </a:lnTo>
                  <a:lnTo>
                    <a:pt x="11973" y="4978"/>
                  </a:lnTo>
                  <a:lnTo>
                    <a:pt x="13075" y="3308"/>
                  </a:lnTo>
                  <a:close/>
                  <a:moveTo>
                    <a:pt x="3561" y="851"/>
                  </a:moveTo>
                  <a:lnTo>
                    <a:pt x="4916" y="2930"/>
                  </a:lnTo>
                  <a:lnTo>
                    <a:pt x="3561" y="5009"/>
                  </a:lnTo>
                  <a:lnTo>
                    <a:pt x="820" y="5009"/>
                  </a:lnTo>
                  <a:lnTo>
                    <a:pt x="820" y="1323"/>
                  </a:lnTo>
                  <a:cubicBezTo>
                    <a:pt x="788" y="1040"/>
                    <a:pt x="977" y="851"/>
                    <a:pt x="1230" y="851"/>
                  </a:cubicBezTo>
                  <a:close/>
                  <a:moveTo>
                    <a:pt x="13264" y="5797"/>
                  </a:moveTo>
                  <a:lnTo>
                    <a:pt x="13264" y="12886"/>
                  </a:lnTo>
                  <a:cubicBezTo>
                    <a:pt x="13264" y="13138"/>
                    <a:pt x="13075" y="13327"/>
                    <a:pt x="12855" y="13327"/>
                  </a:cubicBezTo>
                  <a:lnTo>
                    <a:pt x="1230" y="13327"/>
                  </a:lnTo>
                  <a:cubicBezTo>
                    <a:pt x="1009" y="13327"/>
                    <a:pt x="851" y="13138"/>
                    <a:pt x="851" y="12886"/>
                  </a:cubicBezTo>
                  <a:lnTo>
                    <a:pt x="851" y="5797"/>
                  </a:lnTo>
                  <a:close/>
                  <a:moveTo>
                    <a:pt x="1230" y="0"/>
                  </a:moveTo>
                  <a:cubicBezTo>
                    <a:pt x="568" y="0"/>
                    <a:pt x="1" y="567"/>
                    <a:pt x="1" y="1260"/>
                  </a:cubicBezTo>
                  <a:lnTo>
                    <a:pt x="1" y="12886"/>
                  </a:lnTo>
                  <a:cubicBezTo>
                    <a:pt x="1" y="13547"/>
                    <a:pt x="568" y="14114"/>
                    <a:pt x="1230" y="14114"/>
                  </a:cubicBezTo>
                  <a:lnTo>
                    <a:pt x="12855" y="14114"/>
                  </a:lnTo>
                  <a:cubicBezTo>
                    <a:pt x="13516" y="14114"/>
                    <a:pt x="14115" y="13547"/>
                    <a:pt x="14115" y="12886"/>
                  </a:cubicBezTo>
                  <a:lnTo>
                    <a:pt x="14115" y="1260"/>
                  </a:lnTo>
                  <a:cubicBezTo>
                    <a:pt x="14115" y="599"/>
                    <a:pt x="13548" y="0"/>
                    <a:pt x="12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4" name="Google Shape;10544;p79"/>
            <p:cNvSpPr/>
            <p:nvPr/>
          </p:nvSpPr>
          <p:spPr>
            <a:xfrm>
              <a:off x="-13403525" y="2673750"/>
              <a:ext cx="123675" cy="145750"/>
            </a:xfrm>
            <a:custGeom>
              <a:avLst/>
              <a:gdLst/>
              <a:ahLst/>
              <a:cxnLst/>
              <a:rect l="l" t="t" r="r" b="b"/>
              <a:pathLst>
                <a:path w="4947" h="5830" extrusionOk="0">
                  <a:moveTo>
                    <a:pt x="819" y="1159"/>
                  </a:moveTo>
                  <a:lnTo>
                    <a:pt x="3749" y="2924"/>
                  </a:lnTo>
                  <a:lnTo>
                    <a:pt x="819" y="4688"/>
                  </a:lnTo>
                  <a:lnTo>
                    <a:pt x="819" y="1159"/>
                  </a:lnTo>
                  <a:close/>
                  <a:moveTo>
                    <a:pt x="415" y="0"/>
                  </a:moveTo>
                  <a:cubicBezTo>
                    <a:pt x="197" y="0"/>
                    <a:pt x="0" y="166"/>
                    <a:pt x="0" y="403"/>
                  </a:cubicBezTo>
                  <a:lnTo>
                    <a:pt x="0" y="5412"/>
                  </a:lnTo>
                  <a:cubicBezTo>
                    <a:pt x="0" y="5570"/>
                    <a:pt x="63" y="5696"/>
                    <a:pt x="189" y="5759"/>
                  </a:cubicBezTo>
                  <a:cubicBezTo>
                    <a:pt x="252" y="5806"/>
                    <a:pt x="323" y="5830"/>
                    <a:pt x="398" y="5830"/>
                  </a:cubicBezTo>
                  <a:cubicBezTo>
                    <a:pt x="473" y="5830"/>
                    <a:pt x="551" y="5806"/>
                    <a:pt x="630" y="5759"/>
                  </a:cubicBezTo>
                  <a:lnTo>
                    <a:pt x="4757" y="3239"/>
                  </a:lnTo>
                  <a:cubicBezTo>
                    <a:pt x="4883" y="3176"/>
                    <a:pt x="4946" y="3050"/>
                    <a:pt x="4946" y="2892"/>
                  </a:cubicBezTo>
                  <a:cubicBezTo>
                    <a:pt x="4946" y="2735"/>
                    <a:pt x="4883" y="2640"/>
                    <a:pt x="4757" y="2577"/>
                  </a:cubicBezTo>
                  <a:lnTo>
                    <a:pt x="630" y="57"/>
                  </a:lnTo>
                  <a:cubicBezTo>
                    <a:pt x="560" y="18"/>
                    <a:pt x="487" y="0"/>
                    <a:pt x="4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79"/>
            <p:cNvSpPr/>
            <p:nvPr/>
          </p:nvSpPr>
          <p:spPr>
            <a:xfrm>
              <a:off x="-13486225" y="2559375"/>
              <a:ext cx="40975" cy="41775"/>
            </a:xfrm>
            <a:custGeom>
              <a:avLst/>
              <a:gdLst/>
              <a:ahLst/>
              <a:cxnLst/>
              <a:rect l="l" t="t" r="r" b="b"/>
              <a:pathLst>
                <a:path w="1639" h="1671" extrusionOk="0">
                  <a:moveTo>
                    <a:pt x="819" y="0"/>
                  </a:moveTo>
                  <a:cubicBezTo>
                    <a:pt x="378" y="0"/>
                    <a:pt x="0" y="378"/>
                    <a:pt x="0" y="851"/>
                  </a:cubicBezTo>
                  <a:cubicBezTo>
                    <a:pt x="0" y="1292"/>
                    <a:pt x="378" y="1670"/>
                    <a:pt x="819" y="1670"/>
                  </a:cubicBezTo>
                  <a:cubicBezTo>
                    <a:pt x="1292" y="1670"/>
                    <a:pt x="1638" y="1292"/>
                    <a:pt x="1638" y="851"/>
                  </a:cubicBezTo>
                  <a:cubicBezTo>
                    <a:pt x="1638" y="378"/>
                    <a:pt x="1292" y="0"/>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46" name="Google Shape;10546;p79"/>
          <p:cNvSpPr/>
          <p:nvPr/>
        </p:nvSpPr>
        <p:spPr>
          <a:xfrm>
            <a:off x="7123388" y="1563105"/>
            <a:ext cx="341579" cy="279189"/>
          </a:xfrm>
          <a:custGeom>
            <a:avLst/>
            <a:gdLst/>
            <a:ahLst/>
            <a:cxnLst/>
            <a:rect l="l" t="t" r="r" b="b"/>
            <a:pathLst>
              <a:path w="14147" h="11563" extrusionOk="0">
                <a:moveTo>
                  <a:pt x="6680" y="819"/>
                </a:moveTo>
                <a:lnTo>
                  <a:pt x="6680" y="5009"/>
                </a:lnTo>
                <a:lnTo>
                  <a:pt x="6648" y="5009"/>
                </a:lnTo>
                <a:cubicBezTo>
                  <a:pt x="6302" y="5041"/>
                  <a:pt x="5924" y="5167"/>
                  <a:pt x="5609" y="5356"/>
                </a:cubicBezTo>
                <a:lnTo>
                  <a:pt x="3624" y="1859"/>
                </a:lnTo>
                <a:cubicBezTo>
                  <a:pt x="4506" y="1260"/>
                  <a:pt x="5546" y="882"/>
                  <a:pt x="6680" y="819"/>
                </a:cubicBezTo>
                <a:close/>
                <a:moveTo>
                  <a:pt x="7531" y="819"/>
                </a:moveTo>
                <a:cubicBezTo>
                  <a:pt x="8633" y="914"/>
                  <a:pt x="9673" y="1260"/>
                  <a:pt x="10587" y="1859"/>
                </a:cubicBezTo>
                <a:lnTo>
                  <a:pt x="8539" y="5356"/>
                </a:lnTo>
                <a:cubicBezTo>
                  <a:pt x="8224" y="5167"/>
                  <a:pt x="7877" y="5041"/>
                  <a:pt x="7531" y="5009"/>
                </a:cubicBezTo>
                <a:lnTo>
                  <a:pt x="7531" y="819"/>
                </a:lnTo>
                <a:close/>
                <a:moveTo>
                  <a:pt x="2931" y="2332"/>
                </a:moveTo>
                <a:lnTo>
                  <a:pt x="5010" y="5829"/>
                </a:lnTo>
                <a:cubicBezTo>
                  <a:pt x="4632" y="6175"/>
                  <a:pt x="4412" y="6648"/>
                  <a:pt x="4286" y="7152"/>
                </a:cubicBezTo>
                <a:lnTo>
                  <a:pt x="915" y="5892"/>
                </a:lnTo>
                <a:cubicBezTo>
                  <a:pt x="1135" y="4474"/>
                  <a:pt x="1891" y="3214"/>
                  <a:pt x="2931" y="2332"/>
                </a:cubicBezTo>
                <a:close/>
                <a:moveTo>
                  <a:pt x="11248" y="2300"/>
                </a:moveTo>
                <a:cubicBezTo>
                  <a:pt x="12319" y="3214"/>
                  <a:pt x="13075" y="4474"/>
                  <a:pt x="13296" y="5892"/>
                </a:cubicBezTo>
                <a:lnTo>
                  <a:pt x="9925" y="7152"/>
                </a:lnTo>
                <a:cubicBezTo>
                  <a:pt x="9799" y="6648"/>
                  <a:pt x="9547" y="6207"/>
                  <a:pt x="9200" y="5829"/>
                </a:cubicBezTo>
                <a:lnTo>
                  <a:pt x="11248" y="2300"/>
                </a:lnTo>
                <a:close/>
                <a:moveTo>
                  <a:pt x="7090" y="5797"/>
                </a:moveTo>
                <a:cubicBezTo>
                  <a:pt x="8098" y="5797"/>
                  <a:pt x="8948" y="6522"/>
                  <a:pt x="9137" y="7467"/>
                </a:cubicBezTo>
                <a:lnTo>
                  <a:pt x="7090" y="8223"/>
                </a:lnTo>
                <a:lnTo>
                  <a:pt x="5042" y="7467"/>
                </a:lnTo>
                <a:cubicBezTo>
                  <a:pt x="5199" y="6522"/>
                  <a:pt x="6050" y="5797"/>
                  <a:pt x="7090" y="5797"/>
                </a:cubicBezTo>
                <a:close/>
                <a:moveTo>
                  <a:pt x="7090" y="9294"/>
                </a:moveTo>
                <a:lnTo>
                  <a:pt x="8161" y="10428"/>
                </a:lnTo>
                <a:cubicBezTo>
                  <a:pt x="7830" y="10633"/>
                  <a:pt x="7452" y="10735"/>
                  <a:pt x="7078" y="10735"/>
                </a:cubicBezTo>
                <a:cubicBezTo>
                  <a:pt x="6704" y="10735"/>
                  <a:pt x="6333" y="10633"/>
                  <a:pt x="6018" y="10428"/>
                </a:cubicBezTo>
                <a:lnTo>
                  <a:pt x="7090" y="9294"/>
                </a:lnTo>
                <a:close/>
                <a:moveTo>
                  <a:pt x="7090" y="0"/>
                </a:moveTo>
                <a:cubicBezTo>
                  <a:pt x="3498" y="0"/>
                  <a:pt x="473" y="2678"/>
                  <a:pt x="32" y="6144"/>
                </a:cubicBezTo>
                <a:cubicBezTo>
                  <a:pt x="1" y="6333"/>
                  <a:pt x="95" y="6490"/>
                  <a:pt x="316" y="6585"/>
                </a:cubicBezTo>
                <a:lnTo>
                  <a:pt x="6365" y="8853"/>
                </a:lnTo>
                <a:lnTo>
                  <a:pt x="5168" y="10208"/>
                </a:lnTo>
                <a:cubicBezTo>
                  <a:pt x="5010" y="10365"/>
                  <a:pt x="5010" y="10617"/>
                  <a:pt x="5168" y="10775"/>
                </a:cubicBezTo>
                <a:cubicBezTo>
                  <a:pt x="5672" y="11310"/>
                  <a:pt x="6365" y="11562"/>
                  <a:pt x="7090" y="11562"/>
                </a:cubicBezTo>
                <a:cubicBezTo>
                  <a:pt x="7846" y="11562"/>
                  <a:pt x="8507" y="11310"/>
                  <a:pt x="9011" y="10775"/>
                </a:cubicBezTo>
                <a:cubicBezTo>
                  <a:pt x="9169" y="10617"/>
                  <a:pt x="9169" y="10397"/>
                  <a:pt x="9011" y="10208"/>
                </a:cubicBezTo>
                <a:lnTo>
                  <a:pt x="7783" y="8853"/>
                </a:lnTo>
                <a:lnTo>
                  <a:pt x="13863" y="6585"/>
                </a:lnTo>
                <a:cubicBezTo>
                  <a:pt x="14052" y="6490"/>
                  <a:pt x="14147" y="6333"/>
                  <a:pt x="14147" y="6144"/>
                </a:cubicBezTo>
                <a:cubicBezTo>
                  <a:pt x="13706" y="2678"/>
                  <a:pt x="10650" y="0"/>
                  <a:pt x="70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79"/>
          <p:cNvSpPr/>
          <p:nvPr/>
        </p:nvSpPr>
        <p:spPr>
          <a:xfrm>
            <a:off x="7123014" y="1940202"/>
            <a:ext cx="342328" cy="340638"/>
          </a:xfrm>
          <a:custGeom>
            <a:avLst/>
            <a:gdLst/>
            <a:ahLst/>
            <a:cxnLst/>
            <a:rect l="l" t="t" r="r" b="b"/>
            <a:pathLst>
              <a:path w="14178" h="14108" extrusionOk="0">
                <a:moveTo>
                  <a:pt x="8727" y="5034"/>
                </a:moveTo>
                <a:cubicBezTo>
                  <a:pt x="8948" y="5065"/>
                  <a:pt x="9137" y="5254"/>
                  <a:pt x="9137" y="5443"/>
                </a:cubicBezTo>
                <a:cubicBezTo>
                  <a:pt x="9137" y="5695"/>
                  <a:pt x="8948" y="5885"/>
                  <a:pt x="8727" y="5885"/>
                </a:cubicBezTo>
                <a:cubicBezTo>
                  <a:pt x="8507" y="5885"/>
                  <a:pt x="8318" y="5695"/>
                  <a:pt x="8318" y="5443"/>
                </a:cubicBezTo>
                <a:cubicBezTo>
                  <a:pt x="8318" y="5223"/>
                  <a:pt x="8507" y="5034"/>
                  <a:pt x="8727" y="5034"/>
                </a:cubicBezTo>
                <a:close/>
                <a:moveTo>
                  <a:pt x="5388" y="5065"/>
                </a:moveTo>
                <a:cubicBezTo>
                  <a:pt x="5640" y="5065"/>
                  <a:pt x="5829" y="5254"/>
                  <a:pt x="5829" y="5506"/>
                </a:cubicBezTo>
                <a:cubicBezTo>
                  <a:pt x="5829" y="5727"/>
                  <a:pt x="5640" y="5916"/>
                  <a:pt x="5388" y="5916"/>
                </a:cubicBezTo>
                <a:cubicBezTo>
                  <a:pt x="5167" y="5916"/>
                  <a:pt x="5010" y="5727"/>
                  <a:pt x="5010" y="5506"/>
                </a:cubicBezTo>
                <a:cubicBezTo>
                  <a:pt x="4978" y="5254"/>
                  <a:pt x="5167" y="5065"/>
                  <a:pt x="5388" y="5065"/>
                </a:cubicBezTo>
                <a:close/>
                <a:moveTo>
                  <a:pt x="7089" y="3459"/>
                </a:moveTo>
                <a:cubicBezTo>
                  <a:pt x="8160" y="3459"/>
                  <a:pt x="9137" y="3522"/>
                  <a:pt x="10050" y="3711"/>
                </a:cubicBezTo>
                <a:lnTo>
                  <a:pt x="9357" y="4435"/>
                </a:lnTo>
                <a:cubicBezTo>
                  <a:pt x="9168" y="4341"/>
                  <a:pt x="8979" y="4278"/>
                  <a:pt x="8790" y="4278"/>
                </a:cubicBezTo>
                <a:cubicBezTo>
                  <a:pt x="8097" y="4278"/>
                  <a:pt x="7530" y="4813"/>
                  <a:pt x="7530" y="5506"/>
                </a:cubicBezTo>
                <a:cubicBezTo>
                  <a:pt x="7530" y="6168"/>
                  <a:pt x="8066" y="6704"/>
                  <a:pt x="8790" y="6704"/>
                </a:cubicBezTo>
                <a:cubicBezTo>
                  <a:pt x="9452" y="6704"/>
                  <a:pt x="9987" y="6168"/>
                  <a:pt x="9987" y="5506"/>
                </a:cubicBezTo>
                <a:cubicBezTo>
                  <a:pt x="9987" y="5317"/>
                  <a:pt x="9956" y="5160"/>
                  <a:pt x="9924" y="5034"/>
                </a:cubicBezTo>
                <a:lnTo>
                  <a:pt x="10996" y="3931"/>
                </a:lnTo>
                <a:cubicBezTo>
                  <a:pt x="11216" y="3994"/>
                  <a:pt x="11405" y="4026"/>
                  <a:pt x="11626" y="4120"/>
                </a:cubicBezTo>
                <a:cubicBezTo>
                  <a:pt x="12665" y="4498"/>
                  <a:pt x="13295" y="5034"/>
                  <a:pt x="13295" y="5506"/>
                </a:cubicBezTo>
                <a:cubicBezTo>
                  <a:pt x="13295" y="6452"/>
                  <a:pt x="10775" y="7586"/>
                  <a:pt x="7089" y="7586"/>
                </a:cubicBezTo>
                <a:cubicBezTo>
                  <a:pt x="3497" y="7586"/>
                  <a:pt x="851" y="6483"/>
                  <a:pt x="851" y="5506"/>
                </a:cubicBezTo>
                <a:cubicBezTo>
                  <a:pt x="820" y="5034"/>
                  <a:pt x="1450" y="4498"/>
                  <a:pt x="2521" y="4120"/>
                </a:cubicBezTo>
                <a:cubicBezTo>
                  <a:pt x="2710" y="4026"/>
                  <a:pt x="2962" y="3963"/>
                  <a:pt x="3182" y="3931"/>
                </a:cubicBezTo>
                <a:lnTo>
                  <a:pt x="4285" y="5034"/>
                </a:lnTo>
                <a:cubicBezTo>
                  <a:pt x="4254" y="5191"/>
                  <a:pt x="4222" y="5349"/>
                  <a:pt x="4222" y="5506"/>
                </a:cubicBezTo>
                <a:cubicBezTo>
                  <a:pt x="4222" y="6168"/>
                  <a:pt x="4758" y="6704"/>
                  <a:pt x="5419" y="6704"/>
                </a:cubicBezTo>
                <a:cubicBezTo>
                  <a:pt x="6112" y="6704"/>
                  <a:pt x="6679" y="6168"/>
                  <a:pt x="6679" y="5506"/>
                </a:cubicBezTo>
                <a:cubicBezTo>
                  <a:pt x="6679" y="4813"/>
                  <a:pt x="6144" y="4278"/>
                  <a:pt x="5419" y="4278"/>
                </a:cubicBezTo>
                <a:cubicBezTo>
                  <a:pt x="5199" y="4278"/>
                  <a:pt x="5010" y="4309"/>
                  <a:pt x="4852" y="4435"/>
                </a:cubicBezTo>
                <a:lnTo>
                  <a:pt x="4128" y="3711"/>
                </a:lnTo>
                <a:cubicBezTo>
                  <a:pt x="5041" y="3553"/>
                  <a:pt x="6018" y="3459"/>
                  <a:pt x="7089" y="3459"/>
                </a:cubicBezTo>
                <a:close/>
                <a:moveTo>
                  <a:pt x="820" y="6861"/>
                </a:moveTo>
                <a:cubicBezTo>
                  <a:pt x="1135" y="7113"/>
                  <a:pt x="1576" y="7334"/>
                  <a:pt x="2048" y="7523"/>
                </a:cubicBezTo>
                <a:lnTo>
                  <a:pt x="820" y="9193"/>
                </a:lnTo>
                <a:lnTo>
                  <a:pt x="820" y="6861"/>
                </a:lnTo>
                <a:close/>
                <a:moveTo>
                  <a:pt x="13264" y="6861"/>
                </a:moveTo>
                <a:lnTo>
                  <a:pt x="13264" y="9193"/>
                </a:lnTo>
                <a:lnTo>
                  <a:pt x="12067" y="7554"/>
                </a:lnTo>
                <a:cubicBezTo>
                  <a:pt x="12571" y="7334"/>
                  <a:pt x="12949" y="7113"/>
                  <a:pt x="13264" y="6861"/>
                </a:cubicBezTo>
                <a:close/>
                <a:moveTo>
                  <a:pt x="3655" y="8027"/>
                </a:moveTo>
                <a:lnTo>
                  <a:pt x="3655" y="8027"/>
                </a:lnTo>
                <a:cubicBezTo>
                  <a:pt x="4474" y="8216"/>
                  <a:pt x="5388" y="8279"/>
                  <a:pt x="6333" y="8342"/>
                </a:cubicBezTo>
                <a:lnTo>
                  <a:pt x="4695" y="11083"/>
                </a:lnTo>
                <a:lnTo>
                  <a:pt x="3655" y="8027"/>
                </a:lnTo>
                <a:close/>
                <a:moveTo>
                  <a:pt x="10492" y="8058"/>
                </a:moveTo>
                <a:lnTo>
                  <a:pt x="9452" y="11114"/>
                </a:lnTo>
                <a:lnTo>
                  <a:pt x="7751" y="8373"/>
                </a:lnTo>
                <a:cubicBezTo>
                  <a:pt x="8696" y="8342"/>
                  <a:pt x="9641" y="8216"/>
                  <a:pt x="10492" y="8058"/>
                </a:cubicBezTo>
                <a:close/>
                <a:moveTo>
                  <a:pt x="2741" y="7964"/>
                </a:moveTo>
                <a:lnTo>
                  <a:pt x="3844" y="11272"/>
                </a:lnTo>
                <a:cubicBezTo>
                  <a:pt x="2836" y="11020"/>
                  <a:pt x="1891" y="10610"/>
                  <a:pt x="1135" y="10138"/>
                </a:cubicBezTo>
                <a:lnTo>
                  <a:pt x="2741" y="7964"/>
                </a:lnTo>
                <a:close/>
                <a:moveTo>
                  <a:pt x="11342" y="8027"/>
                </a:moveTo>
                <a:lnTo>
                  <a:pt x="12917" y="10138"/>
                </a:lnTo>
                <a:cubicBezTo>
                  <a:pt x="12161" y="10610"/>
                  <a:pt x="11248" y="11020"/>
                  <a:pt x="10240" y="11272"/>
                </a:cubicBezTo>
                <a:lnTo>
                  <a:pt x="11342" y="8027"/>
                </a:lnTo>
                <a:close/>
                <a:moveTo>
                  <a:pt x="7058" y="8751"/>
                </a:moveTo>
                <a:lnTo>
                  <a:pt x="8727" y="11555"/>
                </a:lnTo>
                <a:cubicBezTo>
                  <a:pt x="8192" y="11618"/>
                  <a:pt x="7593" y="11681"/>
                  <a:pt x="7058" y="11681"/>
                </a:cubicBezTo>
                <a:cubicBezTo>
                  <a:pt x="6459" y="11681"/>
                  <a:pt x="5892" y="11650"/>
                  <a:pt x="5356" y="11555"/>
                </a:cubicBezTo>
                <a:lnTo>
                  <a:pt x="7058" y="8751"/>
                </a:lnTo>
                <a:close/>
                <a:moveTo>
                  <a:pt x="13264" y="10894"/>
                </a:moveTo>
                <a:lnTo>
                  <a:pt x="13264" y="11240"/>
                </a:lnTo>
                <a:cubicBezTo>
                  <a:pt x="13264" y="12185"/>
                  <a:pt x="10744" y="13320"/>
                  <a:pt x="7058" y="13320"/>
                </a:cubicBezTo>
                <a:cubicBezTo>
                  <a:pt x="3340" y="13320"/>
                  <a:pt x="820" y="12185"/>
                  <a:pt x="820" y="11240"/>
                </a:cubicBezTo>
                <a:lnTo>
                  <a:pt x="820" y="10894"/>
                </a:lnTo>
                <a:cubicBezTo>
                  <a:pt x="2615" y="11996"/>
                  <a:pt x="4915" y="12501"/>
                  <a:pt x="7058" y="12501"/>
                </a:cubicBezTo>
                <a:cubicBezTo>
                  <a:pt x="9168" y="12501"/>
                  <a:pt x="11500" y="12028"/>
                  <a:pt x="13264" y="10894"/>
                </a:cubicBezTo>
                <a:close/>
                <a:moveTo>
                  <a:pt x="457" y="1"/>
                </a:moveTo>
                <a:cubicBezTo>
                  <a:pt x="347" y="1"/>
                  <a:pt x="237" y="40"/>
                  <a:pt x="158" y="119"/>
                </a:cubicBezTo>
                <a:cubicBezTo>
                  <a:pt x="0" y="277"/>
                  <a:pt x="0" y="560"/>
                  <a:pt x="158" y="718"/>
                </a:cubicBezTo>
                <a:lnTo>
                  <a:pt x="2552" y="3207"/>
                </a:lnTo>
                <a:cubicBezTo>
                  <a:pt x="2426" y="3238"/>
                  <a:pt x="2363" y="3270"/>
                  <a:pt x="2237" y="3333"/>
                </a:cubicBezTo>
                <a:cubicBezTo>
                  <a:pt x="820" y="3868"/>
                  <a:pt x="32" y="4624"/>
                  <a:pt x="32" y="5443"/>
                </a:cubicBezTo>
                <a:lnTo>
                  <a:pt x="32" y="11240"/>
                </a:lnTo>
                <a:cubicBezTo>
                  <a:pt x="32" y="12091"/>
                  <a:pt x="820" y="12847"/>
                  <a:pt x="2237" y="13383"/>
                </a:cubicBezTo>
                <a:cubicBezTo>
                  <a:pt x="3529" y="13824"/>
                  <a:pt x="5262" y="14107"/>
                  <a:pt x="7089" y="14107"/>
                </a:cubicBezTo>
                <a:cubicBezTo>
                  <a:pt x="10744" y="14107"/>
                  <a:pt x="14146" y="13005"/>
                  <a:pt x="14146" y="11240"/>
                </a:cubicBezTo>
                <a:lnTo>
                  <a:pt x="14146" y="5443"/>
                </a:lnTo>
                <a:cubicBezTo>
                  <a:pt x="14083" y="4624"/>
                  <a:pt x="13295" y="3868"/>
                  <a:pt x="11878" y="3333"/>
                </a:cubicBezTo>
                <a:cubicBezTo>
                  <a:pt x="11815" y="3301"/>
                  <a:pt x="11689" y="3238"/>
                  <a:pt x="11626" y="3207"/>
                </a:cubicBezTo>
                <a:lnTo>
                  <a:pt x="14020" y="718"/>
                </a:lnTo>
                <a:cubicBezTo>
                  <a:pt x="14178" y="560"/>
                  <a:pt x="14178" y="277"/>
                  <a:pt x="14020" y="119"/>
                </a:cubicBezTo>
                <a:cubicBezTo>
                  <a:pt x="13941" y="40"/>
                  <a:pt x="13831" y="1"/>
                  <a:pt x="13721" y="1"/>
                </a:cubicBezTo>
                <a:cubicBezTo>
                  <a:pt x="13611" y="1"/>
                  <a:pt x="13500" y="40"/>
                  <a:pt x="13422" y="119"/>
                </a:cubicBezTo>
                <a:lnTo>
                  <a:pt x="10712" y="2923"/>
                </a:lnTo>
                <a:cubicBezTo>
                  <a:pt x="9609" y="2640"/>
                  <a:pt x="8381" y="2545"/>
                  <a:pt x="7089" y="2545"/>
                </a:cubicBezTo>
                <a:cubicBezTo>
                  <a:pt x="5797" y="2545"/>
                  <a:pt x="4537" y="2640"/>
                  <a:pt x="3466" y="2923"/>
                </a:cubicBezTo>
                <a:lnTo>
                  <a:pt x="757" y="119"/>
                </a:lnTo>
                <a:cubicBezTo>
                  <a:pt x="678" y="40"/>
                  <a:pt x="567"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48" name="Google Shape;10548;p79"/>
          <p:cNvGrpSpPr/>
          <p:nvPr/>
        </p:nvGrpSpPr>
        <p:grpSpPr>
          <a:xfrm>
            <a:off x="7140133" y="2348308"/>
            <a:ext cx="308090" cy="341579"/>
            <a:chOff x="-11747150" y="2530225"/>
            <a:chExt cx="319000" cy="353675"/>
          </a:xfrm>
        </p:grpSpPr>
        <p:sp>
          <p:nvSpPr>
            <p:cNvPr id="10549" name="Google Shape;10549;p79"/>
            <p:cNvSpPr/>
            <p:nvPr/>
          </p:nvSpPr>
          <p:spPr>
            <a:xfrm>
              <a:off x="-11747150" y="2530225"/>
              <a:ext cx="319000" cy="353675"/>
            </a:xfrm>
            <a:custGeom>
              <a:avLst/>
              <a:gdLst/>
              <a:ahLst/>
              <a:cxnLst/>
              <a:rect l="l" t="t" r="r" b="b"/>
              <a:pathLst>
                <a:path w="12760" h="14147" extrusionOk="0">
                  <a:moveTo>
                    <a:pt x="7183" y="883"/>
                  </a:moveTo>
                  <a:cubicBezTo>
                    <a:pt x="7845" y="883"/>
                    <a:pt x="8443" y="1450"/>
                    <a:pt x="8412" y="2206"/>
                  </a:cubicBezTo>
                  <a:cubicBezTo>
                    <a:pt x="8412" y="2444"/>
                    <a:pt x="8612" y="2638"/>
                    <a:pt x="8825" y="2638"/>
                  </a:cubicBezTo>
                  <a:cubicBezTo>
                    <a:pt x="8866" y="2638"/>
                    <a:pt x="8907" y="2631"/>
                    <a:pt x="8947" y="2616"/>
                  </a:cubicBezTo>
                  <a:cubicBezTo>
                    <a:pt x="9048" y="2581"/>
                    <a:pt x="9148" y="2564"/>
                    <a:pt x="9243" y="2564"/>
                  </a:cubicBezTo>
                  <a:cubicBezTo>
                    <a:pt x="9829" y="2564"/>
                    <a:pt x="10258" y="3180"/>
                    <a:pt x="9987" y="3750"/>
                  </a:cubicBezTo>
                  <a:cubicBezTo>
                    <a:pt x="9893" y="3907"/>
                    <a:pt x="9956" y="4096"/>
                    <a:pt x="10050" y="4222"/>
                  </a:cubicBezTo>
                  <a:cubicBezTo>
                    <a:pt x="10126" y="4299"/>
                    <a:pt x="10226" y="4340"/>
                    <a:pt x="10327" y="4340"/>
                  </a:cubicBezTo>
                  <a:cubicBezTo>
                    <a:pt x="10394" y="4340"/>
                    <a:pt x="10461" y="4323"/>
                    <a:pt x="10523" y="4285"/>
                  </a:cubicBezTo>
                  <a:cubicBezTo>
                    <a:pt x="10637" y="4237"/>
                    <a:pt x="10751" y="4216"/>
                    <a:pt x="10861" y="4216"/>
                  </a:cubicBezTo>
                  <a:cubicBezTo>
                    <a:pt x="11328" y="4216"/>
                    <a:pt x="11720" y="4608"/>
                    <a:pt x="11720" y="5042"/>
                  </a:cubicBezTo>
                  <a:lnTo>
                    <a:pt x="977" y="5042"/>
                  </a:lnTo>
                  <a:cubicBezTo>
                    <a:pt x="928" y="4575"/>
                    <a:pt x="1300" y="4185"/>
                    <a:pt x="1750" y="4185"/>
                  </a:cubicBezTo>
                  <a:cubicBezTo>
                    <a:pt x="1877" y="4185"/>
                    <a:pt x="2010" y="4216"/>
                    <a:pt x="2142" y="4285"/>
                  </a:cubicBezTo>
                  <a:cubicBezTo>
                    <a:pt x="2204" y="4323"/>
                    <a:pt x="2272" y="4340"/>
                    <a:pt x="2338" y="4340"/>
                  </a:cubicBezTo>
                  <a:cubicBezTo>
                    <a:pt x="2439" y="4340"/>
                    <a:pt x="2539" y="4299"/>
                    <a:pt x="2615" y="4222"/>
                  </a:cubicBezTo>
                  <a:cubicBezTo>
                    <a:pt x="2741" y="4096"/>
                    <a:pt x="2772" y="3907"/>
                    <a:pt x="2709" y="3750"/>
                  </a:cubicBezTo>
                  <a:cubicBezTo>
                    <a:pt x="2438" y="3180"/>
                    <a:pt x="2867" y="2564"/>
                    <a:pt x="3434" y="2564"/>
                  </a:cubicBezTo>
                  <a:cubicBezTo>
                    <a:pt x="3526" y="2564"/>
                    <a:pt x="3621" y="2581"/>
                    <a:pt x="3718" y="2616"/>
                  </a:cubicBezTo>
                  <a:cubicBezTo>
                    <a:pt x="3764" y="2627"/>
                    <a:pt x="3814" y="2634"/>
                    <a:pt x="3866" y="2634"/>
                  </a:cubicBezTo>
                  <a:cubicBezTo>
                    <a:pt x="3955" y="2634"/>
                    <a:pt x="4047" y="2613"/>
                    <a:pt x="4127" y="2553"/>
                  </a:cubicBezTo>
                  <a:cubicBezTo>
                    <a:pt x="4222" y="2490"/>
                    <a:pt x="4285" y="2364"/>
                    <a:pt x="4285" y="2206"/>
                  </a:cubicBezTo>
                  <a:cubicBezTo>
                    <a:pt x="4253" y="1450"/>
                    <a:pt x="4820" y="883"/>
                    <a:pt x="5482" y="883"/>
                  </a:cubicBezTo>
                  <a:cubicBezTo>
                    <a:pt x="5702" y="883"/>
                    <a:pt x="5923" y="914"/>
                    <a:pt x="6112" y="1040"/>
                  </a:cubicBezTo>
                  <a:cubicBezTo>
                    <a:pt x="6175" y="1072"/>
                    <a:pt x="6246" y="1088"/>
                    <a:pt x="6321" y="1088"/>
                  </a:cubicBezTo>
                  <a:cubicBezTo>
                    <a:pt x="6396" y="1088"/>
                    <a:pt x="6474" y="1072"/>
                    <a:pt x="6553" y="1040"/>
                  </a:cubicBezTo>
                  <a:cubicBezTo>
                    <a:pt x="6742" y="914"/>
                    <a:pt x="6963" y="883"/>
                    <a:pt x="7183" y="883"/>
                  </a:cubicBezTo>
                  <a:close/>
                  <a:moveTo>
                    <a:pt x="5891" y="5861"/>
                  </a:moveTo>
                  <a:lnTo>
                    <a:pt x="5891" y="7530"/>
                  </a:lnTo>
                  <a:cubicBezTo>
                    <a:pt x="5230" y="7562"/>
                    <a:pt x="4600" y="7688"/>
                    <a:pt x="4064" y="7908"/>
                  </a:cubicBezTo>
                  <a:lnTo>
                    <a:pt x="3875" y="5861"/>
                  </a:lnTo>
                  <a:close/>
                  <a:moveTo>
                    <a:pt x="8758" y="5861"/>
                  </a:moveTo>
                  <a:lnTo>
                    <a:pt x="8569" y="7908"/>
                  </a:lnTo>
                  <a:cubicBezTo>
                    <a:pt x="8065" y="7719"/>
                    <a:pt x="7435" y="7562"/>
                    <a:pt x="6774" y="7530"/>
                  </a:cubicBezTo>
                  <a:lnTo>
                    <a:pt x="6774" y="5861"/>
                  </a:lnTo>
                  <a:close/>
                  <a:moveTo>
                    <a:pt x="6333" y="8350"/>
                  </a:moveTo>
                  <a:cubicBezTo>
                    <a:pt x="7971" y="8350"/>
                    <a:pt x="9199" y="9011"/>
                    <a:pt x="9199" y="9610"/>
                  </a:cubicBezTo>
                  <a:cubicBezTo>
                    <a:pt x="9199" y="10177"/>
                    <a:pt x="7971" y="10838"/>
                    <a:pt x="6333" y="10838"/>
                  </a:cubicBezTo>
                  <a:cubicBezTo>
                    <a:pt x="4663" y="10838"/>
                    <a:pt x="3466" y="10177"/>
                    <a:pt x="3466" y="9610"/>
                  </a:cubicBezTo>
                  <a:cubicBezTo>
                    <a:pt x="3466" y="9011"/>
                    <a:pt x="4663" y="8350"/>
                    <a:pt x="6333" y="8350"/>
                  </a:cubicBezTo>
                  <a:close/>
                  <a:moveTo>
                    <a:pt x="3056" y="5861"/>
                  </a:moveTo>
                  <a:lnTo>
                    <a:pt x="3277" y="8350"/>
                  </a:lnTo>
                  <a:cubicBezTo>
                    <a:pt x="2804" y="8696"/>
                    <a:pt x="2583" y="9137"/>
                    <a:pt x="2583" y="9578"/>
                  </a:cubicBezTo>
                  <a:cubicBezTo>
                    <a:pt x="2583" y="10114"/>
                    <a:pt x="2930" y="10586"/>
                    <a:pt x="3560" y="10996"/>
                  </a:cubicBezTo>
                  <a:lnTo>
                    <a:pt x="3812" y="13327"/>
                  </a:lnTo>
                  <a:lnTo>
                    <a:pt x="2867" y="13327"/>
                  </a:lnTo>
                  <a:cubicBezTo>
                    <a:pt x="2678" y="13327"/>
                    <a:pt x="2489" y="13170"/>
                    <a:pt x="2457" y="13012"/>
                  </a:cubicBezTo>
                  <a:lnTo>
                    <a:pt x="1040" y="5861"/>
                  </a:lnTo>
                  <a:close/>
                  <a:moveTo>
                    <a:pt x="4442" y="11374"/>
                  </a:moveTo>
                  <a:lnTo>
                    <a:pt x="4442" y="11374"/>
                  </a:lnTo>
                  <a:cubicBezTo>
                    <a:pt x="4852" y="11532"/>
                    <a:pt x="5387" y="11626"/>
                    <a:pt x="5891" y="11658"/>
                  </a:cubicBezTo>
                  <a:lnTo>
                    <a:pt x="5891" y="13296"/>
                  </a:lnTo>
                  <a:lnTo>
                    <a:pt x="4631" y="13296"/>
                  </a:lnTo>
                  <a:lnTo>
                    <a:pt x="4631" y="13327"/>
                  </a:lnTo>
                  <a:lnTo>
                    <a:pt x="4442" y="11374"/>
                  </a:lnTo>
                  <a:close/>
                  <a:moveTo>
                    <a:pt x="8191" y="11374"/>
                  </a:moveTo>
                  <a:lnTo>
                    <a:pt x="7971" y="13327"/>
                  </a:lnTo>
                  <a:lnTo>
                    <a:pt x="6711" y="13327"/>
                  </a:lnTo>
                  <a:lnTo>
                    <a:pt x="6711" y="11658"/>
                  </a:lnTo>
                  <a:cubicBezTo>
                    <a:pt x="7215" y="11626"/>
                    <a:pt x="7750" y="11532"/>
                    <a:pt x="8191" y="11374"/>
                  </a:cubicBezTo>
                  <a:close/>
                  <a:moveTo>
                    <a:pt x="11594" y="5861"/>
                  </a:moveTo>
                  <a:lnTo>
                    <a:pt x="10176" y="13012"/>
                  </a:lnTo>
                  <a:cubicBezTo>
                    <a:pt x="10145" y="13201"/>
                    <a:pt x="9987" y="13327"/>
                    <a:pt x="9798" y="13327"/>
                  </a:cubicBezTo>
                  <a:lnTo>
                    <a:pt x="8853" y="13327"/>
                  </a:lnTo>
                  <a:lnTo>
                    <a:pt x="9073" y="10996"/>
                  </a:lnTo>
                  <a:cubicBezTo>
                    <a:pt x="9704" y="10586"/>
                    <a:pt x="10050" y="10114"/>
                    <a:pt x="10050" y="9578"/>
                  </a:cubicBezTo>
                  <a:cubicBezTo>
                    <a:pt x="10050" y="9106"/>
                    <a:pt x="9830" y="8665"/>
                    <a:pt x="9357" y="8350"/>
                  </a:cubicBezTo>
                  <a:lnTo>
                    <a:pt x="9578" y="5861"/>
                  </a:lnTo>
                  <a:close/>
                  <a:moveTo>
                    <a:pt x="5513" y="1"/>
                  </a:moveTo>
                  <a:cubicBezTo>
                    <a:pt x="4474" y="1"/>
                    <a:pt x="3655" y="757"/>
                    <a:pt x="3497" y="1702"/>
                  </a:cubicBezTo>
                  <a:lnTo>
                    <a:pt x="3466" y="1702"/>
                  </a:lnTo>
                  <a:cubicBezTo>
                    <a:pt x="2552" y="1702"/>
                    <a:pt x="1796" y="2458"/>
                    <a:pt x="1796" y="3340"/>
                  </a:cubicBezTo>
                  <a:cubicBezTo>
                    <a:pt x="882" y="3340"/>
                    <a:pt x="158" y="4128"/>
                    <a:pt x="158" y="5042"/>
                  </a:cubicBezTo>
                  <a:cubicBezTo>
                    <a:pt x="158" y="5672"/>
                    <a:pt x="0" y="4600"/>
                    <a:pt x="1670" y="13170"/>
                  </a:cubicBezTo>
                  <a:cubicBezTo>
                    <a:pt x="1796" y="13737"/>
                    <a:pt x="2300" y="14146"/>
                    <a:pt x="2898" y="14146"/>
                  </a:cubicBezTo>
                  <a:lnTo>
                    <a:pt x="9830" y="14146"/>
                  </a:lnTo>
                  <a:cubicBezTo>
                    <a:pt x="10428" y="14146"/>
                    <a:pt x="10932" y="13705"/>
                    <a:pt x="11058" y="13170"/>
                  </a:cubicBezTo>
                  <a:cubicBezTo>
                    <a:pt x="12760" y="4600"/>
                    <a:pt x="12602" y="5672"/>
                    <a:pt x="12602" y="5042"/>
                  </a:cubicBezTo>
                  <a:cubicBezTo>
                    <a:pt x="12507" y="4600"/>
                    <a:pt x="12350" y="4191"/>
                    <a:pt x="12035" y="3876"/>
                  </a:cubicBezTo>
                  <a:cubicBezTo>
                    <a:pt x="11720" y="3561"/>
                    <a:pt x="11279" y="3340"/>
                    <a:pt x="10838" y="3340"/>
                  </a:cubicBezTo>
                  <a:cubicBezTo>
                    <a:pt x="10838" y="2432"/>
                    <a:pt x="10110" y="1698"/>
                    <a:pt x="9271" y="1698"/>
                  </a:cubicBezTo>
                  <a:cubicBezTo>
                    <a:pt x="9237" y="1698"/>
                    <a:pt x="9202" y="1700"/>
                    <a:pt x="9168" y="1702"/>
                  </a:cubicBezTo>
                  <a:cubicBezTo>
                    <a:pt x="8979" y="757"/>
                    <a:pt x="8128" y="1"/>
                    <a:pt x="7152" y="1"/>
                  </a:cubicBezTo>
                  <a:cubicBezTo>
                    <a:pt x="6868" y="1"/>
                    <a:pt x="6616" y="64"/>
                    <a:pt x="6333" y="190"/>
                  </a:cubicBezTo>
                  <a:cubicBezTo>
                    <a:pt x="6049" y="64"/>
                    <a:pt x="5765" y="1"/>
                    <a:pt x="55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79"/>
            <p:cNvSpPr/>
            <p:nvPr/>
          </p:nvSpPr>
          <p:spPr>
            <a:xfrm>
              <a:off x="-11640825" y="2592450"/>
              <a:ext cx="104775" cy="42550"/>
            </a:xfrm>
            <a:custGeom>
              <a:avLst/>
              <a:gdLst/>
              <a:ahLst/>
              <a:cxnLst/>
              <a:rect l="l" t="t" r="r" b="b"/>
              <a:pathLst>
                <a:path w="4191" h="1702" extrusionOk="0">
                  <a:moveTo>
                    <a:pt x="1292" y="1"/>
                  </a:moveTo>
                  <a:cubicBezTo>
                    <a:pt x="599" y="1"/>
                    <a:pt x="32" y="536"/>
                    <a:pt x="32" y="1261"/>
                  </a:cubicBezTo>
                  <a:cubicBezTo>
                    <a:pt x="0" y="1544"/>
                    <a:pt x="189" y="1702"/>
                    <a:pt x="410" y="1702"/>
                  </a:cubicBezTo>
                  <a:cubicBezTo>
                    <a:pt x="662" y="1702"/>
                    <a:pt x="851" y="1481"/>
                    <a:pt x="851" y="1261"/>
                  </a:cubicBezTo>
                  <a:cubicBezTo>
                    <a:pt x="851" y="1009"/>
                    <a:pt x="1040" y="820"/>
                    <a:pt x="1292" y="820"/>
                  </a:cubicBezTo>
                  <a:cubicBezTo>
                    <a:pt x="1512" y="820"/>
                    <a:pt x="1670" y="1009"/>
                    <a:pt x="1670" y="1261"/>
                  </a:cubicBezTo>
                  <a:cubicBezTo>
                    <a:pt x="1670" y="1481"/>
                    <a:pt x="1859" y="1702"/>
                    <a:pt x="2111" y="1702"/>
                  </a:cubicBezTo>
                  <a:cubicBezTo>
                    <a:pt x="2332" y="1702"/>
                    <a:pt x="2489" y="1481"/>
                    <a:pt x="2489" y="1261"/>
                  </a:cubicBezTo>
                  <a:cubicBezTo>
                    <a:pt x="2489" y="1009"/>
                    <a:pt x="2710" y="820"/>
                    <a:pt x="2930" y="820"/>
                  </a:cubicBezTo>
                  <a:cubicBezTo>
                    <a:pt x="3182" y="820"/>
                    <a:pt x="3371" y="1009"/>
                    <a:pt x="3371" y="1261"/>
                  </a:cubicBezTo>
                  <a:cubicBezTo>
                    <a:pt x="3371" y="1481"/>
                    <a:pt x="3560" y="1702"/>
                    <a:pt x="3749" y="1702"/>
                  </a:cubicBezTo>
                  <a:cubicBezTo>
                    <a:pt x="3970" y="1702"/>
                    <a:pt x="4190" y="1481"/>
                    <a:pt x="4190" y="1261"/>
                  </a:cubicBezTo>
                  <a:cubicBezTo>
                    <a:pt x="4190" y="599"/>
                    <a:pt x="3655" y="1"/>
                    <a:pt x="2930" y="1"/>
                  </a:cubicBezTo>
                  <a:cubicBezTo>
                    <a:pt x="2615" y="1"/>
                    <a:pt x="2332" y="127"/>
                    <a:pt x="2111" y="316"/>
                  </a:cubicBezTo>
                  <a:cubicBezTo>
                    <a:pt x="1859" y="127"/>
                    <a:pt x="1607"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1" name="Google Shape;10551;p79"/>
          <p:cNvGrpSpPr/>
          <p:nvPr/>
        </p:nvGrpSpPr>
        <p:grpSpPr>
          <a:xfrm>
            <a:off x="5304627" y="2779519"/>
            <a:ext cx="340807" cy="340807"/>
            <a:chOff x="-10027775" y="1622900"/>
            <a:chExt cx="352875" cy="352875"/>
          </a:xfrm>
        </p:grpSpPr>
        <p:sp>
          <p:nvSpPr>
            <p:cNvPr id="10552" name="Google Shape;10552;p79"/>
            <p:cNvSpPr/>
            <p:nvPr/>
          </p:nvSpPr>
          <p:spPr>
            <a:xfrm>
              <a:off x="-10027775" y="1622900"/>
              <a:ext cx="352875" cy="352875"/>
            </a:xfrm>
            <a:custGeom>
              <a:avLst/>
              <a:gdLst/>
              <a:ahLst/>
              <a:cxnLst/>
              <a:rect l="l" t="t" r="r" b="b"/>
              <a:pathLst>
                <a:path w="14115" h="14115" extrusionOk="0">
                  <a:moveTo>
                    <a:pt x="12067" y="819"/>
                  </a:moveTo>
                  <a:cubicBezTo>
                    <a:pt x="12287" y="819"/>
                    <a:pt x="12476" y="1008"/>
                    <a:pt x="12476" y="1197"/>
                  </a:cubicBezTo>
                  <a:cubicBezTo>
                    <a:pt x="12476" y="1449"/>
                    <a:pt x="12287" y="1638"/>
                    <a:pt x="12067" y="1638"/>
                  </a:cubicBezTo>
                  <a:lnTo>
                    <a:pt x="2080" y="1638"/>
                  </a:lnTo>
                  <a:cubicBezTo>
                    <a:pt x="1859" y="1638"/>
                    <a:pt x="1702" y="1449"/>
                    <a:pt x="1702" y="1197"/>
                  </a:cubicBezTo>
                  <a:cubicBezTo>
                    <a:pt x="1702" y="977"/>
                    <a:pt x="1891" y="819"/>
                    <a:pt x="2080" y="819"/>
                  </a:cubicBezTo>
                  <a:close/>
                  <a:moveTo>
                    <a:pt x="11657" y="2458"/>
                  </a:moveTo>
                  <a:lnTo>
                    <a:pt x="11657" y="4285"/>
                  </a:lnTo>
                  <a:lnTo>
                    <a:pt x="10239" y="4978"/>
                  </a:lnTo>
                  <a:cubicBezTo>
                    <a:pt x="10082" y="5072"/>
                    <a:pt x="10019" y="5199"/>
                    <a:pt x="10019" y="5356"/>
                  </a:cubicBezTo>
                  <a:cubicBezTo>
                    <a:pt x="10019" y="5514"/>
                    <a:pt x="10082" y="5671"/>
                    <a:pt x="10239" y="5703"/>
                  </a:cubicBezTo>
                  <a:lnTo>
                    <a:pt x="11657" y="6396"/>
                  </a:lnTo>
                  <a:lnTo>
                    <a:pt x="11657" y="11562"/>
                  </a:lnTo>
                  <a:lnTo>
                    <a:pt x="2521" y="11562"/>
                  </a:lnTo>
                  <a:lnTo>
                    <a:pt x="2521" y="9704"/>
                  </a:lnTo>
                  <a:lnTo>
                    <a:pt x="3938" y="9011"/>
                  </a:lnTo>
                  <a:cubicBezTo>
                    <a:pt x="4096" y="8916"/>
                    <a:pt x="4191" y="8822"/>
                    <a:pt x="4191" y="8664"/>
                  </a:cubicBezTo>
                  <a:cubicBezTo>
                    <a:pt x="4191" y="8475"/>
                    <a:pt x="4096" y="8349"/>
                    <a:pt x="3938" y="8286"/>
                  </a:cubicBezTo>
                  <a:lnTo>
                    <a:pt x="2521" y="7593"/>
                  </a:lnTo>
                  <a:lnTo>
                    <a:pt x="2521" y="2458"/>
                  </a:lnTo>
                  <a:close/>
                  <a:moveTo>
                    <a:pt x="12098" y="12382"/>
                  </a:moveTo>
                  <a:cubicBezTo>
                    <a:pt x="12319" y="12382"/>
                    <a:pt x="12539" y="12602"/>
                    <a:pt x="12539" y="12823"/>
                  </a:cubicBezTo>
                  <a:cubicBezTo>
                    <a:pt x="12476" y="13075"/>
                    <a:pt x="12287" y="13264"/>
                    <a:pt x="12098" y="13264"/>
                  </a:cubicBezTo>
                  <a:lnTo>
                    <a:pt x="2143" y="13264"/>
                  </a:lnTo>
                  <a:cubicBezTo>
                    <a:pt x="1891" y="13264"/>
                    <a:pt x="1733" y="13075"/>
                    <a:pt x="1733" y="12823"/>
                  </a:cubicBezTo>
                  <a:cubicBezTo>
                    <a:pt x="1733" y="12602"/>
                    <a:pt x="1922" y="12382"/>
                    <a:pt x="2143" y="12382"/>
                  </a:cubicBezTo>
                  <a:close/>
                  <a:moveTo>
                    <a:pt x="2080" y="0"/>
                  </a:moveTo>
                  <a:cubicBezTo>
                    <a:pt x="1544" y="0"/>
                    <a:pt x="1103" y="347"/>
                    <a:pt x="914" y="819"/>
                  </a:cubicBezTo>
                  <a:lnTo>
                    <a:pt x="441" y="819"/>
                  </a:lnTo>
                  <a:cubicBezTo>
                    <a:pt x="189" y="819"/>
                    <a:pt x="0" y="1008"/>
                    <a:pt x="0" y="1197"/>
                  </a:cubicBezTo>
                  <a:cubicBezTo>
                    <a:pt x="0" y="1418"/>
                    <a:pt x="189" y="1638"/>
                    <a:pt x="441" y="1638"/>
                  </a:cubicBezTo>
                  <a:lnTo>
                    <a:pt x="914" y="1638"/>
                  </a:lnTo>
                  <a:cubicBezTo>
                    <a:pt x="1040" y="1985"/>
                    <a:pt x="1292" y="2269"/>
                    <a:pt x="1670" y="2395"/>
                  </a:cubicBezTo>
                  <a:lnTo>
                    <a:pt x="1670" y="7876"/>
                  </a:lnTo>
                  <a:cubicBezTo>
                    <a:pt x="1670" y="8034"/>
                    <a:pt x="1733" y="8191"/>
                    <a:pt x="1891" y="8223"/>
                  </a:cubicBezTo>
                  <a:lnTo>
                    <a:pt x="2804" y="8696"/>
                  </a:lnTo>
                  <a:lnTo>
                    <a:pt x="1891" y="9168"/>
                  </a:lnTo>
                  <a:cubicBezTo>
                    <a:pt x="1733" y="9231"/>
                    <a:pt x="1670" y="9357"/>
                    <a:pt x="1670" y="9515"/>
                  </a:cubicBezTo>
                  <a:lnTo>
                    <a:pt x="1670" y="11689"/>
                  </a:lnTo>
                  <a:cubicBezTo>
                    <a:pt x="1292" y="11815"/>
                    <a:pt x="1040" y="12067"/>
                    <a:pt x="914" y="12445"/>
                  </a:cubicBezTo>
                  <a:lnTo>
                    <a:pt x="441" y="12445"/>
                  </a:lnTo>
                  <a:cubicBezTo>
                    <a:pt x="189" y="12445"/>
                    <a:pt x="0" y="12634"/>
                    <a:pt x="0" y="12854"/>
                  </a:cubicBezTo>
                  <a:cubicBezTo>
                    <a:pt x="0" y="13106"/>
                    <a:pt x="189" y="13295"/>
                    <a:pt x="441" y="13295"/>
                  </a:cubicBezTo>
                  <a:lnTo>
                    <a:pt x="914" y="13295"/>
                  </a:lnTo>
                  <a:cubicBezTo>
                    <a:pt x="1072" y="13768"/>
                    <a:pt x="1544" y="14114"/>
                    <a:pt x="2080" y="14114"/>
                  </a:cubicBezTo>
                  <a:lnTo>
                    <a:pt x="12067" y="14114"/>
                  </a:lnTo>
                  <a:cubicBezTo>
                    <a:pt x="12602" y="14114"/>
                    <a:pt x="13043" y="13768"/>
                    <a:pt x="13232" y="13295"/>
                  </a:cubicBezTo>
                  <a:lnTo>
                    <a:pt x="13705" y="13295"/>
                  </a:lnTo>
                  <a:cubicBezTo>
                    <a:pt x="13957" y="13295"/>
                    <a:pt x="14115" y="13106"/>
                    <a:pt x="14115" y="12854"/>
                  </a:cubicBezTo>
                  <a:cubicBezTo>
                    <a:pt x="14115" y="12634"/>
                    <a:pt x="13894" y="12445"/>
                    <a:pt x="13705" y="12445"/>
                  </a:cubicBezTo>
                  <a:lnTo>
                    <a:pt x="13232" y="12445"/>
                  </a:lnTo>
                  <a:cubicBezTo>
                    <a:pt x="13106" y="12067"/>
                    <a:pt x="12854" y="11815"/>
                    <a:pt x="12476" y="11689"/>
                  </a:cubicBezTo>
                  <a:lnTo>
                    <a:pt x="12476" y="6207"/>
                  </a:lnTo>
                  <a:cubicBezTo>
                    <a:pt x="12476" y="6049"/>
                    <a:pt x="12413" y="5892"/>
                    <a:pt x="12256" y="5860"/>
                  </a:cubicBezTo>
                  <a:lnTo>
                    <a:pt x="11342" y="5388"/>
                  </a:lnTo>
                  <a:lnTo>
                    <a:pt x="12256" y="4915"/>
                  </a:lnTo>
                  <a:cubicBezTo>
                    <a:pt x="12413" y="4883"/>
                    <a:pt x="12476" y="4726"/>
                    <a:pt x="12476" y="4568"/>
                  </a:cubicBezTo>
                  <a:lnTo>
                    <a:pt x="12476" y="2395"/>
                  </a:lnTo>
                  <a:cubicBezTo>
                    <a:pt x="12854" y="2269"/>
                    <a:pt x="13106" y="1985"/>
                    <a:pt x="13232" y="1638"/>
                  </a:cubicBezTo>
                  <a:lnTo>
                    <a:pt x="13705" y="1638"/>
                  </a:lnTo>
                  <a:cubicBezTo>
                    <a:pt x="13957" y="1638"/>
                    <a:pt x="14115" y="1449"/>
                    <a:pt x="14115" y="1197"/>
                  </a:cubicBezTo>
                  <a:cubicBezTo>
                    <a:pt x="14115" y="977"/>
                    <a:pt x="13894" y="819"/>
                    <a:pt x="13705" y="819"/>
                  </a:cubicBezTo>
                  <a:lnTo>
                    <a:pt x="13232" y="819"/>
                  </a:lnTo>
                  <a:cubicBezTo>
                    <a:pt x="13075" y="347"/>
                    <a:pt x="12602" y="0"/>
                    <a:pt x="12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3" name="Google Shape;10553;p79"/>
            <p:cNvSpPr/>
            <p:nvPr/>
          </p:nvSpPr>
          <p:spPr>
            <a:xfrm>
              <a:off x="-9923800" y="1705600"/>
              <a:ext cx="145725" cy="20500"/>
            </a:xfrm>
            <a:custGeom>
              <a:avLst/>
              <a:gdLst/>
              <a:ahLst/>
              <a:cxnLst/>
              <a:rect l="l" t="t" r="r" b="b"/>
              <a:pathLst>
                <a:path w="5829" h="820" extrusionOk="0">
                  <a:moveTo>
                    <a:pt x="410" y="0"/>
                  </a:moveTo>
                  <a:cubicBezTo>
                    <a:pt x="189" y="0"/>
                    <a:pt x="0" y="189"/>
                    <a:pt x="0" y="410"/>
                  </a:cubicBezTo>
                  <a:cubicBezTo>
                    <a:pt x="32" y="630"/>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4" name="Google Shape;10554;p79"/>
            <p:cNvSpPr/>
            <p:nvPr/>
          </p:nvSpPr>
          <p:spPr>
            <a:xfrm>
              <a:off x="-9902550" y="1746550"/>
              <a:ext cx="83525" cy="20500"/>
            </a:xfrm>
            <a:custGeom>
              <a:avLst/>
              <a:gdLst/>
              <a:ahLst/>
              <a:cxnLst/>
              <a:rect l="l" t="t" r="r" b="b"/>
              <a:pathLst>
                <a:path w="3341" h="820" extrusionOk="0">
                  <a:moveTo>
                    <a:pt x="379" y="0"/>
                  </a:moveTo>
                  <a:cubicBezTo>
                    <a:pt x="158" y="0"/>
                    <a:pt x="1" y="190"/>
                    <a:pt x="1" y="410"/>
                  </a:cubicBezTo>
                  <a:cubicBezTo>
                    <a:pt x="1" y="631"/>
                    <a:pt x="190" y="820"/>
                    <a:pt x="379" y="820"/>
                  </a:cubicBezTo>
                  <a:lnTo>
                    <a:pt x="2899" y="820"/>
                  </a:lnTo>
                  <a:cubicBezTo>
                    <a:pt x="3151" y="820"/>
                    <a:pt x="3340" y="631"/>
                    <a:pt x="3340" y="410"/>
                  </a:cubicBezTo>
                  <a:cubicBezTo>
                    <a:pt x="3340" y="158"/>
                    <a:pt x="3151"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79"/>
            <p:cNvSpPr/>
            <p:nvPr/>
          </p:nvSpPr>
          <p:spPr>
            <a:xfrm>
              <a:off x="-9923800" y="1788300"/>
              <a:ext cx="145725" cy="20500"/>
            </a:xfrm>
            <a:custGeom>
              <a:avLst/>
              <a:gdLst/>
              <a:ahLst/>
              <a:cxnLst/>
              <a:rect l="l" t="t" r="r" b="b"/>
              <a:pathLst>
                <a:path w="5829" h="820" extrusionOk="0">
                  <a:moveTo>
                    <a:pt x="410" y="0"/>
                  </a:moveTo>
                  <a:cubicBezTo>
                    <a:pt x="189" y="0"/>
                    <a:pt x="0" y="189"/>
                    <a:pt x="0" y="410"/>
                  </a:cubicBezTo>
                  <a:cubicBezTo>
                    <a:pt x="32" y="662"/>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6" name="Google Shape;10556;p79"/>
            <p:cNvSpPr/>
            <p:nvPr/>
          </p:nvSpPr>
          <p:spPr>
            <a:xfrm>
              <a:off x="-9901750" y="1828450"/>
              <a:ext cx="83500" cy="21300"/>
            </a:xfrm>
            <a:custGeom>
              <a:avLst/>
              <a:gdLst/>
              <a:ahLst/>
              <a:cxnLst/>
              <a:rect l="l" t="t" r="r" b="b"/>
              <a:pathLst>
                <a:path w="3340" h="852" extrusionOk="0">
                  <a:moveTo>
                    <a:pt x="410" y="1"/>
                  </a:moveTo>
                  <a:cubicBezTo>
                    <a:pt x="158" y="1"/>
                    <a:pt x="0" y="190"/>
                    <a:pt x="0" y="442"/>
                  </a:cubicBezTo>
                  <a:cubicBezTo>
                    <a:pt x="0" y="663"/>
                    <a:pt x="189" y="852"/>
                    <a:pt x="410" y="852"/>
                  </a:cubicBezTo>
                  <a:lnTo>
                    <a:pt x="2930" y="852"/>
                  </a:lnTo>
                  <a:cubicBezTo>
                    <a:pt x="3151" y="852"/>
                    <a:pt x="3340" y="663"/>
                    <a:pt x="3340" y="442"/>
                  </a:cubicBezTo>
                  <a:cubicBezTo>
                    <a:pt x="3340" y="190"/>
                    <a:pt x="3151" y="1"/>
                    <a:pt x="2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7" name="Google Shape;10557;p79"/>
            <p:cNvSpPr/>
            <p:nvPr/>
          </p:nvSpPr>
          <p:spPr>
            <a:xfrm>
              <a:off x="-9923025" y="1871000"/>
              <a:ext cx="145725" cy="20500"/>
            </a:xfrm>
            <a:custGeom>
              <a:avLst/>
              <a:gdLst/>
              <a:ahLst/>
              <a:cxnLst/>
              <a:rect l="l" t="t" r="r" b="b"/>
              <a:pathLst>
                <a:path w="5829" h="820" extrusionOk="0">
                  <a:moveTo>
                    <a:pt x="410" y="0"/>
                  </a:moveTo>
                  <a:cubicBezTo>
                    <a:pt x="190" y="0"/>
                    <a:pt x="1" y="189"/>
                    <a:pt x="1" y="378"/>
                  </a:cubicBezTo>
                  <a:cubicBezTo>
                    <a:pt x="1" y="630"/>
                    <a:pt x="190" y="819"/>
                    <a:pt x="410" y="819"/>
                  </a:cubicBezTo>
                  <a:lnTo>
                    <a:pt x="5419" y="819"/>
                  </a:lnTo>
                  <a:cubicBezTo>
                    <a:pt x="5671" y="819"/>
                    <a:pt x="5829" y="630"/>
                    <a:pt x="5829" y="378"/>
                  </a:cubicBezTo>
                  <a:cubicBezTo>
                    <a:pt x="5829" y="189"/>
                    <a:pt x="5671"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8" name="Google Shape;10558;p79"/>
          <p:cNvSpPr/>
          <p:nvPr/>
        </p:nvSpPr>
        <p:spPr>
          <a:xfrm>
            <a:off x="5311472" y="3186872"/>
            <a:ext cx="327116" cy="341748"/>
          </a:xfrm>
          <a:custGeom>
            <a:avLst/>
            <a:gdLst/>
            <a:ahLst/>
            <a:cxnLst/>
            <a:rect l="l" t="t" r="r" b="b"/>
            <a:pathLst>
              <a:path w="13548" h="14154" extrusionOk="0">
                <a:moveTo>
                  <a:pt x="6774" y="914"/>
                </a:moveTo>
                <a:cubicBezTo>
                  <a:pt x="7215" y="914"/>
                  <a:pt x="7593" y="1324"/>
                  <a:pt x="7593" y="1797"/>
                </a:cubicBezTo>
                <a:cubicBezTo>
                  <a:pt x="7593" y="2238"/>
                  <a:pt x="7247" y="2616"/>
                  <a:pt x="6774" y="2616"/>
                </a:cubicBezTo>
                <a:cubicBezTo>
                  <a:pt x="6301" y="2616"/>
                  <a:pt x="5955" y="2238"/>
                  <a:pt x="5955" y="1797"/>
                </a:cubicBezTo>
                <a:cubicBezTo>
                  <a:pt x="5955" y="1324"/>
                  <a:pt x="6333" y="914"/>
                  <a:pt x="6774" y="914"/>
                </a:cubicBezTo>
                <a:close/>
                <a:moveTo>
                  <a:pt x="1400" y="2610"/>
                </a:moveTo>
                <a:cubicBezTo>
                  <a:pt x="1427" y="2610"/>
                  <a:pt x="1454" y="2612"/>
                  <a:pt x="1481" y="2616"/>
                </a:cubicBezTo>
                <a:lnTo>
                  <a:pt x="4222" y="3151"/>
                </a:lnTo>
                <a:lnTo>
                  <a:pt x="3151" y="3781"/>
                </a:lnTo>
                <a:cubicBezTo>
                  <a:pt x="3119" y="3750"/>
                  <a:pt x="3245" y="3781"/>
                  <a:pt x="1324" y="3403"/>
                </a:cubicBezTo>
                <a:cubicBezTo>
                  <a:pt x="1072" y="3372"/>
                  <a:pt x="946" y="3120"/>
                  <a:pt x="1009" y="2931"/>
                </a:cubicBezTo>
                <a:cubicBezTo>
                  <a:pt x="1036" y="2710"/>
                  <a:pt x="1209" y="2610"/>
                  <a:pt x="1400" y="2610"/>
                </a:cubicBezTo>
                <a:close/>
                <a:moveTo>
                  <a:pt x="5502" y="3443"/>
                </a:moveTo>
                <a:cubicBezTo>
                  <a:pt x="5553" y="3443"/>
                  <a:pt x="5608" y="3451"/>
                  <a:pt x="5671" y="3466"/>
                </a:cubicBezTo>
                <a:cubicBezTo>
                  <a:pt x="5860" y="3561"/>
                  <a:pt x="5923" y="3624"/>
                  <a:pt x="5955" y="3907"/>
                </a:cubicBezTo>
                <a:cubicBezTo>
                  <a:pt x="5986" y="4254"/>
                  <a:pt x="5923" y="5766"/>
                  <a:pt x="7089" y="7278"/>
                </a:cubicBezTo>
                <a:cubicBezTo>
                  <a:pt x="7175" y="7385"/>
                  <a:pt x="7304" y="7449"/>
                  <a:pt x="7427" y="7449"/>
                </a:cubicBezTo>
                <a:cubicBezTo>
                  <a:pt x="7486" y="7449"/>
                  <a:pt x="7543" y="7435"/>
                  <a:pt x="7593" y="7404"/>
                </a:cubicBezTo>
                <a:lnTo>
                  <a:pt x="11972" y="5168"/>
                </a:lnTo>
                <a:cubicBezTo>
                  <a:pt x="12030" y="5129"/>
                  <a:pt x="12094" y="5111"/>
                  <a:pt x="12158" y="5111"/>
                </a:cubicBezTo>
                <a:cubicBezTo>
                  <a:pt x="12304" y="5111"/>
                  <a:pt x="12452" y="5204"/>
                  <a:pt x="12539" y="5357"/>
                </a:cubicBezTo>
                <a:cubicBezTo>
                  <a:pt x="12634" y="5577"/>
                  <a:pt x="12571" y="5798"/>
                  <a:pt x="12319" y="5924"/>
                </a:cubicBezTo>
                <a:lnTo>
                  <a:pt x="7499" y="8444"/>
                </a:lnTo>
                <a:cubicBezTo>
                  <a:pt x="7404" y="8476"/>
                  <a:pt x="7562" y="8350"/>
                  <a:pt x="5388" y="10366"/>
                </a:cubicBezTo>
                <a:cubicBezTo>
                  <a:pt x="5293" y="10492"/>
                  <a:pt x="5230" y="10712"/>
                  <a:pt x="5325" y="10870"/>
                </a:cubicBezTo>
                <a:lnTo>
                  <a:pt x="6396" y="12823"/>
                </a:lnTo>
                <a:cubicBezTo>
                  <a:pt x="6490" y="13012"/>
                  <a:pt x="6427" y="13233"/>
                  <a:pt x="6238" y="13359"/>
                </a:cubicBezTo>
                <a:cubicBezTo>
                  <a:pt x="6169" y="13398"/>
                  <a:pt x="6100" y="13416"/>
                  <a:pt x="6034" y="13416"/>
                </a:cubicBezTo>
                <a:cubicBezTo>
                  <a:pt x="5889" y="13416"/>
                  <a:pt x="5758" y="13331"/>
                  <a:pt x="5671" y="13201"/>
                </a:cubicBezTo>
                <a:lnTo>
                  <a:pt x="4285" y="10681"/>
                </a:lnTo>
                <a:cubicBezTo>
                  <a:pt x="4222" y="10523"/>
                  <a:pt x="4222" y="10334"/>
                  <a:pt x="4380" y="10177"/>
                </a:cubicBezTo>
                <a:lnTo>
                  <a:pt x="6333" y="8318"/>
                </a:lnTo>
                <a:cubicBezTo>
                  <a:pt x="6490" y="8161"/>
                  <a:pt x="6490" y="7940"/>
                  <a:pt x="6396" y="7783"/>
                </a:cubicBezTo>
                <a:cubicBezTo>
                  <a:pt x="5797" y="6995"/>
                  <a:pt x="5388" y="6050"/>
                  <a:pt x="5199" y="5042"/>
                </a:cubicBezTo>
                <a:cubicBezTo>
                  <a:pt x="5176" y="4859"/>
                  <a:pt x="4988" y="4727"/>
                  <a:pt x="4791" y="4727"/>
                </a:cubicBezTo>
                <a:cubicBezTo>
                  <a:pt x="4715" y="4727"/>
                  <a:pt x="4638" y="4746"/>
                  <a:pt x="4569" y="4790"/>
                </a:cubicBezTo>
                <a:cubicBezTo>
                  <a:pt x="4128" y="5042"/>
                  <a:pt x="4600" y="4727"/>
                  <a:pt x="1544" y="6743"/>
                </a:cubicBezTo>
                <a:cubicBezTo>
                  <a:pt x="1493" y="6768"/>
                  <a:pt x="1438" y="6780"/>
                  <a:pt x="1382" y="6780"/>
                </a:cubicBezTo>
                <a:cubicBezTo>
                  <a:pt x="1229" y="6780"/>
                  <a:pt x="1069" y="6692"/>
                  <a:pt x="977" y="6554"/>
                </a:cubicBezTo>
                <a:cubicBezTo>
                  <a:pt x="946" y="6270"/>
                  <a:pt x="1040" y="6050"/>
                  <a:pt x="1229" y="5955"/>
                </a:cubicBezTo>
                <a:cubicBezTo>
                  <a:pt x="1261" y="5955"/>
                  <a:pt x="5356" y="3466"/>
                  <a:pt x="5356" y="3466"/>
                </a:cubicBezTo>
                <a:cubicBezTo>
                  <a:pt x="5403" y="3451"/>
                  <a:pt x="5451" y="3443"/>
                  <a:pt x="5502" y="3443"/>
                </a:cubicBezTo>
                <a:close/>
                <a:moveTo>
                  <a:pt x="6774" y="1"/>
                </a:moveTo>
                <a:cubicBezTo>
                  <a:pt x="5892" y="1"/>
                  <a:pt x="5136" y="788"/>
                  <a:pt x="5136" y="1702"/>
                </a:cubicBezTo>
                <a:cubicBezTo>
                  <a:pt x="5136" y="1986"/>
                  <a:pt x="5199" y="2206"/>
                  <a:pt x="5325" y="2458"/>
                </a:cubicBezTo>
                <a:lnTo>
                  <a:pt x="1670" y="1702"/>
                </a:lnTo>
                <a:cubicBezTo>
                  <a:pt x="1594" y="1688"/>
                  <a:pt x="1517" y="1681"/>
                  <a:pt x="1441" y="1681"/>
                </a:cubicBezTo>
                <a:cubicBezTo>
                  <a:pt x="857" y="1681"/>
                  <a:pt x="305" y="2093"/>
                  <a:pt x="221" y="2679"/>
                </a:cubicBezTo>
                <a:cubicBezTo>
                  <a:pt x="95" y="3372"/>
                  <a:pt x="536" y="4033"/>
                  <a:pt x="1198" y="4159"/>
                </a:cubicBezTo>
                <a:lnTo>
                  <a:pt x="2174" y="4349"/>
                </a:lnTo>
                <a:lnTo>
                  <a:pt x="883" y="5136"/>
                </a:lnTo>
                <a:cubicBezTo>
                  <a:pt x="252" y="5514"/>
                  <a:pt x="0" y="6239"/>
                  <a:pt x="284" y="6869"/>
                </a:cubicBezTo>
                <a:cubicBezTo>
                  <a:pt x="512" y="7326"/>
                  <a:pt x="974" y="7536"/>
                  <a:pt x="1397" y="7536"/>
                </a:cubicBezTo>
                <a:cubicBezTo>
                  <a:pt x="1616" y="7536"/>
                  <a:pt x="1824" y="7480"/>
                  <a:pt x="1985" y="7373"/>
                </a:cubicBezTo>
                <a:lnTo>
                  <a:pt x="4506" y="5735"/>
                </a:lnTo>
                <a:cubicBezTo>
                  <a:pt x="4695" y="6522"/>
                  <a:pt x="5041" y="7215"/>
                  <a:pt x="5482" y="7877"/>
                </a:cubicBezTo>
                <a:lnTo>
                  <a:pt x="3781" y="9515"/>
                </a:lnTo>
                <a:cubicBezTo>
                  <a:pt x="3403" y="9893"/>
                  <a:pt x="3277" y="10523"/>
                  <a:pt x="3560" y="10996"/>
                </a:cubicBezTo>
                <a:lnTo>
                  <a:pt x="4947" y="13516"/>
                </a:lnTo>
                <a:cubicBezTo>
                  <a:pt x="5181" y="13922"/>
                  <a:pt x="5604" y="14154"/>
                  <a:pt x="6028" y="14154"/>
                </a:cubicBezTo>
                <a:cubicBezTo>
                  <a:pt x="6230" y="14154"/>
                  <a:pt x="6433" y="14101"/>
                  <a:pt x="6616" y="13989"/>
                </a:cubicBezTo>
                <a:cubicBezTo>
                  <a:pt x="7215" y="13642"/>
                  <a:pt x="7467" y="12886"/>
                  <a:pt x="7089" y="12288"/>
                </a:cubicBezTo>
                <a:lnTo>
                  <a:pt x="6207" y="10649"/>
                </a:lnTo>
                <a:lnTo>
                  <a:pt x="7877" y="9043"/>
                </a:lnTo>
                <a:lnTo>
                  <a:pt x="12697" y="6554"/>
                </a:lnTo>
                <a:cubicBezTo>
                  <a:pt x="13295" y="6239"/>
                  <a:pt x="13548" y="5483"/>
                  <a:pt x="13232" y="4884"/>
                </a:cubicBezTo>
                <a:cubicBezTo>
                  <a:pt x="13014" y="4446"/>
                  <a:pt x="12597" y="4206"/>
                  <a:pt x="12162" y="4206"/>
                </a:cubicBezTo>
                <a:cubicBezTo>
                  <a:pt x="11971" y="4206"/>
                  <a:pt x="11777" y="4252"/>
                  <a:pt x="11594" y="4349"/>
                </a:cubicBezTo>
                <a:lnTo>
                  <a:pt x="7530" y="6428"/>
                </a:lnTo>
                <a:cubicBezTo>
                  <a:pt x="6679" y="5136"/>
                  <a:pt x="6837" y="3907"/>
                  <a:pt x="6774" y="3750"/>
                </a:cubicBezTo>
                <a:cubicBezTo>
                  <a:pt x="6774" y="3687"/>
                  <a:pt x="6774" y="3529"/>
                  <a:pt x="6711" y="3372"/>
                </a:cubicBezTo>
                <a:lnTo>
                  <a:pt x="6774" y="3372"/>
                </a:lnTo>
                <a:cubicBezTo>
                  <a:pt x="7688" y="3372"/>
                  <a:pt x="8444" y="2616"/>
                  <a:pt x="8444" y="1702"/>
                </a:cubicBezTo>
                <a:cubicBezTo>
                  <a:pt x="8444" y="788"/>
                  <a:pt x="7688" y="1"/>
                  <a:pt x="67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9" name="Google Shape;10559;p79"/>
          <p:cNvGrpSpPr/>
          <p:nvPr/>
        </p:nvGrpSpPr>
        <p:grpSpPr>
          <a:xfrm>
            <a:off x="8031595" y="2805183"/>
            <a:ext cx="322553" cy="342328"/>
            <a:chOff x="-10019125" y="2490075"/>
            <a:chExt cx="333975" cy="354450"/>
          </a:xfrm>
        </p:grpSpPr>
        <p:sp>
          <p:nvSpPr>
            <p:cNvPr id="10560" name="Google Shape;10560;p79"/>
            <p:cNvSpPr/>
            <p:nvPr/>
          </p:nvSpPr>
          <p:spPr>
            <a:xfrm>
              <a:off x="-10019125" y="2490850"/>
              <a:ext cx="333975" cy="353675"/>
            </a:xfrm>
            <a:custGeom>
              <a:avLst/>
              <a:gdLst/>
              <a:ahLst/>
              <a:cxnLst/>
              <a:rect l="l" t="t" r="r" b="b"/>
              <a:pathLst>
                <a:path w="13359" h="14147" extrusionOk="0">
                  <a:moveTo>
                    <a:pt x="7184" y="1670"/>
                  </a:moveTo>
                  <a:cubicBezTo>
                    <a:pt x="7405" y="1670"/>
                    <a:pt x="7625" y="1859"/>
                    <a:pt x="7625" y="2048"/>
                  </a:cubicBezTo>
                  <a:lnTo>
                    <a:pt x="7625" y="4191"/>
                  </a:lnTo>
                  <a:cubicBezTo>
                    <a:pt x="7499" y="4128"/>
                    <a:pt x="7342" y="4096"/>
                    <a:pt x="7184" y="4096"/>
                  </a:cubicBezTo>
                  <a:cubicBezTo>
                    <a:pt x="7027" y="4096"/>
                    <a:pt x="6900" y="4128"/>
                    <a:pt x="6743" y="4191"/>
                  </a:cubicBezTo>
                  <a:lnTo>
                    <a:pt x="6743" y="2048"/>
                  </a:lnTo>
                  <a:cubicBezTo>
                    <a:pt x="6743" y="1828"/>
                    <a:pt x="6932" y="1670"/>
                    <a:pt x="7184" y="1670"/>
                  </a:cubicBezTo>
                  <a:close/>
                  <a:moveTo>
                    <a:pt x="8791" y="788"/>
                  </a:moveTo>
                  <a:cubicBezTo>
                    <a:pt x="8980" y="788"/>
                    <a:pt x="9200" y="977"/>
                    <a:pt x="9200" y="1229"/>
                  </a:cubicBezTo>
                  <a:lnTo>
                    <a:pt x="9200" y="5356"/>
                  </a:lnTo>
                  <a:cubicBezTo>
                    <a:pt x="9200" y="5608"/>
                    <a:pt x="9389" y="5797"/>
                    <a:pt x="9610" y="5797"/>
                  </a:cubicBezTo>
                  <a:cubicBezTo>
                    <a:pt x="9862" y="5797"/>
                    <a:pt x="10019" y="5608"/>
                    <a:pt x="10019" y="5356"/>
                  </a:cubicBezTo>
                  <a:lnTo>
                    <a:pt x="10019" y="2048"/>
                  </a:lnTo>
                  <a:cubicBezTo>
                    <a:pt x="10019" y="1828"/>
                    <a:pt x="10209" y="1670"/>
                    <a:pt x="10398" y="1670"/>
                  </a:cubicBezTo>
                  <a:cubicBezTo>
                    <a:pt x="10618" y="1670"/>
                    <a:pt x="10807" y="1859"/>
                    <a:pt x="10807" y="2048"/>
                  </a:cubicBezTo>
                  <a:lnTo>
                    <a:pt x="10807" y="5356"/>
                  </a:lnTo>
                  <a:cubicBezTo>
                    <a:pt x="10807" y="5608"/>
                    <a:pt x="10996" y="5797"/>
                    <a:pt x="11185" y="5797"/>
                  </a:cubicBezTo>
                  <a:cubicBezTo>
                    <a:pt x="11406" y="5797"/>
                    <a:pt x="11626" y="5608"/>
                    <a:pt x="11626" y="5356"/>
                  </a:cubicBezTo>
                  <a:lnTo>
                    <a:pt x="11626" y="4537"/>
                  </a:lnTo>
                  <a:cubicBezTo>
                    <a:pt x="11626" y="4285"/>
                    <a:pt x="11815" y="4096"/>
                    <a:pt x="12036" y="4096"/>
                  </a:cubicBezTo>
                  <a:cubicBezTo>
                    <a:pt x="12256" y="4096"/>
                    <a:pt x="12414" y="4285"/>
                    <a:pt x="12414" y="4537"/>
                  </a:cubicBezTo>
                  <a:lnTo>
                    <a:pt x="12414" y="8696"/>
                  </a:lnTo>
                  <a:cubicBezTo>
                    <a:pt x="12414" y="9389"/>
                    <a:pt x="11878" y="9925"/>
                    <a:pt x="11154" y="9925"/>
                  </a:cubicBezTo>
                  <a:lnTo>
                    <a:pt x="9925" y="9925"/>
                  </a:lnTo>
                  <a:lnTo>
                    <a:pt x="9925" y="7845"/>
                  </a:lnTo>
                  <a:cubicBezTo>
                    <a:pt x="9925" y="7184"/>
                    <a:pt x="9389" y="6617"/>
                    <a:pt x="8665" y="6617"/>
                  </a:cubicBezTo>
                  <a:cubicBezTo>
                    <a:pt x="8507" y="6617"/>
                    <a:pt x="8413" y="6648"/>
                    <a:pt x="8287" y="6711"/>
                  </a:cubicBezTo>
                  <a:cubicBezTo>
                    <a:pt x="8413" y="6585"/>
                    <a:pt x="8413" y="1891"/>
                    <a:pt x="8413" y="1229"/>
                  </a:cubicBezTo>
                  <a:cubicBezTo>
                    <a:pt x="8413" y="977"/>
                    <a:pt x="8602" y="788"/>
                    <a:pt x="8791" y="788"/>
                  </a:cubicBezTo>
                  <a:close/>
                  <a:moveTo>
                    <a:pt x="5483" y="4096"/>
                  </a:moveTo>
                  <a:cubicBezTo>
                    <a:pt x="5735" y="4096"/>
                    <a:pt x="5892" y="4254"/>
                    <a:pt x="5924" y="4506"/>
                  </a:cubicBezTo>
                  <a:lnTo>
                    <a:pt x="5924" y="8696"/>
                  </a:lnTo>
                  <a:cubicBezTo>
                    <a:pt x="5924" y="8948"/>
                    <a:pt x="6113" y="9105"/>
                    <a:pt x="6302" y="9105"/>
                  </a:cubicBezTo>
                  <a:cubicBezTo>
                    <a:pt x="6554" y="9105"/>
                    <a:pt x="6743" y="8885"/>
                    <a:pt x="6743" y="8696"/>
                  </a:cubicBezTo>
                  <a:lnTo>
                    <a:pt x="6743" y="5356"/>
                  </a:lnTo>
                  <a:cubicBezTo>
                    <a:pt x="6743" y="5136"/>
                    <a:pt x="6932" y="4915"/>
                    <a:pt x="7153" y="4915"/>
                  </a:cubicBezTo>
                  <a:cubicBezTo>
                    <a:pt x="7342" y="4915"/>
                    <a:pt x="7562" y="5136"/>
                    <a:pt x="7562" y="5356"/>
                  </a:cubicBezTo>
                  <a:lnTo>
                    <a:pt x="7562" y="8696"/>
                  </a:lnTo>
                  <a:cubicBezTo>
                    <a:pt x="7562" y="8948"/>
                    <a:pt x="7783" y="9105"/>
                    <a:pt x="7972" y="9105"/>
                  </a:cubicBezTo>
                  <a:cubicBezTo>
                    <a:pt x="8161" y="9105"/>
                    <a:pt x="8350" y="8885"/>
                    <a:pt x="8350" y="8696"/>
                  </a:cubicBezTo>
                  <a:lnTo>
                    <a:pt x="8350" y="7877"/>
                  </a:lnTo>
                  <a:cubicBezTo>
                    <a:pt x="8350" y="7656"/>
                    <a:pt x="8570" y="7436"/>
                    <a:pt x="8759" y="7436"/>
                  </a:cubicBezTo>
                  <a:cubicBezTo>
                    <a:pt x="8948" y="7436"/>
                    <a:pt x="9137" y="7656"/>
                    <a:pt x="9137" y="7877"/>
                  </a:cubicBezTo>
                  <a:lnTo>
                    <a:pt x="9137" y="12035"/>
                  </a:lnTo>
                  <a:cubicBezTo>
                    <a:pt x="9137" y="12728"/>
                    <a:pt x="8602" y="13264"/>
                    <a:pt x="7940" y="13264"/>
                  </a:cubicBezTo>
                  <a:lnTo>
                    <a:pt x="3403" y="13264"/>
                  </a:lnTo>
                  <a:cubicBezTo>
                    <a:pt x="2994" y="13264"/>
                    <a:pt x="2647" y="13075"/>
                    <a:pt x="2427" y="12791"/>
                  </a:cubicBezTo>
                  <a:cubicBezTo>
                    <a:pt x="915" y="10523"/>
                    <a:pt x="1009" y="10649"/>
                    <a:pt x="1009" y="10586"/>
                  </a:cubicBezTo>
                  <a:cubicBezTo>
                    <a:pt x="915" y="10429"/>
                    <a:pt x="915" y="10208"/>
                    <a:pt x="1104" y="10051"/>
                  </a:cubicBezTo>
                  <a:cubicBezTo>
                    <a:pt x="1189" y="9980"/>
                    <a:pt x="1280" y="9947"/>
                    <a:pt x="1370" y="9947"/>
                  </a:cubicBezTo>
                  <a:cubicBezTo>
                    <a:pt x="1479" y="9947"/>
                    <a:pt x="1584" y="9995"/>
                    <a:pt x="1671" y="10082"/>
                  </a:cubicBezTo>
                  <a:lnTo>
                    <a:pt x="2742" y="11153"/>
                  </a:lnTo>
                  <a:cubicBezTo>
                    <a:pt x="2818" y="11230"/>
                    <a:pt x="2918" y="11271"/>
                    <a:pt x="3005" y="11271"/>
                  </a:cubicBezTo>
                  <a:cubicBezTo>
                    <a:pt x="3062" y="11271"/>
                    <a:pt x="3114" y="11254"/>
                    <a:pt x="3151" y="11216"/>
                  </a:cubicBezTo>
                  <a:cubicBezTo>
                    <a:pt x="3340" y="11153"/>
                    <a:pt x="3403" y="11027"/>
                    <a:pt x="3403" y="10838"/>
                  </a:cubicBezTo>
                  <a:lnTo>
                    <a:pt x="3403" y="5356"/>
                  </a:lnTo>
                  <a:cubicBezTo>
                    <a:pt x="3403" y="5136"/>
                    <a:pt x="3592" y="4915"/>
                    <a:pt x="3845" y="4915"/>
                  </a:cubicBezTo>
                  <a:cubicBezTo>
                    <a:pt x="4065" y="4915"/>
                    <a:pt x="4223" y="5136"/>
                    <a:pt x="4223" y="5356"/>
                  </a:cubicBezTo>
                  <a:lnTo>
                    <a:pt x="4223" y="8696"/>
                  </a:lnTo>
                  <a:cubicBezTo>
                    <a:pt x="4223" y="8948"/>
                    <a:pt x="4412" y="9105"/>
                    <a:pt x="4664" y="9105"/>
                  </a:cubicBezTo>
                  <a:cubicBezTo>
                    <a:pt x="4884" y="9105"/>
                    <a:pt x="5105" y="8885"/>
                    <a:pt x="5105" y="8696"/>
                  </a:cubicBezTo>
                  <a:lnTo>
                    <a:pt x="5105" y="4537"/>
                  </a:lnTo>
                  <a:cubicBezTo>
                    <a:pt x="5105" y="4285"/>
                    <a:pt x="5294" y="4096"/>
                    <a:pt x="5483" y="4096"/>
                  </a:cubicBezTo>
                  <a:close/>
                  <a:moveTo>
                    <a:pt x="8822" y="1"/>
                  </a:moveTo>
                  <a:cubicBezTo>
                    <a:pt x="8255" y="1"/>
                    <a:pt x="7783" y="410"/>
                    <a:pt x="7657" y="914"/>
                  </a:cubicBezTo>
                  <a:cubicBezTo>
                    <a:pt x="7499" y="883"/>
                    <a:pt x="7342" y="820"/>
                    <a:pt x="7184" y="820"/>
                  </a:cubicBezTo>
                  <a:cubicBezTo>
                    <a:pt x="6522" y="820"/>
                    <a:pt x="5955" y="1387"/>
                    <a:pt x="5955" y="2048"/>
                  </a:cubicBezTo>
                  <a:lnTo>
                    <a:pt x="5955" y="3340"/>
                  </a:lnTo>
                  <a:cubicBezTo>
                    <a:pt x="5829" y="3309"/>
                    <a:pt x="5672" y="3277"/>
                    <a:pt x="5514" y="3277"/>
                  </a:cubicBezTo>
                  <a:cubicBezTo>
                    <a:pt x="4947" y="3277"/>
                    <a:pt x="4475" y="3655"/>
                    <a:pt x="4349" y="4191"/>
                  </a:cubicBezTo>
                  <a:cubicBezTo>
                    <a:pt x="4191" y="4128"/>
                    <a:pt x="4034" y="4096"/>
                    <a:pt x="3876" y="4096"/>
                  </a:cubicBezTo>
                  <a:cubicBezTo>
                    <a:pt x="3214" y="4096"/>
                    <a:pt x="2616" y="4663"/>
                    <a:pt x="2616" y="5356"/>
                  </a:cubicBezTo>
                  <a:lnTo>
                    <a:pt x="2616" y="9862"/>
                  </a:lnTo>
                  <a:lnTo>
                    <a:pt x="2269" y="9483"/>
                  </a:lnTo>
                  <a:cubicBezTo>
                    <a:pt x="2025" y="9239"/>
                    <a:pt x="1712" y="9121"/>
                    <a:pt x="1398" y="9121"/>
                  </a:cubicBezTo>
                  <a:cubicBezTo>
                    <a:pt x="1105" y="9121"/>
                    <a:pt x="811" y="9223"/>
                    <a:pt x="568" y="9420"/>
                  </a:cubicBezTo>
                  <a:cubicBezTo>
                    <a:pt x="95" y="9862"/>
                    <a:pt x="1" y="10555"/>
                    <a:pt x="379" y="11059"/>
                  </a:cubicBezTo>
                  <a:lnTo>
                    <a:pt x="1797" y="13264"/>
                  </a:lnTo>
                  <a:cubicBezTo>
                    <a:pt x="2175" y="13831"/>
                    <a:pt x="2805" y="14146"/>
                    <a:pt x="3435" y="14146"/>
                  </a:cubicBezTo>
                  <a:lnTo>
                    <a:pt x="7972" y="14146"/>
                  </a:lnTo>
                  <a:cubicBezTo>
                    <a:pt x="9106" y="14146"/>
                    <a:pt x="10051" y="13201"/>
                    <a:pt x="10051" y="12035"/>
                  </a:cubicBezTo>
                  <a:lnTo>
                    <a:pt x="10051" y="10807"/>
                  </a:lnTo>
                  <a:lnTo>
                    <a:pt x="11280" y="10807"/>
                  </a:lnTo>
                  <a:cubicBezTo>
                    <a:pt x="12414" y="10807"/>
                    <a:pt x="13359" y="9862"/>
                    <a:pt x="13359" y="8696"/>
                  </a:cubicBezTo>
                  <a:lnTo>
                    <a:pt x="13359" y="4537"/>
                  </a:lnTo>
                  <a:cubicBezTo>
                    <a:pt x="13359" y="3876"/>
                    <a:pt x="12823" y="3309"/>
                    <a:pt x="12130" y="3309"/>
                  </a:cubicBezTo>
                  <a:cubicBezTo>
                    <a:pt x="11973" y="3309"/>
                    <a:pt x="11878" y="3340"/>
                    <a:pt x="11752" y="3372"/>
                  </a:cubicBezTo>
                  <a:lnTo>
                    <a:pt x="11752" y="2048"/>
                  </a:lnTo>
                  <a:cubicBezTo>
                    <a:pt x="11752" y="1387"/>
                    <a:pt x="11185" y="820"/>
                    <a:pt x="10492" y="820"/>
                  </a:cubicBezTo>
                  <a:cubicBezTo>
                    <a:pt x="10335" y="820"/>
                    <a:pt x="10177" y="883"/>
                    <a:pt x="10019" y="914"/>
                  </a:cubicBezTo>
                  <a:cubicBezTo>
                    <a:pt x="9862" y="410"/>
                    <a:pt x="9389" y="1"/>
                    <a:pt x="8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1" name="Google Shape;10561;p79"/>
            <p:cNvSpPr/>
            <p:nvPr/>
          </p:nvSpPr>
          <p:spPr>
            <a:xfrm>
              <a:off x="-10016750" y="2491050"/>
              <a:ext cx="63825" cy="61850"/>
            </a:xfrm>
            <a:custGeom>
              <a:avLst/>
              <a:gdLst/>
              <a:ahLst/>
              <a:cxnLst/>
              <a:rect l="l" t="t" r="r" b="b"/>
              <a:pathLst>
                <a:path w="2553" h="2474" extrusionOk="0">
                  <a:moveTo>
                    <a:pt x="457" y="0"/>
                  </a:moveTo>
                  <a:cubicBezTo>
                    <a:pt x="347" y="0"/>
                    <a:pt x="237" y="40"/>
                    <a:pt x="158" y="119"/>
                  </a:cubicBezTo>
                  <a:cubicBezTo>
                    <a:pt x="0" y="276"/>
                    <a:pt x="0" y="560"/>
                    <a:pt x="158" y="717"/>
                  </a:cubicBezTo>
                  <a:lnTo>
                    <a:pt x="1796" y="2355"/>
                  </a:lnTo>
                  <a:cubicBezTo>
                    <a:pt x="1891" y="2434"/>
                    <a:pt x="2001" y="2474"/>
                    <a:pt x="2107" y="2474"/>
                  </a:cubicBezTo>
                  <a:cubicBezTo>
                    <a:pt x="2214" y="2474"/>
                    <a:pt x="2316" y="2434"/>
                    <a:pt x="2395" y="2355"/>
                  </a:cubicBezTo>
                  <a:cubicBezTo>
                    <a:pt x="2552" y="2198"/>
                    <a:pt x="2552" y="1914"/>
                    <a:pt x="2395" y="1757"/>
                  </a:cubicBezTo>
                  <a:lnTo>
                    <a:pt x="757" y="119"/>
                  </a:lnTo>
                  <a:cubicBezTo>
                    <a:pt x="678" y="40"/>
                    <a:pt x="568" y="0"/>
                    <a:pt x="4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79"/>
            <p:cNvSpPr/>
            <p:nvPr/>
          </p:nvSpPr>
          <p:spPr>
            <a:xfrm>
              <a:off x="-9933275" y="2490075"/>
              <a:ext cx="20525" cy="63025"/>
            </a:xfrm>
            <a:custGeom>
              <a:avLst/>
              <a:gdLst/>
              <a:ahLst/>
              <a:cxnLst/>
              <a:rect l="l" t="t" r="r" b="b"/>
              <a:pathLst>
                <a:path w="821" h="2521" extrusionOk="0">
                  <a:moveTo>
                    <a:pt x="442" y="0"/>
                  </a:moveTo>
                  <a:cubicBezTo>
                    <a:pt x="221" y="0"/>
                    <a:pt x="1" y="189"/>
                    <a:pt x="1" y="441"/>
                  </a:cubicBezTo>
                  <a:lnTo>
                    <a:pt x="1" y="2079"/>
                  </a:lnTo>
                  <a:cubicBezTo>
                    <a:pt x="1" y="2331"/>
                    <a:pt x="221" y="2520"/>
                    <a:pt x="442" y="2520"/>
                  </a:cubicBezTo>
                  <a:cubicBezTo>
                    <a:pt x="631" y="2520"/>
                    <a:pt x="820" y="2331"/>
                    <a:pt x="820" y="2079"/>
                  </a:cubicBezTo>
                  <a:lnTo>
                    <a:pt x="820" y="441"/>
                  </a:lnTo>
                  <a:cubicBezTo>
                    <a:pt x="820" y="189"/>
                    <a:pt x="631"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79"/>
            <p:cNvSpPr/>
            <p:nvPr/>
          </p:nvSpPr>
          <p:spPr>
            <a:xfrm>
              <a:off x="-10015975" y="2573550"/>
              <a:ext cx="63050" cy="20500"/>
            </a:xfrm>
            <a:custGeom>
              <a:avLst/>
              <a:gdLst/>
              <a:ahLst/>
              <a:cxnLst/>
              <a:rect l="l" t="t" r="r" b="b"/>
              <a:pathLst>
                <a:path w="2522" h="820" extrusionOk="0">
                  <a:moveTo>
                    <a:pt x="442" y="1"/>
                  </a:moveTo>
                  <a:cubicBezTo>
                    <a:pt x="190" y="1"/>
                    <a:pt x="1" y="190"/>
                    <a:pt x="1" y="442"/>
                  </a:cubicBezTo>
                  <a:cubicBezTo>
                    <a:pt x="1" y="631"/>
                    <a:pt x="190" y="820"/>
                    <a:pt x="442" y="820"/>
                  </a:cubicBezTo>
                  <a:lnTo>
                    <a:pt x="2080" y="820"/>
                  </a:lnTo>
                  <a:cubicBezTo>
                    <a:pt x="2332" y="820"/>
                    <a:pt x="2521" y="631"/>
                    <a:pt x="2521" y="442"/>
                  </a:cubicBezTo>
                  <a:cubicBezTo>
                    <a:pt x="2521" y="190"/>
                    <a:pt x="233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4" name="Google Shape;10564;p79"/>
          <p:cNvGrpSpPr/>
          <p:nvPr/>
        </p:nvGrpSpPr>
        <p:grpSpPr>
          <a:xfrm>
            <a:off x="6661180" y="3186193"/>
            <a:ext cx="352227" cy="343100"/>
            <a:chOff x="-8684100" y="2032450"/>
            <a:chExt cx="364700" cy="355250"/>
          </a:xfrm>
        </p:grpSpPr>
        <p:sp>
          <p:nvSpPr>
            <p:cNvPr id="10565" name="Google Shape;10565;p79"/>
            <p:cNvSpPr/>
            <p:nvPr/>
          </p:nvSpPr>
          <p:spPr>
            <a:xfrm>
              <a:off x="-8684100" y="2032450"/>
              <a:ext cx="364700" cy="355250"/>
            </a:xfrm>
            <a:custGeom>
              <a:avLst/>
              <a:gdLst/>
              <a:ahLst/>
              <a:cxnLst/>
              <a:rect l="l" t="t" r="r" b="b"/>
              <a:pathLst>
                <a:path w="14588" h="14210" extrusionOk="0">
                  <a:moveTo>
                    <a:pt x="13611" y="820"/>
                  </a:moveTo>
                  <a:lnTo>
                    <a:pt x="13611" y="1891"/>
                  </a:lnTo>
                  <a:lnTo>
                    <a:pt x="13642" y="1891"/>
                  </a:lnTo>
                  <a:lnTo>
                    <a:pt x="12130" y="2994"/>
                  </a:lnTo>
                  <a:lnTo>
                    <a:pt x="11469" y="2301"/>
                  </a:lnTo>
                  <a:lnTo>
                    <a:pt x="12571" y="820"/>
                  </a:lnTo>
                  <a:close/>
                  <a:moveTo>
                    <a:pt x="3561" y="2238"/>
                  </a:moveTo>
                  <a:lnTo>
                    <a:pt x="5294" y="3970"/>
                  </a:lnTo>
                  <a:cubicBezTo>
                    <a:pt x="5168" y="4033"/>
                    <a:pt x="5105" y="4128"/>
                    <a:pt x="4979" y="4254"/>
                  </a:cubicBezTo>
                  <a:lnTo>
                    <a:pt x="4695" y="4506"/>
                  </a:lnTo>
                  <a:lnTo>
                    <a:pt x="3844" y="3655"/>
                  </a:lnTo>
                  <a:cubicBezTo>
                    <a:pt x="3435" y="3246"/>
                    <a:pt x="3372" y="2710"/>
                    <a:pt x="3561" y="2238"/>
                  </a:cubicBezTo>
                  <a:close/>
                  <a:moveTo>
                    <a:pt x="10965" y="2899"/>
                  </a:moveTo>
                  <a:lnTo>
                    <a:pt x="11563" y="3498"/>
                  </a:lnTo>
                  <a:lnTo>
                    <a:pt x="8192" y="6837"/>
                  </a:lnTo>
                  <a:lnTo>
                    <a:pt x="7625" y="6239"/>
                  </a:lnTo>
                  <a:lnTo>
                    <a:pt x="10965" y="2899"/>
                  </a:lnTo>
                  <a:close/>
                  <a:moveTo>
                    <a:pt x="10492" y="9200"/>
                  </a:moveTo>
                  <a:lnTo>
                    <a:pt x="12225" y="10901"/>
                  </a:lnTo>
                  <a:cubicBezTo>
                    <a:pt x="12048" y="10984"/>
                    <a:pt x="11859" y="11027"/>
                    <a:pt x="11671" y="11027"/>
                  </a:cubicBezTo>
                  <a:cubicBezTo>
                    <a:pt x="11355" y="11027"/>
                    <a:pt x="11044" y="10906"/>
                    <a:pt x="10807" y="10649"/>
                  </a:cubicBezTo>
                  <a:lnTo>
                    <a:pt x="9925" y="9799"/>
                  </a:lnTo>
                  <a:lnTo>
                    <a:pt x="10208" y="9515"/>
                  </a:lnTo>
                  <a:cubicBezTo>
                    <a:pt x="10334" y="9389"/>
                    <a:pt x="10397" y="9326"/>
                    <a:pt x="10492" y="9200"/>
                  </a:cubicBezTo>
                  <a:close/>
                  <a:moveTo>
                    <a:pt x="2962" y="11059"/>
                  </a:moveTo>
                  <a:lnTo>
                    <a:pt x="3403" y="11500"/>
                  </a:lnTo>
                  <a:lnTo>
                    <a:pt x="2143" y="12319"/>
                  </a:lnTo>
                  <a:lnTo>
                    <a:pt x="2962" y="11059"/>
                  </a:lnTo>
                  <a:close/>
                  <a:moveTo>
                    <a:pt x="6996" y="4146"/>
                  </a:moveTo>
                  <a:cubicBezTo>
                    <a:pt x="7395" y="4146"/>
                    <a:pt x="7791" y="4258"/>
                    <a:pt x="8129" y="4474"/>
                  </a:cubicBezTo>
                  <a:lnTo>
                    <a:pt x="6711" y="5892"/>
                  </a:lnTo>
                  <a:cubicBezTo>
                    <a:pt x="6554" y="6050"/>
                    <a:pt x="6554" y="6333"/>
                    <a:pt x="6711" y="6491"/>
                  </a:cubicBezTo>
                  <a:lnTo>
                    <a:pt x="7877" y="7656"/>
                  </a:lnTo>
                  <a:cubicBezTo>
                    <a:pt x="7956" y="7735"/>
                    <a:pt x="8066" y="7775"/>
                    <a:pt x="8176" y="7775"/>
                  </a:cubicBezTo>
                  <a:cubicBezTo>
                    <a:pt x="8287" y="7775"/>
                    <a:pt x="8397" y="7735"/>
                    <a:pt x="8476" y="7656"/>
                  </a:cubicBezTo>
                  <a:lnTo>
                    <a:pt x="9893" y="6239"/>
                  </a:lnTo>
                  <a:cubicBezTo>
                    <a:pt x="10145" y="6648"/>
                    <a:pt x="10240" y="7026"/>
                    <a:pt x="10240" y="7436"/>
                  </a:cubicBezTo>
                  <a:cubicBezTo>
                    <a:pt x="10240" y="7971"/>
                    <a:pt x="10051" y="8476"/>
                    <a:pt x="9673" y="8885"/>
                  </a:cubicBezTo>
                  <a:lnTo>
                    <a:pt x="9232" y="9326"/>
                  </a:lnTo>
                  <a:cubicBezTo>
                    <a:pt x="9086" y="9286"/>
                    <a:pt x="8937" y="9266"/>
                    <a:pt x="8788" y="9266"/>
                  </a:cubicBezTo>
                  <a:cubicBezTo>
                    <a:pt x="8356" y="9266"/>
                    <a:pt x="7929" y="9431"/>
                    <a:pt x="7625" y="9736"/>
                  </a:cubicBezTo>
                  <a:cubicBezTo>
                    <a:pt x="7310" y="10051"/>
                    <a:pt x="7152" y="10492"/>
                    <a:pt x="7089" y="10933"/>
                  </a:cubicBezTo>
                  <a:cubicBezTo>
                    <a:pt x="7089" y="11405"/>
                    <a:pt x="7247" y="11784"/>
                    <a:pt x="7562" y="12099"/>
                  </a:cubicBezTo>
                  <a:lnTo>
                    <a:pt x="7310" y="12382"/>
                  </a:lnTo>
                  <a:cubicBezTo>
                    <a:pt x="6743" y="12949"/>
                    <a:pt x="6050" y="13264"/>
                    <a:pt x="5262" y="13264"/>
                  </a:cubicBezTo>
                  <a:cubicBezTo>
                    <a:pt x="4538" y="13264"/>
                    <a:pt x="3844" y="12981"/>
                    <a:pt x="3309" y="12508"/>
                  </a:cubicBezTo>
                  <a:lnTo>
                    <a:pt x="4317" y="11878"/>
                  </a:lnTo>
                  <a:cubicBezTo>
                    <a:pt x="4412" y="11784"/>
                    <a:pt x="4475" y="11689"/>
                    <a:pt x="4506" y="11563"/>
                  </a:cubicBezTo>
                  <a:cubicBezTo>
                    <a:pt x="4506" y="11437"/>
                    <a:pt x="4475" y="11311"/>
                    <a:pt x="4380" y="11216"/>
                  </a:cubicBezTo>
                  <a:lnTo>
                    <a:pt x="3214" y="10019"/>
                  </a:lnTo>
                  <a:cubicBezTo>
                    <a:pt x="3120" y="9956"/>
                    <a:pt x="2994" y="9893"/>
                    <a:pt x="2836" y="9893"/>
                  </a:cubicBezTo>
                  <a:cubicBezTo>
                    <a:pt x="2742" y="9893"/>
                    <a:pt x="2616" y="9988"/>
                    <a:pt x="2521" y="10114"/>
                  </a:cubicBezTo>
                  <a:lnTo>
                    <a:pt x="1891" y="11090"/>
                  </a:lnTo>
                  <a:cubicBezTo>
                    <a:pt x="883" y="9956"/>
                    <a:pt x="914" y="8223"/>
                    <a:pt x="2017" y="7121"/>
                  </a:cubicBezTo>
                  <a:lnTo>
                    <a:pt x="2301" y="6837"/>
                  </a:lnTo>
                  <a:cubicBezTo>
                    <a:pt x="2616" y="7152"/>
                    <a:pt x="3057" y="7310"/>
                    <a:pt x="3466" y="7310"/>
                  </a:cubicBezTo>
                  <a:cubicBezTo>
                    <a:pt x="3907" y="7310"/>
                    <a:pt x="4348" y="7121"/>
                    <a:pt x="4664" y="6806"/>
                  </a:cubicBezTo>
                  <a:cubicBezTo>
                    <a:pt x="5105" y="6365"/>
                    <a:pt x="5262" y="5766"/>
                    <a:pt x="5105" y="5168"/>
                  </a:cubicBezTo>
                  <a:lnTo>
                    <a:pt x="5514" y="4758"/>
                  </a:lnTo>
                  <a:cubicBezTo>
                    <a:pt x="5928" y="4344"/>
                    <a:pt x="6465" y="4146"/>
                    <a:pt x="6996" y="4146"/>
                  </a:cubicBezTo>
                  <a:close/>
                  <a:moveTo>
                    <a:pt x="12382" y="1"/>
                  </a:moveTo>
                  <a:cubicBezTo>
                    <a:pt x="12256" y="1"/>
                    <a:pt x="12130" y="64"/>
                    <a:pt x="12067" y="158"/>
                  </a:cubicBezTo>
                  <a:lnTo>
                    <a:pt x="10649" y="2080"/>
                  </a:lnTo>
                  <a:lnTo>
                    <a:pt x="8759" y="3970"/>
                  </a:lnTo>
                  <a:cubicBezTo>
                    <a:pt x="8249" y="3583"/>
                    <a:pt x="7634" y="3393"/>
                    <a:pt x="7024" y="3393"/>
                  </a:cubicBezTo>
                  <a:cubicBezTo>
                    <a:pt x="6692" y="3393"/>
                    <a:pt x="6361" y="3450"/>
                    <a:pt x="6050" y="3561"/>
                  </a:cubicBezTo>
                  <a:lnTo>
                    <a:pt x="2616" y="158"/>
                  </a:lnTo>
                  <a:cubicBezTo>
                    <a:pt x="2537" y="79"/>
                    <a:pt x="2427" y="40"/>
                    <a:pt x="2316" y="40"/>
                  </a:cubicBezTo>
                  <a:cubicBezTo>
                    <a:pt x="2206" y="40"/>
                    <a:pt x="2096" y="79"/>
                    <a:pt x="2017" y="158"/>
                  </a:cubicBezTo>
                  <a:cubicBezTo>
                    <a:pt x="1860" y="316"/>
                    <a:pt x="1860" y="568"/>
                    <a:pt x="2017" y="725"/>
                  </a:cubicBezTo>
                  <a:lnTo>
                    <a:pt x="2931" y="1639"/>
                  </a:lnTo>
                  <a:cubicBezTo>
                    <a:pt x="2427" y="2427"/>
                    <a:pt x="2490" y="3529"/>
                    <a:pt x="3214" y="4254"/>
                  </a:cubicBezTo>
                  <a:lnTo>
                    <a:pt x="4222" y="5262"/>
                  </a:lnTo>
                  <a:cubicBezTo>
                    <a:pt x="4222" y="5294"/>
                    <a:pt x="4222" y="5325"/>
                    <a:pt x="4254" y="5388"/>
                  </a:cubicBezTo>
                  <a:cubicBezTo>
                    <a:pt x="4412" y="5703"/>
                    <a:pt x="4348" y="6081"/>
                    <a:pt x="4096" y="6333"/>
                  </a:cubicBezTo>
                  <a:cubicBezTo>
                    <a:pt x="3948" y="6499"/>
                    <a:pt x="3721" y="6586"/>
                    <a:pt x="3493" y="6586"/>
                  </a:cubicBezTo>
                  <a:cubicBezTo>
                    <a:pt x="3287" y="6586"/>
                    <a:pt x="3080" y="6514"/>
                    <a:pt x="2931" y="6365"/>
                  </a:cubicBezTo>
                  <a:lnTo>
                    <a:pt x="2647" y="6081"/>
                  </a:lnTo>
                  <a:cubicBezTo>
                    <a:pt x="2568" y="6002"/>
                    <a:pt x="2458" y="5963"/>
                    <a:pt x="2348" y="5963"/>
                  </a:cubicBezTo>
                  <a:cubicBezTo>
                    <a:pt x="2238" y="5963"/>
                    <a:pt x="2127" y="6002"/>
                    <a:pt x="2049" y="6081"/>
                  </a:cubicBezTo>
                  <a:lnTo>
                    <a:pt x="1482" y="6680"/>
                  </a:lnTo>
                  <a:cubicBezTo>
                    <a:pt x="1" y="8129"/>
                    <a:pt x="1" y="10492"/>
                    <a:pt x="1482" y="11973"/>
                  </a:cubicBezTo>
                  <a:lnTo>
                    <a:pt x="442" y="13579"/>
                  </a:lnTo>
                  <a:cubicBezTo>
                    <a:pt x="316" y="13737"/>
                    <a:pt x="379" y="13957"/>
                    <a:pt x="473" y="14083"/>
                  </a:cubicBezTo>
                  <a:cubicBezTo>
                    <a:pt x="562" y="14154"/>
                    <a:pt x="670" y="14195"/>
                    <a:pt x="776" y="14195"/>
                  </a:cubicBezTo>
                  <a:cubicBezTo>
                    <a:pt x="859" y="14195"/>
                    <a:pt x="940" y="14170"/>
                    <a:pt x="1009" y="14115"/>
                  </a:cubicBezTo>
                  <a:lnTo>
                    <a:pt x="2616" y="13107"/>
                  </a:lnTo>
                  <a:cubicBezTo>
                    <a:pt x="3309" y="13800"/>
                    <a:pt x="4254" y="14209"/>
                    <a:pt x="5262" y="14209"/>
                  </a:cubicBezTo>
                  <a:cubicBezTo>
                    <a:pt x="6239" y="14209"/>
                    <a:pt x="7184" y="13800"/>
                    <a:pt x="7877" y="13107"/>
                  </a:cubicBezTo>
                  <a:lnTo>
                    <a:pt x="8476" y="12508"/>
                  </a:lnTo>
                  <a:cubicBezTo>
                    <a:pt x="8633" y="12351"/>
                    <a:pt x="8633" y="12067"/>
                    <a:pt x="8476" y="11910"/>
                  </a:cubicBezTo>
                  <a:lnTo>
                    <a:pt x="8192" y="11657"/>
                  </a:lnTo>
                  <a:cubicBezTo>
                    <a:pt x="7877" y="11342"/>
                    <a:pt x="7877" y="10775"/>
                    <a:pt x="8255" y="10460"/>
                  </a:cubicBezTo>
                  <a:cubicBezTo>
                    <a:pt x="8400" y="10315"/>
                    <a:pt x="8627" y="10225"/>
                    <a:pt x="8856" y="10225"/>
                  </a:cubicBezTo>
                  <a:cubicBezTo>
                    <a:pt x="8974" y="10225"/>
                    <a:pt x="9093" y="10249"/>
                    <a:pt x="9200" y="10303"/>
                  </a:cubicBezTo>
                  <a:cubicBezTo>
                    <a:pt x="9232" y="10303"/>
                    <a:pt x="9263" y="10334"/>
                    <a:pt x="9295" y="10334"/>
                  </a:cubicBezTo>
                  <a:lnTo>
                    <a:pt x="10334" y="11374"/>
                  </a:lnTo>
                  <a:cubicBezTo>
                    <a:pt x="10736" y="11775"/>
                    <a:pt x="11274" y="11976"/>
                    <a:pt x="11809" y="11976"/>
                  </a:cubicBezTo>
                  <a:cubicBezTo>
                    <a:pt x="12199" y="11976"/>
                    <a:pt x="12586" y="11870"/>
                    <a:pt x="12918" y="11657"/>
                  </a:cubicBezTo>
                  <a:lnTo>
                    <a:pt x="13831" y="12540"/>
                  </a:lnTo>
                  <a:cubicBezTo>
                    <a:pt x="13910" y="12618"/>
                    <a:pt x="14021" y="12658"/>
                    <a:pt x="14131" y="12658"/>
                  </a:cubicBezTo>
                  <a:cubicBezTo>
                    <a:pt x="14241" y="12658"/>
                    <a:pt x="14351" y="12618"/>
                    <a:pt x="14430" y="12540"/>
                  </a:cubicBezTo>
                  <a:cubicBezTo>
                    <a:pt x="14588" y="12382"/>
                    <a:pt x="14588" y="12130"/>
                    <a:pt x="14430" y="11973"/>
                  </a:cubicBezTo>
                  <a:lnTo>
                    <a:pt x="10996" y="8539"/>
                  </a:lnTo>
                  <a:cubicBezTo>
                    <a:pt x="11122" y="8223"/>
                    <a:pt x="11154" y="7908"/>
                    <a:pt x="11154" y="7562"/>
                  </a:cubicBezTo>
                  <a:cubicBezTo>
                    <a:pt x="11154" y="6932"/>
                    <a:pt x="10965" y="6333"/>
                    <a:pt x="10555" y="5829"/>
                  </a:cubicBezTo>
                  <a:lnTo>
                    <a:pt x="12445" y="3939"/>
                  </a:lnTo>
                  <a:lnTo>
                    <a:pt x="14399" y="2521"/>
                  </a:lnTo>
                  <a:cubicBezTo>
                    <a:pt x="14493" y="2427"/>
                    <a:pt x="14556" y="2301"/>
                    <a:pt x="14556" y="2206"/>
                  </a:cubicBezTo>
                  <a:lnTo>
                    <a:pt x="14556" y="536"/>
                  </a:lnTo>
                  <a:cubicBezTo>
                    <a:pt x="14462" y="190"/>
                    <a:pt x="14273" y="1"/>
                    <a:pt x="140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79"/>
            <p:cNvSpPr/>
            <p:nvPr/>
          </p:nvSpPr>
          <p:spPr>
            <a:xfrm>
              <a:off x="-8637625" y="2231725"/>
              <a:ext cx="81950" cy="32525"/>
            </a:xfrm>
            <a:custGeom>
              <a:avLst/>
              <a:gdLst/>
              <a:ahLst/>
              <a:cxnLst/>
              <a:rect l="l" t="t" r="r" b="b"/>
              <a:pathLst>
                <a:path w="3278" h="1301" extrusionOk="0">
                  <a:moveTo>
                    <a:pt x="2226" y="0"/>
                  </a:moveTo>
                  <a:cubicBezTo>
                    <a:pt x="1907" y="0"/>
                    <a:pt x="1592" y="126"/>
                    <a:pt x="1355" y="378"/>
                  </a:cubicBezTo>
                  <a:cubicBezTo>
                    <a:pt x="1277" y="457"/>
                    <a:pt x="1166" y="497"/>
                    <a:pt x="1056" y="497"/>
                  </a:cubicBezTo>
                  <a:cubicBezTo>
                    <a:pt x="946" y="497"/>
                    <a:pt x="835" y="457"/>
                    <a:pt x="757" y="378"/>
                  </a:cubicBezTo>
                  <a:cubicBezTo>
                    <a:pt x="678" y="300"/>
                    <a:pt x="568" y="260"/>
                    <a:pt x="457" y="260"/>
                  </a:cubicBezTo>
                  <a:cubicBezTo>
                    <a:pt x="347" y="260"/>
                    <a:pt x="237" y="300"/>
                    <a:pt x="158" y="378"/>
                  </a:cubicBezTo>
                  <a:cubicBezTo>
                    <a:pt x="1" y="536"/>
                    <a:pt x="1" y="788"/>
                    <a:pt x="158" y="946"/>
                  </a:cubicBezTo>
                  <a:cubicBezTo>
                    <a:pt x="394" y="1182"/>
                    <a:pt x="709" y="1300"/>
                    <a:pt x="1028" y="1300"/>
                  </a:cubicBezTo>
                  <a:cubicBezTo>
                    <a:pt x="1347" y="1300"/>
                    <a:pt x="1670" y="1182"/>
                    <a:pt x="1922" y="946"/>
                  </a:cubicBezTo>
                  <a:cubicBezTo>
                    <a:pt x="2001" y="867"/>
                    <a:pt x="2111" y="827"/>
                    <a:pt x="2222" y="827"/>
                  </a:cubicBezTo>
                  <a:cubicBezTo>
                    <a:pt x="2332" y="827"/>
                    <a:pt x="2442" y="867"/>
                    <a:pt x="2521" y="946"/>
                  </a:cubicBezTo>
                  <a:cubicBezTo>
                    <a:pt x="2600" y="1024"/>
                    <a:pt x="2710" y="1064"/>
                    <a:pt x="2820" y="1064"/>
                  </a:cubicBezTo>
                  <a:cubicBezTo>
                    <a:pt x="2931" y="1064"/>
                    <a:pt x="3041" y="1024"/>
                    <a:pt x="3120" y="946"/>
                  </a:cubicBezTo>
                  <a:cubicBezTo>
                    <a:pt x="3277" y="788"/>
                    <a:pt x="3277" y="536"/>
                    <a:pt x="3120" y="378"/>
                  </a:cubicBezTo>
                  <a:cubicBezTo>
                    <a:pt x="2868" y="126"/>
                    <a:pt x="2545" y="0"/>
                    <a:pt x="2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7" name="Google Shape;10567;p79"/>
            <p:cNvSpPr/>
            <p:nvPr/>
          </p:nvSpPr>
          <p:spPr>
            <a:xfrm>
              <a:off x="-8558075" y="2267375"/>
              <a:ext cx="38625" cy="79950"/>
            </a:xfrm>
            <a:custGeom>
              <a:avLst/>
              <a:gdLst/>
              <a:ahLst/>
              <a:cxnLst/>
              <a:rect l="l" t="t" r="r" b="b"/>
              <a:pathLst>
                <a:path w="1545" h="3198" extrusionOk="0">
                  <a:moveTo>
                    <a:pt x="772" y="0"/>
                  </a:moveTo>
                  <a:cubicBezTo>
                    <a:pt x="662" y="0"/>
                    <a:pt x="552" y="39"/>
                    <a:pt x="473" y="118"/>
                  </a:cubicBezTo>
                  <a:cubicBezTo>
                    <a:pt x="316" y="276"/>
                    <a:pt x="316" y="559"/>
                    <a:pt x="473" y="717"/>
                  </a:cubicBezTo>
                  <a:cubicBezTo>
                    <a:pt x="631" y="874"/>
                    <a:pt x="631" y="1158"/>
                    <a:pt x="473" y="1315"/>
                  </a:cubicBezTo>
                  <a:cubicBezTo>
                    <a:pt x="1" y="1788"/>
                    <a:pt x="1" y="2576"/>
                    <a:pt x="473" y="3080"/>
                  </a:cubicBezTo>
                  <a:cubicBezTo>
                    <a:pt x="552" y="3158"/>
                    <a:pt x="662" y="3198"/>
                    <a:pt x="772" y="3198"/>
                  </a:cubicBezTo>
                  <a:cubicBezTo>
                    <a:pt x="883" y="3198"/>
                    <a:pt x="993" y="3158"/>
                    <a:pt x="1072" y="3080"/>
                  </a:cubicBezTo>
                  <a:cubicBezTo>
                    <a:pt x="1229" y="2922"/>
                    <a:pt x="1229" y="2639"/>
                    <a:pt x="1072" y="2481"/>
                  </a:cubicBezTo>
                  <a:cubicBezTo>
                    <a:pt x="914" y="2324"/>
                    <a:pt x="914" y="2040"/>
                    <a:pt x="1072" y="1882"/>
                  </a:cubicBezTo>
                  <a:cubicBezTo>
                    <a:pt x="1544" y="1378"/>
                    <a:pt x="1544" y="591"/>
                    <a:pt x="1072" y="118"/>
                  </a:cubicBezTo>
                  <a:cubicBezTo>
                    <a:pt x="993" y="39"/>
                    <a:pt x="883"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8" name="Google Shape;10568;p79"/>
          <p:cNvSpPr/>
          <p:nvPr/>
        </p:nvSpPr>
        <p:spPr>
          <a:xfrm>
            <a:off x="5773709" y="1532296"/>
            <a:ext cx="300509" cy="340807"/>
          </a:xfrm>
          <a:custGeom>
            <a:avLst/>
            <a:gdLst/>
            <a:ahLst/>
            <a:cxnLst/>
            <a:rect l="l" t="t" r="r" b="b"/>
            <a:pathLst>
              <a:path w="12446" h="14115" extrusionOk="0">
                <a:moveTo>
                  <a:pt x="10744" y="788"/>
                </a:moveTo>
                <a:cubicBezTo>
                  <a:pt x="11216" y="788"/>
                  <a:pt x="11563" y="1135"/>
                  <a:pt x="11563" y="1607"/>
                </a:cubicBezTo>
                <a:cubicBezTo>
                  <a:pt x="11563" y="2080"/>
                  <a:pt x="11216" y="2458"/>
                  <a:pt x="10744" y="2458"/>
                </a:cubicBezTo>
                <a:cubicBezTo>
                  <a:pt x="10492" y="2458"/>
                  <a:pt x="10303" y="2647"/>
                  <a:pt x="10303" y="2867"/>
                </a:cubicBezTo>
                <a:cubicBezTo>
                  <a:pt x="10303" y="3119"/>
                  <a:pt x="10492" y="3308"/>
                  <a:pt x="10744" y="3308"/>
                </a:cubicBezTo>
                <a:lnTo>
                  <a:pt x="10744" y="4884"/>
                </a:lnTo>
                <a:cubicBezTo>
                  <a:pt x="10744" y="4947"/>
                  <a:pt x="10775" y="5041"/>
                  <a:pt x="10807" y="5073"/>
                </a:cubicBezTo>
                <a:cubicBezTo>
                  <a:pt x="11342" y="5892"/>
                  <a:pt x="11563" y="6900"/>
                  <a:pt x="11563" y="7877"/>
                </a:cubicBezTo>
                <a:cubicBezTo>
                  <a:pt x="11563" y="8822"/>
                  <a:pt x="11342" y="9735"/>
                  <a:pt x="10870" y="10523"/>
                </a:cubicBezTo>
                <a:lnTo>
                  <a:pt x="10145" y="10050"/>
                </a:lnTo>
                <a:cubicBezTo>
                  <a:pt x="10523" y="9357"/>
                  <a:pt x="10712" y="8633"/>
                  <a:pt x="10712" y="7845"/>
                </a:cubicBezTo>
                <a:cubicBezTo>
                  <a:pt x="10712" y="6931"/>
                  <a:pt x="10429" y="6018"/>
                  <a:pt x="9956" y="5262"/>
                </a:cubicBezTo>
                <a:cubicBezTo>
                  <a:pt x="9925" y="5199"/>
                  <a:pt x="9893" y="5104"/>
                  <a:pt x="9893" y="5041"/>
                </a:cubicBezTo>
                <a:lnTo>
                  <a:pt x="9893" y="1576"/>
                </a:lnTo>
                <a:cubicBezTo>
                  <a:pt x="9925" y="1198"/>
                  <a:pt x="10271" y="788"/>
                  <a:pt x="10744" y="788"/>
                </a:cubicBezTo>
                <a:close/>
                <a:moveTo>
                  <a:pt x="1639" y="788"/>
                </a:moveTo>
                <a:cubicBezTo>
                  <a:pt x="2111" y="788"/>
                  <a:pt x="2458" y="1135"/>
                  <a:pt x="2458" y="1607"/>
                </a:cubicBezTo>
                <a:lnTo>
                  <a:pt x="2458" y="5073"/>
                </a:lnTo>
                <a:cubicBezTo>
                  <a:pt x="2458" y="5167"/>
                  <a:pt x="2427" y="5230"/>
                  <a:pt x="2395" y="5325"/>
                </a:cubicBezTo>
                <a:cubicBezTo>
                  <a:pt x="1922" y="6081"/>
                  <a:pt x="1639" y="6963"/>
                  <a:pt x="1639" y="7877"/>
                </a:cubicBezTo>
                <a:cubicBezTo>
                  <a:pt x="1639" y="8664"/>
                  <a:pt x="1828" y="9420"/>
                  <a:pt x="2206" y="10082"/>
                </a:cubicBezTo>
                <a:lnTo>
                  <a:pt x="1481" y="10554"/>
                </a:lnTo>
                <a:cubicBezTo>
                  <a:pt x="1040" y="9767"/>
                  <a:pt x="788" y="8853"/>
                  <a:pt x="788" y="7908"/>
                </a:cubicBezTo>
                <a:cubicBezTo>
                  <a:pt x="788" y="6931"/>
                  <a:pt x="1040" y="5955"/>
                  <a:pt x="1513" y="5136"/>
                </a:cubicBezTo>
                <a:cubicBezTo>
                  <a:pt x="1576" y="5041"/>
                  <a:pt x="1607" y="4978"/>
                  <a:pt x="1607" y="4915"/>
                </a:cubicBezTo>
                <a:lnTo>
                  <a:pt x="1607" y="3340"/>
                </a:lnTo>
                <a:cubicBezTo>
                  <a:pt x="1891" y="3277"/>
                  <a:pt x="2048" y="3119"/>
                  <a:pt x="2048" y="2867"/>
                </a:cubicBezTo>
                <a:cubicBezTo>
                  <a:pt x="2048" y="2647"/>
                  <a:pt x="1828" y="2458"/>
                  <a:pt x="1639" y="2458"/>
                </a:cubicBezTo>
                <a:cubicBezTo>
                  <a:pt x="1166" y="2458"/>
                  <a:pt x="820" y="2080"/>
                  <a:pt x="820" y="1607"/>
                </a:cubicBezTo>
                <a:cubicBezTo>
                  <a:pt x="820" y="1135"/>
                  <a:pt x="1166" y="788"/>
                  <a:pt x="1639" y="788"/>
                </a:cubicBezTo>
                <a:close/>
                <a:moveTo>
                  <a:pt x="4128" y="3277"/>
                </a:moveTo>
                <a:lnTo>
                  <a:pt x="4128" y="10964"/>
                </a:lnTo>
                <a:cubicBezTo>
                  <a:pt x="3151" y="10271"/>
                  <a:pt x="2458" y="9137"/>
                  <a:pt x="2458" y="7845"/>
                </a:cubicBezTo>
                <a:cubicBezTo>
                  <a:pt x="2458" y="7089"/>
                  <a:pt x="2710" y="6333"/>
                  <a:pt x="3088" y="5766"/>
                </a:cubicBezTo>
                <a:cubicBezTo>
                  <a:pt x="3214" y="5545"/>
                  <a:pt x="3309" y="5325"/>
                  <a:pt x="3309" y="5073"/>
                </a:cubicBezTo>
                <a:lnTo>
                  <a:pt x="3309" y="3277"/>
                </a:lnTo>
                <a:close/>
                <a:moveTo>
                  <a:pt x="9074" y="3277"/>
                </a:moveTo>
                <a:lnTo>
                  <a:pt x="9074" y="5073"/>
                </a:lnTo>
                <a:cubicBezTo>
                  <a:pt x="9074" y="5325"/>
                  <a:pt x="9169" y="5545"/>
                  <a:pt x="9295" y="5797"/>
                </a:cubicBezTo>
                <a:cubicBezTo>
                  <a:pt x="9673" y="6396"/>
                  <a:pt x="9925" y="7120"/>
                  <a:pt x="9925" y="7877"/>
                </a:cubicBezTo>
                <a:cubicBezTo>
                  <a:pt x="9925" y="9168"/>
                  <a:pt x="9232" y="10334"/>
                  <a:pt x="8255" y="10996"/>
                </a:cubicBezTo>
                <a:lnTo>
                  <a:pt x="8255" y="3277"/>
                </a:lnTo>
                <a:close/>
                <a:moveTo>
                  <a:pt x="5766" y="3277"/>
                </a:moveTo>
                <a:lnTo>
                  <a:pt x="5766" y="11594"/>
                </a:lnTo>
                <a:cubicBezTo>
                  <a:pt x="5514" y="11531"/>
                  <a:pt x="5230" y="11500"/>
                  <a:pt x="4947" y="11374"/>
                </a:cubicBezTo>
                <a:lnTo>
                  <a:pt x="4947" y="3277"/>
                </a:lnTo>
                <a:close/>
                <a:moveTo>
                  <a:pt x="7436" y="3277"/>
                </a:moveTo>
                <a:lnTo>
                  <a:pt x="7436" y="11374"/>
                </a:lnTo>
                <a:cubicBezTo>
                  <a:pt x="7152" y="11500"/>
                  <a:pt x="6869" y="11531"/>
                  <a:pt x="6617" y="11594"/>
                </a:cubicBezTo>
                <a:lnTo>
                  <a:pt x="6617" y="3277"/>
                </a:lnTo>
                <a:close/>
                <a:moveTo>
                  <a:pt x="9767" y="10743"/>
                </a:moveTo>
                <a:lnTo>
                  <a:pt x="10460" y="11216"/>
                </a:lnTo>
                <a:cubicBezTo>
                  <a:pt x="9452" y="12445"/>
                  <a:pt x="7908" y="13264"/>
                  <a:pt x="6176" y="13264"/>
                </a:cubicBezTo>
                <a:cubicBezTo>
                  <a:pt x="4474" y="13264"/>
                  <a:pt x="2931" y="12445"/>
                  <a:pt x="1954" y="11216"/>
                </a:cubicBezTo>
                <a:lnTo>
                  <a:pt x="2679" y="10743"/>
                </a:lnTo>
                <a:cubicBezTo>
                  <a:pt x="3529" y="11815"/>
                  <a:pt x="4789" y="12445"/>
                  <a:pt x="6207" y="12445"/>
                </a:cubicBezTo>
                <a:cubicBezTo>
                  <a:pt x="7625" y="12445"/>
                  <a:pt x="8885" y="11783"/>
                  <a:pt x="9767" y="10743"/>
                </a:cubicBezTo>
                <a:close/>
                <a:moveTo>
                  <a:pt x="1670" y="0"/>
                </a:moveTo>
                <a:cubicBezTo>
                  <a:pt x="788" y="0"/>
                  <a:pt x="32" y="756"/>
                  <a:pt x="32" y="1670"/>
                </a:cubicBezTo>
                <a:cubicBezTo>
                  <a:pt x="32" y="2300"/>
                  <a:pt x="347" y="2804"/>
                  <a:pt x="851" y="3088"/>
                </a:cubicBezTo>
                <a:lnTo>
                  <a:pt x="851" y="4758"/>
                </a:lnTo>
                <a:cubicBezTo>
                  <a:pt x="253" y="5671"/>
                  <a:pt x="1" y="6742"/>
                  <a:pt x="1" y="7877"/>
                </a:cubicBezTo>
                <a:cubicBezTo>
                  <a:pt x="1" y="11279"/>
                  <a:pt x="2742" y="14114"/>
                  <a:pt x="6207" y="14114"/>
                </a:cubicBezTo>
                <a:cubicBezTo>
                  <a:pt x="9673" y="14114"/>
                  <a:pt x="12445" y="11279"/>
                  <a:pt x="12445" y="7877"/>
                </a:cubicBezTo>
                <a:cubicBezTo>
                  <a:pt x="12445" y="6774"/>
                  <a:pt x="12162" y="5703"/>
                  <a:pt x="11594" y="4758"/>
                </a:cubicBezTo>
                <a:lnTo>
                  <a:pt x="11594" y="3088"/>
                </a:lnTo>
                <a:cubicBezTo>
                  <a:pt x="12130" y="2804"/>
                  <a:pt x="12445" y="2237"/>
                  <a:pt x="12445" y="1670"/>
                </a:cubicBezTo>
                <a:cubicBezTo>
                  <a:pt x="12445" y="756"/>
                  <a:pt x="11689" y="0"/>
                  <a:pt x="10775" y="0"/>
                </a:cubicBezTo>
                <a:cubicBezTo>
                  <a:pt x="9862" y="0"/>
                  <a:pt x="9137" y="756"/>
                  <a:pt x="9137" y="1670"/>
                </a:cubicBezTo>
                <a:lnTo>
                  <a:pt x="9137" y="2489"/>
                </a:lnTo>
                <a:lnTo>
                  <a:pt x="3340" y="2489"/>
                </a:lnTo>
                <a:lnTo>
                  <a:pt x="3340" y="1670"/>
                </a:lnTo>
                <a:cubicBezTo>
                  <a:pt x="3340" y="756"/>
                  <a:pt x="2584"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79"/>
          <p:cNvGrpSpPr/>
          <p:nvPr/>
        </p:nvGrpSpPr>
        <p:grpSpPr>
          <a:xfrm>
            <a:off x="5752039" y="1939656"/>
            <a:ext cx="343849" cy="341724"/>
            <a:chOff x="-13095575" y="2073400"/>
            <a:chExt cx="356025" cy="353825"/>
          </a:xfrm>
        </p:grpSpPr>
        <p:sp>
          <p:nvSpPr>
            <p:cNvPr id="10570" name="Google Shape;10570;p79"/>
            <p:cNvSpPr/>
            <p:nvPr/>
          </p:nvSpPr>
          <p:spPr>
            <a:xfrm>
              <a:off x="-13095575" y="2073400"/>
              <a:ext cx="356025" cy="353825"/>
            </a:xfrm>
            <a:custGeom>
              <a:avLst/>
              <a:gdLst/>
              <a:ahLst/>
              <a:cxnLst/>
              <a:rect l="l" t="t" r="r" b="b"/>
              <a:pathLst>
                <a:path w="14241" h="14153" extrusionOk="0">
                  <a:moveTo>
                    <a:pt x="12886" y="820"/>
                  </a:moveTo>
                  <a:cubicBezTo>
                    <a:pt x="13107" y="820"/>
                    <a:pt x="13327" y="1041"/>
                    <a:pt x="13327" y="1261"/>
                  </a:cubicBezTo>
                  <a:lnTo>
                    <a:pt x="13327" y="9578"/>
                  </a:lnTo>
                  <a:cubicBezTo>
                    <a:pt x="13327" y="9799"/>
                    <a:pt x="13107" y="9988"/>
                    <a:pt x="12886" y="9988"/>
                  </a:cubicBezTo>
                  <a:lnTo>
                    <a:pt x="1261" y="9988"/>
                  </a:lnTo>
                  <a:cubicBezTo>
                    <a:pt x="1040" y="9988"/>
                    <a:pt x="851" y="9799"/>
                    <a:pt x="851" y="9578"/>
                  </a:cubicBezTo>
                  <a:lnTo>
                    <a:pt x="851" y="1261"/>
                  </a:lnTo>
                  <a:cubicBezTo>
                    <a:pt x="851" y="1041"/>
                    <a:pt x="1040" y="820"/>
                    <a:pt x="1261" y="820"/>
                  </a:cubicBezTo>
                  <a:close/>
                  <a:moveTo>
                    <a:pt x="1261" y="1"/>
                  </a:moveTo>
                  <a:cubicBezTo>
                    <a:pt x="599" y="1"/>
                    <a:pt x="1" y="568"/>
                    <a:pt x="1" y="1261"/>
                  </a:cubicBezTo>
                  <a:lnTo>
                    <a:pt x="1" y="9578"/>
                  </a:lnTo>
                  <a:cubicBezTo>
                    <a:pt x="1" y="10240"/>
                    <a:pt x="568" y="10839"/>
                    <a:pt x="1261" y="10839"/>
                  </a:cubicBezTo>
                  <a:lnTo>
                    <a:pt x="6270" y="10839"/>
                  </a:lnTo>
                  <a:lnTo>
                    <a:pt x="4285" y="13485"/>
                  </a:lnTo>
                  <a:cubicBezTo>
                    <a:pt x="4191" y="13674"/>
                    <a:pt x="4191" y="13895"/>
                    <a:pt x="4380" y="14052"/>
                  </a:cubicBezTo>
                  <a:cubicBezTo>
                    <a:pt x="4465" y="14109"/>
                    <a:pt x="4562" y="14140"/>
                    <a:pt x="4659" y="14140"/>
                  </a:cubicBezTo>
                  <a:cubicBezTo>
                    <a:pt x="4776" y="14140"/>
                    <a:pt x="4892" y="14093"/>
                    <a:pt x="4978" y="13989"/>
                  </a:cubicBezTo>
                  <a:lnTo>
                    <a:pt x="6711" y="11658"/>
                  </a:lnTo>
                  <a:lnTo>
                    <a:pt x="6711" y="12918"/>
                  </a:lnTo>
                  <a:cubicBezTo>
                    <a:pt x="6711" y="13138"/>
                    <a:pt x="6900" y="13359"/>
                    <a:pt x="7089" y="13359"/>
                  </a:cubicBezTo>
                  <a:cubicBezTo>
                    <a:pt x="7310" y="13359"/>
                    <a:pt x="7530" y="13138"/>
                    <a:pt x="7530" y="12918"/>
                  </a:cubicBezTo>
                  <a:lnTo>
                    <a:pt x="7530" y="11658"/>
                  </a:lnTo>
                  <a:lnTo>
                    <a:pt x="9263" y="13989"/>
                  </a:lnTo>
                  <a:cubicBezTo>
                    <a:pt x="9335" y="14096"/>
                    <a:pt x="9457" y="14153"/>
                    <a:pt x="9584" y="14153"/>
                  </a:cubicBezTo>
                  <a:cubicBezTo>
                    <a:pt x="9681" y="14153"/>
                    <a:pt x="9780" y="14120"/>
                    <a:pt x="9862" y="14052"/>
                  </a:cubicBezTo>
                  <a:cubicBezTo>
                    <a:pt x="10051" y="13926"/>
                    <a:pt x="10082" y="13674"/>
                    <a:pt x="9925" y="13485"/>
                  </a:cubicBezTo>
                  <a:lnTo>
                    <a:pt x="7971" y="10839"/>
                  </a:lnTo>
                  <a:lnTo>
                    <a:pt x="12981" y="10839"/>
                  </a:lnTo>
                  <a:cubicBezTo>
                    <a:pt x="13642" y="10839"/>
                    <a:pt x="14241" y="10272"/>
                    <a:pt x="14241" y="9578"/>
                  </a:cubicBezTo>
                  <a:lnTo>
                    <a:pt x="14241" y="1261"/>
                  </a:lnTo>
                  <a:cubicBezTo>
                    <a:pt x="14146" y="600"/>
                    <a:pt x="13579" y="1"/>
                    <a:pt x="128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79"/>
            <p:cNvSpPr/>
            <p:nvPr/>
          </p:nvSpPr>
          <p:spPr>
            <a:xfrm>
              <a:off x="-13055400" y="2115150"/>
              <a:ext cx="271750" cy="187475"/>
            </a:xfrm>
            <a:custGeom>
              <a:avLst/>
              <a:gdLst/>
              <a:ahLst/>
              <a:cxnLst/>
              <a:rect l="l" t="t" r="r" b="b"/>
              <a:pathLst>
                <a:path w="10870" h="7499" extrusionOk="0">
                  <a:moveTo>
                    <a:pt x="3781" y="820"/>
                  </a:moveTo>
                  <a:cubicBezTo>
                    <a:pt x="4474" y="820"/>
                    <a:pt x="5041" y="1355"/>
                    <a:pt x="5041" y="2017"/>
                  </a:cubicBezTo>
                  <a:lnTo>
                    <a:pt x="5041" y="6648"/>
                  </a:lnTo>
                  <a:lnTo>
                    <a:pt x="882" y="6648"/>
                  </a:lnTo>
                  <a:lnTo>
                    <a:pt x="882" y="820"/>
                  </a:lnTo>
                  <a:close/>
                  <a:moveTo>
                    <a:pt x="10050" y="851"/>
                  </a:moveTo>
                  <a:lnTo>
                    <a:pt x="10050" y="6680"/>
                  </a:lnTo>
                  <a:lnTo>
                    <a:pt x="5892" y="6680"/>
                  </a:lnTo>
                  <a:lnTo>
                    <a:pt x="5892" y="2080"/>
                  </a:lnTo>
                  <a:cubicBezTo>
                    <a:pt x="5892" y="1418"/>
                    <a:pt x="6427" y="851"/>
                    <a:pt x="7152" y="851"/>
                  </a:cubicBezTo>
                  <a:close/>
                  <a:moveTo>
                    <a:pt x="441" y="1"/>
                  </a:moveTo>
                  <a:cubicBezTo>
                    <a:pt x="221" y="1"/>
                    <a:pt x="0" y="190"/>
                    <a:pt x="0" y="410"/>
                  </a:cubicBezTo>
                  <a:lnTo>
                    <a:pt x="0" y="7089"/>
                  </a:lnTo>
                  <a:cubicBezTo>
                    <a:pt x="0" y="7310"/>
                    <a:pt x="221" y="7499"/>
                    <a:pt x="441" y="7499"/>
                  </a:cubicBezTo>
                  <a:lnTo>
                    <a:pt x="10397" y="7499"/>
                  </a:lnTo>
                  <a:cubicBezTo>
                    <a:pt x="10649" y="7499"/>
                    <a:pt x="10838" y="7310"/>
                    <a:pt x="10838" y="7089"/>
                  </a:cubicBezTo>
                  <a:lnTo>
                    <a:pt x="10838" y="410"/>
                  </a:lnTo>
                  <a:cubicBezTo>
                    <a:pt x="10869" y="190"/>
                    <a:pt x="10680" y="1"/>
                    <a:pt x="10460" y="1"/>
                  </a:cubicBezTo>
                  <a:lnTo>
                    <a:pt x="7089" y="1"/>
                  </a:lnTo>
                  <a:cubicBezTo>
                    <a:pt x="6427" y="1"/>
                    <a:pt x="5829" y="316"/>
                    <a:pt x="5451" y="820"/>
                  </a:cubicBezTo>
                  <a:cubicBezTo>
                    <a:pt x="5041" y="284"/>
                    <a:pt x="4474"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79"/>
            <p:cNvSpPr/>
            <p:nvPr/>
          </p:nvSpPr>
          <p:spPr>
            <a:xfrm>
              <a:off x="-12887650" y="2156100"/>
              <a:ext cx="63050" cy="22100"/>
            </a:xfrm>
            <a:custGeom>
              <a:avLst/>
              <a:gdLst/>
              <a:ahLst/>
              <a:cxnLst/>
              <a:rect l="l" t="t" r="r" b="b"/>
              <a:pathLst>
                <a:path w="2522" h="884" extrusionOk="0">
                  <a:moveTo>
                    <a:pt x="442" y="1"/>
                  </a:moveTo>
                  <a:cubicBezTo>
                    <a:pt x="190" y="1"/>
                    <a:pt x="1" y="190"/>
                    <a:pt x="1" y="442"/>
                  </a:cubicBezTo>
                  <a:cubicBezTo>
                    <a:pt x="1" y="663"/>
                    <a:pt x="190" y="883"/>
                    <a:pt x="442" y="883"/>
                  </a:cubicBezTo>
                  <a:lnTo>
                    <a:pt x="2112" y="883"/>
                  </a:lnTo>
                  <a:cubicBezTo>
                    <a:pt x="2364" y="883"/>
                    <a:pt x="2521" y="663"/>
                    <a:pt x="2521" y="442"/>
                  </a:cubicBezTo>
                  <a:cubicBezTo>
                    <a:pt x="2521" y="190"/>
                    <a:pt x="2332" y="1"/>
                    <a:pt x="21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3" name="Google Shape;10573;p79"/>
            <p:cNvSpPr/>
            <p:nvPr/>
          </p:nvSpPr>
          <p:spPr>
            <a:xfrm>
              <a:off x="-12888425" y="2198650"/>
              <a:ext cx="63025" cy="21275"/>
            </a:xfrm>
            <a:custGeom>
              <a:avLst/>
              <a:gdLst/>
              <a:ahLst/>
              <a:cxnLst/>
              <a:rect l="l" t="t" r="r" b="b"/>
              <a:pathLst>
                <a:path w="2521" h="851" extrusionOk="0">
                  <a:moveTo>
                    <a:pt x="410" y="0"/>
                  </a:moveTo>
                  <a:cubicBezTo>
                    <a:pt x="189" y="0"/>
                    <a:pt x="0" y="189"/>
                    <a:pt x="0" y="410"/>
                  </a:cubicBezTo>
                  <a:cubicBezTo>
                    <a:pt x="0" y="662"/>
                    <a:pt x="189" y="851"/>
                    <a:pt x="410" y="851"/>
                  </a:cubicBezTo>
                  <a:lnTo>
                    <a:pt x="2111" y="851"/>
                  </a:lnTo>
                  <a:cubicBezTo>
                    <a:pt x="2363" y="851"/>
                    <a:pt x="2521" y="662"/>
                    <a:pt x="2521" y="410"/>
                  </a:cubicBezTo>
                  <a:cubicBezTo>
                    <a:pt x="2521" y="189"/>
                    <a:pt x="236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4" name="Google Shape;10574;p79"/>
            <p:cNvSpPr/>
            <p:nvPr/>
          </p:nvSpPr>
          <p:spPr>
            <a:xfrm>
              <a:off x="-12888425" y="2239600"/>
              <a:ext cx="63025" cy="22075"/>
            </a:xfrm>
            <a:custGeom>
              <a:avLst/>
              <a:gdLst/>
              <a:ahLst/>
              <a:cxnLst/>
              <a:rect l="l" t="t" r="r" b="b"/>
              <a:pathLst>
                <a:path w="2521" h="883" extrusionOk="0">
                  <a:moveTo>
                    <a:pt x="410" y="0"/>
                  </a:moveTo>
                  <a:cubicBezTo>
                    <a:pt x="189" y="0"/>
                    <a:pt x="0" y="221"/>
                    <a:pt x="0" y="442"/>
                  </a:cubicBezTo>
                  <a:cubicBezTo>
                    <a:pt x="0" y="694"/>
                    <a:pt x="189" y="883"/>
                    <a:pt x="410" y="883"/>
                  </a:cubicBezTo>
                  <a:lnTo>
                    <a:pt x="2111" y="883"/>
                  </a:lnTo>
                  <a:cubicBezTo>
                    <a:pt x="2363" y="883"/>
                    <a:pt x="2521" y="694"/>
                    <a:pt x="2521" y="442"/>
                  </a:cubicBezTo>
                  <a:cubicBezTo>
                    <a:pt x="2521" y="221"/>
                    <a:pt x="236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79"/>
            <p:cNvSpPr/>
            <p:nvPr/>
          </p:nvSpPr>
          <p:spPr>
            <a:xfrm>
              <a:off x="-13012875" y="2156100"/>
              <a:ext cx="63025" cy="22100"/>
            </a:xfrm>
            <a:custGeom>
              <a:avLst/>
              <a:gdLst/>
              <a:ahLst/>
              <a:cxnLst/>
              <a:rect l="l" t="t" r="r" b="b"/>
              <a:pathLst>
                <a:path w="2521" h="884" extrusionOk="0">
                  <a:moveTo>
                    <a:pt x="410" y="1"/>
                  </a:moveTo>
                  <a:cubicBezTo>
                    <a:pt x="158" y="1"/>
                    <a:pt x="1" y="190"/>
                    <a:pt x="1" y="442"/>
                  </a:cubicBezTo>
                  <a:cubicBezTo>
                    <a:pt x="1" y="663"/>
                    <a:pt x="190" y="883"/>
                    <a:pt x="410" y="883"/>
                  </a:cubicBezTo>
                  <a:lnTo>
                    <a:pt x="2080" y="883"/>
                  </a:lnTo>
                  <a:cubicBezTo>
                    <a:pt x="2332" y="883"/>
                    <a:pt x="2521" y="663"/>
                    <a:pt x="2521" y="442"/>
                  </a:cubicBezTo>
                  <a:cubicBezTo>
                    <a:pt x="2521" y="190"/>
                    <a:pt x="233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79"/>
            <p:cNvSpPr/>
            <p:nvPr/>
          </p:nvSpPr>
          <p:spPr>
            <a:xfrm>
              <a:off x="-13012875" y="2198650"/>
              <a:ext cx="63025" cy="21275"/>
            </a:xfrm>
            <a:custGeom>
              <a:avLst/>
              <a:gdLst/>
              <a:ahLst/>
              <a:cxnLst/>
              <a:rect l="l" t="t" r="r" b="b"/>
              <a:pathLst>
                <a:path w="2521" h="851" extrusionOk="0">
                  <a:moveTo>
                    <a:pt x="410" y="0"/>
                  </a:moveTo>
                  <a:cubicBezTo>
                    <a:pt x="158" y="0"/>
                    <a:pt x="1" y="189"/>
                    <a:pt x="1" y="410"/>
                  </a:cubicBezTo>
                  <a:cubicBezTo>
                    <a:pt x="1" y="662"/>
                    <a:pt x="190" y="851"/>
                    <a:pt x="410" y="851"/>
                  </a:cubicBezTo>
                  <a:lnTo>
                    <a:pt x="2080" y="851"/>
                  </a:lnTo>
                  <a:cubicBezTo>
                    <a:pt x="2332" y="851"/>
                    <a:pt x="2521" y="662"/>
                    <a:pt x="2521" y="410"/>
                  </a:cubicBezTo>
                  <a:cubicBezTo>
                    <a:pt x="2521" y="189"/>
                    <a:pt x="2332"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7" name="Google Shape;10577;p79"/>
            <p:cNvSpPr/>
            <p:nvPr/>
          </p:nvSpPr>
          <p:spPr>
            <a:xfrm>
              <a:off x="-13012875" y="2239600"/>
              <a:ext cx="63025" cy="22075"/>
            </a:xfrm>
            <a:custGeom>
              <a:avLst/>
              <a:gdLst/>
              <a:ahLst/>
              <a:cxnLst/>
              <a:rect l="l" t="t" r="r" b="b"/>
              <a:pathLst>
                <a:path w="2521" h="883" extrusionOk="0">
                  <a:moveTo>
                    <a:pt x="410" y="0"/>
                  </a:moveTo>
                  <a:cubicBezTo>
                    <a:pt x="158" y="0"/>
                    <a:pt x="1" y="221"/>
                    <a:pt x="1" y="442"/>
                  </a:cubicBezTo>
                  <a:cubicBezTo>
                    <a:pt x="1" y="694"/>
                    <a:pt x="190" y="883"/>
                    <a:pt x="410" y="883"/>
                  </a:cubicBezTo>
                  <a:lnTo>
                    <a:pt x="2080" y="883"/>
                  </a:lnTo>
                  <a:cubicBezTo>
                    <a:pt x="2332" y="883"/>
                    <a:pt x="2521" y="694"/>
                    <a:pt x="2521" y="442"/>
                  </a:cubicBezTo>
                  <a:cubicBezTo>
                    <a:pt x="2521" y="221"/>
                    <a:pt x="2332"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78" name="Google Shape;10578;p79"/>
          <p:cNvSpPr/>
          <p:nvPr/>
        </p:nvSpPr>
        <p:spPr>
          <a:xfrm>
            <a:off x="5753174" y="2348698"/>
            <a:ext cx="341579" cy="340807"/>
          </a:xfrm>
          <a:custGeom>
            <a:avLst/>
            <a:gdLst/>
            <a:ahLst/>
            <a:cxnLst/>
            <a:rect l="l" t="t" r="r" b="b"/>
            <a:pathLst>
              <a:path w="14147" h="14115" extrusionOk="0">
                <a:moveTo>
                  <a:pt x="7058" y="851"/>
                </a:moveTo>
                <a:cubicBezTo>
                  <a:pt x="9294" y="851"/>
                  <a:pt x="10649" y="1386"/>
                  <a:pt x="10744" y="1670"/>
                </a:cubicBezTo>
                <a:cubicBezTo>
                  <a:pt x="10649" y="1922"/>
                  <a:pt x="9294" y="2489"/>
                  <a:pt x="7058" y="2489"/>
                </a:cubicBezTo>
                <a:cubicBezTo>
                  <a:pt x="4821" y="2489"/>
                  <a:pt x="3466" y="1922"/>
                  <a:pt x="3340" y="1670"/>
                </a:cubicBezTo>
                <a:cubicBezTo>
                  <a:pt x="3466" y="1386"/>
                  <a:pt x="4821" y="851"/>
                  <a:pt x="7058" y="851"/>
                </a:cubicBezTo>
                <a:close/>
                <a:moveTo>
                  <a:pt x="10681" y="2741"/>
                </a:moveTo>
                <a:lnTo>
                  <a:pt x="10114" y="8727"/>
                </a:lnTo>
                <a:cubicBezTo>
                  <a:pt x="9515" y="9042"/>
                  <a:pt x="8381" y="9200"/>
                  <a:pt x="7058" y="9200"/>
                </a:cubicBezTo>
                <a:cubicBezTo>
                  <a:pt x="5703" y="9200"/>
                  <a:pt x="4663" y="9010"/>
                  <a:pt x="4002" y="8727"/>
                </a:cubicBezTo>
                <a:lnTo>
                  <a:pt x="3435" y="2741"/>
                </a:lnTo>
                <a:lnTo>
                  <a:pt x="3435" y="2741"/>
                </a:lnTo>
                <a:cubicBezTo>
                  <a:pt x="4411" y="3214"/>
                  <a:pt x="5955" y="3308"/>
                  <a:pt x="7058" y="3308"/>
                </a:cubicBezTo>
                <a:cubicBezTo>
                  <a:pt x="8160" y="3308"/>
                  <a:pt x="9704" y="3151"/>
                  <a:pt x="10681" y="2741"/>
                </a:cubicBezTo>
                <a:close/>
                <a:moveTo>
                  <a:pt x="10051" y="9609"/>
                </a:moveTo>
                <a:lnTo>
                  <a:pt x="9956" y="10334"/>
                </a:lnTo>
                <a:cubicBezTo>
                  <a:pt x="9893" y="10397"/>
                  <a:pt x="9641" y="10523"/>
                  <a:pt x="9105" y="10649"/>
                </a:cubicBezTo>
                <a:cubicBezTo>
                  <a:pt x="8538" y="10775"/>
                  <a:pt x="7814" y="10838"/>
                  <a:pt x="7089" y="10838"/>
                </a:cubicBezTo>
                <a:cubicBezTo>
                  <a:pt x="6333" y="10838"/>
                  <a:pt x="5640" y="10775"/>
                  <a:pt x="5073" y="10649"/>
                </a:cubicBezTo>
                <a:cubicBezTo>
                  <a:pt x="4537" y="10523"/>
                  <a:pt x="4285" y="10397"/>
                  <a:pt x="4222" y="10334"/>
                </a:cubicBezTo>
                <a:lnTo>
                  <a:pt x="4128" y="9609"/>
                </a:lnTo>
                <a:lnTo>
                  <a:pt x="4128" y="9609"/>
                </a:lnTo>
                <a:cubicBezTo>
                  <a:pt x="5041" y="9924"/>
                  <a:pt x="6239" y="9987"/>
                  <a:pt x="7089" y="9987"/>
                </a:cubicBezTo>
                <a:cubicBezTo>
                  <a:pt x="7971" y="9987"/>
                  <a:pt x="9137" y="9893"/>
                  <a:pt x="10051" y="9609"/>
                </a:cubicBezTo>
                <a:close/>
                <a:moveTo>
                  <a:pt x="10964" y="9609"/>
                </a:moveTo>
                <a:cubicBezTo>
                  <a:pt x="12666" y="10082"/>
                  <a:pt x="13390" y="10712"/>
                  <a:pt x="13390" y="11247"/>
                </a:cubicBezTo>
                <a:cubicBezTo>
                  <a:pt x="13327" y="11720"/>
                  <a:pt x="12697" y="12224"/>
                  <a:pt x="11626" y="12602"/>
                </a:cubicBezTo>
                <a:cubicBezTo>
                  <a:pt x="10397" y="13043"/>
                  <a:pt x="8790" y="13327"/>
                  <a:pt x="7089" y="13327"/>
                </a:cubicBezTo>
                <a:cubicBezTo>
                  <a:pt x="5388" y="13327"/>
                  <a:pt x="3750" y="13075"/>
                  <a:pt x="2552" y="12602"/>
                </a:cubicBezTo>
                <a:cubicBezTo>
                  <a:pt x="1513" y="12224"/>
                  <a:pt x="883" y="11720"/>
                  <a:pt x="883" y="11247"/>
                </a:cubicBezTo>
                <a:cubicBezTo>
                  <a:pt x="883" y="10775"/>
                  <a:pt x="1639" y="10082"/>
                  <a:pt x="3309" y="9609"/>
                </a:cubicBezTo>
                <a:lnTo>
                  <a:pt x="3403" y="10397"/>
                </a:lnTo>
                <a:cubicBezTo>
                  <a:pt x="3435" y="11027"/>
                  <a:pt x="4380" y="11279"/>
                  <a:pt x="4695" y="11342"/>
                </a:cubicBezTo>
                <a:cubicBezTo>
                  <a:pt x="5356" y="11499"/>
                  <a:pt x="6239" y="11594"/>
                  <a:pt x="7152" y="11594"/>
                </a:cubicBezTo>
                <a:cubicBezTo>
                  <a:pt x="8034" y="11594"/>
                  <a:pt x="8916" y="11499"/>
                  <a:pt x="9578" y="11342"/>
                </a:cubicBezTo>
                <a:cubicBezTo>
                  <a:pt x="9893" y="11279"/>
                  <a:pt x="10838" y="11027"/>
                  <a:pt x="10870" y="10397"/>
                </a:cubicBezTo>
                <a:lnTo>
                  <a:pt x="10964" y="9609"/>
                </a:lnTo>
                <a:close/>
                <a:moveTo>
                  <a:pt x="7058" y="0"/>
                </a:moveTo>
                <a:cubicBezTo>
                  <a:pt x="5671" y="0"/>
                  <a:pt x="2521" y="284"/>
                  <a:pt x="2521" y="1670"/>
                </a:cubicBezTo>
                <a:cubicBezTo>
                  <a:pt x="2521" y="1733"/>
                  <a:pt x="2489" y="1197"/>
                  <a:pt x="3214" y="8790"/>
                </a:cubicBezTo>
                <a:cubicBezTo>
                  <a:pt x="1198" y="9294"/>
                  <a:pt x="1" y="10208"/>
                  <a:pt x="1" y="11247"/>
                </a:cubicBezTo>
                <a:cubicBezTo>
                  <a:pt x="1" y="12098"/>
                  <a:pt x="788" y="12854"/>
                  <a:pt x="2206" y="13358"/>
                </a:cubicBezTo>
                <a:cubicBezTo>
                  <a:pt x="3498" y="13831"/>
                  <a:pt x="5262" y="14114"/>
                  <a:pt x="7058" y="14114"/>
                </a:cubicBezTo>
                <a:cubicBezTo>
                  <a:pt x="8853" y="14114"/>
                  <a:pt x="10586" y="13831"/>
                  <a:pt x="11909" y="13358"/>
                </a:cubicBezTo>
                <a:cubicBezTo>
                  <a:pt x="13327" y="12823"/>
                  <a:pt x="14115" y="12066"/>
                  <a:pt x="14115" y="11247"/>
                </a:cubicBezTo>
                <a:cubicBezTo>
                  <a:pt x="14146" y="10208"/>
                  <a:pt x="12949" y="9357"/>
                  <a:pt x="10964" y="8790"/>
                </a:cubicBezTo>
                <a:cubicBezTo>
                  <a:pt x="11657" y="1197"/>
                  <a:pt x="11626" y="1733"/>
                  <a:pt x="11626" y="1670"/>
                </a:cubicBezTo>
                <a:cubicBezTo>
                  <a:pt x="11626" y="1481"/>
                  <a:pt x="11531" y="1166"/>
                  <a:pt x="11122" y="851"/>
                </a:cubicBezTo>
                <a:cubicBezTo>
                  <a:pt x="10177" y="158"/>
                  <a:pt x="8192" y="0"/>
                  <a:pt x="70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79" name="Google Shape;10579;p79"/>
          <p:cNvGrpSpPr/>
          <p:nvPr/>
        </p:nvGrpSpPr>
        <p:grpSpPr>
          <a:xfrm>
            <a:off x="7576787" y="1531485"/>
            <a:ext cx="343100" cy="342424"/>
            <a:chOff x="-11332875" y="1660700"/>
            <a:chExt cx="355250" cy="354550"/>
          </a:xfrm>
        </p:grpSpPr>
        <p:sp>
          <p:nvSpPr>
            <p:cNvPr id="10580" name="Google Shape;10580;p79"/>
            <p:cNvSpPr/>
            <p:nvPr/>
          </p:nvSpPr>
          <p:spPr>
            <a:xfrm>
              <a:off x="-11332875" y="1660700"/>
              <a:ext cx="355250" cy="354550"/>
            </a:xfrm>
            <a:custGeom>
              <a:avLst/>
              <a:gdLst/>
              <a:ahLst/>
              <a:cxnLst/>
              <a:rect l="l" t="t" r="r" b="b"/>
              <a:pathLst>
                <a:path w="14210" h="14182" extrusionOk="0">
                  <a:moveTo>
                    <a:pt x="7089" y="914"/>
                  </a:moveTo>
                  <a:cubicBezTo>
                    <a:pt x="7278" y="914"/>
                    <a:pt x="7436" y="1072"/>
                    <a:pt x="7467" y="1229"/>
                  </a:cubicBezTo>
                  <a:cubicBezTo>
                    <a:pt x="7538" y="1417"/>
                    <a:pt x="7713" y="1517"/>
                    <a:pt x="7889" y="1517"/>
                  </a:cubicBezTo>
                  <a:cubicBezTo>
                    <a:pt x="7949" y="1517"/>
                    <a:pt x="8010" y="1505"/>
                    <a:pt x="8066" y="1481"/>
                  </a:cubicBezTo>
                  <a:cubicBezTo>
                    <a:pt x="8124" y="1437"/>
                    <a:pt x="8203" y="1414"/>
                    <a:pt x="8284" y="1414"/>
                  </a:cubicBezTo>
                  <a:cubicBezTo>
                    <a:pt x="8376" y="1414"/>
                    <a:pt x="8471" y="1445"/>
                    <a:pt x="8538" y="1513"/>
                  </a:cubicBezTo>
                  <a:cubicBezTo>
                    <a:pt x="8696" y="1670"/>
                    <a:pt x="8664" y="1859"/>
                    <a:pt x="8570" y="1985"/>
                  </a:cubicBezTo>
                  <a:cubicBezTo>
                    <a:pt x="8444" y="2206"/>
                    <a:pt x="8570" y="2489"/>
                    <a:pt x="8822" y="2584"/>
                  </a:cubicBezTo>
                  <a:cubicBezTo>
                    <a:pt x="8980" y="2615"/>
                    <a:pt x="9137" y="2773"/>
                    <a:pt x="9137" y="2962"/>
                  </a:cubicBezTo>
                  <a:cubicBezTo>
                    <a:pt x="9137" y="3151"/>
                    <a:pt x="8980" y="3308"/>
                    <a:pt x="8822" y="3371"/>
                  </a:cubicBezTo>
                  <a:cubicBezTo>
                    <a:pt x="8570" y="3434"/>
                    <a:pt x="8444" y="3718"/>
                    <a:pt x="8570" y="3939"/>
                  </a:cubicBezTo>
                  <a:cubicBezTo>
                    <a:pt x="8664" y="4065"/>
                    <a:pt x="8664" y="4317"/>
                    <a:pt x="8538" y="4411"/>
                  </a:cubicBezTo>
                  <a:cubicBezTo>
                    <a:pt x="8454" y="4496"/>
                    <a:pt x="8360" y="4526"/>
                    <a:pt x="8272" y="4526"/>
                  </a:cubicBezTo>
                  <a:cubicBezTo>
                    <a:pt x="8196" y="4526"/>
                    <a:pt x="8124" y="4503"/>
                    <a:pt x="8066" y="4474"/>
                  </a:cubicBezTo>
                  <a:cubicBezTo>
                    <a:pt x="8006" y="4440"/>
                    <a:pt x="7941" y="4424"/>
                    <a:pt x="7876" y="4424"/>
                  </a:cubicBezTo>
                  <a:cubicBezTo>
                    <a:pt x="7704" y="4424"/>
                    <a:pt x="7536" y="4534"/>
                    <a:pt x="7467" y="4695"/>
                  </a:cubicBezTo>
                  <a:cubicBezTo>
                    <a:pt x="7436" y="4852"/>
                    <a:pt x="7278" y="5010"/>
                    <a:pt x="7089" y="5010"/>
                  </a:cubicBezTo>
                  <a:cubicBezTo>
                    <a:pt x="6869" y="5010"/>
                    <a:pt x="6711" y="4852"/>
                    <a:pt x="6680" y="4695"/>
                  </a:cubicBezTo>
                  <a:cubicBezTo>
                    <a:pt x="6634" y="4534"/>
                    <a:pt x="6472" y="4424"/>
                    <a:pt x="6290" y="4424"/>
                  </a:cubicBezTo>
                  <a:cubicBezTo>
                    <a:pt x="6221" y="4424"/>
                    <a:pt x="6150" y="4440"/>
                    <a:pt x="6081" y="4474"/>
                  </a:cubicBezTo>
                  <a:cubicBezTo>
                    <a:pt x="6042" y="4500"/>
                    <a:pt x="5976" y="4516"/>
                    <a:pt x="5903" y="4516"/>
                  </a:cubicBezTo>
                  <a:cubicBezTo>
                    <a:pt x="5799" y="4516"/>
                    <a:pt x="5682" y="4485"/>
                    <a:pt x="5609" y="4411"/>
                  </a:cubicBezTo>
                  <a:cubicBezTo>
                    <a:pt x="5451" y="4254"/>
                    <a:pt x="5514" y="4065"/>
                    <a:pt x="5577" y="3939"/>
                  </a:cubicBezTo>
                  <a:cubicBezTo>
                    <a:pt x="5703" y="3718"/>
                    <a:pt x="5577" y="3434"/>
                    <a:pt x="5356" y="3371"/>
                  </a:cubicBezTo>
                  <a:cubicBezTo>
                    <a:pt x="5199" y="3308"/>
                    <a:pt x="5041" y="3151"/>
                    <a:pt x="5041" y="2962"/>
                  </a:cubicBezTo>
                  <a:cubicBezTo>
                    <a:pt x="5041" y="2773"/>
                    <a:pt x="5199" y="2615"/>
                    <a:pt x="5356" y="2584"/>
                  </a:cubicBezTo>
                  <a:cubicBezTo>
                    <a:pt x="5609" y="2489"/>
                    <a:pt x="5735" y="2206"/>
                    <a:pt x="5577" y="1985"/>
                  </a:cubicBezTo>
                  <a:cubicBezTo>
                    <a:pt x="5514" y="1859"/>
                    <a:pt x="5514" y="1639"/>
                    <a:pt x="5609" y="1513"/>
                  </a:cubicBezTo>
                  <a:cubicBezTo>
                    <a:pt x="5703" y="1434"/>
                    <a:pt x="5798" y="1402"/>
                    <a:pt x="5880" y="1402"/>
                  </a:cubicBezTo>
                  <a:cubicBezTo>
                    <a:pt x="5963" y="1402"/>
                    <a:pt x="6034" y="1434"/>
                    <a:pt x="6081" y="1481"/>
                  </a:cubicBezTo>
                  <a:cubicBezTo>
                    <a:pt x="6145" y="1505"/>
                    <a:pt x="6212" y="1517"/>
                    <a:pt x="6276" y="1517"/>
                  </a:cubicBezTo>
                  <a:cubicBezTo>
                    <a:pt x="6464" y="1517"/>
                    <a:pt x="6633" y="1417"/>
                    <a:pt x="6680" y="1229"/>
                  </a:cubicBezTo>
                  <a:cubicBezTo>
                    <a:pt x="6711" y="1072"/>
                    <a:pt x="6869" y="914"/>
                    <a:pt x="7089" y="914"/>
                  </a:cubicBezTo>
                  <a:close/>
                  <a:moveTo>
                    <a:pt x="11374" y="1702"/>
                  </a:moveTo>
                  <a:cubicBezTo>
                    <a:pt x="11563" y="1702"/>
                    <a:pt x="11720" y="1859"/>
                    <a:pt x="11783" y="2017"/>
                  </a:cubicBezTo>
                  <a:cubicBezTo>
                    <a:pt x="11830" y="2204"/>
                    <a:pt x="12000" y="2305"/>
                    <a:pt x="12174" y="2305"/>
                  </a:cubicBezTo>
                  <a:cubicBezTo>
                    <a:pt x="12234" y="2305"/>
                    <a:pt x="12294" y="2293"/>
                    <a:pt x="12351" y="2269"/>
                  </a:cubicBezTo>
                  <a:cubicBezTo>
                    <a:pt x="12424" y="2225"/>
                    <a:pt x="12517" y="2201"/>
                    <a:pt x="12609" y="2201"/>
                  </a:cubicBezTo>
                  <a:cubicBezTo>
                    <a:pt x="12715" y="2201"/>
                    <a:pt x="12819" y="2233"/>
                    <a:pt x="12886" y="2300"/>
                  </a:cubicBezTo>
                  <a:cubicBezTo>
                    <a:pt x="13044" y="2458"/>
                    <a:pt x="12981" y="2647"/>
                    <a:pt x="12918" y="2773"/>
                  </a:cubicBezTo>
                  <a:cubicBezTo>
                    <a:pt x="12792" y="2993"/>
                    <a:pt x="12918" y="3277"/>
                    <a:pt x="13138" y="3371"/>
                  </a:cubicBezTo>
                  <a:cubicBezTo>
                    <a:pt x="13296" y="3403"/>
                    <a:pt x="13453" y="3560"/>
                    <a:pt x="13453" y="3750"/>
                  </a:cubicBezTo>
                  <a:cubicBezTo>
                    <a:pt x="13327" y="4002"/>
                    <a:pt x="13170" y="4159"/>
                    <a:pt x="13075" y="4191"/>
                  </a:cubicBezTo>
                  <a:cubicBezTo>
                    <a:pt x="12823" y="4254"/>
                    <a:pt x="12697" y="4537"/>
                    <a:pt x="12823" y="4789"/>
                  </a:cubicBezTo>
                  <a:cubicBezTo>
                    <a:pt x="12918" y="4884"/>
                    <a:pt x="12918" y="5136"/>
                    <a:pt x="12792" y="5262"/>
                  </a:cubicBezTo>
                  <a:cubicBezTo>
                    <a:pt x="12716" y="5318"/>
                    <a:pt x="12606" y="5364"/>
                    <a:pt x="12497" y="5364"/>
                  </a:cubicBezTo>
                  <a:cubicBezTo>
                    <a:pt x="12424" y="5364"/>
                    <a:pt x="12351" y="5344"/>
                    <a:pt x="12288" y="5293"/>
                  </a:cubicBezTo>
                  <a:cubicBezTo>
                    <a:pt x="12219" y="5259"/>
                    <a:pt x="12150" y="5243"/>
                    <a:pt x="12084" y="5243"/>
                  </a:cubicBezTo>
                  <a:cubicBezTo>
                    <a:pt x="11910" y="5243"/>
                    <a:pt x="11758" y="5354"/>
                    <a:pt x="11689" y="5514"/>
                  </a:cubicBezTo>
                  <a:cubicBezTo>
                    <a:pt x="11657" y="5671"/>
                    <a:pt x="11500" y="5829"/>
                    <a:pt x="11311" y="5829"/>
                  </a:cubicBezTo>
                  <a:cubicBezTo>
                    <a:pt x="11090" y="5829"/>
                    <a:pt x="10933" y="5671"/>
                    <a:pt x="10901" y="5514"/>
                  </a:cubicBezTo>
                  <a:cubicBezTo>
                    <a:pt x="10856" y="5354"/>
                    <a:pt x="10693" y="5243"/>
                    <a:pt x="10511" y="5243"/>
                  </a:cubicBezTo>
                  <a:cubicBezTo>
                    <a:pt x="10443" y="5243"/>
                    <a:pt x="10372" y="5259"/>
                    <a:pt x="10303" y="5293"/>
                  </a:cubicBezTo>
                  <a:cubicBezTo>
                    <a:pt x="10260" y="5322"/>
                    <a:pt x="10186" y="5337"/>
                    <a:pt x="10106" y="5337"/>
                  </a:cubicBezTo>
                  <a:cubicBezTo>
                    <a:pt x="10007" y="5337"/>
                    <a:pt x="9900" y="5314"/>
                    <a:pt x="9830" y="5262"/>
                  </a:cubicBezTo>
                  <a:cubicBezTo>
                    <a:pt x="9673" y="5104"/>
                    <a:pt x="9736" y="4884"/>
                    <a:pt x="9799" y="4789"/>
                  </a:cubicBezTo>
                  <a:cubicBezTo>
                    <a:pt x="9925" y="4569"/>
                    <a:pt x="9830" y="4317"/>
                    <a:pt x="9610" y="4191"/>
                  </a:cubicBezTo>
                  <a:lnTo>
                    <a:pt x="9610" y="3939"/>
                  </a:lnTo>
                  <a:cubicBezTo>
                    <a:pt x="9925" y="3718"/>
                    <a:pt x="10114" y="3371"/>
                    <a:pt x="10114" y="2962"/>
                  </a:cubicBezTo>
                  <a:cubicBezTo>
                    <a:pt x="10114" y="2741"/>
                    <a:pt x="10051" y="2489"/>
                    <a:pt x="9925" y="2300"/>
                  </a:cubicBezTo>
                  <a:cubicBezTo>
                    <a:pt x="10009" y="2233"/>
                    <a:pt x="10094" y="2201"/>
                    <a:pt x="10178" y="2201"/>
                  </a:cubicBezTo>
                  <a:cubicBezTo>
                    <a:pt x="10251" y="2201"/>
                    <a:pt x="10324" y="2225"/>
                    <a:pt x="10397" y="2269"/>
                  </a:cubicBezTo>
                  <a:cubicBezTo>
                    <a:pt x="10454" y="2293"/>
                    <a:pt x="10514" y="2305"/>
                    <a:pt x="10574" y="2305"/>
                  </a:cubicBezTo>
                  <a:cubicBezTo>
                    <a:pt x="10750" y="2305"/>
                    <a:pt x="10925" y="2204"/>
                    <a:pt x="10996" y="2017"/>
                  </a:cubicBezTo>
                  <a:cubicBezTo>
                    <a:pt x="11027" y="1859"/>
                    <a:pt x="11185" y="1702"/>
                    <a:pt x="11374" y="1702"/>
                  </a:cubicBezTo>
                  <a:close/>
                  <a:moveTo>
                    <a:pt x="2994" y="1796"/>
                  </a:moveTo>
                  <a:cubicBezTo>
                    <a:pt x="3183" y="1796"/>
                    <a:pt x="3340" y="1954"/>
                    <a:pt x="3372" y="2111"/>
                  </a:cubicBezTo>
                  <a:cubicBezTo>
                    <a:pt x="3440" y="2272"/>
                    <a:pt x="3592" y="2382"/>
                    <a:pt x="3767" y="2382"/>
                  </a:cubicBezTo>
                  <a:cubicBezTo>
                    <a:pt x="3832" y="2382"/>
                    <a:pt x="3901" y="2366"/>
                    <a:pt x="3970" y="2332"/>
                  </a:cubicBezTo>
                  <a:cubicBezTo>
                    <a:pt x="4027" y="2303"/>
                    <a:pt x="4096" y="2288"/>
                    <a:pt x="4170" y="2288"/>
                  </a:cubicBezTo>
                  <a:cubicBezTo>
                    <a:pt x="4260" y="2288"/>
                    <a:pt x="4356" y="2311"/>
                    <a:pt x="4443" y="2363"/>
                  </a:cubicBezTo>
                  <a:cubicBezTo>
                    <a:pt x="4317" y="2584"/>
                    <a:pt x="4254" y="2804"/>
                    <a:pt x="4254" y="3056"/>
                  </a:cubicBezTo>
                  <a:cubicBezTo>
                    <a:pt x="4254" y="3434"/>
                    <a:pt x="4443" y="3781"/>
                    <a:pt x="4758" y="4033"/>
                  </a:cubicBezTo>
                  <a:lnTo>
                    <a:pt x="4758" y="4254"/>
                  </a:lnTo>
                  <a:cubicBezTo>
                    <a:pt x="4506" y="4348"/>
                    <a:pt x="4443" y="4632"/>
                    <a:pt x="4569" y="4852"/>
                  </a:cubicBezTo>
                  <a:cubicBezTo>
                    <a:pt x="4632" y="4978"/>
                    <a:pt x="4632" y="5199"/>
                    <a:pt x="4506" y="5325"/>
                  </a:cubicBezTo>
                  <a:cubicBezTo>
                    <a:pt x="4427" y="5404"/>
                    <a:pt x="4340" y="5435"/>
                    <a:pt x="4258" y="5435"/>
                  </a:cubicBezTo>
                  <a:cubicBezTo>
                    <a:pt x="4175" y="5435"/>
                    <a:pt x="4096" y="5404"/>
                    <a:pt x="4033" y="5356"/>
                  </a:cubicBezTo>
                  <a:cubicBezTo>
                    <a:pt x="3977" y="5332"/>
                    <a:pt x="3916" y="5320"/>
                    <a:pt x="3857" y="5320"/>
                  </a:cubicBezTo>
                  <a:cubicBezTo>
                    <a:pt x="3682" y="5320"/>
                    <a:pt x="3513" y="5421"/>
                    <a:pt x="3466" y="5608"/>
                  </a:cubicBezTo>
                  <a:cubicBezTo>
                    <a:pt x="3435" y="5766"/>
                    <a:pt x="3246" y="5923"/>
                    <a:pt x="3057" y="5923"/>
                  </a:cubicBezTo>
                  <a:cubicBezTo>
                    <a:pt x="2868" y="5923"/>
                    <a:pt x="2710" y="5766"/>
                    <a:pt x="2679" y="5608"/>
                  </a:cubicBezTo>
                  <a:cubicBezTo>
                    <a:pt x="2562" y="5399"/>
                    <a:pt x="2378" y="5276"/>
                    <a:pt x="2188" y="5276"/>
                  </a:cubicBezTo>
                  <a:cubicBezTo>
                    <a:pt x="2120" y="5276"/>
                    <a:pt x="2052" y="5292"/>
                    <a:pt x="1985" y="5325"/>
                  </a:cubicBezTo>
                  <a:cubicBezTo>
                    <a:pt x="1912" y="5369"/>
                    <a:pt x="1826" y="5392"/>
                    <a:pt x="1741" y="5392"/>
                  </a:cubicBezTo>
                  <a:cubicBezTo>
                    <a:pt x="1644" y="5392"/>
                    <a:pt x="1549" y="5361"/>
                    <a:pt x="1481" y="5293"/>
                  </a:cubicBezTo>
                  <a:cubicBezTo>
                    <a:pt x="1324" y="5136"/>
                    <a:pt x="1355" y="4947"/>
                    <a:pt x="1450" y="4821"/>
                  </a:cubicBezTo>
                  <a:cubicBezTo>
                    <a:pt x="1576" y="4569"/>
                    <a:pt x="1450" y="4317"/>
                    <a:pt x="1229" y="4222"/>
                  </a:cubicBezTo>
                  <a:cubicBezTo>
                    <a:pt x="1072" y="4191"/>
                    <a:pt x="914" y="4033"/>
                    <a:pt x="914" y="3844"/>
                  </a:cubicBezTo>
                  <a:cubicBezTo>
                    <a:pt x="914" y="3624"/>
                    <a:pt x="1072" y="3466"/>
                    <a:pt x="1229" y="3434"/>
                  </a:cubicBezTo>
                  <a:cubicBezTo>
                    <a:pt x="1450" y="3371"/>
                    <a:pt x="1576" y="3088"/>
                    <a:pt x="1450" y="2836"/>
                  </a:cubicBezTo>
                  <a:cubicBezTo>
                    <a:pt x="1355" y="2741"/>
                    <a:pt x="1355" y="2489"/>
                    <a:pt x="1481" y="2363"/>
                  </a:cubicBezTo>
                  <a:cubicBezTo>
                    <a:pt x="1557" y="2307"/>
                    <a:pt x="1678" y="2261"/>
                    <a:pt x="1790" y="2261"/>
                  </a:cubicBezTo>
                  <a:cubicBezTo>
                    <a:pt x="1864" y="2261"/>
                    <a:pt x="1935" y="2281"/>
                    <a:pt x="1985" y="2332"/>
                  </a:cubicBezTo>
                  <a:cubicBezTo>
                    <a:pt x="2054" y="2366"/>
                    <a:pt x="2126" y="2382"/>
                    <a:pt x="2194" y="2382"/>
                  </a:cubicBezTo>
                  <a:cubicBezTo>
                    <a:pt x="2376" y="2382"/>
                    <a:pt x="2538" y="2272"/>
                    <a:pt x="2584" y="2111"/>
                  </a:cubicBezTo>
                  <a:cubicBezTo>
                    <a:pt x="2616" y="1954"/>
                    <a:pt x="2773" y="1796"/>
                    <a:pt x="2994" y="1796"/>
                  </a:cubicBezTo>
                  <a:close/>
                  <a:moveTo>
                    <a:pt x="8885" y="5199"/>
                  </a:moveTo>
                  <a:cubicBezTo>
                    <a:pt x="8917" y="5325"/>
                    <a:pt x="8980" y="5451"/>
                    <a:pt x="9011" y="5514"/>
                  </a:cubicBezTo>
                  <a:lnTo>
                    <a:pt x="7656" y="9200"/>
                  </a:lnTo>
                  <a:lnTo>
                    <a:pt x="5703" y="9200"/>
                  </a:lnTo>
                  <a:lnTo>
                    <a:pt x="3687" y="6427"/>
                  </a:lnTo>
                  <a:cubicBezTo>
                    <a:pt x="3813" y="6364"/>
                    <a:pt x="3939" y="6238"/>
                    <a:pt x="4002" y="6112"/>
                  </a:cubicBezTo>
                  <a:cubicBezTo>
                    <a:pt x="4091" y="6133"/>
                    <a:pt x="4179" y="6143"/>
                    <a:pt x="4264" y="6143"/>
                  </a:cubicBezTo>
                  <a:cubicBezTo>
                    <a:pt x="4571" y="6143"/>
                    <a:pt x="4851" y="6012"/>
                    <a:pt x="5073" y="5766"/>
                  </a:cubicBezTo>
                  <a:cubicBezTo>
                    <a:pt x="5199" y="5671"/>
                    <a:pt x="5293" y="5451"/>
                    <a:pt x="5356" y="5199"/>
                  </a:cubicBezTo>
                  <a:cubicBezTo>
                    <a:pt x="5525" y="5295"/>
                    <a:pt x="5730" y="5336"/>
                    <a:pt x="5944" y="5336"/>
                  </a:cubicBezTo>
                  <a:cubicBezTo>
                    <a:pt x="6010" y="5336"/>
                    <a:pt x="6077" y="5332"/>
                    <a:pt x="6144" y="5325"/>
                  </a:cubicBezTo>
                  <a:cubicBezTo>
                    <a:pt x="6365" y="5640"/>
                    <a:pt x="6711" y="5829"/>
                    <a:pt x="7121" y="5829"/>
                  </a:cubicBezTo>
                  <a:cubicBezTo>
                    <a:pt x="7499" y="5829"/>
                    <a:pt x="7877" y="5640"/>
                    <a:pt x="8097" y="5325"/>
                  </a:cubicBezTo>
                  <a:cubicBezTo>
                    <a:pt x="8164" y="5332"/>
                    <a:pt x="8231" y="5336"/>
                    <a:pt x="8297" y="5336"/>
                  </a:cubicBezTo>
                  <a:cubicBezTo>
                    <a:pt x="8511" y="5336"/>
                    <a:pt x="8717" y="5295"/>
                    <a:pt x="8885" y="5199"/>
                  </a:cubicBezTo>
                  <a:close/>
                  <a:moveTo>
                    <a:pt x="9673" y="6112"/>
                  </a:moveTo>
                  <a:cubicBezTo>
                    <a:pt x="9777" y="6164"/>
                    <a:pt x="9890" y="6188"/>
                    <a:pt x="10003" y="6188"/>
                  </a:cubicBezTo>
                  <a:cubicBezTo>
                    <a:pt x="10095" y="6188"/>
                    <a:pt x="10186" y="6172"/>
                    <a:pt x="10271" y="6144"/>
                  </a:cubicBezTo>
                  <a:cubicBezTo>
                    <a:pt x="10334" y="6270"/>
                    <a:pt x="10460" y="6396"/>
                    <a:pt x="10586" y="6459"/>
                  </a:cubicBezTo>
                  <a:lnTo>
                    <a:pt x="8570" y="9231"/>
                  </a:lnTo>
                  <a:lnTo>
                    <a:pt x="9673" y="6112"/>
                  </a:lnTo>
                  <a:close/>
                  <a:moveTo>
                    <a:pt x="8349" y="10050"/>
                  </a:moveTo>
                  <a:lnTo>
                    <a:pt x="8349" y="10870"/>
                  </a:lnTo>
                  <a:lnTo>
                    <a:pt x="5861" y="10870"/>
                  </a:lnTo>
                  <a:lnTo>
                    <a:pt x="5861" y="10050"/>
                  </a:lnTo>
                  <a:close/>
                  <a:moveTo>
                    <a:pt x="8538" y="11720"/>
                  </a:moveTo>
                  <a:lnTo>
                    <a:pt x="9295" y="12823"/>
                  </a:lnTo>
                  <a:cubicBezTo>
                    <a:pt x="9116" y="12781"/>
                    <a:pt x="8938" y="12760"/>
                    <a:pt x="8761" y="12760"/>
                  </a:cubicBezTo>
                  <a:cubicBezTo>
                    <a:pt x="8409" y="12760"/>
                    <a:pt x="8066" y="12844"/>
                    <a:pt x="7751" y="13012"/>
                  </a:cubicBezTo>
                  <a:cubicBezTo>
                    <a:pt x="7562" y="13106"/>
                    <a:pt x="7341" y="13154"/>
                    <a:pt x="7117" y="13154"/>
                  </a:cubicBezTo>
                  <a:cubicBezTo>
                    <a:pt x="6892" y="13154"/>
                    <a:pt x="6664" y="13106"/>
                    <a:pt x="6459" y="13012"/>
                  </a:cubicBezTo>
                  <a:cubicBezTo>
                    <a:pt x="6144" y="12854"/>
                    <a:pt x="5798" y="12760"/>
                    <a:pt x="5419" y="12760"/>
                  </a:cubicBezTo>
                  <a:cubicBezTo>
                    <a:pt x="5262" y="12760"/>
                    <a:pt x="5073" y="12760"/>
                    <a:pt x="4915" y="12823"/>
                  </a:cubicBezTo>
                  <a:lnTo>
                    <a:pt x="5672" y="11720"/>
                  </a:lnTo>
                  <a:close/>
                  <a:moveTo>
                    <a:pt x="7089" y="0"/>
                  </a:moveTo>
                  <a:cubicBezTo>
                    <a:pt x="6680" y="0"/>
                    <a:pt x="6333" y="189"/>
                    <a:pt x="6081" y="505"/>
                  </a:cubicBezTo>
                  <a:cubicBezTo>
                    <a:pt x="6018" y="494"/>
                    <a:pt x="5954" y="489"/>
                    <a:pt x="5890" y="489"/>
                  </a:cubicBezTo>
                  <a:cubicBezTo>
                    <a:pt x="5571" y="489"/>
                    <a:pt x="5251" y="620"/>
                    <a:pt x="5041" y="883"/>
                  </a:cubicBezTo>
                  <a:cubicBezTo>
                    <a:pt x="4884" y="1040"/>
                    <a:pt x="4758" y="1261"/>
                    <a:pt x="4726" y="1513"/>
                  </a:cubicBezTo>
                  <a:cubicBezTo>
                    <a:pt x="4534" y="1416"/>
                    <a:pt x="4341" y="1375"/>
                    <a:pt x="4135" y="1375"/>
                  </a:cubicBezTo>
                  <a:cubicBezTo>
                    <a:pt x="4071" y="1375"/>
                    <a:pt x="4006" y="1379"/>
                    <a:pt x="3939" y="1387"/>
                  </a:cubicBezTo>
                  <a:cubicBezTo>
                    <a:pt x="3687" y="1072"/>
                    <a:pt x="3340" y="883"/>
                    <a:pt x="2931" y="883"/>
                  </a:cubicBezTo>
                  <a:cubicBezTo>
                    <a:pt x="2553" y="883"/>
                    <a:pt x="2206" y="1072"/>
                    <a:pt x="1954" y="1387"/>
                  </a:cubicBezTo>
                  <a:cubicBezTo>
                    <a:pt x="1872" y="1366"/>
                    <a:pt x="1788" y="1356"/>
                    <a:pt x="1704" y="1356"/>
                  </a:cubicBezTo>
                  <a:cubicBezTo>
                    <a:pt x="1402" y="1356"/>
                    <a:pt x="1098" y="1487"/>
                    <a:pt x="851" y="1733"/>
                  </a:cubicBezTo>
                  <a:cubicBezTo>
                    <a:pt x="568" y="2017"/>
                    <a:pt x="473" y="2426"/>
                    <a:pt x="505" y="2804"/>
                  </a:cubicBezTo>
                  <a:cubicBezTo>
                    <a:pt x="190" y="3025"/>
                    <a:pt x="1" y="3403"/>
                    <a:pt x="1" y="3781"/>
                  </a:cubicBezTo>
                  <a:cubicBezTo>
                    <a:pt x="1" y="4191"/>
                    <a:pt x="190" y="4537"/>
                    <a:pt x="505" y="4789"/>
                  </a:cubicBezTo>
                  <a:cubicBezTo>
                    <a:pt x="410" y="5167"/>
                    <a:pt x="536" y="5577"/>
                    <a:pt x="851" y="5829"/>
                  </a:cubicBezTo>
                  <a:cubicBezTo>
                    <a:pt x="1106" y="6084"/>
                    <a:pt x="1489" y="6212"/>
                    <a:pt x="1839" y="6212"/>
                  </a:cubicBezTo>
                  <a:cubicBezTo>
                    <a:pt x="1878" y="6212"/>
                    <a:pt x="1916" y="6210"/>
                    <a:pt x="1954" y="6207"/>
                  </a:cubicBezTo>
                  <a:cubicBezTo>
                    <a:pt x="2143" y="6427"/>
                    <a:pt x="2427" y="6616"/>
                    <a:pt x="2710" y="6679"/>
                  </a:cubicBezTo>
                  <a:lnTo>
                    <a:pt x="5010" y="9767"/>
                  </a:lnTo>
                  <a:lnTo>
                    <a:pt x="5010" y="11153"/>
                  </a:lnTo>
                  <a:lnTo>
                    <a:pt x="3435" y="13516"/>
                  </a:lnTo>
                  <a:cubicBezTo>
                    <a:pt x="3309" y="13674"/>
                    <a:pt x="3340" y="13863"/>
                    <a:pt x="3466" y="14020"/>
                  </a:cubicBezTo>
                  <a:cubicBezTo>
                    <a:pt x="3526" y="14120"/>
                    <a:pt x="3636" y="14182"/>
                    <a:pt x="3757" y="14182"/>
                  </a:cubicBezTo>
                  <a:cubicBezTo>
                    <a:pt x="3827" y="14182"/>
                    <a:pt x="3901" y="14161"/>
                    <a:pt x="3970" y="14115"/>
                  </a:cubicBezTo>
                  <a:lnTo>
                    <a:pt x="4789" y="13674"/>
                  </a:lnTo>
                  <a:cubicBezTo>
                    <a:pt x="4994" y="13579"/>
                    <a:pt x="5215" y="13532"/>
                    <a:pt x="5435" y="13532"/>
                  </a:cubicBezTo>
                  <a:cubicBezTo>
                    <a:pt x="5656" y="13532"/>
                    <a:pt x="5876" y="13579"/>
                    <a:pt x="6081" y="13674"/>
                  </a:cubicBezTo>
                  <a:cubicBezTo>
                    <a:pt x="6396" y="13831"/>
                    <a:pt x="6743" y="13910"/>
                    <a:pt x="7089" y="13910"/>
                  </a:cubicBezTo>
                  <a:cubicBezTo>
                    <a:pt x="7436" y="13910"/>
                    <a:pt x="7782" y="13831"/>
                    <a:pt x="8097" y="13674"/>
                  </a:cubicBezTo>
                  <a:cubicBezTo>
                    <a:pt x="8302" y="13579"/>
                    <a:pt x="8523" y="13532"/>
                    <a:pt x="8743" y="13532"/>
                  </a:cubicBezTo>
                  <a:cubicBezTo>
                    <a:pt x="8964" y="13532"/>
                    <a:pt x="9184" y="13579"/>
                    <a:pt x="9389" y="13674"/>
                  </a:cubicBezTo>
                  <a:lnTo>
                    <a:pt x="10240" y="14115"/>
                  </a:lnTo>
                  <a:cubicBezTo>
                    <a:pt x="10292" y="14136"/>
                    <a:pt x="10348" y="14146"/>
                    <a:pt x="10405" y="14146"/>
                  </a:cubicBezTo>
                  <a:cubicBezTo>
                    <a:pt x="10520" y="14146"/>
                    <a:pt x="10639" y="14104"/>
                    <a:pt x="10744" y="14020"/>
                  </a:cubicBezTo>
                  <a:cubicBezTo>
                    <a:pt x="10870" y="13863"/>
                    <a:pt x="10901" y="13674"/>
                    <a:pt x="10775" y="13516"/>
                  </a:cubicBezTo>
                  <a:lnTo>
                    <a:pt x="9200" y="11153"/>
                  </a:lnTo>
                  <a:lnTo>
                    <a:pt x="9200" y="9767"/>
                  </a:lnTo>
                  <a:lnTo>
                    <a:pt x="11500" y="6679"/>
                  </a:lnTo>
                  <a:cubicBezTo>
                    <a:pt x="11815" y="6616"/>
                    <a:pt x="12067" y="6427"/>
                    <a:pt x="12225" y="6207"/>
                  </a:cubicBezTo>
                  <a:cubicBezTo>
                    <a:pt x="12293" y="6217"/>
                    <a:pt x="12360" y="6223"/>
                    <a:pt x="12427" y="6223"/>
                  </a:cubicBezTo>
                  <a:cubicBezTo>
                    <a:pt x="12758" y="6223"/>
                    <a:pt x="13065" y="6091"/>
                    <a:pt x="13327" y="5829"/>
                  </a:cubicBezTo>
                  <a:cubicBezTo>
                    <a:pt x="13611" y="5577"/>
                    <a:pt x="13737" y="5167"/>
                    <a:pt x="13705" y="4789"/>
                  </a:cubicBezTo>
                  <a:cubicBezTo>
                    <a:pt x="14020" y="4537"/>
                    <a:pt x="14209" y="4191"/>
                    <a:pt x="14209" y="3781"/>
                  </a:cubicBezTo>
                  <a:cubicBezTo>
                    <a:pt x="14178" y="3403"/>
                    <a:pt x="13957" y="3056"/>
                    <a:pt x="13674" y="2804"/>
                  </a:cubicBezTo>
                  <a:cubicBezTo>
                    <a:pt x="13737" y="2426"/>
                    <a:pt x="13611" y="2017"/>
                    <a:pt x="13296" y="1733"/>
                  </a:cubicBezTo>
                  <a:cubicBezTo>
                    <a:pt x="13047" y="1484"/>
                    <a:pt x="12700" y="1381"/>
                    <a:pt x="12342" y="1381"/>
                  </a:cubicBezTo>
                  <a:cubicBezTo>
                    <a:pt x="12292" y="1381"/>
                    <a:pt x="12243" y="1383"/>
                    <a:pt x="12193" y="1387"/>
                  </a:cubicBezTo>
                  <a:cubicBezTo>
                    <a:pt x="11973" y="1072"/>
                    <a:pt x="11594" y="883"/>
                    <a:pt x="11216" y="883"/>
                  </a:cubicBezTo>
                  <a:cubicBezTo>
                    <a:pt x="10807" y="883"/>
                    <a:pt x="10460" y="1072"/>
                    <a:pt x="10240" y="1387"/>
                  </a:cubicBezTo>
                  <a:cubicBezTo>
                    <a:pt x="10173" y="1379"/>
                    <a:pt x="10106" y="1375"/>
                    <a:pt x="10040" y="1375"/>
                  </a:cubicBezTo>
                  <a:cubicBezTo>
                    <a:pt x="9826" y="1375"/>
                    <a:pt x="9621" y="1416"/>
                    <a:pt x="9452" y="1513"/>
                  </a:cubicBezTo>
                  <a:cubicBezTo>
                    <a:pt x="9421" y="1261"/>
                    <a:pt x="9295" y="1072"/>
                    <a:pt x="9137" y="883"/>
                  </a:cubicBezTo>
                  <a:cubicBezTo>
                    <a:pt x="8882" y="627"/>
                    <a:pt x="8525" y="500"/>
                    <a:pt x="8180" y="500"/>
                  </a:cubicBezTo>
                  <a:cubicBezTo>
                    <a:pt x="8142" y="500"/>
                    <a:pt x="8104" y="501"/>
                    <a:pt x="8066" y="505"/>
                  </a:cubicBezTo>
                  <a:cubicBezTo>
                    <a:pt x="7845" y="189"/>
                    <a:pt x="7467"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1" name="Google Shape;10581;p79"/>
            <p:cNvSpPr/>
            <p:nvPr/>
          </p:nvSpPr>
          <p:spPr>
            <a:xfrm>
              <a:off x="-11072175" y="1734725"/>
              <a:ext cx="41775" cy="41000"/>
            </a:xfrm>
            <a:custGeom>
              <a:avLst/>
              <a:gdLst/>
              <a:ahLst/>
              <a:cxnLst/>
              <a:rect l="l" t="t" r="r" b="b"/>
              <a:pathLst>
                <a:path w="1671" h="1640" extrusionOk="0">
                  <a:moveTo>
                    <a:pt x="820" y="1"/>
                  </a:moveTo>
                  <a:cubicBezTo>
                    <a:pt x="379" y="1"/>
                    <a:pt x="1" y="379"/>
                    <a:pt x="1" y="820"/>
                  </a:cubicBezTo>
                  <a:cubicBezTo>
                    <a:pt x="1" y="1293"/>
                    <a:pt x="379" y="1639"/>
                    <a:pt x="820" y="1639"/>
                  </a:cubicBezTo>
                  <a:cubicBezTo>
                    <a:pt x="1292" y="1639"/>
                    <a:pt x="1671" y="1293"/>
                    <a:pt x="1671" y="820"/>
                  </a:cubicBezTo>
                  <a:cubicBezTo>
                    <a:pt x="1671" y="379"/>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79"/>
            <p:cNvSpPr/>
            <p:nvPr/>
          </p:nvSpPr>
          <p:spPr>
            <a:xfrm>
              <a:off x="-11278525" y="1734725"/>
              <a:ext cx="40975" cy="41000"/>
            </a:xfrm>
            <a:custGeom>
              <a:avLst/>
              <a:gdLst/>
              <a:ahLst/>
              <a:cxnLst/>
              <a:rect l="l" t="t" r="r" b="b"/>
              <a:pathLst>
                <a:path w="1639" h="1640" extrusionOk="0">
                  <a:moveTo>
                    <a:pt x="820" y="1"/>
                  </a:moveTo>
                  <a:cubicBezTo>
                    <a:pt x="347" y="1"/>
                    <a:pt x="0" y="379"/>
                    <a:pt x="0" y="820"/>
                  </a:cubicBezTo>
                  <a:cubicBezTo>
                    <a:pt x="0" y="1293"/>
                    <a:pt x="347"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3" name="Google Shape;10583;p79"/>
            <p:cNvSpPr/>
            <p:nvPr/>
          </p:nvSpPr>
          <p:spPr>
            <a:xfrm>
              <a:off x="-11175350" y="1714250"/>
              <a:ext cx="40975" cy="41000"/>
            </a:xfrm>
            <a:custGeom>
              <a:avLst/>
              <a:gdLst/>
              <a:ahLst/>
              <a:cxnLst/>
              <a:rect l="l" t="t" r="r" b="b"/>
              <a:pathLst>
                <a:path w="1639" h="1640" extrusionOk="0">
                  <a:moveTo>
                    <a:pt x="820" y="1"/>
                  </a:moveTo>
                  <a:cubicBezTo>
                    <a:pt x="379" y="1"/>
                    <a:pt x="1" y="379"/>
                    <a:pt x="1" y="820"/>
                  </a:cubicBezTo>
                  <a:cubicBezTo>
                    <a:pt x="1" y="1261"/>
                    <a:pt x="379" y="1639"/>
                    <a:pt x="820" y="1639"/>
                  </a:cubicBezTo>
                  <a:cubicBezTo>
                    <a:pt x="1261" y="1639"/>
                    <a:pt x="1639" y="1261"/>
                    <a:pt x="1639" y="820"/>
                  </a:cubicBezTo>
                  <a:cubicBezTo>
                    <a:pt x="1639" y="379"/>
                    <a:pt x="1261"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4" name="Google Shape;10584;p79"/>
          <p:cNvSpPr/>
          <p:nvPr/>
        </p:nvSpPr>
        <p:spPr>
          <a:xfrm>
            <a:off x="7575652" y="1940879"/>
            <a:ext cx="345370" cy="339286"/>
          </a:xfrm>
          <a:custGeom>
            <a:avLst/>
            <a:gdLst/>
            <a:ahLst/>
            <a:cxnLst/>
            <a:rect l="l" t="t" r="r" b="b"/>
            <a:pathLst>
              <a:path w="14304" h="14052" extrusionOk="0">
                <a:moveTo>
                  <a:pt x="12886" y="2489"/>
                </a:moveTo>
                <a:cubicBezTo>
                  <a:pt x="13106" y="2521"/>
                  <a:pt x="13295" y="2710"/>
                  <a:pt x="13295" y="2899"/>
                </a:cubicBezTo>
                <a:lnTo>
                  <a:pt x="13295" y="3875"/>
                </a:lnTo>
                <a:cubicBezTo>
                  <a:pt x="12933" y="3592"/>
                  <a:pt x="12500" y="3450"/>
                  <a:pt x="12067" y="3450"/>
                </a:cubicBezTo>
                <a:cubicBezTo>
                  <a:pt x="11633" y="3450"/>
                  <a:pt x="11200" y="3592"/>
                  <a:pt x="10838" y="3875"/>
                </a:cubicBezTo>
                <a:lnTo>
                  <a:pt x="10838" y="2899"/>
                </a:lnTo>
                <a:cubicBezTo>
                  <a:pt x="10838" y="2678"/>
                  <a:pt x="11027" y="2489"/>
                  <a:pt x="11216" y="2489"/>
                </a:cubicBezTo>
                <a:close/>
                <a:moveTo>
                  <a:pt x="2899" y="2521"/>
                </a:moveTo>
                <a:cubicBezTo>
                  <a:pt x="3151" y="2521"/>
                  <a:pt x="3308" y="2710"/>
                  <a:pt x="3308" y="2962"/>
                </a:cubicBezTo>
                <a:lnTo>
                  <a:pt x="3308" y="3907"/>
                </a:lnTo>
                <a:cubicBezTo>
                  <a:pt x="2962" y="3623"/>
                  <a:pt x="2521" y="3497"/>
                  <a:pt x="2048" y="3497"/>
                </a:cubicBezTo>
                <a:cubicBezTo>
                  <a:pt x="1575" y="3497"/>
                  <a:pt x="1166" y="3655"/>
                  <a:pt x="819" y="3907"/>
                </a:cubicBezTo>
                <a:lnTo>
                  <a:pt x="819" y="2962"/>
                </a:lnTo>
                <a:cubicBezTo>
                  <a:pt x="851" y="2710"/>
                  <a:pt x="1040" y="2521"/>
                  <a:pt x="1260" y="2521"/>
                </a:cubicBezTo>
                <a:close/>
                <a:moveTo>
                  <a:pt x="2079" y="4285"/>
                </a:moveTo>
                <a:cubicBezTo>
                  <a:pt x="2395" y="4285"/>
                  <a:pt x="2710" y="4411"/>
                  <a:pt x="2962" y="4663"/>
                </a:cubicBezTo>
                <a:lnTo>
                  <a:pt x="4411" y="6112"/>
                </a:lnTo>
                <a:cubicBezTo>
                  <a:pt x="4285" y="6301"/>
                  <a:pt x="2836" y="7719"/>
                  <a:pt x="2678" y="7876"/>
                </a:cubicBezTo>
                <a:lnTo>
                  <a:pt x="1229" y="6427"/>
                </a:lnTo>
                <a:cubicBezTo>
                  <a:pt x="756" y="5955"/>
                  <a:pt x="756" y="5167"/>
                  <a:pt x="1229" y="4663"/>
                </a:cubicBezTo>
                <a:cubicBezTo>
                  <a:pt x="1449" y="4411"/>
                  <a:pt x="1764" y="4285"/>
                  <a:pt x="2079" y="4285"/>
                </a:cubicBezTo>
                <a:close/>
                <a:moveTo>
                  <a:pt x="12055" y="4308"/>
                </a:moveTo>
                <a:cubicBezTo>
                  <a:pt x="12374" y="4308"/>
                  <a:pt x="12697" y="4427"/>
                  <a:pt x="12949" y="4663"/>
                </a:cubicBezTo>
                <a:cubicBezTo>
                  <a:pt x="13421" y="5167"/>
                  <a:pt x="13421" y="5955"/>
                  <a:pt x="12949" y="6427"/>
                </a:cubicBezTo>
                <a:lnTo>
                  <a:pt x="11499" y="7876"/>
                </a:lnTo>
                <a:lnTo>
                  <a:pt x="9735" y="6112"/>
                </a:lnTo>
                <a:lnTo>
                  <a:pt x="11184" y="4663"/>
                </a:lnTo>
                <a:cubicBezTo>
                  <a:pt x="11421" y="4427"/>
                  <a:pt x="11736" y="4308"/>
                  <a:pt x="12055" y="4308"/>
                </a:cubicBezTo>
                <a:close/>
                <a:moveTo>
                  <a:pt x="11657" y="819"/>
                </a:moveTo>
                <a:lnTo>
                  <a:pt x="11657" y="1701"/>
                </a:lnTo>
                <a:lnTo>
                  <a:pt x="11216" y="1701"/>
                </a:lnTo>
                <a:cubicBezTo>
                  <a:pt x="10554" y="1701"/>
                  <a:pt x="10019" y="2237"/>
                  <a:pt x="10019" y="2899"/>
                </a:cubicBezTo>
                <a:lnTo>
                  <a:pt x="10019" y="4663"/>
                </a:lnTo>
                <a:lnTo>
                  <a:pt x="8853" y="5797"/>
                </a:lnTo>
                <a:cubicBezTo>
                  <a:pt x="8696" y="5955"/>
                  <a:pt x="8696" y="6238"/>
                  <a:pt x="8853" y="6396"/>
                </a:cubicBezTo>
                <a:lnTo>
                  <a:pt x="9231" y="6742"/>
                </a:lnTo>
                <a:lnTo>
                  <a:pt x="7089" y="8443"/>
                </a:lnTo>
                <a:lnTo>
                  <a:pt x="4978" y="6742"/>
                </a:lnTo>
                <a:lnTo>
                  <a:pt x="5324" y="6396"/>
                </a:lnTo>
                <a:cubicBezTo>
                  <a:pt x="5482" y="6238"/>
                  <a:pt x="5482" y="5955"/>
                  <a:pt x="5324" y="5797"/>
                </a:cubicBezTo>
                <a:lnTo>
                  <a:pt x="4190" y="4663"/>
                </a:lnTo>
                <a:lnTo>
                  <a:pt x="4190" y="2899"/>
                </a:lnTo>
                <a:cubicBezTo>
                  <a:pt x="4190" y="2237"/>
                  <a:pt x="3623" y="1701"/>
                  <a:pt x="2962" y="1701"/>
                </a:cubicBezTo>
                <a:lnTo>
                  <a:pt x="2521" y="1701"/>
                </a:lnTo>
                <a:lnTo>
                  <a:pt x="2521" y="819"/>
                </a:lnTo>
                <a:close/>
                <a:moveTo>
                  <a:pt x="9767" y="7341"/>
                </a:moveTo>
                <a:lnTo>
                  <a:pt x="10176" y="7719"/>
                </a:lnTo>
                <a:lnTo>
                  <a:pt x="8506" y="9609"/>
                </a:lnTo>
                <a:lnTo>
                  <a:pt x="7719" y="8979"/>
                </a:lnTo>
                <a:lnTo>
                  <a:pt x="9767" y="7341"/>
                </a:lnTo>
                <a:close/>
                <a:moveTo>
                  <a:pt x="5545" y="10743"/>
                </a:moveTo>
                <a:lnTo>
                  <a:pt x="6553" y="11846"/>
                </a:lnTo>
                <a:lnTo>
                  <a:pt x="5230" y="13264"/>
                </a:lnTo>
                <a:lnTo>
                  <a:pt x="2426" y="13264"/>
                </a:lnTo>
                <a:lnTo>
                  <a:pt x="5545" y="10743"/>
                </a:lnTo>
                <a:close/>
                <a:moveTo>
                  <a:pt x="4379" y="7372"/>
                </a:moveTo>
                <a:lnTo>
                  <a:pt x="11751" y="13327"/>
                </a:lnTo>
                <a:lnTo>
                  <a:pt x="8948" y="13327"/>
                </a:lnTo>
                <a:lnTo>
                  <a:pt x="8948" y="13264"/>
                </a:lnTo>
                <a:lnTo>
                  <a:pt x="3970" y="7750"/>
                </a:lnTo>
                <a:lnTo>
                  <a:pt x="4379" y="7372"/>
                </a:lnTo>
                <a:close/>
                <a:moveTo>
                  <a:pt x="473" y="0"/>
                </a:moveTo>
                <a:cubicBezTo>
                  <a:pt x="252" y="0"/>
                  <a:pt x="32" y="189"/>
                  <a:pt x="32" y="441"/>
                </a:cubicBezTo>
                <a:cubicBezTo>
                  <a:pt x="32" y="662"/>
                  <a:pt x="252" y="819"/>
                  <a:pt x="473" y="819"/>
                </a:cubicBezTo>
                <a:lnTo>
                  <a:pt x="1733" y="819"/>
                </a:lnTo>
                <a:lnTo>
                  <a:pt x="1733" y="1701"/>
                </a:lnTo>
                <a:lnTo>
                  <a:pt x="1292" y="1701"/>
                </a:lnTo>
                <a:cubicBezTo>
                  <a:pt x="630" y="1701"/>
                  <a:pt x="32" y="2237"/>
                  <a:pt x="32" y="2899"/>
                </a:cubicBezTo>
                <a:lnTo>
                  <a:pt x="32" y="5387"/>
                </a:lnTo>
                <a:lnTo>
                  <a:pt x="32" y="5450"/>
                </a:lnTo>
                <a:cubicBezTo>
                  <a:pt x="0" y="5986"/>
                  <a:pt x="252" y="6553"/>
                  <a:pt x="630" y="6963"/>
                </a:cubicBezTo>
                <a:lnTo>
                  <a:pt x="2395" y="8758"/>
                </a:lnTo>
                <a:cubicBezTo>
                  <a:pt x="2473" y="8837"/>
                  <a:pt x="2584" y="8877"/>
                  <a:pt x="2694" y="8877"/>
                </a:cubicBezTo>
                <a:cubicBezTo>
                  <a:pt x="2804" y="8877"/>
                  <a:pt x="2914" y="8837"/>
                  <a:pt x="2993" y="8758"/>
                </a:cubicBezTo>
                <a:lnTo>
                  <a:pt x="3434" y="8317"/>
                </a:lnTo>
                <a:lnTo>
                  <a:pt x="5041" y="10082"/>
                </a:lnTo>
                <a:lnTo>
                  <a:pt x="1008" y="13327"/>
                </a:lnTo>
                <a:cubicBezTo>
                  <a:pt x="914" y="13421"/>
                  <a:pt x="819" y="13579"/>
                  <a:pt x="914" y="13768"/>
                </a:cubicBezTo>
                <a:cubicBezTo>
                  <a:pt x="945" y="13925"/>
                  <a:pt x="1103" y="14051"/>
                  <a:pt x="1292" y="14051"/>
                </a:cubicBezTo>
                <a:lnTo>
                  <a:pt x="5419" y="14051"/>
                </a:lnTo>
                <a:cubicBezTo>
                  <a:pt x="5545" y="14051"/>
                  <a:pt x="5671" y="14020"/>
                  <a:pt x="5734" y="13925"/>
                </a:cubicBezTo>
                <a:lnTo>
                  <a:pt x="7120" y="12413"/>
                </a:lnTo>
                <a:lnTo>
                  <a:pt x="8506" y="13925"/>
                </a:lnTo>
                <a:cubicBezTo>
                  <a:pt x="8569" y="14020"/>
                  <a:pt x="8696" y="14051"/>
                  <a:pt x="8822" y="14051"/>
                </a:cubicBezTo>
                <a:lnTo>
                  <a:pt x="12949" y="14051"/>
                </a:lnTo>
                <a:cubicBezTo>
                  <a:pt x="13106" y="14051"/>
                  <a:pt x="13264" y="13925"/>
                  <a:pt x="13358" y="13768"/>
                </a:cubicBezTo>
                <a:cubicBezTo>
                  <a:pt x="13390" y="13610"/>
                  <a:pt x="13358" y="13421"/>
                  <a:pt x="13232" y="13327"/>
                </a:cubicBezTo>
                <a:lnTo>
                  <a:pt x="9263" y="10082"/>
                </a:lnTo>
                <a:lnTo>
                  <a:pt x="10869" y="8286"/>
                </a:lnTo>
                <a:lnTo>
                  <a:pt x="11310" y="8695"/>
                </a:lnTo>
                <a:cubicBezTo>
                  <a:pt x="11389" y="8774"/>
                  <a:pt x="11492" y="8814"/>
                  <a:pt x="11594" y="8814"/>
                </a:cubicBezTo>
                <a:cubicBezTo>
                  <a:pt x="11696" y="8814"/>
                  <a:pt x="11799" y="8774"/>
                  <a:pt x="11878" y="8695"/>
                </a:cubicBezTo>
                <a:lnTo>
                  <a:pt x="13673" y="6931"/>
                </a:lnTo>
                <a:cubicBezTo>
                  <a:pt x="14083" y="6490"/>
                  <a:pt x="14303" y="5955"/>
                  <a:pt x="14240" y="5387"/>
                </a:cubicBezTo>
                <a:lnTo>
                  <a:pt x="14240" y="5356"/>
                </a:lnTo>
                <a:lnTo>
                  <a:pt x="14240" y="2867"/>
                </a:lnTo>
                <a:cubicBezTo>
                  <a:pt x="14240" y="2205"/>
                  <a:pt x="13705" y="1670"/>
                  <a:pt x="12980" y="1670"/>
                </a:cubicBezTo>
                <a:lnTo>
                  <a:pt x="12571" y="1670"/>
                </a:lnTo>
                <a:lnTo>
                  <a:pt x="12571" y="788"/>
                </a:lnTo>
                <a:lnTo>
                  <a:pt x="13736" y="788"/>
                </a:lnTo>
                <a:lnTo>
                  <a:pt x="13736" y="819"/>
                </a:lnTo>
                <a:cubicBezTo>
                  <a:pt x="13988" y="819"/>
                  <a:pt x="14177" y="630"/>
                  <a:pt x="14177" y="441"/>
                </a:cubicBezTo>
                <a:cubicBezTo>
                  <a:pt x="14177" y="189"/>
                  <a:pt x="13988" y="0"/>
                  <a:pt x="137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79"/>
          <p:cNvSpPr/>
          <p:nvPr/>
        </p:nvSpPr>
        <p:spPr>
          <a:xfrm>
            <a:off x="7576413" y="2369608"/>
            <a:ext cx="343849" cy="298988"/>
          </a:xfrm>
          <a:custGeom>
            <a:avLst/>
            <a:gdLst/>
            <a:ahLst/>
            <a:cxnLst/>
            <a:rect l="l" t="t" r="r" b="b"/>
            <a:pathLst>
              <a:path w="14241" h="12383" extrusionOk="0">
                <a:moveTo>
                  <a:pt x="9610" y="4128"/>
                </a:moveTo>
                <a:cubicBezTo>
                  <a:pt x="10271" y="4128"/>
                  <a:pt x="10870" y="4664"/>
                  <a:pt x="10870" y="5388"/>
                </a:cubicBezTo>
                <a:cubicBezTo>
                  <a:pt x="10870" y="6050"/>
                  <a:pt x="10303" y="6617"/>
                  <a:pt x="9610" y="6617"/>
                </a:cubicBezTo>
                <a:lnTo>
                  <a:pt x="8444" y="6617"/>
                </a:lnTo>
                <a:cubicBezTo>
                  <a:pt x="8412" y="6207"/>
                  <a:pt x="8381" y="5829"/>
                  <a:pt x="8381" y="5388"/>
                </a:cubicBezTo>
                <a:cubicBezTo>
                  <a:pt x="8381" y="4947"/>
                  <a:pt x="8412" y="4569"/>
                  <a:pt x="8444" y="4128"/>
                </a:cubicBezTo>
                <a:close/>
                <a:moveTo>
                  <a:pt x="3183" y="3309"/>
                </a:moveTo>
                <a:cubicBezTo>
                  <a:pt x="2773" y="3876"/>
                  <a:pt x="2553" y="4632"/>
                  <a:pt x="2553" y="5388"/>
                </a:cubicBezTo>
                <a:cubicBezTo>
                  <a:pt x="2553" y="6144"/>
                  <a:pt x="2773" y="6837"/>
                  <a:pt x="3183" y="7468"/>
                </a:cubicBezTo>
                <a:lnTo>
                  <a:pt x="2994" y="7468"/>
                </a:lnTo>
                <a:cubicBezTo>
                  <a:pt x="1765" y="7436"/>
                  <a:pt x="820" y="6459"/>
                  <a:pt x="883" y="5262"/>
                </a:cubicBezTo>
                <a:cubicBezTo>
                  <a:pt x="946" y="4191"/>
                  <a:pt x="1954" y="3309"/>
                  <a:pt x="3088" y="3309"/>
                </a:cubicBezTo>
                <a:close/>
                <a:moveTo>
                  <a:pt x="8129" y="2175"/>
                </a:moveTo>
                <a:lnTo>
                  <a:pt x="8129" y="2175"/>
                </a:lnTo>
                <a:cubicBezTo>
                  <a:pt x="7751" y="3088"/>
                  <a:pt x="7562" y="4160"/>
                  <a:pt x="7562" y="5294"/>
                </a:cubicBezTo>
                <a:cubicBezTo>
                  <a:pt x="7562" y="6428"/>
                  <a:pt x="7751" y="7499"/>
                  <a:pt x="8129" y="8413"/>
                </a:cubicBezTo>
                <a:lnTo>
                  <a:pt x="7908" y="8255"/>
                </a:lnTo>
                <a:cubicBezTo>
                  <a:pt x="6995" y="7783"/>
                  <a:pt x="5861" y="7436"/>
                  <a:pt x="4600" y="7436"/>
                </a:cubicBezTo>
                <a:lnTo>
                  <a:pt x="4254" y="7436"/>
                </a:lnTo>
                <a:cubicBezTo>
                  <a:pt x="3687" y="6869"/>
                  <a:pt x="3372" y="6144"/>
                  <a:pt x="3372" y="5357"/>
                </a:cubicBezTo>
                <a:cubicBezTo>
                  <a:pt x="3372" y="4569"/>
                  <a:pt x="3687" y="3813"/>
                  <a:pt x="4254" y="3246"/>
                </a:cubicBezTo>
                <a:lnTo>
                  <a:pt x="4632" y="3246"/>
                </a:lnTo>
                <a:cubicBezTo>
                  <a:pt x="5798" y="3246"/>
                  <a:pt x="6963" y="2931"/>
                  <a:pt x="7908" y="2332"/>
                </a:cubicBezTo>
                <a:lnTo>
                  <a:pt x="8129" y="2175"/>
                </a:lnTo>
                <a:close/>
                <a:moveTo>
                  <a:pt x="5041" y="8287"/>
                </a:moveTo>
                <a:cubicBezTo>
                  <a:pt x="5293" y="8287"/>
                  <a:pt x="5577" y="8350"/>
                  <a:pt x="5861" y="8413"/>
                </a:cubicBezTo>
                <a:lnTo>
                  <a:pt x="5861" y="8696"/>
                </a:lnTo>
                <a:cubicBezTo>
                  <a:pt x="5861" y="8917"/>
                  <a:pt x="5672" y="9137"/>
                  <a:pt x="5419" y="9137"/>
                </a:cubicBezTo>
                <a:lnTo>
                  <a:pt x="5041" y="9137"/>
                </a:lnTo>
                <a:lnTo>
                  <a:pt x="5041" y="8287"/>
                </a:lnTo>
                <a:close/>
                <a:moveTo>
                  <a:pt x="10870" y="757"/>
                </a:moveTo>
                <a:cubicBezTo>
                  <a:pt x="12193" y="757"/>
                  <a:pt x="13327" y="2868"/>
                  <a:pt x="13327" y="5325"/>
                </a:cubicBezTo>
                <a:cubicBezTo>
                  <a:pt x="13327" y="7814"/>
                  <a:pt x="12193" y="9925"/>
                  <a:pt x="10870" y="9925"/>
                </a:cubicBezTo>
                <a:cubicBezTo>
                  <a:pt x="10712" y="9925"/>
                  <a:pt x="10492" y="9862"/>
                  <a:pt x="10334" y="9799"/>
                </a:cubicBezTo>
                <a:lnTo>
                  <a:pt x="9862" y="9515"/>
                </a:lnTo>
                <a:cubicBezTo>
                  <a:pt x="9358" y="9074"/>
                  <a:pt x="8917" y="8350"/>
                  <a:pt x="8664" y="7436"/>
                </a:cubicBezTo>
                <a:lnTo>
                  <a:pt x="9610" y="7436"/>
                </a:lnTo>
                <a:cubicBezTo>
                  <a:pt x="10744" y="7436"/>
                  <a:pt x="11689" y="6491"/>
                  <a:pt x="11689" y="5325"/>
                </a:cubicBezTo>
                <a:cubicBezTo>
                  <a:pt x="11689" y="4191"/>
                  <a:pt x="10744" y="3246"/>
                  <a:pt x="9610" y="3246"/>
                </a:cubicBezTo>
                <a:lnTo>
                  <a:pt x="8664" y="3246"/>
                </a:lnTo>
                <a:cubicBezTo>
                  <a:pt x="8948" y="2332"/>
                  <a:pt x="9326" y="1608"/>
                  <a:pt x="9862" y="1167"/>
                </a:cubicBezTo>
                <a:lnTo>
                  <a:pt x="10334" y="883"/>
                </a:lnTo>
                <a:cubicBezTo>
                  <a:pt x="10523" y="820"/>
                  <a:pt x="10712" y="757"/>
                  <a:pt x="10870" y="757"/>
                </a:cubicBezTo>
                <a:close/>
                <a:moveTo>
                  <a:pt x="4222" y="8255"/>
                </a:moveTo>
                <a:lnTo>
                  <a:pt x="4222" y="11185"/>
                </a:lnTo>
                <a:cubicBezTo>
                  <a:pt x="4222" y="11406"/>
                  <a:pt x="4002" y="11595"/>
                  <a:pt x="3813" y="11595"/>
                </a:cubicBezTo>
                <a:cubicBezTo>
                  <a:pt x="3624" y="11595"/>
                  <a:pt x="3372" y="11406"/>
                  <a:pt x="3372" y="11185"/>
                </a:cubicBezTo>
                <a:lnTo>
                  <a:pt x="3372" y="8255"/>
                </a:lnTo>
                <a:close/>
                <a:moveTo>
                  <a:pt x="10870" y="1"/>
                </a:moveTo>
                <a:cubicBezTo>
                  <a:pt x="10303" y="1"/>
                  <a:pt x="9830" y="190"/>
                  <a:pt x="9389" y="536"/>
                </a:cubicBezTo>
                <a:lnTo>
                  <a:pt x="7467" y="1671"/>
                </a:lnTo>
                <a:cubicBezTo>
                  <a:pt x="6648" y="2206"/>
                  <a:pt x="5609" y="2458"/>
                  <a:pt x="4632" y="2458"/>
                </a:cubicBezTo>
                <a:lnTo>
                  <a:pt x="3088" y="2458"/>
                </a:lnTo>
                <a:cubicBezTo>
                  <a:pt x="1513" y="2458"/>
                  <a:pt x="158" y="3655"/>
                  <a:pt x="64" y="5231"/>
                </a:cubicBezTo>
                <a:cubicBezTo>
                  <a:pt x="1" y="6806"/>
                  <a:pt x="1135" y="8066"/>
                  <a:pt x="2553" y="8255"/>
                </a:cubicBezTo>
                <a:lnTo>
                  <a:pt x="2553" y="11185"/>
                </a:lnTo>
                <a:cubicBezTo>
                  <a:pt x="2553" y="11847"/>
                  <a:pt x="3088" y="12382"/>
                  <a:pt x="3813" y="12382"/>
                </a:cubicBezTo>
                <a:cubicBezTo>
                  <a:pt x="4474" y="12382"/>
                  <a:pt x="5073" y="11847"/>
                  <a:pt x="5073" y="11185"/>
                </a:cubicBezTo>
                <a:lnTo>
                  <a:pt x="5073" y="9925"/>
                </a:lnTo>
                <a:lnTo>
                  <a:pt x="5451" y="9925"/>
                </a:lnTo>
                <a:cubicBezTo>
                  <a:pt x="6144" y="9925"/>
                  <a:pt x="6711" y="9358"/>
                  <a:pt x="6711" y="8696"/>
                </a:cubicBezTo>
                <a:lnTo>
                  <a:pt x="6711" y="8665"/>
                </a:lnTo>
                <a:cubicBezTo>
                  <a:pt x="6995" y="8759"/>
                  <a:pt x="7278" y="8885"/>
                  <a:pt x="7562" y="9043"/>
                </a:cubicBezTo>
                <a:lnTo>
                  <a:pt x="9484" y="10177"/>
                </a:lnTo>
                <a:cubicBezTo>
                  <a:pt x="9925" y="10555"/>
                  <a:pt x="10397" y="10744"/>
                  <a:pt x="10933" y="10744"/>
                </a:cubicBezTo>
                <a:cubicBezTo>
                  <a:pt x="11878" y="10744"/>
                  <a:pt x="12697" y="10145"/>
                  <a:pt x="13327" y="9074"/>
                </a:cubicBezTo>
                <a:cubicBezTo>
                  <a:pt x="13926" y="8098"/>
                  <a:pt x="14241" y="6774"/>
                  <a:pt x="14241" y="5388"/>
                </a:cubicBezTo>
                <a:cubicBezTo>
                  <a:pt x="14178" y="2458"/>
                  <a:pt x="12792" y="1"/>
                  <a:pt x="108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6" name="Google Shape;10586;p79"/>
          <p:cNvGrpSpPr/>
          <p:nvPr/>
        </p:nvGrpSpPr>
        <p:grpSpPr>
          <a:xfrm>
            <a:off x="5774096" y="2777997"/>
            <a:ext cx="299736" cy="343849"/>
            <a:chOff x="-9570950" y="1622100"/>
            <a:chExt cx="310350" cy="356025"/>
          </a:xfrm>
        </p:grpSpPr>
        <p:sp>
          <p:nvSpPr>
            <p:cNvPr id="10587" name="Google Shape;10587;p79"/>
            <p:cNvSpPr/>
            <p:nvPr/>
          </p:nvSpPr>
          <p:spPr>
            <a:xfrm>
              <a:off x="-9570950" y="1622100"/>
              <a:ext cx="310350" cy="356025"/>
            </a:xfrm>
            <a:custGeom>
              <a:avLst/>
              <a:gdLst/>
              <a:ahLst/>
              <a:cxnLst/>
              <a:rect l="l" t="t" r="r" b="b"/>
              <a:pathLst>
                <a:path w="12414" h="14241" extrusionOk="0">
                  <a:moveTo>
                    <a:pt x="7026" y="851"/>
                  </a:moveTo>
                  <a:cubicBezTo>
                    <a:pt x="7246" y="851"/>
                    <a:pt x="7404" y="1040"/>
                    <a:pt x="7404" y="1229"/>
                  </a:cubicBezTo>
                  <a:lnTo>
                    <a:pt x="7404" y="1670"/>
                  </a:lnTo>
                  <a:lnTo>
                    <a:pt x="4915" y="1670"/>
                  </a:lnTo>
                  <a:lnTo>
                    <a:pt x="4915" y="1229"/>
                  </a:lnTo>
                  <a:lnTo>
                    <a:pt x="4978" y="1229"/>
                  </a:lnTo>
                  <a:cubicBezTo>
                    <a:pt x="4978" y="1009"/>
                    <a:pt x="5167" y="851"/>
                    <a:pt x="5356" y="851"/>
                  </a:cubicBezTo>
                  <a:close/>
                  <a:moveTo>
                    <a:pt x="9987" y="2490"/>
                  </a:moveTo>
                  <a:lnTo>
                    <a:pt x="9987" y="7688"/>
                  </a:lnTo>
                  <a:lnTo>
                    <a:pt x="9924" y="7688"/>
                  </a:lnTo>
                  <a:lnTo>
                    <a:pt x="8160" y="5924"/>
                  </a:lnTo>
                  <a:cubicBezTo>
                    <a:pt x="8081" y="5845"/>
                    <a:pt x="7971" y="5805"/>
                    <a:pt x="7861" y="5805"/>
                  </a:cubicBezTo>
                  <a:cubicBezTo>
                    <a:pt x="7750" y="5805"/>
                    <a:pt x="7640" y="5845"/>
                    <a:pt x="7561" y="5924"/>
                  </a:cubicBezTo>
                  <a:lnTo>
                    <a:pt x="6396" y="7121"/>
                  </a:lnTo>
                  <a:lnTo>
                    <a:pt x="4883" y="5136"/>
                  </a:lnTo>
                  <a:cubicBezTo>
                    <a:pt x="4820" y="5010"/>
                    <a:pt x="4694" y="4978"/>
                    <a:pt x="4568" y="4978"/>
                  </a:cubicBezTo>
                  <a:cubicBezTo>
                    <a:pt x="4474" y="4978"/>
                    <a:pt x="4348" y="5073"/>
                    <a:pt x="4253" y="5136"/>
                  </a:cubicBezTo>
                  <a:lnTo>
                    <a:pt x="2521" y="7467"/>
                  </a:lnTo>
                  <a:lnTo>
                    <a:pt x="2521" y="2490"/>
                  </a:lnTo>
                  <a:close/>
                  <a:moveTo>
                    <a:pt x="4537" y="6081"/>
                  </a:moveTo>
                  <a:lnTo>
                    <a:pt x="6175" y="8286"/>
                  </a:lnTo>
                  <a:lnTo>
                    <a:pt x="2867" y="8286"/>
                  </a:lnTo>
                  <a:lnTo>
                    <a:pt x="4537" y="6081"/>
                  </a:lnTo>
                  <a:close/>
                  <a:moveTo>
                    <a:pt x="7845" y="6806"/>
                  </a:moveTo>
                  <a:lnTo>
                    <a:pt x="9326" y="8286"/>
                  </a:lnTo>
                  <a:lnTo>
                    <a:pt x="7215" y="8286"/>
                  </a:lnTo>
                  <a:lnTo>
                    <a:pt x="6868" y="7782"/>
                  </a:lnTo>
                  <a:lnTo>
                    <a:pt x="7845" y="6806"/>
                  </a:lnTo>
                  <a:close/>
                  <a:moveTo>
                    <a:pt x="1670" y="2458"/>
                  </a:moveTo>
                  <a:lnTo>
                    <a:pt x="1670" y="8696"/>
                  </a:lnTo>
                  <a:cubicBezTo>
                    <a:pt x="1670" y="8917"/>
                    <a:pt x="1859" y="9106"/>
                    <a:pt x="2080" y="9106"/>
                  </a:cubicBezTo>
                  <a:lnTo>
                    <a:pt x="10365" y="9106"/>
                  </a:lnTo>
                  <a:cubicBezTo>
                    <a:pt x="10586" y="9106"/>
                    <a:pt x="10806" y="8917"/>
                    <a:pt x="10743" y="8696"/>
                  </a:cubicBezTo>
                  <a:lnTo>
                    <a:pt x="10743" y="2490"/>
                  </a:lnTo>
                  <a:lnTo>
                    <a:pt x="11153" y="2490"/>
                  </a:lnTo>
                  <a:cubicBezTo>
                    <a:pt x="11374" y="2490"/>
                    <a:pt x="11594" y="2647"/>
                    <a:pt x="11594" y="2899"/>
                  </a:cubicBezTo>
                  <a:lnTo>
                    <a:pt x="11594" y="9515"/>
                  </a:lnTo>
                  <a:cubicBezTo>
                    <a:pt x="11594" y="9736"/>
                    <a:pt x="11374" y="9956"/>
                    <a:pt x="11184" y="9956"/>
                  </a:cubicBezTo>
                  <a:lnTo>
                    <a:pt x="1260" y="9956"/>
                  </a:lnTo>
                  <a:cubicBezTo>
                    <a:pt x="1040" y="9956"/>
                    <a:pt x="882" y="9736"/>
                    <a:pt x="882" y="9515"/>
                  </a:cubicBezTo>
                  <a:lnTo>
                    <a:pt x="882" y="2899"/>
                  </a:lnTo>
                  <a:cubicBezTo>
                    <a:pt x="882" y="2647"/>
                    <a:pt x="1071" y="2458"/>
                    <a:pt x="1260" y="2458"/>
                  </a:cubicBezTo>
                  <a:close/>
                  <a:moveTo>
                    <a:pt x="8286" y="10775"/>
                  </a:moveTo>
                  <a:lnTo>
                    <a:pt x="8286" y="11626"/>
                  </a:lnTo>
                  <a:lnTo>
                    <a:pt x="4127" y="11626"/>
                  </a:lnTo>
                  <a:lnTo>
                    <a:pt x="4127" y="10775"/>
                  </a:lnTo>
                  <a:close/>
                  <a:moveTo>
                    <a:pt x="3340" y="10775"/>
                  </a:moveTo>
                  <a:lnTo>
                    <a:pt x="3340" y="12886"/>
                  </a:lnTo>
                  <a:lnTo>
                    <a:pt x="3308" y="12886"/>
                  </a:lnTo>
                  <a:cubicBezTo>
                    <a:pt x="3308" y="13138"/>
                    <a:pt x="3119" y="13327"/>
                    <a:pt x="2930" y="13327"/>
                  </a:cubicBezTo>
                  <a:cubicBezTo>
                    <a:pt x="2710" y="13327"/>
                    <a:pt x="2521" y="13138"/>
                    <a:pt x="2521" y="12886"/>
                  </a:cubicBezTo>
                  <a:lnTo>
                    <a:pt x="2521" y="10775"/>
                  </a:lnTo>
                  <a:close/>
                  <a:moveTo>
                    <a:pt x="9956" y="10775"/>
                  </a:moveTo>
                  <a:lnTo>
                    <a:pt x="9956" y="12886"/>
                  </a:lnTo>
                  <a:lnTo>
                    <a:pt x="9924" y="12886"/>
                  </a:lnTo>
                  <a:cubicBezTo>
                    <a:pt x="9924" y="13138"/>
                    <a:pt x="9735" y="13327"/>
                    <a:pt x="9546" y="13327"/>
                  </a:cubicBezTo>
                  <a:cubicBezTo>
                    <a:pt x="9326" y="13327"/>
                    <a:pt x="9137" y="13138"/>
                    <a:pt x="9137" y="12886"/>
                  </a:cubicBezTo>
                  <a:lnTo>
                    <a:pt x="9137" y="10775"/>
                  </a:lnTo>
                  <a:close/>
                  <a:moveTo>
                    <a:pt x="5356" y="1"/>
                  </a:moveTo>
                  <a:cubicBezTo>
                    <a:pt x="4694" y="1"/>
                    <a:pt x="4127" y="568"/>
                    <a:pt x="4127" y="1292"/>
                  </a:cubicBezTo>
                  <a:lnTo>
                    <a:pt x="4127" y="1702"/>
                  </a:lnTo>
                  <a:lnTo>
                    <a:pt x="1229" y="1702"/>
                  </a:lnTo>
                  <a:cubicBezTo>
                    <a:pt x="567" y="1702"/>
                    <a:pt x="0" y="2269"/>
                    <a:pt x="0" y="2962"/>
                  </a:cubicBezTo>
                  <a:lnTo>
                    <a:pt x="0" y="9578"/>
                  </a:lnTo>
                  <a:cubicBezTo>
                    <a:pt x="0" y="10271"/>
                    <a:pt x="567" y="10838"/>
                    <a:pt x="1229" y="10838"/>
                  </a:cubicBezTo>
                  <a:lnTo>
                    <a:pt x="1607" y="10838"/>
                  </a:lnTo>
                  <a:lnTo>
                    <a:pt x="1607" y="12981"/>
                  </a:lnTo>
                  <a:cubicBezTo>
                    <a:pt x="1607" y="13642"/>
                    <a:pt x="2174" y="14241"/>
                    <a:pt x="2867" y="14241"/>
                  </a:cubicBezTo>
                  <a:cubicBezTo>
                    <a:pt x="3592" y="14241"/>
                    <a:pt x="4127" y="13674"/>
                    <a:pt x="4127" y="12981"/>
                  </a:cubicBezTo>
                  <a:lnTo>
                    <a:pt x="4127" y="12540"/>
                  </a:lnTo>
                  <a:lnTo>
                    <a:pt x="8286" y="12540"/>
                  </a:lnTo>
                  <a:lnTo>
                    <a:pt x="8286" y="12981"/>
                  </a:lnTo>
                  <a:cubicBezTo>
                    <a:pt x="8286" y="13642"/>
                    <a:pt x="8822" y="14241"/>
                    <a:pt x="9483" y="14241"/>
                  </a:cubicBezTo>
                  <a:cubicBezTo>
                    <a:pt x="10176" y="14241"/>
                    <a:pt x="10775" y="13674"/>
                    <a:pt x="10775" y="12981"/>
                  </a:cubicBezTo>
                  <a:lnTo>
                    <a:pt x="10775" y="10838"/>
                  </a:lnTo>
                  <a:lnTo>
                    <a:pt x="11153" y="10838"/>
                  </a:lnTo>
                  <a:cubicBezTo>
                    <a:pt x="11815" y="10838"/>
                    <a:pt x="12413" y="10303"/>
                    <a:pt x="12413" y="9578"/>
                  </a:cubicBezTo>
                  <a:lnTo>
                    <a:pt x="12413" y="2899"/>
                  </a:lnTo>
                  <a:cubicBezTo>
                    <a:pt x="12413" y="2238"/>
                    <a:pt x="11878" y="1639"/>
                    <a:pt x="11153" y="1639"/>
                  </a:cubicBezTo>
                  <a:lnTo>
                    <a:pt x="8286" y="1639"/>
                  </a:lnTo>
                  <a:lnTo>
                    <a:pt x="8286" y="1198"/>
                  </a:lnTo>
                  <a:cubicBezTo>
                    <a:pt x="8286" y="568"/>
                    <a:pt x="7687" y="1"/>
                    <a:pt x="70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8" name="Google Shape;10588;p79"/>
            <p:cNvSpPr/>
            <p:nvPr/>
          </p:nvSpPr>
          <p:spPr>
            <a:xfrm>
              <a:off x="-9426025" y="1695350"/>
              <a:ext cx="63025" cy="62250"/>
            </a:xfrm>
            <a:custGeom>
              <a:avLst/>
              <a:gdLst/>
              <a:ahLst/>
              <a:cxnLst/>
              <a:rect l="l" t="t" r="r" b="b"/>
              <a:pathLst>
                <a:path w="2521" h="2490" extrusionOk="0">
                  <a:moveTo>
                    <a:pt x="1260" y="820"/>
                  </a:moveTo>
                  <a:cubicBezTo>
                    <a:pt x="1449" y="820"/>
                    <a:pt x="1638" y="977"/>
                    <a:pt x="1638" y="1229"/>
                  </a:cubicBezTo>
                  <a:cubicBezTo>
                    <a:pt x="1638" y="1450"/>
                    <a:pt x="1449" y="1639"/>
                    <a:pt x="1260" y="1639"/>
                  </a:cubicBezTo>
                  <a:cubicBezTo>
                    <a:pt x="1071" y="1639"/>
                    <a:pt x="851" y="1450"/>
                    <a:pt x="851" y="1229"/>
                  </a:cubicBezTo>
                  <a:cubicBezTo>
                    <a:pt x="851" y="977"/>
                    <a:pt x="1071" y="820"/>
                    <a:pt x="1260" y="820"/>
                  </a:cubicBezTo>
                  <a:close/>
                  <a:moveTo>
                    <a:pt x="1260" y="1"/>
                  </a:moveTo>
                  <a:cubicBezTo>
                    <a:pt x="536" y="1"/>
                    <a:pt x="0" y="505"/>
                    <a:pt x="0" y="1229"/>
                  </a:cubicBezTo>
                  <a:cubicBezTo>
                    <a:pt x="0" y="1891"/>
                    <a:pt x="536" y="2490"/>
                    <a:pt x="1260" y="2490"/>
                  </a:cubicBezTo>
                  <a:cubicBezTo>
                    <a:pt x="1985" y="2490"/>
                    <a:pt x="2521" y="1922"/>
                    <a:pt x="2521" y="1229"/>
                  </a:cubicBezTo>
                  <a:cubicBezTo>
                    <a:pt x="2521" y="505"/>
                    <a:pt x="1985"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9" name="Google Shape;10589;p79"/>
          <p:cNvGrpSpPr/>
          <p:nvPr/>
        </p:nvGrpSpPr>
        <p:grpSpPr>
          <a:xfrm>
            <a:off x="5752800" y="3186953"/>
            <a:ext cx="342328" cy="341579"/>
            <a:chOff x="-9594575" y="2056875"/>
            <a:chExt cx="354450" cy="353675"/>
          </a:xfrm>
        </p:grpSpPr>
        <p:sp>
          <p:nvSpPr>
            <p:cNvPr id="10590" name="Google Shape;10590;p79"/>
            <p:cNvSpPr/>
            <p:nvPr/>
          </p:nvSpPr>
          <p:spPr>
            <a:xfrm>
              <a:off x="-9594575" y="2056875"/>
              <a:ext cx="354450" cy="353675"/>
            </a:xfrm>
            <a:custGeom>
              <a:avLst/>
              <a:gdLst/>
              <a:ahLst/>
              <a:cxnLst/>
              <a:rect l="l" t="t" r="r" b="b"/>
              <a:pathLst>
                <a:path w="14178" h="14147" extrusionOk="0">
                  <a:moveTo>
                    <a:pt x="3781" y="819"/>
                  </a:moveTo>
                  <a:cubicBezTo>
                    <a:pt x="4442" y="819"/>
                    <a:pt x="5041" y="1387"/>
                    <a:pt x="5041" y="2080"/>
                  </a:cubicBezTo>
                  <a:cubicBezTo>
                    <a:pt x="4694" y="1796"/>
                    <a:pt x="4253" y="1639"/>
                    <a:pt x="3812" y="1639"/>
                  </a:cubicBezTo>
                  <a:cubicBezTo>
                    <a:pt x="3340" y="1639"/>
                    <a:pt x="2930" y="1796"/>
                    <a:pt x="2552" y="2048"/>
                  </a:cubicBezTo>
                  <a:cubicBezTo>
                    <a:pt x="2552" y="1387"/>
                    <a:pt x="3119" y="819"/>
                    <a:pt x="3781" y="819"/>
                  </a:cubicBezTo>
                  <a:close/>
                  <a:moveTo>
                    <a:pt x="10491" y="819"/>
                  </a:moveTo>
                  <a:cubicBezTo>
                    <a:pt x="11153" y="819"/>
                    <a:pt x="11688" y="1387"/>
                    <a:pt x="11751" y="2048"/>
                  </a:cubicBezTo>
                  <a:cubicBezTo>
                    <a:pt x="11373" y="1765"/>
                    <a:pt x="10964" y="1639"/>
                    <a:pt x="10491" y="1639"/>
                  </a:cubicBezTo>
                  <a:cubicBezTo>
                    <a:pt x="10019" y="1639"/>
                    <a:pt x="9578" y="1796"/>
                    <a:pt x="9263" y="2080"/>
                  </a:cubicBezTo>
                  <a:cubicBezTo>
                    <a:pt x="9231" y="1387"/>
                    <a:pt x="9767" y="819"/>
                    <a:pt x="10491" y="819"/>
                  </a:cubicBezTo>
                  <a:close/>
                  <a:moveTo>
                    <a:pt x="6742" y="5797"/>
                  </a:moveTo>
                  <a:lnTo>
                    <a:pt x="6742" y="7467"/>
                  </a:lnTo>
                  <a:lnTo>
                    <a:pt x="5860" y="7467"/>
                  </a:lnTo>
                  <a:lnTo>
                    <a:pt x="5860" y="5797"/>
                  </a:lnTo>
                  <a:close/>
                  <a:moveTo>
                    <a:pt x="8380" y="5766"/>
                  </a:moveTo>
                  <a:lnTo>
                    <a:pt x="8380" y="7467"/>
                  </a:lnTo>
                  <a:lnTo>
                    <a:pt x="7530" y="7467"/>
                  </a:lnTo>
                  <a:lnTo>
                    <a:pt x="7530" y="5766"/>
                  </a:lnTo>
                  <a:close/>
                  <a:moveTo>
                    <a:pt x="8380" y="8318"/>
                  </a:moveTo>
                  <a:lnTo>
                    <a:pt x="8380" y="9137"/>
                  </a:lnTo>
                  <a:lnTo>
                    <a:pt x="5860" y="9137"/>
                  </a:lnTo>
                  <a:lnTo>
                    <a:pt x="5860" y="8318"/>
                  </a:lnTo>
                  <a:close/>
                  <a:moveTo>
                    <a:pt x="3781" y="2489"/>
                  </a:moveTo>
                  <a:cubicBezTo>
                    <a:pt x="4442" y="2489"/>
                    <a:pt x="5041" y="3025"/>
                    <a:pt x="5041" y="3686"/>
                  </a:cubicBezTo>
                  <a:lnTo>
                    <a:pt x="5041" y="9168"/>
                  </a:lnTo>
                  <a:cubicBezTo>
                    <a:pt x="4537" y="8633"/>
                    <a:pt x="3781" y="8318"/>
                    <a:pt x="2962" y="8318"/>
                  </a:cubicBezTo>
                  <a:cubicBezTo>
                    <a:pt x="2363" y="8318"/>
                    <a:pt x="1859" y="8475"/>
                    <a:pt x="1386" y="8790"/>
                  </a:cubicBezTo>
                  <a:lnTo>
                    <a:pt x="2552" y="3497"/>
                  </a:lnTo>
                  <a:cubicBezTo>
                    <a:pt x="2678" y="2899"/>
                    <a:pt x="3182" y="2489"/>
                    <a:pt x="3781" y="2489"/>
                  </a:cubicBezTo>
                  <a:close/>
                  <a:moveTo>
                    <a:pt x="10491" y="2489"/>
                  </a:moveTo>
                  <a:cubicBezTo>
                    <a:pt x="11090" y="2489"/>
                    <a:pt x="11594" y="2899"/>
                    <a:pt x="11720" y="3497"/>
                  </a:cubicBezTo>
                  <a:lnTo>
                    <a:pt x="12886" y="8790"/>
                  </a:lnTo>
                  <a:cubicBezTo>
                    <a:pt x="12413" y="8444"/>
                    <a:pt x="11909" y="8318"/>
                    <a:pt x="11310" y="8318"/>
                  </a:cubicBezTo>
                  <a:cubicBezTo>
                    <a:pt x="10491" y="8318"/>
                    <a:pt x="9767" y="8633"/>
                    <a:pt x="9231" y="9168"/>
                  </a:cubicBezTo>
                  <a:lnTo>
                    <a:pt x="9231" y="3686"/>
                  </a:lnTo>
                  <a:cubicBezTo>
                    <a:pt x="9231" y="3025"/>
                    <a:pt x="9767" y="2489"/>
                    <a:pt x="10491" y="2489"/>
                  </a:cubicBezTo>
                  <a:close/>
                  <a:moveTo>
                    <a:pt x="2962" y="9074"/>
                  </a:moveTo>
                  <a:cubicBezTo>
                    <a:pt x="4096" y="9074"/>
                    <a:pt x="5041" y="10019"/>
                    <a:pt x="5041" y="11185"/>
                  </a:cubicBezTo>
                  <a:cubicBezTo>
                    <a:pt x="5041" y="12350"/>
                    <a:pt x="4096" y="13264"/>
                    <a:pt x="2962" y="13264"/>
                  </a:cubicBezTo>
                  <a:cubicBezTo>
                    <a:pt x="1827" y="13264"/>
                    <a:pt x="882" y="12319"/>
                    <a:pt x="882" y="11185"/>
                  </a:cubicBezTo>
                  <a:cubicBezTo>
                    <a:pt x="882" y="10019"/>
                    <a:pt x="1764" y="9074"/>
                    <a:pt x="2962" y="9074"/>
                  </a:cubicBezTo>
                  <a:close/>
                  <a:moveTo>
                    <a:pt x="11310" y="9074"/>
                  </a:moveTo>
                  <a:cubicBezTo>
                    <a:pt x="12445" y="9074"/>
                    <a:pt x="13390" y="9987"/>
                    <a:pt x="13390" y="11185"/>
                  </a:cubicBezTo>
                  <a:cubicBezTo>
                    <a:pt x="13358" y="12350"/>
                    <a:pt x="12445" y="13264"/>
                    <a:pt x="11310" y="13264"/>
                  </a:cubicBezTo>
                  <a:cubicBezTo>
                    <a:pt x="10176" y="13264"/>
                    <a:pt x="9231" y="12319"/>
                    <a:pt x="9231" y="11185"/>
                  </a:cubicBezTo>
                  <a:cubicBezTo>
                    <a:pt x="9231" y="10019"/>
                    <a:pt x="10176" y="9074"/>
                    <a:pt x="11310" y="9074"/>
                  </a:cubicBezTo>
                  <a:close/>
                  <a:moveTo>
                    <a:pt x="3749" y="0"/>
                  </a:moveTo>
                  <a:cubicBezTo>
                    <a:pt x="2615" y="0"/>
                    <a:pt x="1670" y="946"/>
                    <a:pt x="1670" y="2080"/>
                  </a:cubicBezTo>
                  <a:cubicBezTo>
                    <a:pt x="1670" y="2363"/>
                    <a:pt x="1733" y="2647"/>
                    <a:pt x="1827" y="2899"/>
                  </a:cubicBezTo>
                  <a:cubicBezTo>
                    <a:pt x="1733" y="3056"/>
                    <a:pt x="1701" y="3182"/>
                    <a:pt x="1701" y="3340"/>
                  </a:cubicBezTo>
                  <a:lnTo>
                    <a:pt x="63" y="10680"/>
                  </a:lnTo>
                  <a:cubicBezTo>
                    <a:pt x="0" y="10870"/>
                    <a:pt x="0" y="11027"/>
                    <a:pt x="0" y="11216"/>
                  </a:cubicBezTo>
                  <a:cubicBezTo>
                    <a:pt x="0" y="12823"/>
                    <a:pt x="1323" y="14146"/>
                    <a:pt x="2930" y="14146"/>
                  </a:cubicBezTo>
                  <a:cubicBezTo>
                    <a:pt x="4537" y="14146"/>
                    <a:pt x="5797" y="12823"/>
                    <a:pt x="5797" y="11216"/>
                  </a:cubicBezTo>
                  <a:lnTo>
                    <a:pt x="5797" y="9956"/>
                  </a:lnTo>
                  <a:lnTo>
                    <a:pt x="8317" y="9956"/>
                  </a:lnTo>
                  <a:lnTo>
                    <a:pt x="8317" y="11185"/>
                  </a:lnTo>
                  <a:cubicBezTo>
                    <a:pt x="8317" y="12791"/>
                    <a:pt x="9609" y="14083"/>
                    <a:pt x="11184" y="14083"/>
                  </a:cubicBezTo>
                  <a:cubicBezTo>
                    <a:pt x="12760" y="14083"/>
                    <a:pt x="14114" y="12791"/>
                    <a:pt x="14114" y="11185"/>
                  </a:cubicBezTo>
                  <a:cubicBezTo>
                    <a:pt x="14177" y="11027"/>
                    <a:pt x="14177" y="10870"/>
                    <a:pt x="14146" y="10680"/>
                  </a:cubicBezTo>
                  <a:cubicBezTo>
                    <a:pt x="14146" y="10680"/>
                    <a:pt x="12539" y="3466"/>
                    <a:pt x="12476" y="3340"/>
                  </a:cubicBezTo>
                  <a:cubicBezTo>
                    <a:pt x="12445" y="3182"/>
                    <a:pt x="12413" y="3025"/>
                    <a:pt x="12382" y="2899"/>
                  </a:cubicBezTo>
                  <a:cubicBezTo>
                    <a:pt x="12476" y="2647"/>
                    <a:pt x="12539" y="2363"/>
                    <a:pt x="12539" y="2080"/>
                  </a:cubicBezTo>
                  <a:cubicBezTo>
                    <a:pt x="12539" y="946"/>
                    <a:pt x="11594" y="0"/>
                    <a:pt x="10428" y="0"/>
                  </a:cubicBezTo>
                  <a:cubicBezTo>
                    <a:pt x="9294" y="0"/>
                    <a:pt x="8349" y="946"/>
                    <a:pt x="8349" y="2080"/>
                  </a:cubicBezTo>
                  <a:cubicBezTo>
                    <a:pt x="8349" y="2363"/>
                    <a:pt x="8443" y="2647"/>
                    <a:pt x="8506" y="2899"/>
                  </a:cubicBezTo>
                  <a:cubicBezTo>
                    <a:pt x="8412" y="3151"/>
                    <a:pt x="8349" y="3466"/>
                    <a:pt x="8349" y="3749"/>
                  </a:cubicBezTo>
                  <a:lnTo>
                    <a:pt x="8349" y="5010"/>
                  </a:lnTo>
                  <a:lnTo>
                    <a:pt x="5828" y="5010"/>
                  </a:lnTo>
                  <a:lnTo>
                    <a:pt x="5828" y="3749"/>
                  </a:lnTo>
                  <a:cubicBezTo>
                    <a:pt x="5828" y="3466"/>
                    <a:pt x="5765" y="3151"/>
                    <a:pt x="5671" y="2899"/>
                  </a:cubicBezTo>
                  <a:cubicBezTo>
                    <a:pt x="5797" y="2647"/>
                    <a:pt x="5828" y="2363"/>
                    <a:pt x="5828" y="2080"/>
                  </a:cubicBezTo>
                  <a:cubicBezTo>
                    <a:pt x="5828" y="946"/>
                    <a:pt x="4883" y="0"/>
                    <a:pt x="37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79"/>
            <p:cNvSpPr/>
            <p:nvPr/>
          </p:nvSpPr>
          <p:spPr>
            <a:xfrm>
              <a:off x="-9342550" y="2305750"/>
              <a:ext cx="62250" cy="62250"/>
            </a:xfrm>
            <a:custGeom>
              <a:avLst/>
              <a:gdLst/>
              <a:ahLst/>
              <a:cxnLst/>
              <a:rect l="l" t="t" r="r" b="b"/>
              <a:pathLst>
                <a:path w="2490" h="2490" extrusionOk="0">
                  <a:moveTo>
                    <a:pt x="1229" y="820"/>
                  </a:moveTo>
                  <a:cubicBezTo>
                    <a:pt x="1450" y="820"/>
                    <a:pt x="1670" y="1041"/>
                    <a:pt x="1670" y="1230"/>
                  </a:cubicBezTo>
                  <a:cubicBezTo>
                    <a:pt x="1607" y="1450"/>
                    <a:pt x="1418" y="1639"/>
                    <a:pt x="1229" y="1639"/>
                  </a:cubicBezTo>
                  <a:cubicBezTo>
                    <a:pt x="977" y="1639"/>
                    <a:pt x="820" y="1450"/>
                    <a:pt x="820" y="1230"/>
                  </a:cubicBezTo>
                  <a:cubicBezTo>
                    <a:pt x="820" y="978"/>
                    <a:pt x="1040" y="820"/>
                    <a:pt x="1229" y="820"/>
                  </a:cubicBezTo>
                  <a:close/>
                  <a:moveTo>
                    <a:pt x="1229" y="1"/>
                  </a:moveTo>
                  <a:cubicBezTo>
                    <a:pt x="568" y="1"/>
                    <a:pt x="1" y="568"/>
                    <a:pt x="1" y="1230"/>
                  </a:cubicBezTo>
                  <a:cubicBezTo>
                    <a:pt x="1" y="1891"/>
                    <a:pt x="568" y="2490"/>
                    <a:pt x="1229" y="2490"/>
                  </a:cubicBezTo>
                  <a:cubicBezTo>
                    <a:pt x="1891" y="2490"/>
                    <a:pt x="2490" y="1923"/>
                    <a:pt x="2490" y="1230"/>
                  </a:cubicBezTo>
                  <a:cubicBezTo>
                    <a:pt x="2458" y="568"/>
                    <a:pt x="189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2" name="Google Shape;10592;p79"/>
            <p:cNvSpPr/>
            <p:nvPr/>
          </p:nvSpPr>
          <p:spPr>
            <a:xfrm>
              <a:off x="-9552050" y="2305750"/>
              <a:ext cx="63025" cy="62250"/>
            </a:xfrm>
            <a:custGeom>
              <a:avLst/>
              <a:gdLst/>
              <a:ahLst/>
              <a:cxnLst/>
              <a:rect l="l" t="t" r="r" b="b"/>
              <a:pathLst>
                <a:path w="2521" h="2490" extrusionOk="0">
                  <a:moveTo>
                    <a:pt x="1261" y="820"/>
                  </a:moveTo>
                  <a:cubicBezTo>
                    <a:pt x="1481" y="820"/>
                    <a:pt x="1639" y="1041"/>
                    <a:pt x="1639" y="1230"/>
                  </a:cubicBezTo>
                  <a:cubicBezTo>
                    <a:pt x="1702" y="1450"/>
                    <a:pt x="1481" y="1639"/>
                    <a:pt x="1261" y="1639"/>
                  </a:cubicBezTo>
                  <a:cubicBezTo>
                    <a:pt x="1009" y="1639"/>
                    <a:pt x="819" y="1450"/>
                    <a:pt x="819" y="1230"/>
                  </a:cubicBezTo>
                  <a:cubicBezTo>
                    <a:pt x="819" y="978"/>
                    <a:pt x="1009" y="820"/>
                    <a:pt x="1261" y="820"/>
                  </a:cubicBezTo>
                  <a:close/>
                  <a:moveTo>
                    <a:pt x="1261" y="1"/>
                  </a:moveTo>
                  <a:cubicBezTo>
                    <a:pt x="599" y="1"/>
                    <a:pt x="0" y="568"/>
                    <a:pt x="0" y="1230"/>
                  </a:cubicBezTo>
                  <a:cubicBezTo>
                    <a:pt x="0" y="1891"/>
                    <a:pt x="536" y="2490"/>
                    <a:pt x="1261" y="2490"/>
                  </a:cubicBezTo>
                  <a:cubicBezTo>
                    <a:pt x="1922" y="2490"/>
                    <a:pt x="2489" y="1923"/>
                    <a:pt x="2489" y="1230"/>
                  </a:cubicBezTo>
                  <a:cubicBezTo>
                    <a:pt x="2521" y="568"/>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93" name="Google Shape;10593;p79"/>
          <p:cNvSpPr/>
          <p:nvPr/>
        </p:nvSpPr>
        <p:spPr>
          <a:xfrm>
            <a:off x="7123002" y="3217391"/>
            <a:ext cx="342352" cy="280710"/>
          </a:xfrm>
          <a:custGeom>
            <a:avLst/>
            <a:gdLst/>
            <a:ahLst/>
            <a:cxnLst/>
            <a:rect l="l" t="t" r="r" b="b"/>
            <a:pathLst>
              <a:path w="14179" h="11626" extrusionOk="0">
                <a:moveTo>
                  <a:pt x="1009" y="4159"/>
                </a:moveTo>
                <a:lnTo>
                  <a:pt x="1009" y="4159"/>
                </a:lnTo>
                <a:cubicBezTo>
                  <a:pt x="1671" y="4317"/>
                  <a:pt x="2301" y="4695"/>
                  <a:pt x="2742" y="5230"/>
                </a:cubicBezTo>
                <a:lnTo>
                  <a:pt x="3214" y="6616"/>
                </a:lnTo>
                <a:lnTo>
                  <a:pt x="1608" y="6616"/>
                </a:lnTo>
                <a:lnTo>
                  <a:pt x="1009" y="4159"/>
                </a:lnTo>
                <a:close/>
                <a:moveTo>
                  <a:pt x="2710" y="2521"/>
                </a:moveTo>
                <a:lnTo>
                  <a:pt x="2710" y="2521"/>
                </a:lnTo>
                <a:cubicBezTo>
                  <a:pt x="3782" y="2678"/>
                  <a:pt x="4758" y="3182"/>
                  <a:pt x="5514" y="3970"/>
                </a:cubicBezTo>
                <a:lnTo>
                  <a:pt x="6491" y="6616"/>
                </a:lnTo>
                <a:lnTo>
                  <a:pt x="4097" y="6616"/>
                </a:lnTo>
                <a:cubicBezTo>
                  <a:pt x="4002" y="6396"/>
                  <a:pt x="2773" y="2678"/>
                  <a:pt x="2710" y="2521"/>
                </a:cubicBezTo>
                <a:close/>
                <a:moveTo>
                  <a:pt x="5199" y="851"/>
                </a:moveTo>
                <a:cubicBezTo>
                  <a:pt x="8224" y="1135"/>
                  <a:pt x="10618" y="3592"/>
                  <a:pt x="10807" y="6616"/>
                </a:cubicBezTo>
                <a:lnTo>
                  <a:pt x="7342" y="6616"/>
                </a:lnTo>
                <a:lnTo>
                  <a:pt x="5199" y="851"/>
                </a:lnTo>
                <a:close/>
                <a:moveTo>
                  <a:pt x="13170" y="4159"/>
                </a:moveTo>
                <a:lnTo>
                  <a:pt x="12603" y="6616"/>
                </a:lnTo>
                <a:lnTo>
                  <a:pt x="11658" y="6616"/>
                </a:lnTo>
                <a:cubicBezTo>
                  <a:pt x="11595" y="6144"/>
                  <a:pt x="11532" y="5703"/>
                  <a:pt x="11437" y="5262"/>
                </a:cubicBezTo>
                <a:cubicBezTo>
                  <a:pt x="11847" y="4695"/>
                  <a:pt x="12477" y="4317"/>
                  <a:pt x="13170" y="4159"/>
                </a:cubicBezTo>
                <a:close/>
                <a:moveTo>
                  <a:pt x="12477" y="7436"/>
                </a:moveTo>
                <a:lnTo>
                  <a:pt x="12477" y="9105"/>
                </a:lnTo>
                <a:lnTo>
                  <a:pt x="9957" y="9105"/>
                </a:lnTo>
                <a:lnTo>
                  <a:pt x="9957" y="8664"/>
                </a:lnTo>
                <a:cubicBezTo>
                  <a:pt x="9957" y="8475"/>
                  <a:pt x="9799" y="8255"/>
                  <a:pt x="9547" y="8255"/>
                </a:cubicBezTo>
                <a:cubicBezTo>
                  <a:pt x="9326" y="8255"/>
                  <a:pt x="9169" y="8475"/>
                  <a:pt x="9169" y="8664"/>
                </a:cubicBezTo>
                <a:lnTo>
                  <a:pt x="9169" y="9105"/>
                </a:lnTo>
                <a:lnTo>
                  <a:pt x="7499" y="9105"/>
                </a:lnTo>
                <a:lnTo>
                  <a:pt x="7499" y="8664"/>
                </a:lnTo>
                <a:cubicBezTo>
                  <a:pt x="7499" y="8412"/>
                  <a:pt x="7310" y="8255"/>
                  <a:pt x="7121" y="8255"/>
                </a:cubicBezTo>
                <a:cubicBezTo>
                  <a:pt x="6869" y="8255"/>
                  <a:pt x="6680" y="8475"/>
                  <a:pt x="6680" y="8664"/>
                </a:cubicBezTo>
                <a:lnTo>
                  <a:pt x="6680" y="9105"/>
                </a:lnTo>
                <a:lnTo>
                  <a:pt x="5042" y="9105"/>
                </a:lnTo>
                <a:lnTo>
                  <a:pt x="5042" y="8664"/>
                </a:lnTo>
                <a:cubicBezTo>
                  <a:pt x="5042" y="8412"/>
                  <a:pt x="4821" y="8255"/>
                  <a:pt x="4601" y="8255"/>
                </a:cubicBezTo>
                <a:cubicBezTo>
                  <a:pt x="4349" y="8255"/>
                  <a:pt x="4191" y="8475"/>
                  <a:pt x="4191" y="8664"/>
                </a:cubicBezTo>
                <a:lnTo>
                  <a:pt x="4191" y="9105"/>
                </a:lnTo>
                <a:lnTo>
                  <a:pt x="1671" y="9105"/>
                </a:lnTo>
                <a:lnTo>
                  <a:pt x="1671" y="7436"/>
                </a:lnTo>
                <a:close/>
                <a:moveTo>
                  <a:pt x="12855" y="9924"/>
                </a:moveTo>
                <a:cubicBezTo>
                  <a:pt x="13107" y="9924"/>
                  <a:pt x="13265" y="10113"/>
                  <a:pt x="13265" y="10365"/>
                </a:cubicBezTo>
                <a:lnTo>
                  <a:pt x="13265" y="10744"/>
                </a:lnTo>
                <a:lnTo>
                  <a:pt x="852" y="10744"/>
                </a:lnTo>
                <a:lnTo>
                  <a:pt x="852" y="10365"/>
                </a:lnTo>
                <a:cubicBezTo>
                  <a:pt x="852" y="10113"/>
                  <a:pt x="1041" y="9924"/>
                  <a:pt x="1261" y="9924"/>
                </a:cubicBezTo>
                <a:close/>
                <a:moveTo>
                  <a:pt x="4601" y="0"/>
                </a:moveTo>
                <a:cubicBezTo>
                  <a:pt x="4475" y="0"/>
                  <a:pt x="4317" y="63"/>
                  <a:pt x="4254" y="189"/>
                </a:cubicBezTo>
                <a:cubicBezTo>
                  <a:pt x="4160" y="315"/>
                  <a:pt x="4160" y="410"/>
                  <a:pt x="4191" y="568"/>
                </a:cubicBezTo>
                <a:lnTo>
                  <a:pt x="4916" y="2458"/>
                </a:lnTo>
                <a:cubicBezTo>
                  <a:pt x="4097" y="1954"/>
                  <a:pt x="3088" y="1670"/>
                  <a:pt x="2112" y="1670"/>
                </a:cubicBezTo>
                <a:cubicBezTo>
                  <a:pt x="1986" y="1670"/>
                  <a:pt x="1828" y="1765"/>
                  <a:pt x="1765" y="1828"/>
                </a:cubicBezTo>
                <a:cubicBezTo>
                  <a:pt x="1671" y="1954"/>
                  <a:pt x="1639" y="2080"/>
                  <a:pt x="1734" y="2206"/>
                </a:cubicBezTo>
                <a:lnTo>
                  <a:pt x="2238" y="3781"/>
                </a:lnTo>
                <a:cubicBezTo>
                  <a:pt x="1671" y="3466"/>
                  <a:pt x="1041" y="3308"/>
                  <a:pt x="411" y="3308"/>
                </a:cubicBezTo>
                <a:cubicBezTo>
                  <a:pt x="316" y="3308"/>
                  <a:pt x="190" y="3340"/>
                  <a:pt x="95" y="3466"/>
                </a:cubicBezTo>
                <a:cubicBezTo>
                  <a:pt x="32" y="3592"/>
                  <a:pt x="1" y="3686"/>
                  <a:pt x="32" y="3813"/>
                </a:cubicBezTo>
                <a:lnTo>
                  <a:pt x="852" y="7089"/>
                </a:lnTo>
                <a:lnTo>
                  <a:pt x="852" y="9168"/>
                </a:lnTo>
                <a:cubicBezTo>
                  <a:pt x="379" y="9326"/>
                  <a:pt x="32" y="9798"/>
                  <a:pt x="32" y="10365"/>
                </a:cubicBezTo>
                <a:lnTo>
                  <a:pt x="32" y="11185"/>
                </a:lnTo>
                <a:cubicBezTo>
                  <a:pt x="32" y="11405"/>
                  <a:pt x="221" y="11626"/>
                  <a:pt x="411" y="11626"/>
                </a:cubicBezTo>
                <a:lnTo>
                  <a:pt x="13706" y="11626"/>
                </a:lnTo>
                <a:cubicBezTo>
                  <a:pt x="13926" y="11626"/>
                  <a:pt x="14084" y="11405"/>
                  <a:pt x="14084" y="11185"/>
                </a:cubicBezTo>
                <a:lnTo>
                  <a:pt x="14084" y="10365"/>
                </a:lnTo>
                <a:cubicBezTo>
                  <a:pt x="14115" y="9798"/>
                  <a:pt x="13769" y="9326"/>
                  <a:pt x="13296" y="9168"/>
                </a:cubicBezTo>
                <a:lnTo>
                  <a:pt x="13296" y="7089"/>
                </a:lnTo>
                <a:lnTo>
                  <a:pt x="14115" y="3813"/>
                </a:lnTo>
                <a:cubicBezTo>
                  <a:pt x="14178" y="3686"/>
                  <a:pt x="14115" y="3592"/>
                  <a:pt x="14052" y="3466"/>
                </a:cubicBezTo>
                <a:cubicBezTo>
                  <a:pt x="13958" y="3340"/>
                  <a:pt x="13863" y="3308"/>
                  <a:pt x="13737" y="3308"/>
                </a:cubicBezTo>
                <a:cubicBezTo>
                  <a:pt x="12760" y="3308"/>
                  <a:pt x="11847" y="3686"/>
                  <a:pt x="11122" y="4348"/>
                </a:cubicBezTo>
                <a:cubicBezTo>
                  <a:pt x="10083" y="1796"/>
                  <a:pt x="7562" y="0"/>
                  <a:pt x="46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94" name="Google Shape;10594;p79"/>
          <p:cNvGrpSpPr/>
          <p:nvPr/>
        </p:nvGrpSpPr>
        <p:grpSpPr>
          <a:xfrm>
            <a:off x="6208482" y="1532293"/>
            <a:ext cx="342328" cy="340807"/>
            <a:chOff x="-12661600" y="1640225"/>
            <a:chExt cx="354450" cy="352875"/>
          </a:xfrm>
        </p:grpSpPr>
        <p:sp>
          <p:nvSpPr>
            <p:cNvPr id="10595" name="Google Shape;10595;p79"/>
            <p:cNvSpPr/>
            <p:nvPr/>
          </p:nvSpPr>
          <p:spPr>
            <a:xfrm>
              <a:off x="-12661600" y="1764675"/>
              <a:ext cx="188275" cy="228425"/>
            </a:xfrm>
            <a:custGeom>
              <a:avLst/>
              <a:gdLst/>
              <a:ahLst/>
              <a:cxnLst/>
              <a:rect l="l" t="t" r="r" b="b"/>
              <a:pathLst>
                <a:path w="7531" h="9137" extrusionOk="0">
                  <a:moveTo>
                    <a:pt x="5451" y="819"/>
                  </a:moveTo>
                  <a:cubicBezTo>
                    <a:pt x="5672" y="819"/>
                    <a:pt x="5829" y="1008"/>
                    <a:pt x="5829" y="1229"/>
                  </a:cubicBezTo>
                  <a:cubicBezTo>
                    <a:pt x="5829" y="1481"/>
                    <a:pt x="5640" y="1670"/>
                    <a:pt x="5451" y="1670"/>
                  </a:cubicBezTo>
                  <a:lnTo>
                    <a:pt x="2112" y="1670"/>
                  </a:lnTo>
                  <a:cubicBezTo>
                    <a:pt x="1860" y="1670"/>
                    <a:pt x="1671" y="1481"/>
                    <a:pt x="1671" y="1229"/>
                  </a:cubicBezTo>
                  <a:cubicBezTo>
                    <a:pt x="1671" y="1008"/>
                    <a:pt x="1860" y="819"/>
                    <a:pt x="2112" y="819"/>
                  </a:cubicBezTo>
                  <a:close/>
                  <a:moveTo>
                    <a:pt x="5010" y="2457"/>
                  </a:moveTo>
                  <a:lnTo>
                    <a:pt x="5010" y="3308"/>
                  </a:lnTo>
                  <a:lnTo>
                    <a:pt x="2490" y="3308"/>
                  </a:lnTo>
                  <a:lnTo>
                    <a:pt x="2490" y="2457"/>
                  </a:lnTo>
                  <a:close/>
                  <a:moveTo>
                    <a:pt x="5325" y="4159"/>
                  </a:moveTo>
                  <a:lnTo>
                    <a:pt x="6428" y="4726"/>
                  </a:lnTo>
                  <a:cubicBezTo>
                    <a:pt x="6585" y="4789"/>
                    <a:pt x="6680" y="4915"/>
                    <a:pt x="6680" y="5072"/>
                  </a:cubicBezTo>
                  <a:lnTo>
                    <a:pt x="6680" y="7876"/>
                  </a:lnTo>
                  <a:cubicBezTo>
                    <a:pt x="6680" y="8097"/>
                    <a:pt x="6459" y="8286"/>
                    <a:pt x="6239" y="8286"/>
                  </a:cubicBezTo>
                  <a:lnTo>
                    <a:pt x="1229" y="8286"/>
                  </a:lnTo>
                  <a:cubicBezTo>
                    <a:pt x="1009" y="8286"/>
                    <a:pt x="788" y="8097"/>
                    <a:pt x="788" y="7876"/>
                  </a:cubicBezTo>
                  <a:lnTo>
                    <a:pt x="788" y="5072"/>
                  </a:lnTo>
                  <a:lnTo>
                    <a:pt x="851" y="5072"/>
                  </a:lnTo>
                  <a:cubicBezTo>
                    <a:pt x="851" y="4915"/>
                    <a:pt x="914" y="4757"/>
                    <a:pt x="1072" y="4726"/>
                  </a:cubicBezTo>
                  <a:lnTo>
                    <a:pt x="2175" y="4159"/>
                  </a:lnTo>
                  <a:close/>
                  <a:moveTo>
                    <a:pt x="2112" y="0"/>
                  </a:moveTo>
                  <a:cubicBezTo>
                    <a:pt x="1418" y="0"/>
                    <a:pt x="851" y="536"/>
                    <a:pt x="851" y="1260"/>
                  </a:cubicBezTo>
                  <a:cubicBezTo>
                    <a:pt x="851" y="1796"/>
                    <a:pt x="1198" y="2237"/>
                    <a:pt x="1671" y="2426"/>
                  </a:cubicBezTo>
                  <a:lnTo>
                    <a:pt x="1671" y="3497"/>
                  </a:lnTo>
                  <a:lnTo>
                    <a:pt x="694" y="3970"/>
                  </a:lnTo>
                  <a:cubicBezTo>
                    <a:pt x="253" y="4159"/>
                    <a:pt x="1" y="4600"/>
                    <a:pt x="1" y="5072"/>
                  </a:cubicBezTo>
                  <a:lnTo>
                    <a:pt x="1" y="7876"/>
                  </a:lnTo>
                  <a:cubicBezTo>
                    <a:pt x="1" y="8538"/>
                    <a:pt x="568" y="9136"/>
                    <a:pt x="1261" y="9136"/>
                  </a:cubicBezTo>
                  <a:lnTo>
                    <a:pt x="6270" y="9136"/>
                  </a:lnTo>
                  <a:cubicBezTo>
                    <a:pt x="6963" y="9136"/>
                    <a:pt x="7530" y="8538"/>
                    <a:pt x="7530" y="7876"/>
                  </a:cubicBezTo>
                  <a:lnTo>
                    <a:pt x="7530" y="5072"/>
                  </a:lnTo>
                  <a:cubicBezTo>
                    <a:pt x="7530" y="4600"/>
                    <a:pt x="7247" y="4159"/>
                    <a:pt x="6869" y="3970"/>
                  </a:cubicBezTo>
                  <a:lnTo>
                    <a:pt x="5892" y="3497"/>
                  </a:lnTo>
                  <a:lnTo>
                    <a:pt x="5892" y="2426"/>
                  </a:lnTo>
                  <a:cubicBezTo>
                    <a:pt x="6365" y="2268"/>
                    <a:pt x="6711" y="1796"/>
                    <a:pt x="6711" y="1260"/>
                  </a:cubicBezTo>
                  <a:cubicBezTo>
                    <a:pt x="6711" y="567"/>
                    <a:pt x="6144" y="0"/>
                    <a:pt x="54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79"/>
            <p:cNvSpPr/>
            <p:nvPr/>
          </p:nvSpPr>
          <p:spPr>
            <a:xfrm>
              <a:off x="-12451300" y="1640225"/>
              <a:ext cx="144150" cy="350500"/>
            </a:xfrm>
            <a:custGeom>
              <a:avLst/>
              <a:gdLst/>
              <a:ahLst/>
              <a:cxnLst/>
              <a:rect l="l" t="t" r="r" b="b"/>
              <a:pathLst>
                <a:path w="5766" h="14020" extrusionOk="0">
                  <a:moveTo>
                    <a:pt x="2836" y="788"/>
                  </a:moveTo>
                  <a:cubicBezTo>
                    <a:pt x="3970" y="788"/>
                    <a:pt x="4915" y="1733"/>
                    <a:pt x="4915" y="2867"/>
                  </a:cubicBezTo>
                  <a:lnTo>
                    <a:pt x="4915" y="4285"/>
                  </a:lnTo>
                  <a:lnTo>
                    <a:pt x="3246" y="5388"/>
                  </a:lnTo>
                  <a:lnTo>
                    <a:pt x="3246" y="4569"/>
                  </a:lnTo>
                  <a:lnTo>
                    <a:pt x="3246" y="2048"/>
                  </a:lnTo>
                  <a:cubicBezTo>
                    <a:pt x="3246" y="1828"/>
                    <a:pt x="3057" y="1607"/>
                    <a:pt x="2836" y="1607"/>
                  </a:cubicBezTo>
                  <a:cubicBezTo>
                    <a:pt x="2584" y="1607"/>
                    <a:pt x="2426" y="1828"/>
                    <a:pt x="2426" y="2048"/>
                  </a:cubicBezTo>
                  <a:lnTo>
                    <a:pt x="2426" y="3781"/>
                  </a:lnTo>
                  <a:lnTo>
                    <a:pt x="788" y="2678"/>
                  </a:lnTo>
                  <a:cubicBezTo>
                    <a:pt x="914" y="1607"/>
                    <a:pt x="1765" y="788"/>
                    <a:pt x="2836" y="788"/>
                  </a:cubicBezTo>
                  <a:close/>
                  <a:moveTo>
                    <a:pt x="788" y="3655"/>
                  </a:moveTo>
                  <a:lnTo>
                    <a:pt x="2426" y="4758"/>
                  </a:lnTo>
                  <a:lnTo>
                    <a:pt x="2426" y="7089"/>
                  </a:lnTo>
                  <a:lnTo>
                    <a:pt x="788" y="5986"/>
                  </a:lnTo>
                  <a:lnTo>
                    <a:pt x="788" y="3655"/>
                  </a:lnTo>
                  <a:close/>
                  <a:moveTo>
                    <a:pt x="4915" y="5325"/>
                  </a:moveTo>
                  <a:lnTo>
                    <a:pt x="4915" y="7656"/>
                  </a:lnTo>
                  <a:lnTo>
                    <a:pt x="3277" y="8759"/>
                  </a:lnTo>
                  <a:lnTo>
                    <a:pt x="3277" y="6427"/>
                  </a:lnTo>
                  <a:lnTo>
                    <a:pt x="4915" y="5325"/>
                  </a:lnTo>
                  <a:close/>
                  <a:moveTo>
                    <a:pt x="788" y="7026"/>
                  </a:moveTo>
                  <a:lnTo>
                    <a:pt x="2426" y="8129"/>
                  </a:lnTo>
                  <a:lnTo>
                    <a:pt x="2426" y="11027"/>
                  </a:lnTo>
                  <a:lnTo>
                    <a:pt x="1355" y="9956"/>
                  </a:lnTo>
                  <a:cubicBezTo>
                    <a:pt x="977" y="9578"/>
                    <a:pt x="788" y="9074"/>
                    <a:pt x="788" y="8507"/>
                  </a:cubicBezTo>
                  <a:lnTo>
                    <a:pt x="788" y="7026"/>
                  </a:lnTo>
                  <a:close/>
                  <a:moveTo>
                    <a:pt x="4884" y="8664"/>
                  </a:moveTo>
                  <a:cubicBezTo>
                    <a:pt x="4884" y="9137"/>
                    <a:pt x="4632" y="9609"/>
                    <a:pt x="4285" y="9956"/>
                  </a:cubicBezTo>
                  <a:lnTo>
                    <a:pt x="3214" y="11027"/>
                  </a:lnTo>
                  <a:lnTo>
                    <a:pt x="3214" y="9767"/>
                  </a:lnTo>
                  <a:lnTo>
                    <a:pt x="4884" y="8664"/>
                  </a:lnTo>
                  <a:close/>
                  <a:moveTo>
                    <a:pt x="2868" y="0"/>
                  </a:moveTo>
                  <a:cubicBezTo>
                    <a:pt x="1292" y="0"/>
                    <a:pt x="1" y="1292"/>
                    <a:pt x="1" y="2930"/>
                  </a:cubicBezTo>
                  <a:lnTo>
                    <a:pt x="1" y="2962"/>
                  </a:lnTo>
                  <a:lnTo>
                    <a:pt x="1" y="8475"/>
                  </a:lnTo>
                  <a:cubicBezTo>
                    <a:pt x="1" y="9263"/>
                    <a:pt x="316" y="9956"/>
                    <a:pt x="851" y="10523"/>
                  </a:cubicBezTo>
                  <a:lnTo>
                    <a:pt x="2489" y="12130"/>
                  </a:lnTo>
                  <a:lnTo>
                    <a:pt x="2489" y="13642"/>
                  </a:lnTo>
                  <a:cubicBezTo>
                    <a:pt x="2489" y="13862"/>
                    <a:pt x="2679" y="14020"/>
                    <a:pt x="2868" y="14020"/>
                  </a:cubicBezTo>
                  <a:cubicBezTo>
                    <a:pt x="3057" y="14020"/>
                    <a:pt x="3309" y="13831"/>
                    <a:pt x="3309" y="13642"/>
                  </a:cubicBezTo>
                  <a:lnTo>
                    <a:pt x="3309" y="12130"/>
                  </a:lnTo>
                  <a:lnTo>
                    <a:pt x="4915" y="10523"/>
                  </a:lnTo>
                  <a:cubicBezTo>
                    <a:pt x="5451" y="9956"/>
                    <a:pt x="5766" y="9263"/>
                    <a:pt x="5766" y="8475"/>
                  </a:cubicBezTo>
                  <a:cubicBezTo>
                    <a:pt x="5734" y="8223"/>
                    <a:pt x="5734" y="3119"/>
                    <a:pt x="5734" y="2930"/>
                  </a:cubicBezTo>
                  <a:cubicBezTo>
                    <a:pt x="5734" y="1292"/>
                    <a:pt x="4443" y="0"/>
                    <a:pt x="2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7" name="Google Shape;10597;p79"/>
            <p:cNvSpPr/>
            <p:nvPr/>
          </p:nvSpPr>
          <p:spPr>
            <a:xfrm>
              <a:off x="-12619850" y="1887525"/>
              <a:ext cx="104000" cy="63050"/>
            </a:xfrm>
            <a:custGeom>
              <a:avLst/>
              <a:gdLst/>
              <a:ahLst/>
              <a:cxnLst/>
              <a:rect l="l" t="t" r="r" b="b"/>
              <a:pathLst>
                <a:path w="4160" h="2522" extrusionOk="0">
                  <a:moveTo>
                    <a:pt x="3340" y="851"/>
                  </a:moveTo>
                  <a:lnTo>
                    <a:pt x="3340" y="1702"/>
                  </a:lnTo>
                  <a:lnTo>
                    <a:pt x="820" y="1702"/>
                  </a:lnTo>
                  <a:lnTo>
                    <a:pt x="820" y="851"/>
                  </a:lnTo>
                  <a:close/>
                  <a:moveTo>
                    <a:pt x="442" y="1"/>
                  </a:moveTo>
                  <a:cubicBezTo>
                    <a:pt x="190" y="1"/>
                    <a:pt x="1" y="190"/>
                    <a:pt x="1" y="442"/>
                  </a:cubicBezTo>
                  <a:lnTo>
                    <a:pt x="1" y="2080"/>
                  </a:lnTo>
                  <a:cubicBezTo>
                    <a:pt x="1" y="2332"/>
                    <a:pt x="190" y="2521"/>
                    <a:pt x="442" y="2521"/>
                  </a:cubicBezTo>
                  <a:lnTo>
                    <a:pt x="3781" y="2521"/>
                  </a:lnTo>
                  <a:cubicBezTo>
                    <a:pt x="4002" y="2521"/>
                    <a:pt x="4159" y="2332"/>
                    <a:pt x="4159" y="2080"/>
                  </a:cubicBezTo>
                  <a:lnTo>
                    <a:pt x="4159" y="442"/>
                  </a:lnTo>
                  <a:cubicBezTo>
                    <a:pt x="4159" y="190"/>
                    <a:pt x="3970"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8" name="Google Shape;10598;p79"/>
          <p:cNvGrpSpPr/>
          <p:nvPr/>
        </p:nvGrpSpPr>
        <p:grpSpPr>
          <a:xfrm>
            <a:off x="6208857" y="1960831"/>
            <a:ext cx="341579" cy="299374"/>
            <a:chOff x="-12660025" y="2096250"/>
            <a:chExt cx="353675" cy="309975"/>
          </a:xfrm>
        </p:grpSpPr>
        <p:sp>
          <p:nvSpPr>
            <p:cNvPr id="10599" name="Google Shape;10599;p79"/>
            <p:cNvSpPr/>
            <p:nvPr/>
          </p:nvSpPr>
          <p:spPr>
            <a:xfrm>
              <a:off x="-12619850" y="2136425"/>
              <a:ext cx="63025" cy="62250"/>
            </a:xfrm>
            <a:custGeom>
              <a:avLst/>
              <a:gdLst/>
              <a:ahLst/>
              <a:cxnLst/>
              <a:rect l="l" t="t" r="r" b="b"/>
              <a:pathLst>
                <a:path w="2521" h="2490" extrusionOk="0">
                  <a:moveTo>
                    <a:pt x="1261" y="819"/>
                  </a:moveTo>
                  <a:cubicBezTo>
                    <a:pt x="1481" y="819"/>
                    <a:pt x="1702" y="1040"/>
                    <a:pt x="1702" y="1261"/>
                  </a:cubicBezTo>
                  <a:cubicBezTo>
                    <a:pt x="1702" y="1513"/>
                    <a:pt x="1481" y="1702"/>
                    <a:pt x="1261" y="1702"/>
                  </a:cubicBezTo>
                  <a:cubicBezTo>
                    <a:pt x="1040" y="1702"/>
                    <a:pt x="851" y="1513"/>
                    <a:pt x="851" y="1261"/>
                  </a:cubicBezTo>
                  <a:cubicBezTo>
                    <a:pt x="820" y="1040"/>
                    <a:pt x="1009" y="819"/>
                    <a:pt x="1261" y="819"/>
                  </a:cubicBezTo>
                  <a:close/>
                  <a:moveTo>
                    <a:pt x="1261" y="0"/>
                  </a:moveTo>
                  <a:cubicBezTo>
                    <a:pt x="568" y="0"/>
                    <a:pt x="1" y="567"/>
                    <a:pt x="1" y="1229"/>
                  </a:cubicBezTo>
                  <a:cubicBezTo>
                    <a:pt x="1" y="1922"/>
                    <a:pt x="568" y="2489"/>
                    <a:pt x="1261" y="2489"/>
                  </a:cubicBezTo>
                  <a:cubicBezTo>
                    <a:pt x="1922" y="2489"/>
                    <a:pt x="2521" y="1922"/>
                    <a:pt x="2521" y="1229"/>
                  </a:cubicBezTo>
                  <a:cubicBezTo>
                    <a:pt x="2521" y="567"/>
                    <a:pt x="1954"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79"/>
            <p:cNvSpPr/>
            <p:nvPr/>
          </p:nvSpPr>
          <p:spPr>
            <a:xfrm>
              <a:off x="-12496200" y="2136425"/>
              <a:ext cx="63050" cy="62250"/>
            </a:xfrm>
            <a:custGeom>
              <a:avLst/>
              <a:gdLst/>
              <a:ahLst/>
              <a:cxnLst/>
              <a:rect l="l" t="t" r="r" b="b"/>
              <a:pathLst>
                <a:path w="2522" h="2490" extrusionOk="0">
                  <a:moveTo>
                    <a:pt x="1261" y="819"/>
                  </a:moveTo>
                  <a:cubicBezTo>
                    <a:pt x="1513" y="819"/>
                    <a:pt x="1702" y="1040"/>
                    <a:pt x="1702" y="1261"/>
                  </a:cubicBezTo>
                  <a:cubicBezTo>
                    <a:pt x="1702" y="1513"/>
                    <a:pt x="1513" y="1702"/>
                    <a:pt x="1261" y="1702"/>
                  </a:cubicBezTo>
                  <a:cubicBezTo>
                    <a:pt x="1040" y="1702"/>
                    <a:pt x="883" y="1513"/>
                    <a:pt x="883" y="1261"/>
                  </a:cubicBezTo>
                  <a:cubicBezTo>
                    <a:pt x="851" y="1040"/>
                    <a:pt x="1040" y="819"/>
                    <a:pt x="1261" y="819"/>
                  </a:cubicBezTo>
                  <a:close/>
                  <a:moveTo>
                    <a:pt x="1261" y="0"/>
                  </a:moveTo>
                  <a:cubicBezTo>
                    <a:pt x="568" y="0"/>
                    <a:pt x="64" y="567"/>
                    <a:pt x="64" y="1229"/>
                  </a:cubicBezTo>
                  <a:cubicBezTo>
                    <a:pt x="1" y="1922"/>
                    <a:pt x="568" y="2489"/>
                    <a:pt x="1261" y="2489"/>
                  </a:cubicBezTo>
                  <a:cubicBezTo>
                    <a:pt x="1954" y="2489"/>
                    <a:pt x="2521" y="1922"/>
                    <a:pt x="2521" y="1229"/>
                  </a:cubicBezTo>
                  <a:cubicBezTo>
                    <a:pt x="2521" y="567"/>
                    <a:pt x="1986"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1" name="Google Shape;10601;p79"/>
            <p:cNvSpPr/>
            <p:nvPr/>
          </p:nvSpPr>
          <p:spPr>
            <a:xfrm>
              <a:off x="-12453650" y="2261650"/>
              <a:ext cx="19700" cy="19725"/>
            </a:xfrm>
            <a:custGeom>
              <a:avLst/>
              <a:gdLst/>
              <a:ahLst/>
              <a:cxnLst/>
              <a:rect l="l" t="t" r="r" b="b"/>
              <a:pathLst>
                <a:path w="788" h="789" extrusionOk="0">
                  <a:moveTo>
                    <a:pt x="410" y="1"/>
                  </a:moveTo>
                  <a:cubicBezTo>
                    <a:pt x="189" y="1"/>
                    <a:pt x="0" y="158"/>
                    <a:pt x="0" y="379"/>
                  </a:cubicBezTo>
                  <a:cubicBezTo>
                    <a:pt x="0" y="599"/>
                    <a:pt x="189" y="788"/>
                    <a:pt x="410" y="788"/>
                  </a:cubicBezTo>
                  <a:cubicBezTo>
                    <a:pt x="630" y="788"/>
                    <a:pt x="788" y="599"/>
                    <a:pt x="788" y="379"/>
                  </a:cubicBezTo>
                  <a:cubicBezTo>
                    <a:pt x="788" y="158"/>
                    <a:pt x="630"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2" name="Google Shape;10602;p79"/>
            <p:cNvSpPr/>
            <p:nvPr/>
          </p:nvSpPr>
          <p:spPr>
            <a:xfrm>
              <a:off x="-12494625" y="2261650"/>
              <a:ext cx="19725" cy="19725"/>
            </a:xfrm>
            <a:custGeom>
              <a:avLst/>
              <a:gdLst/>
              <a:ahLst/>
              <a:cxnLst/>
              <a:rect l="l" t="t" r="r" b="b"/>
              <a:pathLst>
                <a:path w="789" h="789" extrusionOk="0">
                  <a:moveTo>
                    <a:pt x="379" y="1"/>
                  </a:moveTo>
                  <a:cubicBezTo>
                    <a:pt x="158" y="1"/>
                    <a:pt x="1" y="158"/>
                    <a:pt x="1" y="379"/>
                  </a:cubicBezTo>
                  <a:cubicBezTo>
                    <a:pt x="1"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79"/>
            <p:cNvSpPr/>
            <p:nvPr/>
          </p:nvSpPr>
          <p:spPr>
            <a:xfrm>
              <a:off x="-12619850" y="2301825"/>
              <a:ext cx="103200" cy="60675"/>
            </a:xfrm>
            <a:custGeom>
              <a:avLst/>
              <a:gdLst/>
              <a:ahLst/>
              <a:cxnLst/>
              <a:rect l="l" t="t" r="r" b="b"/>
              <a:pathLst>
                <a:path w="4128" h="2427" extrusionOk="0">
                  <a:moveTo>
                    <a:pt x="3309" y="819"/>
                  </a:moveTo>
                  <a:lnTo>
                    <a:pt x="3309" y="1670"/>
                  </a:lnTo>
                  <a:lnTo>
                    <a:pt x="820" y="1670"/>
                  </a:lnTo>
                  <a:lnTo>
                    <a:pt x="820" y="819"/>
                  </a:lnTo>
                  <a:close/>
                  <a:moveTo>
                    <a:pt x="442" y="0"/>
                  </a:moveTo>
                  <a:cubicBezTo>
                    <a:pt x="190" y="0"/>
                    <a:pt x="1" y="189"/>
                    <a:pt x="1" y="410"/>
                  </a:cubicBezTo>
                  <a:lnTo>
                    <a:pt x="1" y="2048"/>
                  </a:lnTo>
                  <a:cubicBezTo>
                    <a:pt x="1" y="2269"/>
                    <a:pt x="190" y="2426"/>
                    <a:pt x="442" y="2426"/>
                  </a:cubicBezTo>
                  <a:lnTo>
                    <a:pt x="3750" y="2426"/>
                  </a:lnTo>
                  <a:cubicBezTo>
                    <a:pt x="3970" y="2426"/>
                    <a:pt x="4128" y="2237"/>
                    <a:pt x="4128" y="2048"/>
                  </a:cubicBezTo>
                  <a:lnTo>
                    <a:pt x="4128" y="410"/>
                  </a:lnTo>
                  <a:cubicBezTo>
                    <a:pt x="4128" y="189"/>
                    <a:pt x="3970"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4" name="Google Shape;10604;p79"/>
            <p:cNvSpPr/>
            <p:nvPr/>
          </p:nvSpPr>
          <p:spPr>
            <a:xfrm>
              <a:off x="-12660025" y="2096250"/>
              <a:ext cx="353675" cy="309975"/>
            </a:xfrm>
            <a:custGeom>
              <a:avLst/>
              <a:gdLst/>
              <a:ahLst/>
              <a:cxnLst/>
              <a:rect l="l" t="t" r="r" b="b"/>
              <a:pathLst>
                <a:path w="14147" h="12399" extrusionOk="0">
                  <a:moveTo>
                    <a:pt x="5357" y="4317"/>
                  </a:moveTo>
                  <a:cubicBezTo>
                    <a:pt x="5451" y="4569"/>
                    <a:pt x="5609" y="4758"/>
                    <a:pt x="5766" y="4915"/>
                  </a:cubicBezTo>
                  <a:lnTo>
                    <a:pt x="4884" y="4915"/>
                  </a:lnTo>
                  <a:cubicBezTo>
                    <a:pt x="5042" y="4758"/>
                    <a:pt x="5199" y="4569"/>
                    <a:pt x="5357" y="4317"/>
                  </a:cubicBezTo>
                  <a:close/>
                  <a:moveTo>
                    <a:pt x="2868" y="788"/>
                  </a:moveTo>
                  <a:cubicBezTo>
                    <a:pt x="4002" y="788"/>
                    <a:pt x="4947" y="1733"/>
                    <a:pt x="4947" y="2868"/>
                  </a:cubicBezTo>
                  <a:cubicBezTo>
                    <a:pt x="4947" y="4002"/>
                    <a:pt x="4002" y="4947"/>
                    <a:pt x="2868" y="4947"/>
                  </a:cubicBezTo>
                  <a:cubicBezTo>
                    <a:pt x="1734" y="4915"/>
                    <a:pt x="788" y="4002"/>
                    <a:pt x="788" y="2868"/>
                  </a:cubicBezTo>
                  <a:cubicBezTo>
                    <a:pt x="788" y="1733"/>
                    <a:pt x="1734" y="788"/>
                    <a:pt x="2868" y="788"/>
                  </a:cubicBezTo>
                  <a:close/>
                  <a:moveTo>
                    <a:pt x="7814" y="788"/>
                  </a:moveTo>
                  <a:cubicBezTo>
                    <a:pt x="8980" y="788"/>
                    <a:pt x="9925" y="1733"/>
                    <a:pt x="9925" y="2868"/>
                  </a:cubicBezTo>
                  <a:cubicBezTo>
                    <a:pt x="9925" y="4002"/>
                    <a:pt x="8980" y="4947"/>
                    <a:pt x="7814" y="4947"/>
                  </a:cubicBezTo>
                  <a:cubicBezTo>
                    <a:pt x="6680" y="4947"/>
                    <a:pt x="5735" y="4002"/>
                    <a:pt x="5735" y="2868"/>
                  </a:cubicBezTo>
                  <a:cubicBezTo>
                    <a:pt x="5735" y="1733"/>
                    <a:pt x="6680" y="788"/>
                    <a:pt x="7814" y="788"/>
                  </a:cubicBezTo>
                  <a:close/>
                  <a:moveTo>
                    <a:pt x="13264" y="5987"/>
                  </a:moveTo>
                  <a:lnTo>
                    <a:pt x="13264" y="11311"/>
                  </a:lnTo>
                  <a:lnTo>
                    <a:pt x="10744" y="10051"/>
                  </a:lnTo>
                  <a:lnTo>
                    <a:pt x="10744" y="7247"/>
                  </a:lnTo>
                  <a:lnTo>
                    <a:pt x="13264" y="5987"/>
                  </a:lnTo>
                  <a:close/>
                  <a:moveTo>
                    <a:pt x="9484" y="5734"/>
                  </a:moveTo>
                  <a:cubicBezTo>
                    <a:pt x="9704" y="5734"/>
                    <a:pt x="9862" y="5955"/>
                    <a:pt x="9862" y="6176"/>
                  </a:cubicBezTo>
                  <a:lnTo>
                    <a:pt x="9862" y="11153"/>
                  </a:lnTo>
                  <a:cubicBezTo>
                    <a:pt x="9862" y="11374"/>
                    <a:pt x="9673" y="11563"/>
                    <a:pt x="9484" y="11563"/>
                  </a:cubicBezTo>
                  <a:lnTo>
                    <a:pt x="1198" y="11563"/>
                  </a:lnTo>
                  <a:cubicBezTo>
                    <a:pt x="977" y="11563"/>
                    <a:pt x="788" y="11374"/>
                    <a:pt x="788" y="11153"/>
                  </a:cubicBezTo>
                  <a:lnTo>
                    <a:pt x="788" y="6176"/>
                  </a:lnTo>
                  <a:cubicBezTo>
                    <a:pt x="788" y="5955"/>
                    <a:pt x="977" y="5734"/>
                    <a:pt x="1198" y="5734"/>
                  </a:cubicBezTo>
                  <a:close/>
                  <a:moveTo>
                    <a:pt x="2868" y="1"/>
                  </a:moveTo>
                  <a:cubicBezTo>
                    <a:pt x="1261" y="1"/>
                    <a:pt x="1" y="1292"/>
                    <a:pt x="1" y="2868"/>
                  </a:cubicBezTo>
                  <a:cubicBezTo>
                    <a:pt x="1" y="3687"/>
                    <a:pt x="347" y="4443"/>
                    <a:pt x="883" y="5010"/>
                  </a:cubicBezTo>
                  <a:cubicBezTo>
                    <a:pt x="379" y="5167"/>
                    <a:pt x="1" y="5640"/>
                    <a:pt x="1" y="6176"/>
                  </a:cubicBezTo>
                  <a:lnTo>
                    <a:pt x="1" y="11153"/>
                  </a:lnTo>
                  <a:cubicBezTo>
                    <a:pt x="1" y="11815"/>
                    <a:pt x="536" y="12382"/>
                    <a:pt x="1261" y="12382"/>
                  </a:cubicBezTo>
                  <a:lnTo>
                    <a:pt x="9515" y="12382"/>
                  </a:lnTo>
                  <a:cubicBezTo>
                    <a:pt x="10208" y="12382"/>
                    <a:pt x="10775" y="11846"/>
                    <a:pt x="10775" y="11153"/>
                  </a:cubicBezTo>
                  <a:lnTo>
                    <a:pt x="10775" y="10996"/>
                  </a:lnTo>
                  <a:lnTo>
                    <a:pt x="13548" y="12350"/>
                  </a:lnTo>
                  <a:cubicBezTo>
                    <a:pt x="13594" y="12385"/>
                    <a:pt x="13645" y="12399"/>
                    <a:pt x="13695" y="12399"/>
                  </a:cubicBezTo>
                  <a:cubicBezTo>
                    <a:pt x="13781" y="12399"/>
                    <a:pt x="13866" y="12359"/>
                    <a:pt x="13926" y="12319"/>
                  </a:cubicBezTo>
                  <a:cubicBezTo>
                    <a:pt x="14052" y="12256"/>
                    <a:pt x="14146" y="12130"/>
                    <a:pt x="14146" y="11972"/>
                  </a:cubicBezTo>
                  <a:lnTo>
                    <a:pt x="14146" y="5356"/>
                  </a:lnTo>
                  <a:cubicBezTo>
                    <a:pt x="14083" y="5199"/>
                    <a:pt x="14020" y="5073"/>
                    <a:pt x="13894" y="5010"/>
                  </a:cubicBezTo>
                  <a:cubicBezTo>
                    <a:pt x="13815" y="4950"/>
                    <a:pt x="13722" y="4928"/>
                    <a:pt x="13633" y="4928"/>
                  </a:cubicBezTo>
                  <a:cubicBezTo>
                    <a:pt x="13581" y="4928"/>
                    <a:pt x="13531" y="4935"/>
                    <a:pt x="13485" y="4947"/>
                  </a:cubicBezTo>
                  <a:lnTo>
                    <a:pt x="10744" y="6333"/>
                  </a:lnTo>
                  <a:lnTo>
                    <a:pt x="10744" y="6176"/>
                  </a:lnTo>
                  <a:cubicBezTo>
                    <a:pt x="10744" y="5577"/>
                    <a:pt x="10334" y="5104"/>
                    <a:pt x="9830" y="5010"/>
                  </a:cubicBezTo>
                  <a:cubicBezTo>
                    <a:pt x="10397" y="4474"/>
                    <a:pt x="10744" y="3750"/>
                    <a:pt x="10744" y="2868"/>
                  </a:cubicBezTo>
                  <a:cubicBezTo>
                    <a:pt x="10744" y="1261"/>
                    <a:pt x="9452" y="1"/>
                    <a:pt x="7814" y="1"/>
                  </a:cubicBezTo>
                  <a:cubicBezTo>
                    <a:pt x="6774" y="1"/>
                    <a:pt x="5861" y="536"/>
                    <a:pt x="5357" y="1418"/>
                  </a:cubicBezTo>
                  <a:cubicBezTo>
                    <a:pt x="4821" y="599"/>
                    <a:pt x="3939"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5" name="Google Shape;10605;p79"/>
          <p:cNvGrpSpPr/>
          <p:nvPr/>
        </p:nvGrpSpPr>
        <p:grpSpPr>
          <a:xfrm>
            <a:off x="6207335" y="2348127"/>
            <a:ext cx="344622" cy="341941"/>
            <a:chOff x="-12663175" y="2506800"/>
            <a:chExt cx="356825" cy="354050"/>
          </a:xfrm>
        </p:grpSpPr>
        <p:sp>
          <p:nvSpPr>
            <p:cNvPr id="10606" name="Google Shape;10606;p79"/>
            <p:cNvSpPr/>
            <p:nvPr/>
          </p:nvSpPr>
          <p:spPr>
            <a:xfrm>
              <a:off x="-12663175" y="2506800"/>
              <a:ext cx="356825" cy="354050"/>
            </a:xfrm>
            <a:custGeom>
              <a:avLst/>
              <a:gdLst/>
              <a:ahLst/>
              <a:cxnLst/>
              <a:rect l="l" t="t" r="r" b="b"/>
              <a:pathLst>
                <a:path w="14273" h="14162" extrusionOk="0">
                  <a:moveTo>
                    <a:pt x="9074" y="969"/>
                  </a:moveTo>
                  <a:lnTo>
                    <a:pt x="9169" y="1095"/>
                  </a:lnTo>
                  <a:cubicBezTo>
                    <a:pt x="8980" y="1536"/>
                    <a:pt x="9011" y="2135"/>
                    <a:pt x="9421" y="2513"/>
                  </a:cubicBezTo>
                  <a:cubicBezTo>
                    <a:pt x="9658" y="2770"/>
                    <a:pt x="9969" y="2890"/>
                    <a:pt x="10284" y="2890"/>
                  </a:cubicBezTo>
                  <a:cubicBezTo>
                    <a:pt x="10472" y="2890"/>
                    <a:pt x="10662" y="2847"/>
                    <a:pt x="10838" y="2765"/>
                  </a:cubicBezTo>
                  <a:lnTo>
                    <a:pt x="11500" y="3427"/>
                  </a:lnTo>
                  <a:cubicBezTo>
                    <a:pt x="11280" y="3899"/>
                    <a:pt x="11343" y="4435"/>
                    <a:pt x="11752" y="4844"/>
                  </a:cubicBezTo>
                  <a:cubicBezTo>
                    <a:pt x="11988" y="5080"/>
                    <a:pt x="12297" y="5206"/>
                    <a:pt x="12603" y="5206"/>
                  </a:cubicBezTo>
                  <a:cubicBezTo>
                    <a:pt x="12788" y="5206"/>
                    <a:pt x="12972" y="5160"/>
                    <a:pt x="13138" y="5065"/>
                  </a:cubicBezTo>
                  <a:lnTo>
                    <a:pt x="13264" y="5191"/>
                  </a:lnTo>
                  <a:cubicBezTo>
                    <a:pt x="13107" y="5537"/>
                    <a:pt x="13107" y="5947"/>
                    <a:pt x="13264" y="6262"/>
                  </a:cubicBezTo>
                  <a:lnTo>
                    <a:pt x="12445" y="7081"/>
                  </a:lnTo>
                  <a:lnTo>
                    <a:pt x="12162" y="6798"/>
                  </a:lnTo>
                  <a:cubicBezTo>
                    <a:pt x="12083" y="6719"/>
                    <a:pt x="11981" y="6680"/>
                    <a:pt x="11874" y="6680"/>
                  </a:cubicBezTo>
                  <a:cubicBezTo>
                    <a:pt x="11768" y="6680"/>
                    <a:pt x="11658" y="6719"/>
                    <a:pt x="11563" y="6798"/>
                  </a:cubicBezTo>
                  <a:cubicBezTo>
                    <a:pt x="11406" y="6955"/>
                    <a:pt x="11406" y="7239"/>
                    <a:pt x="11563" y="7396"/>
                  </a:cubicBezTo>
                  <a:lnTo>
                    <a:pt x="11847" y="7680"/>
                  </a:lnTo>
                  <a:lnTo>
                    <a:pt x="6333" y="13193"/>
                  </a:lnTo>
                  <a:cubicBezTo>
                    <a:pt x="6160" y="13114"/>
                    <a:pt x="5971" y="13075"/>
                    <a:pt x="5786" y="13075"/>
                  </a:cubicBezTo>
                  <a:cubicBezTo>
                    <a:pt x="5601" y="13075"/>
                    <a:pt x="5420" y="13114"/>
                    <a:pt x="5262" y="13193"/>
                  </a:cubicBezTo>
                  <a:lnTo>
                    <a:pt x="5168" y="13067"/>
                  </a:lnTo>
                  <a:cubicBezTo>
                    <a:pt x="5357" y="12626"/>
                    <a:pt x="5325" y="12059"/>
                    <a:pt x="4916" y="11649"/>
                  </a:cubicBezTo>
                  <a:cubicBezTo>
                    <a:pt x="4680" y="11414"/>
                    <a:pt x="4371" y="11288"/>
                    <a:pt x="4057" y="11288"/>
                  </a:cubicBezTo>
                  <a:cubicBezTo>
                    <a:pt x="3867" y="11288"/>
                    <a:pt x="3676" y="11334"/>
                    <a:pt x="3498" y="11429"/>
                  </a:cubicBezTo>
                  <a:lnTo>
                    <a:pt x="2836" y="10736"/>
                  </a:lnTo>
                  <a:cubicBezTo>
                    <a:pt x="3088" y="10263"/>
                    <a:pt x="2994" y="9728"/>
                    <a:pt x="2616" y="9318"/>
                  </a:cubicBezTo>
                  <a:cubicBezTo>
                    <a:pt x="2360" y="9082"/>
                    <a:pt x="2056" y="8957"/>
                    <a:pt x="1748" y="8957"/>
                  </a:cubicBezTo>
                  <a:cubicBezTo>
                    <a:pt x="1563" y="8957"/>
                    <a:pt x="1376" y="9003"/>
                    <a:pt x="1198" y="9098"/>
                  </a:cubicBezTo>
                  <a:lnTo>
                    <a:pt x="1072" y="8971"/>
                  </a:lnTo>
                  <a:cubicBezTo>
                    <a:pt x="1229" y="8625"/>
                    <a:pt x="1229" y="8215"/>
                    <a:pt x="1072" y="7900"/>
                  </a:cubicBezTo>
                  <a:lnTo>
                    <a:pt x="6585" y="2387"/>
                  </a:lnTo>
                  <a:lnTo>
                    <a:pt x="6869" y="2671"/>
                  </a:lnTo>
                  <a:cubicBezTo>
                    <a:pt x="6948" y="2749"/>
                    <a:pt x="7050" y="2789"/>
                    <a:pt x="7152" y="2789"/>
                  </a:cubicBezTo>
                  <a:cubicBezTo>
                    <a:pt x="7255" y="2789"/>
                    <a:pt x="7357" y="2749"/>
                    <a:pt x="7436" y="2671"/>
                  </a:cubicBezTo>
                  <a:cubicBezTo>
                    <a:pt x="7593" y="2513"/>
                    <a:pt x="7593" y="2229"/>
                    <a:pt x="7436" y="2072"/>
                  </a:cubicBezTo>
                  <a:lnTo>
                    <a:pt x="7184" y="1820"/>
                  </a:lnTo>
                  <a:lnTo>
                    <a:pt x="8003" y="969"/>
                  </a:lnTo>
                  <a:cubicBezTo>
                    <a:pt x="8176" y="1048"/>
                    <a:pt x="8365" y="1087"/>
                    <a:pt x="8550" y="1087"/>
                  </a:cubicBezTo>
                  <a:cubicBezTo>
                    <a:pt x="8735" y="1087"/>
                    <a:pt x="8917" y="1048"/>
                    <a:pt x="9074" y="969"/>
                  </a:cubicBezTo>
                  <a:close/>
                  <a:moveTo>
                    <a:pt x="7893" y="0"/>
                  </a:moveTo>
                  <a:cubicBezTo>
                    <a:pt x="7782" y="0"/>
                    <a:pt x="7672" y="40"/>
                    <a:pt x="7593" y="119"/>
                  </a:cubicBezTo>
                  <a:lnTo>
                    <a:pt x="158" y="7554"/>
                  </a:lnTo>
                  <a:cubicBezTo>
                    <a:pt x="1" y="7711"/>
                    <a:pt x="1" y="7995"/>
                    <a:pt x="158" y="8152"/>
                  </a:cubicBezTo>
                  <a:cubicBezTo>
                    <a:pt x="316" y="8310"/>
                    <a:pt x="316" y="8593"/>
                    <a:pt x="158" y="8751"/>
                  </a:cubicBezTo>
                  <a:cubicBezTo>
                    <a:pt x="1" y="8908"/>
                    <a:pt x="1" y="9161"/>
                    <a:pt x="158" y="9318"/>
                  </a:cubicBezTo>
                  <a:lnTo>
                    <a:pt x="757" y="9917"/>
                  </a:lnTo>
                  <a:cubicBezTo>
                    <a:pt x="836" y="9995"/>
                    <a:pt x="938" y="10035"/>
                    <a:pt x="1040" y="10035"/>
                  </a:cubicBezTo>
                  <a:cubicBezTo>
                    <a:pt x="1143" y="10035"/>
                    <a:pt x="1245" y="9995"/>
                    <a:pt x="1324" y="9917"/>
                  </a:cubicBezTo>
                  <a:cubicBezTo>
                    <a:pt x="1418" y="9838"/>
                    <a:pt x="1529" y="9798"/>
                    <a:pt x="1635" y="9798"/>
                  </a:cubicBezTo>
                  <a:cubicBezTo>
                    <a:pt x="1741" y="9798"/>
                    <a:pt x="1844" y="9838"/>
                    <a:pt x="1923" y="9917"/>
                  </a:cubicBezTo>
                  <a:cubicBezTo>
                    <a:pt x="2080" y="10074"/>
                    <a:pt x="2080" y="10358"/>
                    <a:pt x="1923" y="10515"/>
                  </a:cubicBezTo>
                  <a:cubicBezTo>
                    <a:pt x="1765" y="10673"/>
                    <a:pt x="1765" y="10956"/>
                    <a:pt x="1923" y="11114"/>
                  </a:cubicBezTo>
                  <a:lnTo>
                    <a:pt x="3120" y="12279"/>
                  </a:lnTo>
                  <a:cubicBezTo>
                    <a:pt x="3199" y="12358"/>
                    <a:pt x="3301" y="12398"/>
                    <a:pt x="3403" y="12398"/>
                  </a:cubicBezTo>
                  <a:cubicBezTo>
                    <a:pt x="3506" y="12398"/>
                    <a:pt x="3608" y="12358"/>
                    <a:pt x="3687" y="12279"/>
                  </a:cubicBezTo>
                  <a:cubicBezTo>
                    <a:pt x="3781" y="12201"/>
                    <a:pt x="3892" y="12161"/>
                    <a:pt x="3998" y="12161"/>
                  </a:cubicBezTo>
                  <a:cubicBezTo>
                    <a:pt x="4104" y="12161"/>
                    <a:pt x="4207" y="12201"/>
                    <a:pt x="4285" y="12279"/>
                  </a:cubicBezTo>
                  <a:cubicBezTo>
                    <a:pt x="4443" y="12437"/>
                    <a:pt x="4443" y="12721"/>
                    <a:pt x="4285" y="12878"/>
                  </a:cubicBezTo>
                  <a:cubicBezTo>
                    <a:pt x="4128" y="13036"/>
                    <a:pt x="4128" y="13319"/>
                    <a:pt x="4285" y="13477"/>
                  </a:cubicBezTo>
                  <a:lnTo>
                    <a:pt x="4884" y="14044"/>
                  </a:lnTo>
                  <a:cubicBezTo>
                    <a:pt x="4963" y="14123"/>
                    <a:pt x="5073" y="14162"/>
                    <a:pt x="5183" y="14162"/>
                  </a:cubicBezTo>
                  <a:cubicBezTo>
                    <a:pt x="5294" y="14162"/>
                    <a:pt x="5404" y="14123"/>
                    <a:pt x="5483" y="14044"/>
                  </a:cubicBezTo>
                  <a:cubicBezTo>
                    <a:pt x="5561" y="13965"/>
                    <a:pt x="5664" y="13926"/>
                    <a:pt x="5766" y="13926"/>
                  </a:cubicBezTo>
                  <a:cubicBezTo>
                    <a:pt x="5869" y="13926"/>
                    <a:pt x="5971" y="13965"/>
                    <a:pt x="6050" y="14044"/>
                  </a:cubicBezTo>
                  <a:cubicBezTo>
                    <a:pt x="6144" y="14123"/>
                    <a:pt x="6254" y="14162"/>
                    <a:pt x="6361" y="14162"/>
                  </a:cubicBezTo>
                  <a:cubicBezTo>
                    <a:pt x="6467" y="14162"/>
                    <a:pt x="6570" y="14123"/>
                    <a:pt x="6648" y="14044"/>
                  </a:cubicBezTo>
                  <a:lnTo>
                    <a:pt x="14115" y="6609"/>
                  </a:lnTo>
                  <a:cubicBezTo>
                    <a:pt x="14272" y="6451"/>
                    <a:pt x="14272" y="6168"/>
                    <a:pt x="14115" y="6010"/>
                  </a:cubicBezTo>
                  <a:cubicBezTo>
                    <a:pt x="13926" y="5853"/>
                    <a:pt x="13926" y="5600"/>
                    <a:pt x="14115" y="5443"/>
                  </a:cubicBezTo>
                  <a:cubicBezTo>
                    <a:pt x="14241" y="5285"/>
                    <a:pt x="14241" y="5002"/>
                    <a:pt x="14115" y="4844"/>
                  </a:cubicBezTo>
                  <a:lnTo>
                    <a:pt x="13516" y="4246"/>
                  </a:lnTo>
                  <a:cubicBezTo>
                    <a:pt x="13438" y="4167"/>
                    <a:pt x="13327" y="4128"/>
                    <a:pt x="13217" y="4128"/>
                  </a:cubicBezTo>
                  <a:cubicBezTo>
                    <a:pt x="13107" y="4128"/>
                    <a:pt x="12997" y="4167"/>
                    <a:pt x="12918" y="4246"/>
                  </a:cubicBezTo>
                  <a:cubicBezTo>
                    <a:pt x="12839" y="4325"/>
                    <a:pt x="12729" y="4364"/>
                    <a:pt x="12618" y="4364"/>
                  </a:cubicBezTo>
                  <a:cubicBezTo>
                    <a:pt x="12508" y="4364"/>
                    <a:pt x="12398" y="4325"/>
                    <a:pt x="12319" y="4246"/>
                  </a:cubicBezTo>
                  <a:cubicBezTo>
                    <a:pt x="12162" y="4088"/>
                    <a:pt x="12162" y="3805"/>
                    <a:pt x="12319" y="3647"/>
                  </a:cubicBezTo>
                  <a:cubicBezTo>
                    <a:pt x="12477" y="3490"/>
                    <a:pt x="12477" y="3238"/>
                    <a:pt x="12319" y="3080"/>
                  </a:cubicBezTo>
                  <a:lnTo>
                    <a:pt x="11154" y="1883"/>
                  </a:lnTo>
                  <a:cubicBezTo>
                    <a:pt x="11075" y="1804"/>
                    <a:pt x="10964" y="1765"/>
                    <a:pt x="10854" y="1765"/>
                  </a:cubicBezTo>
                  <a:cubicBezTo>
                    <a:pt x="10744" y="1765"/>
                    <a:pt x="10634" y="1804"/>
                    <a:pt x="10555" y="1883"/>
                  </a:cubicBezTo>
                  <a:cubicBezTo>
                    <a:pt x="10476" y="1962"/>
                    <a:pt x="10366" y="2001"/>
                    <a:pt x="10256" y="2001"/>
                  </a:cubicBezTo>
                  <a:cubicBezTo>
                    <a:pt x="10145" y="2001"/>
                    <a:pt x="10035" y="1962"/>
                    <a:pt x="9956" y="1883"/>
                  </a:cubicBezTo>
                  <a:cubicBezTo>
                    <a:pt x="9799" y="1725"/>
                    <a:pt x="9799" y="1442"/>
                    <a:pt x="9956" y="1284"/>
                  </a:cubicBezTo>
                  <a:cubicBezTo>
                    <a:pt x="10114" y="1127"/>
                    <a:pt x="10114" y="875"/>
                    <a:pt x="9956" y="717"/>
                  </a:cubicBezTo>
                  <a:lnTo>
                    <a:pt x="9389" y="119"/>
                  </a:lnTo>
                  <a:cubicBezTo>
                    <a:pt x="9295" y="40"/>
                    <a:pt x="9184" y="0"/>
                    <a:pt x="9078" y="0"/>
                  </a:cubicBezTo>
                  <a:cubicBezTo>
                    <a:pt x="8972" y="0"/>
                    <a:pt x="8869" y="40"/>
                    <a:pt x="8791" y="119"/>
                  </a:cubicBezTo>
                  <a:cubicBezTo>
                    <a:pt x="8712" y="197"/>
                    <a:pt x="8602" y="237"/>
                    <a:pt x="8491" y="237"/>
                  </a:cubicBezTo>
                  <a:cubicBezTo>
                    <a:pt x="8381" y="237"/>
                    <a:pt x="8271" y="197"/>
                    <a:pt x="8192" y="119"/>
                  </a:cubicBezTo>
                  <a:cubicBezTo>
                    <a:pt x="8113" y="40"/>
                    <a:pt x="8003" y="0"/>
                    <a:pt x="78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79"/>
            <p:cNvSpPr/>
            <p:nvPr/>
          </p:nvSpPr>
          <p:spPr>
            <a:xfrm>
              <a:off x="-12466275" y="2586350"/>
              <a:ext cx="37850" cy="35850"/>
            </a:xfrm>
            <a:custGeom>
              <a:avLst/>
              <a:gdLst/>
              <a:ahLst/>
              <a:cxnLst/>
              <a:rect l="l" t="t" r="r" b="b"/>
              <a:pathLst>
                <a:path w="1514" h="1434" extrusionOk="0">
                  <a:moveTo>
                    <a:pt x="458" y="0"/>
                  </a:moveTo>
                  <a:cubicBezTo>
                    <a:pt x="348" y="0"/>
                    <a:pt x="237" y="40"/>
                    <a:pt x="159" y="119"/>
                  </a:cubicBezTo>
                  <a:cubicBezTo>
                    <a:pt x="1" y="276"/>
                    <a:pt x="1" y="560"/>
                    <a:pt x="159" y="717"/>
                  </a:cubicBezTo>
                  <a:lnTo>
                    <a:pt x="757" y="1316"/>
                  </a:lnTo>
                  <a:cubicBezTo>
                    <a:pt x="836" y="1395"/>
                    <a:pt x="938" y="1434"/>
                    <a:pt x="1041" y="1434"/>
                  </a:cubicBezTo>
                  <a:cubicBezTo>
                    <a:pt x="1143" y="1434"/>
                    <a:pt x="1245" y="1395"/>
                    <a:pt x="1324" y="1316"/>
                  </a:cubicBezTo>
                  <a:cubicBezTo>
                    <a:pt x="1513" y="1158"/>
                    <a:pt x="1513" y="875"/>
                    <a:pt x="1324" y="717"/>
                  </a:cubicBezTo>
                  <a:lnTo>
                    <a:pt x="757" y="119"/>
                  </a:ln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79"/>
            <p:cNvSpPr/>
            <p:nvPr/>
          </p:nvSpPr>
          <p:spPr>
            <a:xfrm>
              <a:off x="-12422950" y="2630450"/>
              <a:ext cx="37825" cy="35875"/>
            </a:xfrm>
            <a:custGeom>
              <a:avLst/>
              <a:gdLst/>
              <a:ahLst/>
              <a:cxnLst/>
              <a:rect l="l" t="t" r="r" b="b"/>
              <a:pathLst>
                <a:path w="1513" h="1435" extrusionOk="0">
                  <a:moveTo>
                    <a:pt x="458" y="1"/>
                  </a:moveTo>
                  <a:cubicBezTo>
                    <a:pt x="347" y="1"/>
                    <a:pt x="237" y="40"/>
                    <a:pt x="158" y="119"/>
                  </a:cubicBezTo>
                  <a:cubicBezTo>
                    <a:pt x="1" y="276"/>
                    <a:pt x="1" y="560"/>
                    <a:pt x="158" y="717"/>
                  </a:cubicBezTo>
                  <a:lnTo>
                    <a:pt x="757" y="1316"/>
                  </a:lnTo>
                  <a:cubicBezTo>
                    <a:pt x="836" y="1395"/>
                    <a:pt x="938" y="1434"/>
                    <a:pt x="1044" y="1434"/>
                  </a:cubicBezTo>
                  <a:cubicBezTo>
                    <a:pt x="1151" y="1434"/>
                    <a:pt x="1261" y="1395"/>
                    <a:pt x="1355" y="1316"/>
                  </a:cubicBezTo>
                  <a:cubicBezTo>
                    <a:pt x="1513" y="1159"/>
                    <a:pt x="1513" y="875"/>
                    <a:pt x="1355" y="717"/>
                  </a:cubicBezTo>
                  <a:lnTo>
                    <a:pt x="757" y="119"/>
                  </a:lnTo>
                  <a:cubicBezTo>
                    <a:pt x="678" y="40"/>
                    <a:pt x="568" y="1"/>
                    <a:pt x="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79"/>
            <p:cNvSpPr/>
            <p:nvPr/>
          </p:nvSpPr>
          <p:spPr>
            <a:xfrm>
              <a:off x="-12591500" y="2644250"/>
              <a:ext cx="192200" cy="142975"/>
            </a:xfrm>
            <a:custGeom>
              <a:avLst/>
              <a:gdLst/>
              <a:ahLst/>
              <a:cxnLst/>
              <a:rect l="l" t="t" r="r" b="b"/>
              <a:pathLst>
                <a:path w="7688" h="5719" extrusionOk="0">
                  <a:moveTo>
                    <a:pt x="1371" y="1780"/>
                  </a:moveTo>
                  <a:cubicBezTo>
                    <a:pt x="1481" y="1780"/>
                    <a:pt x="1592" y="1819"/>
                    <a:pt x="1670" y="1898"/>
                  </a:cubicBezTo>
                  <a:cubicBezTo>
                    <a:pt x="1828" y="2056"/>
                    <a:pt x="1828" y="2339"/>
                    <a:pt x="1670" y="2497"/>
                  </a:cubicBezTo>
                  <a:cubicBezTo>
                    <a:pt x="1592" y="2576"/>
                    <a:pt x="1481" y="2615"/>
                    <a:pt x="1371" y="2615"/>
                  </a:cubicBezTo>
                  <a:cubicBezTo>
                    <a:pt x="1261" y="2615"/>
                    <a:pt x="1151" y="2576"/>
                    <a:pt x="1072" y="2497"/>
                  </a:cubicBezTo>
                  <a:cubicBezTo>
                    <a:pt x="914" y="2339"/>
                    <a:pt x="914" y="2056"/>
                    <a:pt x="1072" y="1898"/>
                  </a:cubicBezTo>
                  <a:cubicBezTo>
                    <a:pt x="1151" y="1819"/>
                    <a:pt x="1261" y="1780"/>
                    <a:pt x="1371" y="1780"/>
                  </a:cubicBezTo>
                  <a:close/>
                  <a:moveTo>
                    <a:pt x="4317" y="985"/>
                  </a:moveTo>
                  <a:lnTo>
                    <a:pt x="6522" y="2308"/>
                  </a:lnTo>
                  <a:lnTo>
                    <a:pt x="5955" y="2843"/>
                  </a:lnTo>
                  <a:lnTo>
                    <a:pt x="3750" y="1552"/>
                  </a:lnTo>
                  <a:lnTo>
                    <a:pt x="4317" y="985"/>
                  </a:lnTo>
                  <a:close/>
                  <a:moveTo>
                    <a:pt x="3687" y="4111"/>
                  </a:moveTo>
                  <a:cubicBezTo>
                    <a:pt x="3789" y="4111"/>
                    <a:pt x="3892" y="4151"/>
                    <a:pt x="3970" y="4230"/>
                  </a:cubicBezTo>
                  <a:cubicBezTo>
                    <a:pt x="4159" y="4387"/>
                    <a:pt x="4159" y="4671"/>
                    <a:pt x="3970" y="4828"/>
                  </a:cubicBezTo>
                  <a:cubicBezTo>
                    <a:pt x="3892" y="4907"/>
                    <a:pt x="3789" y="4946"/>
                    <a:pt x="3687" y="4946"/>
                  </a:cubicBezTo>
                  <a:cubicBezTo>
                    <a:pt x="3584" y="4946"/>
                    <a:pt x="3482" y="4907"/>
                    <a:pt x="3403" y="4828"/>
                  </a:cubicBezTo>
                  <a:cubicBezTo>
                    <a:pt x="3246" y="4671"/>
                    <a:pt x="3246" y="4387"/>
                    <a:pt x="3403" y="4230"/>
                  </a:cubicBezTo>
                  <a:cubicBezTo>
                    <a:pt x="3482" y="4151"/>
                    <a:pt x="3584" y="4111"/>
                    <a:pt x="3687" y="4111"/>
                  </a:cubicBezTo>
                  <a:close/>
                  <a:moveTo>
                    <a:pt x="4302" y="0"/>
                  </a:moveTo>
                  <a:cubicBezTo>
                    <a:pt x="4187" y="0"/>
                    <a:pt x="4067" y="37"/>
                    <a:pt x="3970" y="134"/>
                  </a:cubicBezTo>
                  <a:lnTo>
                    <a:pt x="2490" y="1615"/>
                  </a:lnTo>
                  <a:lnTo>
                    <a:pt x="2269" y="1268"/>
                  </a:lnTo>
                  <a:cubicBezTo>
                    <a:pt x="2033" y="1032"/>
                    <a:pt x="1718" y="914"/>
                    <a:pt x="1395" y="914"/>
                  </a:cubicBezTo>
                  <a:cubicBezTo>
                    <a:pt x="1072" y="914"/>
                    <a:pt x="741" y="1032"/>
                    <a:pt x="473" y="1268"/>
                  </a:cubicBezTo>
                  <a:cubicBezTo>
                    <a:pt x="1" y="1741"/>
                    <a:pt x="1" y="2528"/>
                    <a:pt x="473" y="3032"/>
                  </a:cubicBezTo>
                  <a:cubicBezTo>
                    <a:pt x="710" y="3269"/>
                    <a:pt x="1025" y="3387"/>
                    <a:pt x="1348" y="3387"/>
                  </a:cubicBezTo>
                  <a:cubicBezTo>
                    <a:pt x="1670" y="3387"/>
                    <a:pt x="2001" y="3269"/>
                    <a:pt x="2269" y="3032"/>
                  </a:cubicBezTo>
                  <a:lnTo>
                    <a:pt x="3214" y="2087"/>
                  </a:lnTo>
                  <a:lnTo>
                    <a:pt x="5420" y="3410"/>
                  </a:lnTo>
                  <a:lnTo>
                    <a:pt x="4852" y="3946"/>
                  </a:lnTo>
                  <a:lnTo>
                    <a:pt x="4632" y="3600"/>
                  </a:lnTo>
                  <a:cubicBezTo>
                    <a:pt x="4396" y="3363"/>
                    <a:pt x="4081" y="3245"/>
                    <a:pt x="3758" y="3245"/>
                  </a:cubicBezTo>
                  <a:cubicBezTo>
                    <a:pt x="3435" y="3245"/>
                    <a:pt x="3104" y="3363"/>
                    <a:pt x="2836" y="3600"/>
                  </a:cubicBezTo>
                  <a:cubicBezTo>
                    <a:pt x="2364" y="4072"/>
                    <a:pt x="2364" y="4860"/>
                    <a:pt x="2836" y="5364"/>
                  </a:cubicBezTo>
                  <a:cubicBezTo>
                    <a:pt x="3072" y="5600"/>
                    <a:pt x="3387" y="5718"/>
                    <a:pt x="3710" y="5718"/>
                  </a:cubicBezTo>
                  <a:cubicBezTo>
                    <a:pt x="4033" y="5718"/>
                    <a:pt x="4364" y="5600"/>
                    <a:pt x="4632" y="5364"/>
                  </a:cubicBezTo>
                  <a:lnTo>
                    <a:pt x="7530" y="2465"/>
                  </a:lnTo>
                  <a:cubicBezTo>
                    <a:pt x="7688" y="2308"/>
                    <a:pt x="7656" y="1993"/>
                    <a:pt x="7404" y="1835"/>
                  </a:cubicBezTo>
                  <a:lnTo>
                    <a:pt x="4506" y="39"/>
                  </a:lnTo>
                  <a:cubicBezTo>
                    <a:pt x="4445" y="15"/>
                    <a:pt x="4374" y="0"/>
                    <a:pt x="43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0" name="Google Shape;10610;p79"/>
          <p:cNvGrpSpPr/>
          <p:nvPr/>
        </p:nvGrpSpPr>
        <p:grpSpPr>
          <a:xfrm>
            <a:off x="8022468" y="1531907"/>
            <a:ext cx="340807" cy="341579"/>
            <a:chOff x="-10896525" y="1663050"/>
            <a:chExt cx="352875" cy="353675"/>
          </a:xfrm>
        </p:grpSpPr>
        <p:sp>
          <p:nvSpPr>
            <p:cNvPr id="10611" name="Google Shape;10611;p79"/>
            <p:cNvSpPr/>
            <p:nvPr/>
          </p:nvSpPr>
          <p:spPr>
            <a:xfrm>
              <a:off x="-10896525" y="1663050"/>
              <a:ext cx="166200" cy="311925"/>
            </a:xfrm>
            <a:custGeom>
              <a:avLst/>
              <a:gdLst/>
              <a:ahLst/>
              <a:cxnLst/>
              <a:rect l="l" t="t" r="r" b="b"/>
              <a:pathLst>
                <a:path w="6648" h="12477" extrusionOk="0">
                  <a:moveTo>
                    <a:pt x="3308" y="820"/>
                  </a:moveTo>
                  <a:cubicBezTo>
                    <a:pt x="3781" y="820"/>
                    <a:pt x="4285" y="1230"/>
                    <a:pt x="4663" y="1923"/>
                  </a:cubicBezTo>
                  <a:lnTo>
                    <a:pt x="3308" y="2931"/>
                  </a:lnTo>
                  <a:lnTo>
                    <a:pt x="1922" y="1923"/>
                  </a:lnTo>
                  <a:cubicBezTo>
                    <a:pt x="2300" y="1230"/>
                    <a:pt x="2804" y="820"/>
                    <a:pt x="3308" y="820"/>
                  </a:cubicBezTo>
                  <a:close/>
                  <a:moveTo>
                    <a:pt x="1513" y="2679"/>
                  </a:moveTo>
                  <a:lnTo>
                    <a:pt x="2584" y="3466"/>
                  </a:lnTo>
                  <a:lnTo>
                    <a:pt x="977" y="4695"/>
                  </a:lnTo>
                  <a:cubicBezTo>
                    <a:pt x="1072" y="3939"/>
                    <a:pt x="1292" y="3277"/>
                    <a:pt x="1513" y="2679"/>
                  </a:cubicBezTo>
                  <a:close/>
                  <a:moveTo>
                    <a:pt x="5010" y="2679"/>
                  </a:moveTo>
                  <a:cubicBezTo>
                    <a:pt x="5262" y="3277"/>
                    <a:pt x="5451" y="3939"/>
                    <a:pt x="5577" y="4695"/>
                  </a:cubicBezTo>
                  <a:lnTo>
                    <a:pt x="3970" y="3466"/>
                  </a:lnTo>
                  <a:lnTo>
                    <a:pt x="5010" y="2679"/>
                  </a:lnTo>
                  <a:close/>
                  <a:moveTo>
                    <a:pt x="3308" y="4002"/>
                  </a:moveTo>
                  <a:lnTo>
                    <a:pt x="5734" y="5829"/>
                  </a:lnTo>
                  <a:lnTo>
                    <a:pt x="5734" y="5861"/>
                  </a:lnTo>
                  <a:cubicBezTo>
                    <a:pt x="5608" y="6302"/>
                    <a:pt x="5230" y="6617"/>
                    <a:pt x="4758" y="6617"/>
                  </a:cubicBezTo>
                  <a:lnTo>
                    <a:pt x="1891" y="6617"/>
                  </a:lnTo>
                  <a:cubicBezTo>
                    <a:pt x="1355" y="6617"/>
                    <a:pt x="977" y="6302"/>
                    <a:pt x="851" y="5829"/>
                  </a:cubicBezTo>
                  <a:lnTo>
                    <a:pt x="3308" y="4002"/>
                  </a:lnTo>
                  <a:close/>
                  <a:moveTo>
                    <a:pt x="756" y="7121"/>
                  </a:moveTo>
                  <a:lnTo>
                    <a:pt x="756" y="7121"/>
                  </a:lnTo>
                  <a:cubicBezTo>
                    <a:pt x="1072" y="7310"/>
                    <a:pt x="1450" y="7436"/>
                    <a:pt x="1796" y="7436"/>
                  </a:cubicBezTo>
                  <a:lnTo>
                    <a:pt x="4663" y="7436"/>
                  </a:lnTo>
                  <a:cubicBezTo>
                    <a:pt x="5073" y="7436"/>
                    <a:pt x="5419" y="7310"/>
                    <a:pt x="5703" y="7121"/>
                  </a:cubicBezTo>
                  <a:lnTo>
                    <a:pt x="5703" y="7121"/>
                  </a:lnTo>
                  <a:cubicBezTo>
                    <a:pt x="5734" y="8507"/>
                    <a:pt x="5545" y="9830"/>
                    <a:pt x="5136" y="10902"/>
                  </a:cubicBezTo>
                  <a:cubicBezTo>
                    <a:pt x="4978" y="11374"/>
                    <a:pt x="4537" y="11626"/>
                    <a:pt x="3970" y="11626"/>
                  </a:cubicBezTo>
                  <a:lnTo>
                    <a:pt x="2395" y="11626"/>
                  </a:lnTo>
                  <a:cubicBezTo>
                    <a:pt x="1954" y="11626"/>
                    <a:pt x="1544" y="11343"/>
                    <a:pt x="1387" y="10902"/>
                  </a:cubicBezTo>
                  <a:cubicBezTo>
                    <a:pt x="1009" y="9830"/>
                    <a:pt x="820" y="8507"/>
                    <a:pt x="756" y="7121"/>
                  </a:cubicBezTo>
                  <a:close/>
                  <a:moveTo>
                    <a:pt x="3308" y="1"/>
                  </a:moveTo>
                  <a:cubicBezTo>
                    <a:pt x="2269" y="1"/>
                    <a:pt x="1450" y="946"/>
                    <a:pt x="1009" y="1891"/>
                  </a:cubicBezTo>
                  <a:cubicBezTo>
                    <a:pt x="252" y="3372"/>
                    <a:pt x="0" y="5262"/>
                    <a:pt x="0" y="6932"/>
                  </a:cubicBezTo>
                  <a:cubicBezTo>
                    <a:pt x="0" y="8507"/>
                    <a:pt x="221" y="9988"/>
                    <a:pt x="662" y="11217"/>
                  </a:cubicBezTo>
                  <a:cubicBezTo>
                    <a:pt x="946" y="11973"/>
                    <a:pt x="1639" y="12477"/>
                    <a:pt x="2426" y="12477"/>
                  </a:cubicBezTo>
                  <a:lnTo>
                    <a:pt x="4002" y="12477"/>
                  </a:lnTo>
                  <a:cubicBezTo>
                    <a:pt x="4947" y="12477"/>
                    <a:pt x="5703" y="12004"/>
                    <a:pt x="5986" y="11217"/>
                  </a:cubicBezTo>
                  <a:cubicBezTo>
                    <a:pt x="6396" y="10051"/>
                    <a:pt x="6648" y="8507"/>
                    <a:pt x="6648" y="6932"/>
                  </a:cubicBezTo>
                  <a:cubicBezTo>
                    <a:pt x="6585" y="3183"/>
                    <a:pt x="5230" y="1"/>
                    <a:pt x="33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2" name="Google Shape;10612;p79"/>
            <p:cNvSpPr/>
            <p:nvPr/>
          </p:nvSpPr>
          <p:spPr>
            <a:xfrm>
              <a:off x="-10709850" y="1704025"/>
              <a:ext cx="166200" cy="312700"/>
            </a:xfrm>
            <a:custGeom>
              <a:avLst/>
              <a:gdLst/>
              <a:ahLst/>
              <a:cxnLst/>
              <a:rect l="l" t="t" r="r" b="b"/>
              <a:pathLst>
                <a:path w="6648" h="12508" extrusionOk="0">
                  <a:moveTo>
                    <a:pt x="3308" y="851"/>
                  </a:moveTo>
                  <a:cubicBezTo>
                    <a:pt x="3781" y="851"/>
                    <a:pt x="4285" y="1229"/>
                    <a:pt x="4694" y="1954"/>
                  </a:cubicBezTo>
                  <a:lnTo>
                    <a:pt x="3308" y="2962"/>
                  </a:lnTo>
                  <a:lnTo>
                    <a:pt x="1922" y="1954"/>
                  </a:lnTo>
                  <a:cubicBezTo>
                    <a:pt x="2363" y="1229"/>
                    <a:pt x="2835" y="851"/>
                    <a:pt x="3308" y="851"/>
                  </a:cubicBezTo>
                  <a:close/>
                  <a:moveTo>
                    <a:pt x="1575" y="2678"/>
                  </a:moveTo>
                  <a:lnTo>
                    <a:pt x="2646" y="3466"/>
                  </a:lnTo>
                  <a:lnTo>
                    <a:pt x="1040" y="4694"/>
                  </a:lnTo>
                  <a:cubicBezTo>
                    <a:pt x="1134" y="3938"/>
                    <a:pt x="1355" y="3277"/>
                    <a:pt x="1575" y="2678"/>
                  </a:cubicBezTo>
                  <a:close/>
                  <a:moveTo>
                    <a:pt x="5072" y="2678"/>
                  </a:moveTo>
                  <a:cubicBezTo>
                    <a:pt x="5324" y="3277"/>
                    <a:pt x="5513" y="3938"/>
                    <a:pt x="5639" y="4694"/>
                  </a:cubicBezTo>
                  <a:lnTo>
                    <a:pt x="4001" y="3466"/>
                  </a:lnTo>
                  <a:lnTo>
                    <a:pt x="5072" y="2678"/>
                  </a:lnTo>
                  <a:close/>
                  <a:moveTo>
                    <a:pt x="3308" y="4033"/>
                  </a:moveTo>
                  <a:lnTo>
                    <a:pt x="5765" y="5829"/>
                  </a:lnTo>
                  <a:lnTo>
                    <a:pt x="5765" y="5892"/>
                  </a:lnTo>
                  <a:cubicBezTo>
                    <a:pt x="5639" y="6301"/>
                    <a:pt x="5230" y="6616"/>
                    <a:pt x="4757" y="6616"/>
                  </a:cubicBezTo>
                  <a:lnTo>
                    <a:pt x="1859" y="6616"/>
                  </a:lnTo>
                  <a:cubicBezTo>
                    <a:pt x="1418" y="6616"/>
                    <a:pt x="977" y="6301"/>
                    <a:pt x="851" y="5829"/>
                  </a:cubicBezTo>
                  <a:lnTo>
                    <a:pt x="3308" y="4033"/>
                  </a:lnTo>
                  <a:close/>
                  <a:moveTo>
                    <a:pt x="819" y="7152"/>
                  </a:moveTo>
                  <a:lnTo>
                    <a:pt x="819" y="7152"/>
                  </a:lnTo>
                  <a:cubicBezTo>
                    <a:pt x="1134" y="7341"/>
                    <a:pt x="1512" y="7467"/>
                    <a:pt x="1859" y="7467"/>
                  </a:cubicBezTo>
                  <a:lnTo>
                    <a:pt x="4757" y="7467"/>
                  </a:lnTo>
                  <a:cubicBezTo>
                    <a:pt x="5167" y="7467"/>
                    <a:pt x="5513" y="7341"/>
                    <a:pt x="5797" y="7152"/>
                  </a:cubicBezTo>
                  <a:lnTo>
                    <a:pt x="5797" y="7152"/>
                  </a:lnTo>
                  <a:cubicBezTo>
                    <a:pt x="5797" y="8507"/>
                    <a:pt x="5545" y="9861"/>
                    <a:pt x="5198" y="10932"/>
                  </a:cubicBezTo>
                  <a:cubicBezTo>
                    <a:pt x="5041" y="11405"/>
                    <a:pt x="4600" y="11625"/>
                    <a:pt x="4001" y="11625"/>
                  </a:cubicBezTo>
                  <a:lnTo>
                    <a:pt x="2426" y="11625"/>
                  </a:lnTo>
                  <a:cubicBezTo>
                    <a:pt x="2016" y="11625"/>
                    <a:pt x="1607" y="11342"/>
                    <a:pt x="1449" y="10932"/>
                  </a:cubicBezTo>
                  <a:cubicBezTo>
                    <a:pt x="1071" y="9861"/>
                    <a:pt x="851" y="8507"/>
                    <a:pt x="819" y="7152"/>
                  </a:cubicBezTo>
                  <a:close/>
                  <a:moveTo>
                    <a:pt x="3308" y="0"/>
                  </a:moveTo>
                  <a:cubicBezTo>
                    <a:pt x="2174" y="0"/>
                    <a:pt x="1355" y="1103"/>
                    <a:pt x="851" y="2174"/>
                  </a:cubicBezTo>
                  <a:cubicBezTo>
                    <a:pt x="315" y="3466"/>
                    <a:pt x="0" y="5167"/>
                    <a:pt x="0" y="6931"/>
                  </a:cubicBezTo>
                  <a:cubicBezTo>
                    <a:pt x="0" y="8507"/>
                    <a:pt x="221" y="10019"/>
                    <a:pt x="662" y="11247"/>
                  </a:cubicBezTo>
                  <a:cubicBezTo>
                    <a:pt x="945" y="11972"/>
                    <a:pt x="1638" y="12508"/>
                    <a:pt x="2426" y="12508"/>
                  </a:cubicBezTo>
                  <a:lnTo>
                    <a:pt x="4001" y="12508"/>
                  </a:lnTo>
                  <a:cubicBezTo>
                    <a:pt x="4978" y="12508"/>
                    <a:pt x="5702" y="12035"/>
                    <a:pt x="5986" y="11247"/>
                  </a:cubicBezTo>
                  <a:cubicBezTo>
                    <a:pt x="6427" y="10050"/>
                    <a:pt x="6648" y="8507"/>
                    <a:pt x="6648" y="6931"/>
                  </a:cubicBezTo>
                  <a:cubicBezTo>
                    <a:pt x="6616" y="3214"/>
                    <a:pt x="5293"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3" name="Google Shape;10613;p79"/>
          <p:cNvSpPr/>
          <p:nvPr/>
        </p:nvSpPr>
        <p:spPr>
          <a:xfrm>
            <a:off x="8061643" y="1939659"/>
            <a:ext cx="262456" cy="341724"/>
          </a:xfrm>
          <a:custGeom>
            <a:avLst/>
            <a:gdLst/>
            <a:ahLst/>
            <a:cxnLst/>
            <a:rect l="l" t="t" r="r" b="b"/>
            <a:pathLst>
              <a:path w="10870" h="14153" extrusionOk="0">
                <a:moveTo>
                  <a:pt x="8286" y="1702"/>
                </a:moveTo>
                <a:lnTo>
                  <a:pt x="8286" y="4222"/>
                </a:lnTo>
                <a:lnTo>
                  <a:pt x="2521" y="4222"/>
                </a:lnTo>
                <a:lnTo>
                  <a:pt x="2521" y="1702"/>
                </a:lnTo>
                <a:close/>
                <a:moveTo>
                  <a:pt x="8286" y="5041"/>
                </a:moveTo>
                <a:lnTo>
                  <a:pt x="8286" y="6680"/>
                </a:lnTo>
                <a:lnTo>
                  <a:pt x="2521" y="6680"/>
                </a:lnTo>
                <a:lnTo>
                  <a:pt x="2521" y="5041"/>
                </a:lnTo>
                <a:close/>
                <a:moveTo>
                  <a:pt x="1733" y="5262"/>
                </a:moveTo>
                <a:lnTo>
                  <a:pt x="1733" y="6680"/>
                </a:lnTo>
                <a:lnTo>
                  <a:pt x="1292" y="6680"/>
                </a:lnTo>
                <a:cubicBezTo>
                  <a:pt x="1134" y="6680"/>
                  <a:pt x="1008" y="6711"/>
                  <a:pt x="914" y="6774"/>
                </a:cubicBezTo>
                <a:lnTo>
                  <a:pt x="914" y="5703"/>
                </a:lnTo>
                <a:lnTo>
                  <a:pt x="1733" y="5262"/>
                </a:lnTo>
                <a:close/>
                <a:moveTo>
                  <a:pt x="9137" y="5262"/>
                </a:moveTo>
                <a:lnTo>
                  <a:pt x="9956" y="5703"/>
                </a:lnTo>
                <a:lnTo>
                  <a:pt x="9956" y="6774"/>
                </a:lnTo>
                <a:cubicBezTo>
                  <a:pt x="9830" y="6743"/>
                  <a:pt x="9672" y="6680"/>
                  <a:pt x="9515" y="6680"/>
                </a:cubicBezTo>
                <a:lnTo>
                  <a:pt x="9137" y="6680"/>
                </a:lnTo>
                <a:lnTo>
                  <a:pt x="9137" y="5262"/>
                </a:lnTo>
                <a:close/>
                <a:moveTo>
                  <a:pt x="9578" y="7467"/>
                </a:moveTo>
                <a:cubicBezTo>
                  <a:pt x="9798" y="7467"/>
                  <a:pt x="9987" y="7688"/>
                  <a:pt x="9987" y="7908"/>
                </a:cubicBezTo>
                <a:cubicBezTo>
                  <a:pt x="9956" y="8160"/>
                  <a:pt x="9798" y="8349"/>
                  <a:pt x="9578" y="8349"/>
                </a:cubicBezTo>
                <a:lnTo>
                  <a:pt x="1292" y="8349"/>
                </a:lnTo>
                <a:cubicBezTo>
                  <a:pt x="1071" y="8349"/>
                  <a:pt x="914" y="8160"/>
                  <a:pt x="914" y="7908"/>
                </a:cubicBezTo>
                <a:cubicBezTo>
                  <a:pt x="914" y="7688"/>
                  <a:pt x="1103" y="7467"/>
                  <a:pt x="1292" y="7467"/>
                </a:cubicBezTo>
                <a:close/>
                <a:moveTo>
                  <a:pt x="7467" y="9169"/>
                </a:moveTo>
                <a:lnTo>
                  <a:pt x="5419" y="10712"/>
                </a:lnTo>
                <a:lnTo>
                  <a:pt x="3340" y="9169"/>
                </a:lnTo>
                <a:close/>
                <a:moveTo>
                  <a:pt x="2048" y="1"/>
                </a:moveTo>
                <a:cubicBezTo>
                  <a:pt x="1796" y="1"/>
                  <a:pt x="1638" y="190"/>
                  <a:pt x="1638" y="442"/>
                </a:cubicBezTo>
                <a:lnTo>
                  <a:pt x="1638" y="4380"/>
                </a:lnTo>
                <a:lnTo>
                  <a:pt x="221" y="5073"/>
                </a:lnTo>
                <a:cubicBezTo>
                  <a:pt x="63" y="5167"/>
                  <a:pt x="0" y="5325"/>
                  <a:pt x="0" y="5419"/>
                </a:cubicBezTo>
                <a:lnTo>
                  <a:pt x="0" y="7908"/>
                </a:lnTo>
                <a:cubicBezTo>
                  <a:pt x="0" y="8570"/>
                  <a:pt x="536" y="9137"/>
                  <a:pt x="1260" y="9137"/>
                </a:cubicBezTo>
                <a:lnTo>
                  <a:pt x="1953" y="9137"/>
                </a:lnTo>
                <a:lnTo>
                  <a:pt x="4726" y="11216"/>
                </a:lnTo>
                <a:lnTo>
                  <a:pt x="1859" y="13390"/>
                </a:lnTo>
                <a:cubicBezTo>
                  <a:pt x="1638" y="13516"/>
                  <a:pt x="1607" y="13768"/>
                  <a:pt x="1764" y="13989"/>
                </a:cubicBezTo>
                <a:cubicBezTo>
                  <a:pt x="1836" y="14096"/>
                  <a:pt x="1958" y="14153"/>
                  <a:pt x="2085" y="14153"/>
                </a:cubicBezTo>
                <a:cubicBezTo>
                  <a:pt x="2182" y="14153"/>
                  <a:pt x="2281" y="14120"/>
                  <a:pt x="2363" y="14052"/>
                </a:cubicBezTo>
                <a:lnTo>
                  <a:pt x="5419" y="11783"/>
                </a:lnTo>
                <a:lnTo>
                  <a:pt x="8506" y="14052"/>
                </a:lnTo>
                <a:cubicBezTo>
                  <a:pt x="8591" y="14108"/>
                  <a:pt x="8689" y="14140"/>
                  <a:pt x="8785" y="14140"/>
                </a:cubicBezTo>
                <a:cubicBezTo>
                  <a:pt x="8903" y="14140"/>
                  <a:pt x="9018" y="14093"/>
                  <a:pt x="9105" y="13989"/>
                </a:cubicBezTo>
                <a:cubicBezTo>
                  <a:pt x="9200" y="13768"/>
                  <a:pt x="9200" y="13548"/>
                  <a:pt x="9011" y="13390"/>
                </a:cubicBezTo>
                <a:lnTo>
                  <a:pt x="6144" y="11216"/>
                </a:lnTo>
                <a:lnTo>
                  <a:pt x="8885" y="9137"/>
                </a:lnTo>
                <a:lnTo>
                  <a:pt x="9609" y="9137"/>
                </a:lnTo>
                <a:cubicBezTo>
                  <a:pt x="10271" y="9137"/>
                  <a:pt x="10869" y="8570"/>
                  <a:pt x="10869" y="7908"/>
                </a:cubicBezTo>
                <a:lnTo>
                  <a:pt x="10869" y="5419"/>
                </a:lnTo>
                <a:cubicBezTo>
                  <a:pt x="10869" y="5262"/>
                  <a:pt x="10775" y="5104"/>
                  <a:pt x="10617" y="5073"/>
                </a:cubicBezTo>
                <a:lnTo>
                  <a:pt x="9200" y="4380"/>
                </a:lnTo>
                <a:lnTo>
                  <a:pt x="9200" y="442"/>
                </a:lnTo>
                <a:lnTo>
                  <a:pt x="9137" y="442"/>
                </a:lnTo>
                <a:cubicBezTo>
                  <a:pt x="9137" y="190"/>
                  <a:pt x="8916" y="1"/>
                  <a:pt x="8695" y="1"/>
                </a:cubicBezTo>
                <a:cubicBezTo>
                  <a:pt x="8475" y="1"/>
                  <a:pt x="8254" y="190"/>
                  <a:pt x="8254" y="442"/>
                </a:cubicBezTo>
                <a:lnTo>
                  <a:pt x="8254" y="820"/>
                </a:lnTo>
                <a:lnTo>
                  <a:pt x="2489" y="820"/>
                </a:lnTo>
                <a:lnTo>
                  <a:pt x="2489" y="442"/>
                </a:lnTo>
                <a:cubicBezTo>
                  <a:pt x="2489" y="190"/>
                  <a:pt x="2268"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79"/>
          <p:cNvGrpSpPr/>
          <p:nvPr/>
        </p:nvGrpSpPr>
        <p:grpSpPr>
          <a:xfrm>
            <a:off x="8022082" y="2359342"/>
            <a:ext cx="341579" cy="319511"/>
            <a:chOff x="-10898100" y="2542050"/>
            <a:chExt cx="353675" cy="330825"/>
          </a:xfrm>
        </p:grpSpPr>
        <p:sp>
          <p:nvSpPr>
            <p:cNvPr id="10615" name="Google Shape;10615;p79"/>
            <p:cNvSpPr/>
            <p:nvPr/>
          </p:nvSpPr>
          <p:spPr>
            <a:xfrm>
              <a:off x="-10772875" y="2583800"/>
              <a:ext cx="82725" cy="82725"/>
            </a:xfrm>
            <a:custGeom>
              <a:avLst/>
              <a:gdLst/>
              <a:ahLst/>
              <a:cxnLst/>
              <a:rect l="l" t="t" r="r" b="b"/>
              <a:pathLst>
                <a:path w="3309" h="3309" extrusionOk="0">
                  <a:moveTo>
                    <a:pt x="1639" y="819"/>
                  </a:moveTo>
                  <a:cubicBezTo>
                    <a:pt x="2111" y="819"/>
                    <a:pt x="2490" y="1166"/>
                    <a:pt x="2490" y="1638"/>
                  </a:cubicBezTo>
                  <a:cubicBezTo>
                    <a:pt x="2490" y="2111"/>
                    <a:pt x="2111" y="2457"/>
                    <a:pt x="1639" y="2457"/>
                  </a:cubicBezTo>
                  <a:cubicBezTo>
                    <a:pt x="1166"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79"/>
            <p:cNvSpPr/>
            <p:nvPr/>
          </p:nvSpPr>
          <p:spPr>
            <a:xfrm>
              <a:off x="-10772875" y="2749200"/>
              <a:ext cx="82725" cy="81950"/>
            </a:xfrm>
            <a:custGeom>
              <a:avLst/>
              <a:gdLst/>
              <a:ahLst/>
              <a:cxnLst/>
              <a:rect l="l" t="t" r="r" b="b"/>
              <a:pathLst>
                <a:path w="3309" h="3278" extrusionOk="0">
                  <a:moveTo>
                    <a:pt x="1639" y="819"/>
                  </a:moveTo>
                  <a:cubicBezTo>
                    <a:pt x="2111" y="819"/>
                    <a:pt x="2490" y="1166"/>
                    <a:pt x="2490" y="1638"/>
                  </a:cubicBezTo>
                  <a:cubicBezTo>
                    <a:pt x="2490" y="2111"/>
                    <a:pt x="2111" y="2457"/>
                    <a:pt x="1639" y="2457"/>
                  </a:cubicBezTo>
                  <a:cubicBezTo>
                    <a:pt x="1229" y="2457"/>
                    <a:pt x="820" y="2079"/>
                    <a:pt x="820" y="1638"/>
                  </a:cubicBezTo>
                  <a:cubicBezTo>
                    <a:pt x="820" y="1166"/>
                    <a:pt x="1198" y="819"/>
                    <a:pt x="1639" y="819"/>
                  </a:cubicBezTo>
                  <a:close/>
                  <a:moveTo>
                    <a:pt x="1639" y="0"/>
                  </a:moveTo>
                  <a:cubicBezTo>
                    <a:pt x="757" y="0"/>
                    <a:pt x="1" y="725"/>
                    <a:pt x="1" y="1638"/>
                  </a:cubicBezTo>
                  <a:cubicBezTo>
                    <a:pt x="1" y="2552"/>
                    <a:pt x="757" y="3277"/>
                    <a:pt x="1639" y="3277"/>
                  </a:cubicBezTo>
                  <a:cubicBezTo>
                    <a:pt x="1658" y="3277"/>
                    <a:pt x="1677" y="3278"/>
                    <a:pt x="1696" y="3278"/>
                  </a:cubicBezTo>
                  <a:cubicBezTo>
                    <a:pt x="2613" y="3278"/>
                    <a:pt x="3309" y="2534"/>
                    <a:pt x="3309" y="1638"/>
                  </a:cubicBezTo>
                  <a:cubicBezTo>
                    <a:pt x="3309" y="725"/>
                    <a:pt x="2553"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7" name="Google Shape;10617;p79"/>
            <p:cNvSpPr/>
            <p:nvPr/>
          </p:nvSpPr>
          <p:spPr>
            <a:xfrm>
              <a:off x="-10855575" y="2666500"/>
              <a:ext cx="82725" cy="81925"/>
            </a:xfrm>
            <a:custGeom>
              <a:avLst/>
              <a:gdLst/>
              <a:ahLst/>
              <a:cxnLst/>
              <a:rect l="l" t="t" r="r" b="b"/>
              <a:pathLst>
                <a:path w="3309" h="3277" extrusionOk="0">
                  <a:moveTo>
                    <a:pt x="1670" y="819"/>
                  </a:moveTo>
                  <a:cubicBezTo>
                    <a:pt x="2143" y="819"/>
                    <a:pt x="2490" y="1166"/>
                    <a:pt x="2490" y="1638"/>
                  </a:cubicBezTo>
                  <a:cubicBezTo>
                    <a:pt x="2490" y="2079"/>
                    <a:pt x="2111" y="2457"/>
                    <a:pt x="1670" y="2457"/>
                  </a:cubicBezTo>
                  <a:cubicBezTo>
                    <a:pt x="1166" y="2457"/>
                    <a:pt x="820" y="2111"/>
                    <a:pt x="820" y="1638"/>
                  </a:cubicBezTo>
                  <a:cubicBezTo>
                    <a:pt x="820" y="1166"/>
                    <a:pt x="1198" y="819"/>
                    <a:pt x="1670" y="819"/>
                  </a:cubicBezTo>
                  <a:close/>
                  <a:moveTo>
                    <a:pt x="1670" y="0"/>
                  </a:moveTo>
                  <a:cubicBezTo>
                    <a:pt x="757" y="0"/>
                    <a:pt x="1" y="725"/>
                    <a:pt x="1" y="1638"/>
                  </a:cubicBezTo>
                  <a:cubicBezTo>
                    <a:pt x="1" y="2552"/>
                    <a:pt x="757" y="3277"/>
                    <a:pt x="1670" y="3277"/>
                  </a:cubicBezTo>
                  <a:cubicBezTo>
                    <a:pt x="2553" y="3277"/>
                    <a:pt x="3309" y="2552"/>
                    <a:pt x="3309" y="1638"/>
                  </a:cubicBezTo>
                  <a:cubicBezTo>
                    <a:pt x="3309" y="725"/>
                    <a:pt x="2584"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8" name="Google Shape;10618;p79"/>
            <p:cNvSpPr/>
            <p:nvPr/>
          </p:nvSpPr>
          <p:spPr>
            <a:xfrm>
              <a:off x="-10690175" y="2666500"/>
              <a:ext cx="82725" cy="82725"/>
            </a:xfrm>
            <a:custGeom>
              <a:avLst/>
              <a:gdLst/>
              <a:ahLst/>
              <a:cxnLst/>
              <a:rect l="l" t="t" r="r" b="b"/>
              <a:pathLst>
                <a:path w="3309" h="3309" extrusionOk="0">
                  <a:moveTo>
                    <a:pt x="1639" y="819"/>
                  </a:moveTo>
                  <a:cubicBezTo>
                    <a:pt x="2143" y="819"/>
                    <a:pt x="2490" y="1166"/>
                    <a:pt x="2490" y="1638"/>
                  </a:cubicBezTo>
                  <a:cubicBezTo>
                    <a:pt x="2490" y="2111"/>
                    <a:pt x="2112" y="2457"/>
                    <a:pt x="1639" y="2457"/>
                  </a:cubicBezTo>
                  <a:cubicBezTo>
                    <a:pt x="1198"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79"/>
            <p:cNvSpPr/>
            <p:nvPr/>
          </p:nvSpPr>
          <p:spPr>
            <a:xfrm>
              <a:off x="-10752400" y="2686975"/>
              <a:ext cx="41775" cy="40975"/>
            </a:xfrm>
            <a:custGeom>
              <a:avLst/>
              <a:gdLst/>
              <a:ahLst/>
              <a:cxnLst/>
              <a:rect l="l" t="t" r="r" b="b"/>
              <a:pathLst>
                <a:path w="1671" h="1639" extrusionOk="0">
                  <a:moveTo>
                    <a:pt x="851" y="0"/>
                  </a:moveTo>
                  <a:cubicBezTo>
                    <a:pt x="379" y="0"/>
                    <a:pt x="1" y="378"/>
                    <a:pt x="1" y="819"/>
                  </a:cubicBezTo>
                  <a:cubicBezTo>
                    <a:pt x="1" y="1260"/>
                    <a:pt x="379" y="1638"/>
                    <a:pt x="851" y="1638"/>
                  </a:cubicBezTo>
                  <a:cubicBezTo>
                    <a:pt x="1292" y="1638"/>
                    <a:pt x="1671" y="1260"/>
                    <a:pt x="1671" y="819"/>
                  </a:cubicBezTo>
                  <a:cubicBezTo>
                    <a:pt x="1671" y="378"/>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0" name="Google Shape;10620;p79"/>
            <p:cNvSpPr/>
            <p:nvPr/>
          </p:nvSpPr>
          <p:spPr>
            <a:xfrm>
              <a:off x="-10898100" y="2542050"/>
              <a:ext cx="353675" cy="330825"/>
            </a:xfrm>
            <a:custGeom>
              <a:avLst/>
              <a:gdLst/>
              <a:ahLst/>
              <a:cxnLst/>
              <a:rect l="l" t="t" r="r" b="b"/>
              <a:pathLst>
                <a:path w="14147" h="13233" extrusionOk="0">
                  <a:moveTo>
                    <a:pt x="6711" y="819"/>
                  </a:moveTo>
                  <a:cubicBezTo>
                    <a:pt x="9893" y="819"/>
                    <a:pt x="12476" y="3434"/>
                    <a:pt x="12476" y="6616"/>
                  </a:cubicBezTo>
                  <a:cubicBezTo>
                    <a:pt x="12476" y="9798"/>
                    <a:pt x="9893" y="12413"/>
                    <a:pt x="6711" y="12413"/>
                  </a:cubicBezTo>
                  <a:cubicBezTo>
                    <a:pt x="3466" y="12413"/>
                    <a:pt x="883" y="9798"/>
                    <a:pt x="883" y="6616"/>
                  </a:cubicBezTo>
                  <a:cubicBezTo>
                    <a:pt x="883" y="3434"/>
                    <a:pt x="3466" y="819"/>
                    <a:pt x="6711" y="819"/>
                  </a:cubicBezTo>
                  <a:close/>
                  <a:moveTo>
                    <a:pt x="13358" y="10743"/>
                  </a:moveTo>
                  <a:lnTo>
                    <a:pt x="13358" y="12413"/>
                  </a:lnTo>
                  <a:lnTo>
                    <a:pt x="9893" y="12413"/>
                  </a:lnTo>
                  <a:cubicBezTo>
                    <a:pt x="10649" y="12004"/>
                    <a:pt x="11311" y="11468"/>
                    <a:pt x="11846" y="10743"/>
                  </a:cubicBezTo>
                  <a:close/>
                  <a:moveTo>
                    <a:pt x="6648" y="0"/>
                  </a:moveTo>
                  <a:cubicBezTo>
                    <a:pt x="2993" y="0"/>
                    <a:pt x="0" y="2962"/>
                    <a:pt x="0" y="6616"/>
                  </a:cubicBezTo>
                  <a:cubicBezTo>
                    <a:pt x="0" y="10082"/>
                    <a:pt x="2678" y="12917"/>
                    <a:pt x="6112" y="13201"/>
                  </a:cubicBezTo>
                  <a:cubicBezTo>
                    <a:pt x="6144" y="13201"/>
                    <a:pt x="6175" y="13232"/>
                    <a:pt x="6238" y="13232"/>
                  </a:cubicBezTo>
                  <a:lnTo>
                    <a:pt x="13705" y="13232"/>
                  </a:lnTo>
                  <a:cubicBezTo>
                    <a:pt x="13957" y="13232"/>
                    <a:pt x="14146" y="13043"/>
                    <a:pt x="14146" y="12791"/>
                  </a:cubicBezTo>
                  <a:lnTo>
                    <a:pt x="14146" y="10302"/>
                  </a:lnTo>
                  <a:cubicBezTo>
                    <a:pt x="14146" y="10082"/>
                    <a:pt x="13957" y="9924"/>
                    <a:pt x="13737" y="9924"/>
                  </a:cubicBezTo>
                  <a:lnTo>
                    <a:pt x="12413" y="9924"/>
                  </a:lnTo>
                  <a:cubicBezTo>
                    <a:pt x="13012" y="8948"/>
                    <a:pt x="13264" y="7814"/>
                    <a:pt x="13264" y="6616"/>
                  </a:cubicBezTo>
                  <a:cubicBezTo>
                    <a:pt x="13264" y="2962"/>
                    <a:pt x="10334"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21" name="Google Shape;10621;p79"/>
          <p:cNvGrpSpPr/>
          <p:nvPr/>
        </p:nvGrpSpPr>
        <p:grpSpPr>
          <a:xfrm>
            <a:off x="6209617" y="2780207"/>
            <a:ext cx="340058" cy="339430"/>
            <a:chOff x="-9157450" y="1622750"/>
            <a:chExt cx="352100" cy="351450"/>
          </a:xfrm>
        </p:grpSpPr>
        <p:sp>
          <p:nvSpPr>
            <p:cNvPr id="10622" name="Google Shape;10622;p79"/>
            <p:cNvSpPr/>
            <p:nvPr/>
          </p:nvSpPr>
          <p:spPr>
            <a:xfrm>
              <a:off x="-9034575" y="1706075"/>
              <a:ext cx="229225" cy="268125"/>
            </a:xfrm>
            <a:custGeom>
              <a:avLst/>
              <a:gdLst/>
              <a:ahLst/>
              <a:cxnLst/>
              <a:rect l="l" t="t" r="r" b="b"/>
              <a:pathLst>
                <a:path w="9169" h="10725" extrusionOk="0">
                  <a:moveTo>
                    <a:pt x="8317" y="989"/>
                  </a:moveTo>
                  <a:lnTo>
                    <a:pt x="8317" y="1777"/>
                  </a:lnTo>
                  <a:lnTo>
                    <a:pt x="3308" y="3195"/>
                  </a:lnTo>
                  <a:lnTo>
                    <a:pt x="3308" y="2407"/>
                  </a:lnTo>
                  <a:lnTo>
                    <a:pt x="8317" y="989"/>
                  </a:lnTo>
                  <a:close/>
                  <a:moveTo>
                    <a:pt x="7498" y="6629"/>
                  </a:moveTo>
                  <a:cubicBezTo>
                    <a:pt x="7971" y="6629"/>
                    <a:pt x="8317" y="6975"/>
                    <a:pt x="8317" y="7448"/>
                  </a:cubicBezTo>
                  <a:cubicBezTo>
                    <a:pt x="8317" y="7920"/>
                    <a:pt x="7971" y="8267"/>
                    <a:pt x="7498" y="8267"/>
                  </a:cubicBezTo>
                  <a:cubicBezTo>
                    <a:pt x="7026" y="8267"/>
                    <a:pt x="6679" y="7920"/>
                    <a:pt x="6679" y="7448"/>
                  </a:cubicBezTo>
                  <a:cubicBezTo>
                    <a:pt x="6679" y="6975"/>
                    <a:pt x="7026" y="6629"/>
                    <a:pt x="7498" y="6629"/>
                  </a:cubicBezTo>
                  <a:close/>
                  <a:moveTo>
                    <a:pt x="1670" y="8267"/>
                  </a:moveTo>
                  <a:cubicBezTo>
                    <a:pt x="2142" y="8267"/>
                    <a:pt x="2489" y="8645"/>
                    <a:pt x="2489" y="9118"/>
                  </a:cubicBezTo>
                  <a:cubicBezTo>
                    <a:pt x="2489" y="9590"/>
                    <a:pt x="2111" y="9937"/>
                    <a:pt x="1670" y="9937"/>
                  </a:cubicBezTo>
                  <a:cubicBezTo>
                    <a:pt x="1197" y="9937"/>
                    <a:pt x="851" y="9590"/>
                    <a:pt x="851" y="9118"/>
                  </a:cubicBezTo>
                  <a:cubicBezTo>
                    <a:pt x="851" y="8645"/>
                    <a:pt x="1197" y="8267"/>
                    <a:pt x="1670" y="8267"/>
                  </a:cubicBezTo>
                  <a:close/>
                  <a:moveTo>
                    <a:pt x="8733" y="0"/>
                  </a:moveTo>
                  <a:cubicBezTo>
                    <a:pt x="8700" y="0"/>
                    <a:pt x="8666" y="4"/>
                    <a:pt x="8632" y="13"/>
                  </a:cubicBezTo>
                  <a:lnTo>
                    <a:pt x="2804" y="1651"/>
                  </a:lnTo>
                  <a:cubicBezTo>
                    <a:pt x="2615" y="1714"/>
                    <a:pt x="2489" y="1872"/>
                    <a:pt x="2489" y="2061"/>
                  </a:cubicBezTo>
                  <a:lnTo>
                    <a:pt x="2489" y="7637"/>
                  </a:lnTo>
                  <a:cubicBezTo>
                    <a:pt x="2268" y="7479"/>
                    <a:pt x="1985" y="7416"/>
                    <a:pt x="1670" y="7416"/>
                  </a:cubicBezTo>
                  <a:cubicBezTo>
                    <a:pt x="756" y="7416"/>
                    <a:pt x="0" y="8172"/>
                    <a:pt x="0" y="9055"/>
                  </a:cubicBezTo>
                  <a:cubicBezTo>
                    <a:pt x="0" y="9968"/>
                    <a:pt x="756" y="10724"/>
                    <a:pt x="1670" y="10724"/>
                  </a:cubicBezTo>
                  <a:cubicBezTo>
                    <a:pt x="2584" y="10724"/>
                    <a:pt x="3340" y="9968"/>
                    <a:pt x="3340" y="9055"/>
                  </a:cubicBezTo>
                  <a:lnTo>
                    <a:pt x="3340" y="3982"/>
                  </a:lnTo>
                  <a:lnTo>
                    <a:pt x="8317" y="2565"/>
                  </a:lnTo>
                  <a:lnTo>
                    <a:pt x="8317" y="5967"/>
                  </a:lnTo>
                  <a:cubicBezTo>
                    <a:pt x="8097" y="5810"/>
                    <a:pt x="7813" y="5715"/>
                    <a:pt x="7498" y="5715"/>
                  </a:cubicBezTo>
                  <a:cubicBezTo>
                    <a:pt x="6585" y="5715"/>
                    <a:pt x="5860" y="6471"/>
                    <a:pt x="5860" y="7385"/>
                  </a:cubicBezTo>
                  <a:cubicBezTo>
                    <a:pt x="5860" y="8267"/>
                    <a:pt x="6585" y="9023"/>
                    <a:pt x="7498" y="9023"/>
                  </a:cubicBezTo>
                  <a:cubicBezTo>
                    <a:pt x="8412" y="9023"/>
                    <a:pt x="9168" y="8267"/>
                    <a:pt x="9168" y="7385"/>
                  </a:cubicBezTo>
                  <a:lnTo>
                    <a:pt x="9168" y="359"/>
                  </a:lnTo>
                  <a:cubicBezTo>
                    <a:pt x="9137" y="296"/>
                    <a:pt x="9105" y="170"/>
                    <a:pt x="8979" y="76"/>
                  </a:cubicBezTo>
                  <a:cubicBezTo>
                    <a:pt x="8910" y="30"/>
                    <a:pt x="8824" y="0"/>
                    <a:pt x="8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3" name="Google Shape;10623;p79"/>
            <p:cNvSpPr/>
            <p:nvPr/>
          </p:nvSpPr>
          <p:spPr>
            <a:xfrm>
              <a:off x="-9157450" y="1622750"/>
              <a:ext cx="164625" cy="249850"/>
            </a:xfrm>
            <a:custGeom>
              <a:avLst/>
              <a:gdLst/>
              <a:ahLst/>
              <a:cxnLst/>
              <a:rect l="l" t="t" r="r" b="b"/>
              <a:pathLst>
                <a:path w="6585" h="9994" extrusionOk="0">
                  <a:moveTo>
                    <a:pt x="1607" y="7473"/>
                  </a:moveTo>
                  <a:cubicBezTo>
                    <a:pt x="2080" y="7473"/>
                    <a:pt x="2458" y="7819"/>
                    <a:pt x="2458" y="8292"/>
                  </a:cubicBezTo>
                  <a:cubicBezTo>
                    <a:pt x="2458" y="8765"/>
                    <a:pt x="2048" y="9143"/>
                    <a:pt x="1607" y="9143"/>
                  </a:cubicBezTo>
                  <a:cubicBezTo>
                    <a:pt x="1135" y="9143"/>
                    <a:pt x="788" y="8765"/>
                    <a:pt x="788" y="8292"/>
                  </a:cubicBezTo>
                  <a:cubicBezTo>
                    <a:pt x="788" y="7819"/>
                    <a:pt x="1135" y="7473"/>
                    <a:pt x="1607" y="7473"/>
                  </a:cubicBezTo>
                  <a:close/>
                  <a:moveTo>
                    <a:pt x="2922" y="0"/>
                  </a:moveTo>
                  <a:cubicBezTo>
                    <a:pt x="2874" y="0"/>
                    <a:pt x="2825" y="12"/>
                    <a:pt x="2773" y="38"/>
                  </a:cubicBezTo>
                  <a:cubicBezTo>
                    <a:pt x="2615" y="69"/>
                    <a:pt x="2489" y="227"/>
                    <a:pt x="2489" y="416"/>
                  </a:cubicBezTo>
                  <a:lnTo>
                    <a:pt x="2489" y="6906"/>
                  </a:lnTo>
                  <a:cubicBezTo>
                    <a:pt x="2237" y="6748"/>
                    <a:pt x="1985" y="6685"/>
                    <a:pt x="1670" y="6685"/>
                  </a:cubicBezTo>
                  <a:cubicBezTo>
                    <a:pt x="756" y="6685"/>
                    <a:pt x="0" y="7441"/>
                    <a:pt x="0" y="8355"/>
                  </a:cubicBezTo>
                  <a:cubicBezTo>
                    <a:pt x="0" y="9237"/>
                    <a:pt x="756" y="9993"/>
                    <a:pt x="1670" y="9993"/>
                  </a:cubicBezTo>
                  <a:cubicBezTo>
                    <a:pt x="2552" y="9993"/>
                    <a:pt x="3308" y="9237"/>
                    <a:pt x="3308" y="8355"/>
                  </a:cubicBezTo>
                  <a:lnTo>
                    <a:pt x="3308" y="1739"/>
                  </a:lnTo>
                  <a:cubicBezTo>
                    <a:pt x="3812" y="2369"/>
                    <a:pt x="4443" y="2999"/>
                    <a:pt x="5293" y="3566"/>
                  </a:cubicBezTo>
                  <a:cubicBezTo>
                    <a:pt x="5608" y="3818"/>
                    <a:pt x="5797" y="4165"/>
                    <a:pt x="5797" y="4574"/>
                  </a:cubicBezTo>
                  <a:cubicBezTo>
                    <a:pt x="5797" y="5236"/>
                    <a:pt x="5230" y="5835"/>
                    <a:pt x="4569" y="5835"/>
                  </a:cubicBezTo>
                  <a:cubicBezTo>
                    <a:pt x="4348" y="5835"/>
                    <a:pt x="4190" y="6024"/>
                    <a:pt x="4190" y="6244"/>
                  </a:cubicBezTo>
                  <a:cubicBezTo>
                    <a:pt x="4190" y="6496"/>
                    <a:pt x="4380" y="6654"/>
                    <a:pt x="4569" y="6654"/>
                  </a:cubicBezTo>
                  <a:cubicBezTo>
                    <a:pt x="5640" y="6654"/>
                    <a:pt x="6585" y="5740"/>
                    <a:pt x="6585" y="4606"/>
                  </a:cubicBezTo>
                  <a:cubicBezTo>
                    <a:pt x="6585" y="3944"/>
                    <a:pt x="6270" y="3314"/>
                    <a:pt x="5766" y="2936"/>
                  </a:cubicBezTo>
                  <a:cubicBezTo>
                    <a:pt x="4852" y="2275"/>
                    <a:pt x="4190" y="1613"/>
                    <a:pt x="3718" y="888"/>
                  </a:cubicBezTo>
                  <a:lnTo>
                    <a:pt x="3245" y="195"/>
                  </a:lnTo>
                  <a:cubicBezTo>
                    <a:pt x="3154" y="81"/>
                    <a:pt x="3046" y="0"/>
                    <a:pt x="2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24" name="Google Shape;10624;p79"/>
          <p:cNvGrpSpPr/>
          <p:nvPr/>
        </p:nvGrpSpPr>
        <p:grpSpPr>
          <a:xfrm>
            <a:off x="6247658" y="3188474"/>
            <a:ext cx="263977" cy="338537"/>
            <a:chOff x="-9119650" y="2056875"/>
            <a:chExt cx="273325" cy="350525"/>
          </a:xfrm>
        </p:grpSpPr>
        <p:sp>
          <p:nvSpPr>
            <p:cNvPr id="10625" name="Google Shape;10625;p79"/>
            <p:cNvSpPr/>
            <p:nvPr/>
          </p:nvSpPr>
          <p:spPr>
            <a:xfrm>
              <a:off x="-9023550" y="2056875"/>
              <a:ext cx="82725" cy="82725"/>
            </a:xfrm>
            <a:custGeom>
              <a:avLst/>
              <a:gdLst/>
              <a:ahLst/>
              <a:cxnLst/>
              <a:rect l="l" t="t" r="r" b="b"/>
              <a:pathLst>
                <a:path w="3309" h="3309" extrusionOk="0">
                  <a:moveTo>
                    <a:pt x="1670" y="819"/>
                  </a:moveTo>
                  <a:cubicBezTo>
                    <a:pt x="2143" y="819"/>
                    <a:pt x="2489" y="1166"/>
                    <a:pt x="2489" y="1639"/>
                  </a:cubicBezTo>
                  <a:cubicBezTo>
                    <a:pt x="2489" y="2080"/>
                    <a:pt x="2143" y="2489"/>
                    <a:pt x="1670" y="2489"/>
                  </a:cubicBezTo>
                  <a:cubicBezTo>
                    <a:pt x="1197" y="2489"/>
                    <a:pt x="819" y="2111"/>
                    <a:pt x="819" y="1639"/>
                  </a:cubicBezTo>
                  <a:cubicBezTo>
                    <a:pt x="819" y="1166"/>
                    <a:pt x="1197" y="819"/>
                    <a:pt x="1670" y="819"/>
                  </a:cubicBezTo>
                  <a:close/>
                  <a:moveTo>
                    <a:pt x="1670" y="0"/>
                  </a:moveTo>
                  <a:cubicBezTo>
                    <a:pt x="756" y="0"/>
                    <a:pt x="0" y="756"/>
                    <a:pt x="0" y="1639"/>
                  </a:cubicBezTo>
                  <a:cubicBezTo>
                    <a:pt x="0" y="2552"/>
                    <a:pt x="756" y="3308"/>
                    <a:pt x="1670" y="3308"/>
                  </a:cubicBezTo>
                  <a:cubicBezTo>
                    <a:pt x="2552" y="3308"/>
                    <a:pt x="3308" y="2552"/>
                    <a:pt x="3308" y="1639"/>
                  </a:cubicBezTo>
                  <a:cubicBezTo>
                    <a:pt x="3308" y="756"/>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6" name="Google Shape;10626;p79"/>
            <p:cNvSpPr/>
            <p:nvPr/>
          </p:nvSpPr>
          <p:spPr>
            <a:xfrm>
              <a:off x="-9119650" y="2137200"/>
              <a:ext cx="273325" cy="270200"/>
            </a:xfrm>
            <a:custGeom>
              <a:avLst/>
              <a:gdLst/>
              <a:ahLst/>
              <a:cxnLst/>
              <a:rect l="l" t="t" r="r" b="b"/>
              <a:pathLst>
                <a:path w="10933" h="10808" extrusionOk="0">
                  <a:moveTo>
                    <a:pt x="9641" y="915"/>
                  </a:moveTo>
                  <a:cubicBezTo>
                    <a:pt x="9862" y="915"/>
                    <a:pt x="10082" y="1104"/>
                    <a:pt x="10082" y="1356"/>
                  </a:cubicBezTo>
                  <a:cubicBezTo>
                    <a:pt x="10082" y="1576"/>
                    <a:pt x="9862" y="1734"/>
                    <a:pt x="9641" y="1734"/>
                  </a:cubicBezTo>
                  <a:lnTo>
                    <a:pt x="6333" y="1734"/>
                  </a:lnTo>
                  <a:cubicBezTo>
                    <a:pt x="6081" y="1734"/>
                    <a:pt x="5924" y="1923"/>
                    <a:pt x="5924" y="2175"/>
                  </a:cubicBezTo>
                  <a:lnTo>
                    <a:pt x="5924" y="9641"/>
                  </a:lnTo>
                  <a:cubicBezTo>
                    <a:pt x="5924" y="9893"/>
                    <a:pt x="5734" y="10051"/>
                    <a:pt x="5514" y="10051"/>
                  </a:cubicBezTo>
                  <a:cubicBezTo>
                    <a:pt x="5262" y="10051"/>
                    <a:pt x="5104" y="9862"/>
                    <a:pt x="5104" y="9641"/>
                  </a:cubicBezTo>
                  <a:lnTo>
                    <a:pt x="5104" y="5703"/>
                  </a:lnTo>
                  <a:cubicBezTo>
                    <a:pt x="5104" y="5459"/>
                    <a:pt x="4917" y="5293"/>
                    <a:pt x="4707" y="5293"/>
                  </a:cubicBezTo>
                  <a:cubicBezTo>
                    <a:pt x="4619" y="5293"/>
                    <a:pt x="4527" y="5323"/>
                    <a:pt x="4443" y="5388"/>
                  </a:cubicBezTo>
                  <a:lnTo>
                    <a:pt x="1639" y="7531"/>
                  </a:lnTo>
                  <a:cubicBezTo>
                    <a:pt x="1557" y="7585"/>
                    <a:pt x="1464" y="7616"/>
                    <a:pt x="1372" y="7616"/>
                  </a:cubicBezTo>
                  <a:cubicBezTo>
                    <a:pt x="1250" y="7616"/>
                    <a:pt x="1130" y="7562"/>
                    <a:pt x="1040" y="7436"/>
                  </a:cubicBezTo>
                  <a:cubicBezTo>
                    <a:pt x="946" y="7247"/>
                    <a:pt x="946" y="7026"/>
                    <a:pt x="1135" y="6869"/>
                  </a:cubicBezTo>
                  <a:lnTo>
                    <a:pt x="4947" y="4033"/>
                  </a:lnTo>
                  <a:cubicBezTo>
                    <a:pt x="5073" y="3939"/>
                    <a:pt x="5104" y="3844"/>
                    <a:pt x="5104" y="3718"/>
                  </a:cubicBezTo>
                  <a:lnTo>
                    <a:pt x="5104" y="2206"/>
                  </a:lnTo>
                  <a:cubicBezTo>
                    <a:pt x="5104" y="1986"/>
                    <a:pt x="4915" y="1765"/>
                    <a:pt x="4726" y="1765"/>
                  </a:cubicBezTo>
                  <a:lnTo>
                    <a:pt x="1418" y="1765"/>
                  </a:lnTo>
                  <a:cubicBezTo>
                    <a:pt x="1166" y="1765"/>
                    <a:pt x="1009" y="1576"/>
                    <a:pt x="1009" y="1387"/>
                  </a:cubicBezTo>
                  <a:cubicBezTo>
                    <a:pt x="1009" y="1135"/>
                    <a:pt x="1198" y="946"/>
                    <a:pt x="1418" y="946"/>
                  </a:cubicBezTo>
                  <a:lnTo>
                    <a:pt x="9641" y="946"/>
                  </a:lnTo>
                  <a:lnTo>
                    <a:pt x="9641" y="915"/>
                  </a:lnTo>
                  <a:close/>
                  <a:moveTo>
                    <a:pt x="1355" y="1"/>
                  </a:moveTo>
                  <a:cubicBezTo>
                    <a:pt x="694" y="95"/>
                    <a:pt x="158" y="631"/>
                    <a:pt x="158" y="1293"/>
                  </a:cubicBezTo>
                  <a:cubicBezTo>
                    <a:pt x="158" y="1986"/>
                    <a:pt x="694" y="2521"/>
                    <a:pt x="1355" y="2521"/>
                  </a:cubicBezTo>
                  <a:lnTo>
                    <a:pt x="4285" y="2521"/>
                  </a:lnTo>
                  <a:lnTo>
                    <a:pt x="4285" y="3403"/>
                  </a:lnTo>
                  <a:lnTo>
                    <a:pt x="662" y="6113"/>
                  </a:lnTo>
                  <a:cubicBezTo>
                    <a:pt x="95" y="6491"/>
                    <a:pt x="1" y="7278"/>
                    <a:pt x="410" y="7846"/>
                  </a:cubicBezTo>
                  <a:cubicBezTo>
                    <a:pt x="651" y="8160"/>
                    <a:pt x="1022" y="8333"/>
                    <a:pt x="1396" y="8333"/>
                  </a:cubicBezTo>
                  <a:cubicBezTo>
                    <a:pt x="1658" y="8333"/>
                    <a:pt x="1922" y="8248"/>
                    <a:pt x="2143" y="8066"/>
                  </a:cubicBezTo>
                  <a:lnTo>
                    <a:pt x="4317" y="6459"/>
                  </a:lnTo>
                  <a:lnTo>
                    <a:pt x="4317" y="9578"/>
                  </a:lnTo>
                  <a:cubicBezTo>
                    <a:pt x="4317" y="10240"/>
                    <a:pt x="4884" y="10807"/>
                    <a:pt x="5545" y="10807"/>
                  </a:cubicBezTo>
                  <a:cubicBezTo>
                    <a:pt x="6207" y="10807"/>
                    <a:pt x="6806" y="10240"/>
                    <a:pt x="6806" y="9578"/>
                  </a:cubicBezTo>
                  <a:lnTo>
                    <a:pt x="6806" y="2490"/>
                  </a:lnTo>
                  <a:lnTo>
                    <a:pt x="9673" y="2490"/>
                  </a:lnTo>
                  <a:cubicBezTo>
                    <a:pt x="10334" y="2490"/>
                    <a:pt x="10933" y="1923"/>
                    <a:pt x="10933" y="1261"/>
                  </a:cubicBezTo>
                  <a:cubicBezTo>
                    <a:pt x="10933" y="599"/>
                    <a:pt x="10397" y="1"/>
                    <a:pt x="96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7" name="Google Shape;10627;p79"/>
          <p:cNvSpPr/>
          <p:nvPr/>
        </p:nvSpPr>
        <p:spPr>
          <a:xfrm>
            <a:off x="8022842" y="3217399"/>
            <a:ext cx="340058" cy="341555"/>
          </a:xfrm>
          <a:custGeom>
            <a:avLst/>
            <a:gdLst/>
            <a:ahLst/>
            <a:cxnLst/>
            <a:rect l="l" t="t" r="r" b="b"/>
            <a:pathLst>
              <a:path w="14084" h="14146" extrusionOk="0">
                <a:moveTo>
                  <a:pt x="5829" y="5261"/>
                </a:moveTo>
                <a:lnTo>
                  <a:pt x="6963" y="6585"/>
                </a:lnTo>
                <a:lnTo>
                  <a:pt x="5829" y="6585"/>
                </a:lnTo>
                <a:lnTo>
                  <a:pt x="5829" y="5261"/>
                </a:lnTo>
                <a:close/>
                <a:moveTo>
                  <a:pt x="6333" y="788"/>
                </a:moveTo>
                <a:cubicBezTo>
                  <a:pt x="6648" y="788"/>
                  <a:pt x="6963" y="914"/>
                  <a:pt x="7215" y="1166"/>
                </a:cubicBezTo>
                <a:lnTo>
                  <a:pt x="7877" y="1827"/>
                </a:lnTo>
                <a:cubicBezTo>
                  <a:pt x="8287" y="2205"/>
                  <a:pt x="8791" y="2426"/>
                  <a:pt x="9326" y="2426"/>
                </a:cubicBezTo>
                <a:lnTo>
                  <a:pt x="10334" y="2426"/>
                </a:lnTo>
                <a:cubicBezTo>
                  <a:pt x="11469" y="2426"/>
                  <a:pt x="12414" y="3371"/>
                  <a:pt x="12414" y="4505"/>
                </a:cubicBezTo>
                <a:cubicBezTo>
                  <a:pt x="12414" y="5639"/>
                  <a:pt x="11469" y="6585"/>
                  <a:pt x="10334" y="6585"/>
                </a:cubicBezTo>
                <a:lnTo>
                  <a:pt x="8003" y="6585"/>
                </a:lnTo>
                <a:lnTo>
                  <a:pt x="5766" y="4033"/>
                </a:lnTo>
                <a:lnTo>
                  <a:pt x="5766" y="2048"/>
                </a:lnTo>
                <a:cubicBezTo>
                  <a:pt x="5766" y="1827"/>
                  <a:pt x="5546" y="1670"/>
                  <a:pt x="5357" y="1670"/>
                </a:cubicBezTo>
                <a:cubicBezTo>
                  <a:pt x="5168" y="1670"/>
                  <a:pt x="4979" y="1859"/>
                  <a:pt x="4979" y="2048"/>
                </a:cubicBezTo>
                <a:lnTo>
                  <a:pt x="4979" y="3087"/>
                </a:lnTo>
                <a:lnTo>
                  <a:pt x="2994" y="788"/>
                </a:lnTo>
                <a:close/>
                <a:moveTo>
                  <a:pt x="13233" y="7341"/>
                </a:moveTo>
                <a:lnTo>
                  <a:pt x="13233" y="9451"/>
                </a:lnTo>
                <a:lnTo>
                  <a:pt x="13264" y="9451"/>
                </a:lnTo>
                <a:cubicBezTo>
                  <a:pt x="13264" y="9704"/>
                  <a:pt x="13075" y="9893"/>
                  <a:pt x="12886" y="9893"/>
                </a:cubicBezTo>
                <a:lnTo>
                  <a:pt x="820" y="9893"/>
                </a:lnTo>
                <a:lnTo>
                  <a:pt x="820" y="9451"/>
                </a:lnTo>
                <a:cubicBezTo>
                  <a:pt x="820" y="9231"/>
                  <a:pt x="1009" y="9042"/>
                  <a:pt x="1230" y="9042"/>
                </a:cubicBezTo>
                <a:lnTo>
                  <a:pt x="2049" y="9042"/>
                </a:lnTo>
                <a:cubicBezTo>
                  <a:pt x="2269" y="9042"/>
                  <a:pt x="2427" y="8821"/>
                  <a:pt x="2427" y="8601"/>
                </a:cubicBezTo>
                <a:lnTo>
                  <a:pt x="2427" y="7782"/>
                </a:lnTo>
                <a:cubicBezTo>
                  <a:pt x="2427" y="7530"/>
                  <a:pt x="2647" y="7341"/>
                  <a:pt x="2836" y="7341"/>
                </a:cubicBezTo>
                <a:close/>
                <a:moveTo>
                  <a:pt x="2427" y="10712"/>
                </a:moveTo>
                <a:lnTo>
                  <a:pt x="2112" y="13232"/>
                </a:lnTo>
                <a:lnTo>
                  <a:pt x="2049" y="13232"/>
                </a:lnTo>
                <a:lnTo>
                  <a:pt x="1734" y="10712"/>
                </a:lnTo>
                <a:close/>
                <a:moveTo>
                  <a:pt x="9043" y="10712"/>
                </a:moveTo>
                <a:lnTo>
                  <a:pt x="8728" y="13232"/>
                </a:lnTo>
                <a:lnTo>
                  <a:pt x="8665" y="13232"/>
                </a:lnTo>
                <a:lnTo>
                  <a:pt x="8350" y="10712"/>
                </a:lnTo>
                <a:close/>
                <a:moveTo>
                  <a:pt x="12414" y="10712"/>
                </a:moveTo>
                <a:lnTo>
                  <a:pt x="12099" y="13232"/>
                </a:lnTo>
                <a:lnTo>
                  <a:pt x="12004" y="13232"/>
                </a:lnTo>
                <a:lnTo>
                  <a:pt x="11689" y="10712"/>
                </a:lnTo>
                <a:close/>
                <a:moveTo>
                  <a:pt x="2080" y="0"/>
                </a:moveTo>
                <a:cubicBezTo>
                  <a:pt x="1923" y="0"/>
                  <a:pt x="1765" y="95"/>
                  <a:pt x="1702" y="252"/>
                </a:cubicBezTo>
                <a:cubicBezTo>
                  <a:pt x="1608" y="410"/>
                  <a:pt x="1639" y="567"/>
                  <a:pt x="1765" y="662"/>
                </a:cubicBezTo>
                <a:lnTo>
                  <a:pt x="4947" y="4348"/>
                </a:lnTo>
                <a:lnTo>
                  <a:pt x="4947" y="6616"/>
                </a:lnTo>
                <a:lnTo>
                  <a:pt x="2868" y="6616"/>
                </a:lnTo>
                <a:cubicBezTo>
                  <a:pt x="2206" y="6616"/>
                  <a:pt x="1608" y="7183"/>
                  <a:pt x="1608" y="7876"/>
                </a:cubicBezTo>
                <a:lnTo>
                  <a:pt x="1608" y="8286"/>
                </a:lnTo>
                <a:lnTo>
                  <a:pt x="1230" y="8286"/>
                </a:lnTo>
                <a:cubicBezTo>
                  <a:pt x="536" y="8286"/>
                  <a:pt x="1" y="8821"/>
                  <a:pt x="1" y="9546"/>
                </a:cubicBezTo>
                <a:lnTo>
                  <a:pt x="1" y="10365"/>
                </a:lnTo>
                <a:cubicBezTo>
                  <a:pt x="1" y="10586"/>
                  <a:pt x="190" y="10806"/>
                  <a:pt x="379" y="10806"/>
                </a:cubicBezTo>
                <a:lnTo>
                  <a:pt x="851" y="10806"/>
                </a:lnTo>
                <a:lnTo>
                  <a:pt x="1230" y="13799"/>
                </a:lnTo>
                <a:cubicBezTo>
                  <a:pt x="1261" y="13988"/>
                  <a:pt x="1419" y="14146"/>
                  <a:pt x="1608" y="14146"/>
                </a:cubicBezTo>
                <a:lnTo>
                  <a:pt x="2427" y="14146"/>
                </a:lnTo>
                <a:cubicBezTo>
                  <a:pt x="2647" y="14146"/>
                  <a:pt x="2836" y="13988"/>
                  <a:pt x="2836" y="13799"/>
                </a:cubicBezTo>
                <a:lnTo>
                  <a:pt x="3183" y="10806"/>
                </a:lnTo>
                <a:lnTo>
                  <a:pt x="7436" y="10806"/>
                </a:lnTo>
                <a:lnTo>
                  <a:pt x="7783" y="13799"/>
                </a:lnTo>
                <a:cubicBezTo>
                  <a:pt x="7846" y="13988"/>
                  <a:pt x="8003" y="14146"/>
                  <a:pt x="8192" y="14146"/>
                </a:cubicBezTo>
                <a:lnTo>
                  <a:pt x="9011" y="14146"/>
                </a:lnTo>
                <a:cubicBezTo>
                  <a:pt x="9200" y="14146"/>
                  <a:pt x="9421" y="13988"/>
                  <a:pt x="9421" y="13799"/>
                </a:cubicBezTo>
                <a:lnTo>
                  <a:pt x="9767" y="10806"/>
                </a:lnTo>
                <a:lnTo>
                  <a:pt x="10713" y="10806"/>
                </a:lnTo>
                <a:lnTo>
                  <a:pt x="11059" y="13799"/>
                </a:lnTo>
                <a:cubicBezTo>
                  <a:pt x="11091" y="13988"/>
                  <a:pt x="11248" y="14146"/>
                  <a:pt x="11469" y="14146"/>
                </a:cubicBezTo>
                <a:lnTo>
                  <a:pt x="12288" y="14146"/>
                </a:lnTo>
                <a:cubicBezTo>
                  <a:pt x="12477" y="14146"/>
                  <a:pt x="12666" y="13988"/>
                  <a:pt x="12666" y="13799"/>
                </a:cubicBezTo>
                <a:lnTo>
                  <a:pt x="13075" y="10712"/>
                </a:lnTo>
                <a:cubicBezTo>
                  <a:pt x="13579" y="10554"/>
                  <a:pt x="13926" y="10082"/>
                  <a:pt x="13926" y="9546"/>
                </a:cubicBezTo>
                <a:lnTo>
                  <a:pt x="13926" y="7057"/>
                </a:lnTo>
                <a:cubicBezTo>
                  <a:pt x="14084" y="6742"/>
                  <a:pt x="13926" y="6585"/>
                  <a:pt x="13705" y="6585"/>
                </a:cubicBezTo>
                <a:lnTo>
                  <a:pt x="12414" y="6585"/>
                </a:lnTo>
                <a:cubicBezTo>
                  <a:pt x="12949" y="6080"/>
                  <a:pt x="13264" y="5324"/>
                  <a:pt x="13264" y="4505"/>
                </a:cubicBezTo>
                <a:cubicBezTo>
                  <a:pt x="13264" y="2898"/>
                  <a:pt x="11973" y="1607"/>
                  <a:pt x="10366" y="1607"/>
                </a:cubicBezTo>
                <a:lnTo>
                  <a:pt x="9389" y="1607"/>
                </a:lnTo>
                <a:cubicBezTo>
                  <a:pt x="9074" y="1607"/>
                  <a:pt x="8728" y="1512"/>
                  <a:pt x="8507" y="1260"/>
                </a:cubicBezTo>
                <a:lnTo>
                  <a:pt x="7846" y="599"/>
                </a:lnTo>
                <a:cubicBezTo>
                  <a:pt x="7436" y="189"/>
                  <a:pt x="6932" y="0"/>
                  <a:pt x="63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79"/>
          <p:cNvSpPr/>
          <p:nvPr/>
        </p:nvSpPr>
        <p:spPr>
          <a:xfrm>
            <a:off x="7143562" y="2779147"/>
            <a:ext cx="301233" cy="341555"/>
          </a:xfrm>
          <a:custGeom>
            <a:avLst/>
            <a:gdLst/>
            <a:ahLst/>
            <a:cxnLst/>
            <a:rect l="l" t="t" r="r" b="b"/>
            <a:pathLst>
              <a:path w="12476" h="14146" extrusionOk="0">
                <a:moveTo>
                  <a:pt x="2552" y="819"/>
                </a:moveTo>
                <a:cubicBezTo>
                  <a:pt x="3056" y="819"/>
                  <a:pt x="3403" y="1198"/>
                  <a:pt x="3403" y="1670"/>
                </a:cubicBezTo>
                <a:lnTo>
                  <a:pt x="1733" y="1670"/>
                </a:lnTo>
                <a:cubicBezTo>
                  <a:pt x="1733" y="1198"/>
                  <a:pt x="2079" y="819"/>
                  <a:pt x="2552" y="819"/>
                </a:cubicBezTo>
                <a:close/>
                <a:moveTo>
                  <a:pt x="10019" y="819"/>
                </a:moveTo>
                <a:cubicBezTo>
                  <a:pt x="10491" y="819"/>
                  <a:pt x="10838" y="1198"/>
                  <a:pt x="10838" y="1670"/>
                </a:cubicBezTo>
                <a:lnTo>
                  <a:pt x="9168" y="1670"/>
                </a:lnTo>
                <a:cubicBezTo>
                  <a:pt x="9168" y="1198"/>
                  <a:pt x="9578" y="819"/>
                  <a:pt x="10019" y="819"/>
                </a:cubicBezTo>
                <a:close/>
                <a:moveTo>
                  <a:pt x="8286" y="2489"/>
                </a:moveTo>
                <a:lnTo>
                  <a:pt x="7593" y="5829"/>
                </a:lnTo>
                <a:lnTo>
                  <a:pt x="4978" y="5829"/>
                </a:lnTo>
                <a:lnTo>
                  <a:pt x="4285" y="2489"/>
                </a:lnTo>
                <a:cubicBezTo>
                  <a:pt x="4978" y="2489"/>
                  <a:pt x="5545" y="2710"/>
                  <a:pt x="5986" y="3182"/>
                </a:cubicBezTo>
                <a:cubicBezTo>
                  <a:pt x="6065" y="3261"/>
                  <a:pt x="6175" y="3300"/>
                  <a:pt x="6285" y="3300"/>
                </a:cubicBezTo>
                <a:cubicBezTo>
                  <a:pt x="6396" y="3300"/>
                  <a:pt x="6506" y="3261"/>
                  <a:pt x="6585" y="3182"/>
                </a:cubicBezTo>
                <a:cubicBezTo>
                  <a:pt x="7026" y="2773"/>
                  <a:pt x="7656" y="2489"/>
                  <a:pt x="8286" y="2489"/>
                </a:cubicBezTo>
                <a:close/>
                <a:moveTo>
                  <a:pt x="7120" y="6648"/>
                </a:moveTo>
                <a:cubicBezTo>
                  <a:pt x="7341" y="6648"/>
                  <a:pt x="7530" y="6648"/>
                  <a:pt x="7719" y="6711"/>
                </a:cubicBezTo>
                <a:lnTo>
                  <a:pt x="8443" y="8066"/>
                </a:lnTo>
                <a:cubicBezTo>
                  <a:pt x="8506" y="8223"/>
                  <a:pt x="8664" y="8318"/>
                  <a:pt x="8790" y="8318"/>
                </a:cubicBezTo>
                <a:cubicBezTo>
                  <a:pt x="8853" y="8318"/>
                  <a:pt x="8916" y="8318"/>
                  <a:pt x="8979" y="8286"/>
                </a:cubicBezTo>
                <a:cubicBezTo>
                  <a:pt x="9168" y="8160"/>
                  <a:pt x="9262" y="7908"/>
                  <a:pt x="9168" y="7719"/>
                </a:cubicBezTo>
                <a:lnTo>
                  <a:pt x="8821" y="6963"/>
                </a:lnTo>
                <a:lnTo>
                  <a:pt x="8821" y="6963"/>
                </a:lnTo>
                <a:cubicBezTo>
                  <a:pt x="10523" y="7656"/>
                  <a:pt x="11751" y="9294"/>
                  <a:pt x="11751" y="11216"/>
                </a:cubicBezTo>
                <a:lnTo>
                  <a:pt x="11751" y="11626"/>
                </a:lnTo>
                <a:lnTo>
                  <a:pt x="977" y="11626"/>
                </a:lnTo>
                <a:lnTo>
                  <a:pt x="977" y="11216"/>
                </a:lnTo>
                <a:cubicBezTo>
                  <a:pt x="914" y="9294"/>
                  <a:pt x="2142" y="7593"/>
                  <a:pt x="3812" y="6963"/>
                </a:cubicBezTo>
                <a:lnTo>
                  <a:pt x="3812" y="6963"/>
                </a:lnTo>
                <a:lnTo>
                  <a:pt x="3466" y="7719"/>
                </a:lnTo>
                <a:cubicBezTo>
                  <a:pt x="3340" y="7908"/>
                  <a:pt x="3466" y="8160"/>
                  <a:pt x="3655" y="8286"/>
                </a:cubicBezTo>
                <a:cubicBezTo>
                  <a:pt x="3749" y="8318"/>
                  <a:pt x="3781" y="8318"/>
                  <a:pt x="3875" y="8318"/>
                </a:cubicBezTo>
                <a:cubicBezTo>
                  <a:pt x="4033" y="8318"/>
                  <a:pt x="4190" y="8223"/>
                  <a:pt x="4222" y="8066"/>
                </a:cubicBezTo>
                <a:lnTo>
                  <a:pt x="4915" y="6711"/>
                </a:lnTo>
                <a:cubicBezTo>
                  <a:pt x="5135" y="6648"/>
                  <a:pt x="5324" y="6648"/>
                  <a:pt x="5513" y="6648"/>
                </a:cubicBezTo>
                <a:lnTo>
                  <a:pt x="5923" y="6648"/>
                </a:lnTo>
                <a:lnTo>
                  <a:pt x="5923" y="8759"/>
                </a:lnTo>
                <a:cubicBezTo>
                  <a:pt x="5923" y="8979"/>
                  <a:pt x="6112" y="9168"/>
                  <a:pt x="6333" y="9168"/>
                </a:cubicBezTo>
                <a:cubicBezTo>
                  <a:pt x="6585" y="9168"/>
                  <a:pt x="6742" y="8979"/>
                  <a:pt x="6742" y="8759"/>
                </a:cubicBezTo>
                <a:lnTo>
                  <a:pt x="6742" y="6648"/>
                </a:lnTo>
                <a:close/>
                <a:moveTo>
                  <a:pt x="11657" y="12445"/>
                </a:moveTo>
                <a:lnTo>
                  <a:pt x="11657" y="13264"/>
                </a:lnTo>
                <a:lnTo>
                  <a:pt x="914" y="13264"/>
                </a:lnTo>
                <a:lnTo>
                  <a:pt x="914" y="12445"/>
                </a:lnTo>
                <a:close/>
                <a:moveTo>
                  <a:pt x="2520" y="0"/>
                </a:moveTo>
                <a:cubicBezTo>
                  <a:pt x="1607" y="0"/>
                  <a:pt x="882" y="756"/>
                  <a:pt x="882" y="1670"/>
                </a:cubicBezTo>
                <a:lnTo>
                  <a:pt x="882" y="2048"/>
                </a:lnTo>
                <a:cubicBezTo>
                  <a:pt x="882" y="2269"/>
                  <a:pt x="1071" y="2489"/>
                  <a:pt x="1260" y="2489"/>
                </a:cubicBezTo>
                <a:lnTo>
                  <a:pt x="3403" y="2489"/>
                </a:lnTo>
                <a:lnTo>
                  <a:pt x="4096" y="5986"/>
                </a:lnTo>
                <a:cubicBezTo>
                  <a:pt x="1764" y="6585"/>
                  <a:pt x="0" y="8696"/>
                  <a:pt x="0" y="11216"/>
                </a:cubicBezTo>
                <a:lnTo>
                  <a:pt x="0" y="13705"/>
                </a:lnTo>
                <a:cubicBezTo>
                  <a:pt x="0" y="13925"/>
                  <a:pt x="189" y="14146"/>
                  <a:pt x="410" y="14146"/>
                </a:cubicBezTo>
                <a:lnTo>
                  <a:pt x="11972" y="14146"/>
                </a:lnTo>
                <a:cubicBezTo>
                  <a:pt x="12224" y="14146"/>
                  <a:pt x="12413" y="13925"/>
                  <a:pt x="12413" y="13705"/>
                </a:cubicBezTo>
                <a:lnTo>
                  <a:pt x="12413" y="11216"/>
                </a:lnTo>
                <a:cubicBezTo>
                  <a:pt x="12476" y="8696"/>
                  <a:pt x="10743" y="6585"/>
                  <a:pt x="8443" y="5986"/>
                </a:cubicBezTo>
                <a:lnTo>
                  <a:pt x="9136" y="2489"/>
                </a:lnTo>
                <a:lnTo>
                  <a:pt x="11279" y="2489"/>
                </a:lnTo>
                <a:cubicBezTo>
                  <a:pt x="11499" y="2489"/>
                  <a:pt x="11657" y="2269"/>
                  <a:pt x="11657" y="2048"/>
                </a:cubicBezTo>
                <a:lnTo>
                  <a:pt x="11657" y="1670"/>
                </a:lnTo>
                <a:cubicBezTo>
                  <a:pt x="11657" y="756"/>
                  <a:pt x="10901" y="0"/>
                  <a:pt x="10019" y="0"/>
                </a:cubicBezTo>
                <a:cubicBezTo>
                  <a:pt x="9105" y="0"/>
                  <a:pt x="8349" y="756"/>
                  <a:pt x="8349" y="1670"/>
                </a:cubicBezTo>
                <a:lnTo>
                  <a:pt x="8286" y="1670"/>
                </a:lnTo>
                <a:cubicBezTo>
                  <a:pt x="7530" y="1670"/>
                  <a:pt x="6868" y="1891"/>
                  <a:pt x="6269" y="2332"/>
                </a:cubicBezTo>
                <a:cubicBezTo>
                  <a:pt x="5702" y="1891"/>
                  <a:pt x="5009" y="1670"/>
                  <a:pt x="4253" y="1670"/>
                </a:cubicBezTo>
                <a:lnTo>
                  <a:pt x="4190" y="1670"/>
                </a:lnTo>
                <a:cubicBezTo>
                  <a:pt x="4190" y="756"/>
                  <a:pt x="3434" y="0"/>
                  <a:pt x="2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29" name="Google Shape;10629;p79"/>
          <p:cNvGrpSpPr/>
          <p:nvPr/>
        </p:nvGrpSpPr>
        <p:grpSpPr>
          <a:xfrm>
            <a:off x="7576790" y="3217879"/>
            <a:ext cx="343094" cy="341569"/>
            <a:chOff x="6001575" y="3119050"/>
            <a:chExt cx="315025" cy="313625"/>
          </a:xfrm>
        </p:grpSpPr>
        <p:sp>
          <p:nvSpPr>
            <p:cNvPr id="10630" name="Google Shape;10630;p79"/>
            <p:cNvSpPr/>
            <p:nvPr/>
          </p:nvSpPr>
          <p:spPr>
            <a:xfrm>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79"/>
            <p:cNvSpPr/>
            <p:nvPr/>
          </p:nvSpPr>
          <p:spPr>
            <a:xfrm flipH="1">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635"/>
        <p:cNvGrpSpPr/>
        <p:nvPr/>
      </p:nvGrpSpPr>
      <p:grpSpPr>
        <a:xfrm>
          <a:off x="0" y="0"/>
          <a:ext cx="0" cy="0"/>
          <a:chOff x="0" y="0"/>
          <a:chExt cx="0" cy="0"/>
        </a:xfrm>
      </p:grpSpPr>
      <p:sp>
        <p:nvSpPr>
          <p:cNvPr id="10636" name="Google Shape;10636;p80"/>
          <p:cNvSpPr/>
          <p:nvPr/>
        </p:nvSpPr>
        <p:spPr>
          <a:xfrm>
            <a:off x="901486" y="1688459"/>
            <a:ext cx="361250" cy="473920"/>
          </a:xfrm>
          <a:custGeom>
            <a:avLst/>
            <a:gdLst/>
            <a:ahLst/>
            <a:cxnLst/>
            <a:rect l="l" t="t" r="r" b="b"/>
            <a:pathLst>
              <a:path w="9295" h="12194" extrusionOk="0">
                <a:moveTo>
                  <a:pt x="4568" y="662"/>
                </a:moveTo>
                <a:cubicBezTo>
                  <a:pt x="5167" y="662"/>
                  <a:pt x="5639" y="1135"/>
                  <a:pt x="5639" y="1734"/>
                </a:cubicBezTo>
                <a:cubicBezTo>
                  <a:pt x="5639" y="2301"/>
                  <a:pt x="5167" y="2773"/>
                  <a:pt x="4568" y="2773"/>
                </a:cubicBezTo>
                <a:cubicBezTo>
                  <a:pt x="3970" y="2773"/>
                  <a:pt x="3497" y="2301"/>
                  <a:pt x="3497" y="1734"/>
                </a:cubicBezTo>
                <a:cubicBezTo>
                  <a:pt x="3497" y="1135"/>
                  <a:pt x="3970" y="662"/>
                  <a:pt x="4568" y="662"/>
                </a:cubicBezTo>
                <a:close/>
                <a:moveTo>
                  <a:pt x="7750" y="3529"/>
                </a:moveTo>
                <a:cubicBezTo>
                  <a:pt x="8160" y="3529"/>
                  <a:pt x="8475" y="3844"/>
                  <a:pt x="8475" y="4254"/>
                </a:cubicBezTo>
                <a:cubicBezTo>
                  <a:pt x="8475" y="4632"/>
                  <a:pt x="8160" y="4947"/>
                  <a:pt x="7750" y="4947"/>
                </a:cubicBezTo>
                <a:cubicBezTo>
                  <a:pt x="7372" y="4947"/>
                  <a:pt x="7057" y="4632"/>
                  <a:pt x="7057" y="4254"/>
                </a:cubicBezTo>
                <a:cubicBezTo>
                  <a:pt x="7057" y="3876"/>
                  <a:pt x="7372" y="3529"/>
                  <a:pt x="7750" y="3529"/>
                </a:cubicBezTo>
                <a:close/>
                <a:moveTo>
                  <a:pt x="1733" y="4254"/>
                </a:moveTo>
                <a:cubicBezTo>
                  <a:pt x="2836" y="4254"/>
                  <a:pt x="3812" y="4979"/>
                  <a:pt x="4127" y="6018"/>
                </a:cubicBezTo>
                <a:lnTo>
                  <a:pt x="2678" y="5042"/>
                </a:lnTo>
                <a:cubicBezTo>
                  <a:pt x="2615" y="4991"/>
                  <a:pt x="2537" y="4966"/>
                  <a:pt x="2460" y="4966"/>
                </a:cubicBezTo>
                <a:cubicBezTo>
                  <a:pt x="2344" y="4966"/>
                  <a:pt x="2231" y="5023"/>
                  <a:pt x="2174" y="5136"/>
                </a:cubicBezTo>
                <a:cubicBezTo>
                  <a:pt x="2048" y="5294"/>
                  <a:pt x="2079" y="5546"/>
                  <a:pt x="2268" y="5672"/>
                </a:cubicBezTo>
                <a:lnTo>
                  <a:pt x="3434" y="6459"/>
                </a:lnTo>
                <a:lnTo>
                  <a:pt x="3182" y="6459"/>
                </a:lnTo>
                <a:cubicBezTo>
                  <a:pt x="1890" y="6396"/>
                  <a:pt x="819" y="5451"/>
                  <a:pt x="662" y="4254"/>
                </a:cubicBezTo>
                <a:close/>
                <a:moveTo>
                  <a:pt x="1355" y="7814"/>
                </a:moveTo>
                <a:cubicBezTo>
                  <a:pt x="1733" y="7814"/>
                  <a:pt x="2048" y="8129"/>
                  <a:pt x="2048" y="8539"/>
                </a:cubicBezTo>
                <a:cubicBezTo>
                  <a:pt x="2048" y="8917"/>
                  <a:pt x="1733" y="9232"/>
                  <a:pt x="1355" y="9232"/>
                </a:cubicBezTo>
                <a:cubicBezTo>
                  <a:pt x="945" y="9232"/>
                  <a:pt x="630" y="8917"/>
                  <a:pt x="630" y="8539"/>
                </a:cubicBezTo>
                <a:cubicBezTo>
                  <a:pt x="630" y="8129"/>
                  <a:pt x="945" y="7814"/>
                  <a:pt x="1355" y="7814"/>
                </a:cubicBezTo>
                <a:close/>
                <a:moveTo>
                  <a:pt x="8506" y="8476"/>
                </a:moveTo>
                <a:cubicBezTo>
                  <a:pt x="8317" y="9767"/>
                  <a:pt x="7246" y="10681"/>
                  <a:pt x="5986" y="10681"/>
                </a:cubicBezTo>
                <a:lnTo>
                  <a:pt x="5734" y="10681"/>
                </a:lnTo>
                <a:lnTo>
                  <a:pt x="6900" y="9893"/>
                </a:lnTo>
                <a:cubicBezTo>
                  <a:pt x="7057" y="9799"/>
                  <a:pt x="7089" y="9578"/>
                  <a:pt x="7026" y="9389"/>
                </a:cubicBezTo>
                <a:cubicBezTo>
                  <a:pt x="6940" y="9282"/>
                  <a:pt x="6809" y="9233"/>
                  <a:pt x="6675" y="9233"/>
                </a:cubicBezTo>
                <a:cubicBezTo>
                  <a:pt x="6613" y="9233"/>
                  <a:pt x="6550" y="9243"/>
                  <a:pt x="6490" y="9263"/>
                </a:cubicBezTo>
                <a:lnTo>
                  <a:pt x="5041" y="10271"/>
                </a:lnTo>
                <a:cubicBezTo>
                  <a:pt x="5356" y="9232"/>
                  <a:pt x="6301" y="8476"/>
                  <a:pt x="7435" y="8476"/>
                </a:cubicBezTo>
                <a:close/>
                <a:moveTo>
                  <a:pt x="4600" y="1"/>
                </a:moveTo>
                <a:cubicBezTo>
                  <a:pt x="3623" y="1"/>
                  <a:pt x="2836" y="788"/>
                  <a:pt x="2836" y="1765"/>
                </a:cubicBezTo>
                <a:cubicBezTo>
                  <a:pt x="2836" y="2616"/>
                  <a:pt x="3466" y="3340"/>
                  <a:pt x="4253" y="3498"/>
                </a:cubicBezTo>
                <a:lnTo>
                  <a:pt x="4253" y="4758"/>
                </a:lnTo>
                <a:cubicBezTo>
                  <a:pt x="3655" y="4033"/>
                  <a:pt x="2741" y="3561"/>
                  <a:pt x="1764" y="3561"/>
                </a:cubicBezTo>
                <a:lnTo>
                  <a:pt x="347" y="3561"/>
                </a:lnTo>
                <a:cubicBezTo>
                  <a:pt x="158" y="3561"/>
                  <a:pt x="0" y="3718"/>
                  <a:pt x="0" y="3939"/>
                </a:cubicBezTo>
                <a:cubicBezTo>
                  <a:pt x="0" y="5703"/>
                  <a:pt x="1449" y="7152"/>
                  <a:pt x="3214" y="7152"/>
                </a:cubicBezTo>
                <a:lnTo>
                  <a:pt x="4285" y="7152"/>
                </a:lnTo>
                <a:lnTo>
                  <a:pt x="4285" y="9988"/>
                </a:lnTo>
                <a:cubicBezTo>
                  <a:pt x="3844" y="9547"/>
                  <a:pt x="3340" y="9232"/>
                  <a:pt x="2804" y="9074"/>
                </a:cubicBezTo>
                <a:cubicBezTo>
                  <a:pt x="2836" y="8917"/>
                  <a:pt x="2867" y="8759"/>
                  <a:pt x="2867" y="8602"/>
                </a:cubicBezTo>
                <a:cubicBezTo>
                  <a:pt x="2867" y="7814"/>
                  <a:pt x="2237" y="7184"/>
                  <a:pt x="1449" y="7184"/>
                </a:cubicBezTo>
                <a:cubicBezTo>
                  <a:pt x="662" y="7184"/>
                  <a:pt x="32" y="7814"/>
                  <a:pt x="32" y="8602"/>
                </a:cubicBezTo>
                <a:cubicBezTo>
                  <a:pt x="32" y="9389"/>
                  <a:pt x="662" y="10019"/>
                  <a:pt x="1449" y="10019"/>
                </a:cubicBezTo>
                <a:cubicBezTo>
                  <a:pt x="1796" y="10019"/>
                  <a:pt x="2111" y="9893"/>
                  <a:pt x="2363" y="9673"/>
                </a:cubicBezTo>
                <a:cubicBezTo>
                  <a:pt x="3182" y="9862"/>
                  <a:pt x="3907" y="10429"/>
                  <a:pt x="4285" y="11153"/>
                </a:cubicBezTo>
                <a:lnTo>
                  <a:pt x="4285" y="11847"/>
                </a:lnTo>
                <a:cubicBezTo>
                  <a:pt x="4285" y="12036"/>
                  <a:pt x="4442" y="12193"/>
                  <a:pt x="4631" y="12193"/>
                </a:cubicBezTo>
                <a:cubicBezTo>
                  <a:pt x="4852" y="12193"/>
                  <a:pt x="5009" y="12036"/>
                  <a:pt x="5009" y="11847"/>
                </a:cubicBezTo>
                <a:lnTo>
                  <a:pt x="5009" y="11437"/>
                </a:lnTo>
                <a:lnTo>
                  <a:pt x="6049" y="11437"/>
                </a:lnTo>
                <a:cubicBezTo>
                  <a:pt x="7845" y="11437"/>
                  <a:pt x="9294" y="9988"/>
                  <a:pt x="9294" y="8224"/>
                </a:cubicBezTo>
                <a:cubicBezTo>
                  <a:pt x="9231" y="7971"/>
                  <a:pt x="9042" y="7814"/>
                  <a:pt x="8853" y="7814"/>
                </a:cubicBezTo>
                <a:lnTo>
                  <a:pt x="7435" y="7814"/>
                </a:lnTo>
                <a:cubicBezTo>
                  <a:pt x="6427" y="7814"/>
                  <a:pt x="5545" y="8287"/>
                  <a:pt x="4946" y="9011"/>
                </a:cubicBezTo>
                <a:lnTo>
                  <a:pt x="4946" y="6837"/>
                </a:lnTo>
                <a:cubicBezTo>
                  <a:pt x="5356" y="6081"/>
                  <a:pt x="6081" y="5546"/>
                  <a:pt x="6900" y="5357"/>
                </a:cubicBezTo>
                <a:cubicBezTo>
                  <a:pt x="7120" y="5546"/>
                  <a:pt x="7467" y="5703"/>
                  <a:pt x="7813" y="5703"/>
                </a:cubicBezTo>
                <a:cubicBezTo>
                  <a:pt x="8601" y="5703"/>
                  <a:pt x="9231" y="5073"/>
                  <a:pt x="9231" y="4285"/>
                </a:cubicBezTo>
                <a:cubicBezTo>
                  <a:pt x="9231" y="3498"/>
                  <a:pt x="8601" y="2868"/>
                  <a:pt x="7813" y="2868"/>
                </a:cubicBezTo>
                <a:cubicBezTo>
                  <a:pt x="7026" y="2868"/>
                  <a:pt x="6396" y="3498"/>
                  <a:pt x="6396" y="4285"/>
                </a:cubicBezTo>
                <a:cubicBezTo>
                  <a:pt x="6396" y="4443"/>
                  <a:pt x="6427" y="4600"/>
                  <a:pt x="6459" y="4758"/>
                </a:cubicBezTo>
                <a:cubicBezTo>
                  <a:pt x="5860" y="4947"/>
                  <a:pt x="5356" y="5262"/>
                  <a:pt x="4946" y="5672"/>
                </a:cubicBezTo>
                <a:lnTo>
                  <a:pt x="4946" y="3498"/>
                </a:lnTo>
                <a:cubicBezTo>
                  <a:pt x="5797" y="3340"/>
                  <a:pt x="6364" y="2584"/>
                  <a:pt x="6364" y="1765"/>
                </a:cubicBezTo>
                <a:cubicBezTo>
                  <a:pt x="6364" y="788"/>
                  <a:pt x="5576" y="1"/>
                  <a:pt x="4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37" name="Google Shape;10637;p80"/>
          <p:cNvGrpSpPr/>
          <p:nvPr/>
        </p:nvGrpSpPr>
        <p:grpSpPr>
          <a:xfrm>
            <a:off x="845233" y="2273195"/>
            <a:ext cx="476329" cy="476213"/>
            <a:chOff x="-21298675" y="2414425"/>
            <a:chExt cx="306400" cy="306325"/>
          </a:xfrm>
        </p:grpSpPr>
        <p:sp>
          <p:nvSpPr>
            <p:cNvPr id="10638" name="Google Shape;10638;p80"/>
            <p:cNvSpPr/>
            <p:nvPr/>
          </p:nvSpPr>
          <p:spPr>
            <a:xfrm>
              <a:off x="-21083650" y="2444575"/>
              <a:ext cx="20500" cy="18525"/>
            </a:xfrm>
            <a:custGeom>
              <a:avLst/>
              <a:gdLst/>
              <a:ahLst/>
              <a:cxnLst/>
              <a:rect l="l" t="t" r="r" b="b"/>
              <a:pathLst>
                <a:path w="820" h="741" extrusionOk="0">
                  <a:moveTo>
                    <a:pt x="410" y="1"/>
                  </a:moveTo>
                  <a:cubicBezTo>
                    <a:pt x="323" y="1"/>
                    <a:pt x="237" y="40"/>
                    <a:pt x="158" y="119"/>
                  </a:cubicBezTo>
                  <a:cubicBezTo>
                    <a:pt x="0" y="276"/>
                    <a:pt x="0" y="465"/>
                    <a:pt x="158" y="623"/>
                  </a:cubicBezTo>
                  <a:cubicBezTo>
                    <a:pt x="237" y="702"/>
                    <a:pt x="331" y="741"/>
                    <a:pt x="422" y="741"/>
                  </a:cubicBezTo>
                  <a:cubicBezTo>
                    <a:pt x="512" y="741"/>
                    <a:pt x="599" y="702"/>
                    <a:pt x="662" y="623"/>
                  </a:cubicBezTo>
                  <a:cubicBezTo>
                    <a:pt x="819" y="465"/>
                    <a:pt x="819" y="276"/>
                    <a:pt x="662" y="119"/>
                  </a:cubicBezTo>
                  <a:cubicBezTo>
                    <a:pt x="583" y="40"/>
                    <a:pt x="496"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80"/>
            <p:cNvSpPr/>
            <p:nvPr/>
          </p:nvSpPr>
          <p:spPr>
            <a:xfrm>
              <a:off x="-21298675" y="2414425"/>
              <a:ext cx="306400" cy="306325"/>
            </a:xfrm>
            <a:custGeom>
              <a:avLst/>
              <a:gdLst/>
              <a:ahLst/>
              <a:cxnLst/>
              <a:rect l="l" t="t" r="r" b="b"/>
              <a:pathLst>
                <a:path w="12256" h="12253" extrusionOk="0">
                  <a:moveTo>
                    <a:pt x="9420" y="695"/>
                  </a:moveTo>
                  <a:cubicBezTo>
                    <a:pt x="9704" y="695"/>
                    <a:pt x="9924" y="695"/>
                    <a:pt x="10176" y="726"/>
                  </a:cubicBezTo>
                  <a:cubicBezTo>
                    <a:pt x="10429" y="789"/>
                    <a:pt x="10555" y="1136"/>
                    <a:pt x="10365" y="1325"/>
                  </a:cubicBezTo>
                  <a:cubicBezTo>
                    <a:pt x="10208" y="1482"/>
                    <a:pt x="10208" y="1671"/>
                    <a:pt x="10365" y="1829"/>
                  </a:cubicBezTo>
                  <a:cubicBezTo>
                    <a:pt x="10444" y="1908"/>
                    <a:pt x="10531" y="1947"/>
                    <a:pt x="10618" y="1947"/>
                  </a:cubicBezTo>
                  <a:cubicBezTo>
                    <a:pt x="10704" y="1947"/>
                    <a:pt x="10791" y="1908"/>
                    <a:pt x="10870" y="1829"/>
                  </a:cubicBezTo>
                  <a:cubicBezTo>
                    <a:pt x="10942" y="1767"/>
                    <a:pt x="11027" y="1739"/>
                    <a:pt x="11111" y="1739"/>
                  </a:cubicBezTo>
                  <a:cubicBezTo>
                    <a:pt x="11283" y="1739"/>
                    <a:pt x="11447" y="1858"/>
                    <a:pt x="11468" y="2049"/>
                  </a:cubicBezTo>
                  <a:cubicBezTo>
                    <a:pt x="11594" y="2711"/>
                    <a:pt x="11563" y="3719"/>
                    <a:pt x="11248" y="4727"/>
                  </a:cubicBezTo>
                  <a:cubicBezTo>
                    <a:pt x="11060" y="4761"/>
                    <a:pt x="10872" y="4778"/>
                    <a:pt x="10684" y="4778"/>
                  </a:cubicBezTo>
                  <a:cubicBezTo>
                    <a:pt x="9833" y="4778"/>
                    <a:pt x="9006" y="4433"/>
                    <a:pt x="8412" y="3814"/>
                  </a:cubicBezTo>
                  <a:cubicBezTo>
                    <a:pt x="7656" y="3058"/>
                    <a:pt x="7341" y="1986"/>
                    <a:pt x="7499" y="978"/>
                  </a:cubicBezTo>
                  <a:cubicBezTo>
                    <a:pt x="8129" y="789"/>
                    <a:pt x="8822" y="695"/>
                    <a:pt x="9420" y="695"/>
                  </a:cubicBezTo>
                  <a:close/>
                  <a:moveTo>
                    <a:pt x="5102" y="1271"/>
                  </a:moveTo>
                  <a:cubicBezTo>
                    <a:pt x="5187" y="1271"/>
                    <a:pt x="5273" y="1278"/>
                    <a:pt x="5356" y="1293"/>
                  </a:cubicBezTo>
                  <a:cubicBezTo>
                    <a:pt x="5293" y="1356"/>
                    <a:pt x="5167" y="1451"/>
                    <a:pt x="5104" y="1514"/>
                  </a:cubicBezTo>
                  <a:cubicBezTo>
                    <a:pt x="4348" y="2270"/>
                    <a:pt x="3781" y="3373"/>
                    <a:pt x="3466" y="4822"/>
                  </a:cubicBezTo>
                  <a:cubicBezTo>
                    <a:pt x="3182" y="4475"/>
                    <a:pt x="3088" y="4034"/>
                    <a:pt x="3088" y="3562"/>
                  </a:cubicBezTo>
                  <a:cubicBezTo>
                    <a:pt x="3088" y="2900"/>
                    <a:pt x="3340" y="2270"/>
                    <a:pt x="3844" y="1797"/>
                  </a:cubicBezTo>
                  <a:cubicBezTo>
                    <a:pt x="4163" y="1478"/>
                    <a:pt x="4639" y="1271"/>
                    <a:pt x="5102" y="1271"/>
                  </a:cubicBezTo>
                  <a:close/>
                  <a:moveTo>
                    <a:pt x="6711" y="1293"/>
                  </a:moveTo>
                  <a:lnTo>
                    <a:pt x="6711" y="1293"/>
                  </a:lnTo>
                  <a:cubicBezTo>
                    <a:pt x="6616" y="2427"/>
                    <a:pt x="7026" y="3530"/>
                    <a:pt x="7845" y="4318"/>
                  </a:cubicBezTo>
                  <a:cubicBezTo>
                    <a:pt x="8562" y="5035"/>
                    <a:pt x="9540" y="5465"/>
                    <a:pt x="10565" y="5465"/>
                  </a:cubicBezTo>
                  <a:cubicBezTo>
                    <a:pt x="10666" y="5465"/>
                    <a:pt x="10768" y="5460"/>
                    <a:pt x="10870" y="5452"/>
                  </a:cubicBezTo>
                  <a:lnTo>
                    <a:pt x="10870" y="5452"/>
                  </a:lnTo>
                  <a:cubicBezTo>
                    <a:pt x="10681" y="5893"/>
                    <a:pt x="10429" y="6303"/>
                    <a:pt x="10082" y="6618"/>
                  </a:cubicBezTo>
                  <a:cubicBezTo>
                    <a:pt x="8444" y="8256"/>
                    <a:pt x="4852" y="8413"/>
                    <a:pt x="3749" y="8413"/>
                  </a:cubicBezTo>
                  <a:cubicBezTo>
                    <a:pt x="3749" y="7311"/>
                    <a:pt x="3907" y="3719"/>
                    <a:pt x="5545" y="2081"/>
                  </a:cubicBezTo>
                  <a:cubicBezTo>
                    <a:pt x="5860" y="1766"/>
                    <a:pt x="6270" y="1482"/>
                    <a:pt x="6711" y="1293"/>
                  </a:cubicBezTo>
                  <a:close/>
                  <a:moveTo>
                    <a:pt x="10838" y="6838"/>
                  </a:moveTo>
                  <a:cubicBezTo>
                    <a:pt x="10964" y="7405"/>
                    <a:pt x="10775" y="7941"/>
                    <a:pt x="10365" y="8382"/>
                  </a:cubicBezTo>
                  <a:cubicBezTo>
                    <a:pt x="9888" y="8860"/>
                    <a:pt x="9239" y="9101"/>
                    <a:pt x="8593" y="9101"/>
                  </a:cubicBezTo>
                  <a:cubicBezTo>
                    <a:pt x="8132" y="9101"/>
                    <a:pt x="7672" y="8978"/>
                    <a:pt x="7278" y="8728"/>
                  </a:cubicBezTo>
                  <a:cubicBezTo>
                    <a:pt x="8759" y="8382"/>
                    <a:pt x="9893" y="7878"/>
                    <a:pt x="10586" y="7122"/>
                  </a:cubicBezTo>
                  <a:cubicBezTo>
                    <a:pt x="10681" y="7027"/>
                    <a:pt x="10775" y="6933"/>
                    <a:pt x="10838" y="6838"/>
                  </a:cubicBezTo>
                  <a:close/>
                  <a:moveTo>
                    <a:pt x="1902" y="8486"/>
                  </a:moveTo>
                  <a:cubicBezTo>
                    <a:pt x="2355" y="8486"/>
                    <a:pt x="2810" y="8652"/>
                    <a:pt x="3151" y="9012"/>
                  </a:cubicBezTo>
                  <a:cubicBezTo>
                    <a:pt x="3718" y="9611"/>
                    <a:pt x="3812" y="10461"/>
                    <a:pt x="3466" y="11123"/>
                  </a:cubicBezTo>
                  <a:cubicBezTo>
                    <a:pt x="3151" y="10619"/>
                    <a:pt x="2804" y="10178"/>
                    <a:pt x="2426" y="9768"/>
                  </a:cubicBezTo>
                  <a:cubicBezTo>
                    <a:pt x="2017" y="9358"/>
                    <a:pt x="1544" y="9012"/>
                    <a:pt x="1040" y="8697"/>
                  </a:cubicBezTo>
                  <a:cubicBezTo>
                    <a:pt x="1304" y="8559"/>
                    <a:pt x="1603" y="8486"/>
                    <a:pt x="1902" y="8486"/>
                  </a:cubicBezTo>
                  <a:close/>
                  <a:moveTo>
                    <a:pt x="9468" y="0"/>
                  </a:moveTo>
                  <a:cubicBezTo>
                    <a:pt x="8905" y="0"/>
                    <a:pt x="8299" y="77"/>
                    <a:pt x="7719" y="222"/>
                  </a:cubicBezTo>
                  <a:cubicBezTo>
                    <a:pt x="7247" y="348"/>
                    <a:pt x="6711" y="537"/>
                    <a:pt x="6112" y="852"/>
                  </a:cubicBezTo>
                  <a:cubicBezTo>
                    <a:pt x="5784" y="699"/>
                    <a:pt x="5436" y="625"/>
                    <a:pt x="5090" y="625"/>
                  </a:cubicBezTo>
                  <a:cubicBezTo>
                    <a:pt x="4442" y="625"/>
                    <a:pt x="3802" y="884"/>
                    <a:pt x="3308" y="1356"/>
                  </a:cubicBezTo>
                  <a:cubicBezTo>
                    <a:pt x="2741" y="1955"/>
                    <a:pt x="2363" y="2774"/>
                    <a:pt x="2363" y="3656"/>
                  </a:cubicBezTo>
                  <a:cubicBezTo>
                    <a:pt x="2363" y="4475"/>
                    <a:pt x="2678" y="5263"/>
                    <a:pt x="3277" y="5893"/>
                  </a:cubicBezTo>
                  <a:cubicBezTo>
                    <a:pt x="3151" y="6649"/>
                    <a:pt x="3088" y="7405"/>
                    <a:pt x="3088" y="8130"/>
                  </a:cubicBezTo>
                  <a:cubicBezTo>
                    <a:pt x="2722" y="7947"/>
                    <a:pt x="2319" y="7854"/>
                    <a:pt x="1916" y="7854"/>
                  </a:cubicBezTo>
                  <a:cubicBezTo>
                    <a:pt x="1278" y="7854"/>
                    <a:pt x="641" y="8088"/>
                    <a:pt x="158" y="8571"/>
                  </a:cubicBezTo>
                  <a:cubicBezTo>
                    <a:pt x="0" y="8728"/>
                    <a:pt x="63" y="9043"/>
                    <a:pt x="252" y="9169"/>
                  </a:cubicBezTo>
                  <a:cubicBezTo>
                    <a:pt x="1481" y="9800"/>
                    <a:pt x="2489" y="10808"/>
                    <a:pt x="3119" y="12036"/>
                  </a:cubicBezTo>
                  <a:cubicBezTo>
                    <a:pt x="3191" y="12180"/>
                    <a:pt x="3315" y="12252"/>
                    <a:pt x="3443" y="12252"/>
                  </a:cubicBezTo>
                  <a:cubicBezTo>
                    <a:pt x="3539" y="12252"/>
                    <a:pt x="3637" y="12212"/>
                    <a:pt x="3718" y="12131"/>
                  </a:cubicBezTo>
                  <a:cubicBezTo>
                    <a:pt x="4506" y="11343"/>
                    <a:pt x="4663" y="10146"/>
                    <a:pt x="4159" y="9201"/>
                  </a:cubicBezTo>
                  <a:cubicBezTo>
                    <a:pt x="4884" y="9201"/>
                    <a:pt x="5671" y="9138"/>
                    <a:pt x="6396" y="9012"/>
                  </a:cubicBezTo>
                  <a:cubicBezTo>
                    <a:pt x="7026" y="9611"/>
                    <a:pt x="7814" y="9926"/>
                    <a:pt x="8633" y="9926"/>
                  </a:cubicBezTo>
                  <a:cubicBezTo>
                    <a:pt x="9452" y="9926"/>
                    <a:pt x="10271" y="9611"/>
                    <a:pt x="10933" y="8980"/>
                  </a:cubicBezTo>
                  <a:cubicBezTo>
                    <a:pt x="11657" y="8224"/>
                    <a:pt x="11878" y="7122"/>
                    <a:pt x="11437" y="6176"/>
                  </a:cubicBezTo>
                  <a:cubicBezTo>
                    <a:pt x="11752" y="5609"/>
                    <a:pt x="11941" y="5042"/>
                    <a:pt x="12067" y="4570"/>
                  </a:cubicBezTo>
                  <a:cubicBezTo>
                    <a:pt x="12224" y="3625"/>
                    <a:pt x="12256" y="2616"/>
                    <a:pt x="12130" y="1923"/>
                  </a:cubicBezTo>
                  <a:cubicBezTo>
                    <a:pt x="12067" y="1419"/>
                    <a:pt x="11626" y="1041"/>
                    <a:pt x="11153" y="1041"/>
                  </a:cubicBezTo>
                  <a:cubicBezTo>
                    <a:pt x="11122" y="537"/>
                    <a:pt x="10775" y="159"/>
                    <a:pt x="10302" y="65"/>
                  </a:cubicBezTo>
                  <a:cubicBezTo>
                    <a:pt x="10043" y="21"/>
                    <a:pt x="9761" y="0"/>
                    <a:pt x="94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0" name="Google Shape;10640;p80"/>
            <p:cNvSpPr/>
            <p:nvPr/>
          </p:nvSpPr>
          <p:spPr>
            <a:xfrm>
              <a:off x="-21171875" y="2521375"/>
              <a:ext cx="73275" cy="66100"/>
            </a:xfrm>
            <a:custGeom>
              <a:avLst/>
              <a:gdLst/>
              <a:ahLst/>
              <a:cxnLst/>
              <a:rect l="l" t="t" r="r" b="b"/>
              <a:pathLst>
                <a:path w="2931" h="2644" extrusionOk="0">
                  <a:moveTo>
                    <a:pt x="1499" y="0"/>
                  </a:moveTo>
                  <a:cubicBezTo>
                    <a:pt x="1471" y="0"/>
                    <a:pt x="1444" y="3"/>
                    <a:pt x="1418" y="8"/>
                  </a:cubicBezTo>
                  <a:lnTo>
                    <a:pt x="1009" y="166"/>
                  </a:lnTo>
                  <a:cubicBezTo>
                    <a:pt x="253" y="386"/>
                    <a:pt x="1" y="1394"/>
                    <a:pt x="568" y="1930"/>
                  </a:cubicBezTo>
                  <a:lnTo>
                    <a:pt x="977" y="2340"/>
                  </a:lnTo>
                  <a:cubicBezTo>
                    <a:pt x="1182" y="2544"/>
                    <a:pt x="1451" y="2643"/>
                    <a:pt x="1720" y="2643"/>
                  </a:cubicBezTo>
                  <a:cubicBezTo>
                    <a:pt x="2154" y="2643"/>
                    <a:pt x="2586" y="2385"/>
                    <a:pt x="2742" y="1898"/>
                  </a:cubicBezTo>
                  <a:lnTo>
                    <a:pt x="2899" y="1457"/>
                  </a:lnTo>
                  <a:cubicBezTo>
                    <a:pt x="2931" y="1268"/>
                    <a:pt x="2805" y="1016"/>
                    <a:pt x="2616" y="985"/>
                  </a:cubicBezTo>
                  <a:cubicBezTo>
                    <a:pt x="2577" y="972"/>
                    <a:pt x="2537" y="966"/>
                    <a:pt x="2498" y="966"/>
                  </a:cubicBezTo>
                  <a:cubicBezTo>
                    <a:pt x="2344" y="966"/>
                    <a:pt x="2200" y="1061"/>
                    <a:pt x="2175" y="1237"/>
                  </a:cubicBezTo>
                  <a:lnTo>
                    <a:pt x="2017" y="1646"/>
                  </a:lnTo>
                  <a:cubicBezTo>
                    <a:pt x="1977" y="1806"/>
                    <a:pt x="1836" y="1890"/>
                    <a:pt x="1682" y="1890"/>
                  </a:cubicBezTo>
                  <a:cubicBezTo>
                    <a:pt x="1593" y="1890"/>
                    <a:pt x="1499" y="1862"/>
                    <a:pt x="1418" y="1804"/>
                  </a:cubicBezTo>
                  <a:lnTo>
                    <a:pt x="1040" y="1426"/>
                  </a:lnTo>
                  <a:cubicBezTo>
                    <a:pt x="851" y="1237"/>
                    <a:pt x="914" y="922"/>
                    <a:pt x="1198" y="827"/>
                  </a:cubicBezTo>
                  <a:lnTo>
                    <a:pt x="1639" y="670"/>
                  </a:lnTo>
                  <a:cubicBezTo>
                    <a:pt x="1828" y="607"/>
                    <a:pt x="1891" y="386"/>
                    <a:pt x="1859" y="229"/>
                  </a:cubicBezTo>
                  <a:cubicBezTo>
                    <a:pt x="1807" y="70"/>
                    <a:pt x="1643" y="0"/>
                    <a:pt x="14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1" name="Google Shape;10641;p80"/>
          <p:cNvGrpSpPr/>
          <p:nvPr/>
        </p:nvGrpSpPr>
        <p:grpSpPr>
          <a:xfrm>
            <a:off x="844611" y="2865128"/>
            <a:ext cx="477573" cy="445432"/>
            <a:chOff x="-21299475" y="2798025"/>
            <a:chExt cx="307200" cy="286525"/>
          </a:xfrm>
        </p:grpSpPr>
        <p:sp>
          <p:nvSpPr>
            <p:cNvPr id="10642" name="Google Shape;10642;p80"/>
            <p:cNvSpPr/>
            <p:nvPr/>
          </p:nvSpPr>
          <p:spPr>
            <a:xfrm>
              <a:off x="-21153750" y="2798025"/>
              <a:ext cx="17350" cy="53575"/>
            </a:xfrm>
            <a:custGeom>
              <a:avLst/>
              <a:gdLst/>
              <a:ahLst/>
              <a:cxnLst/>
              <a:rect l="l" t="t" r="r" b="b"/>
              <a:pathLst>
                <a:path w="694" h="2143" extrusionOk="0">
                  <a:moveTo>
                    <a:pt x="347" y="0"/>
                  </a:moveTo>
                  <a:cubicBezTo>
                    <a:pt x="158" y="0"/>
                    <a:pt x="0" y="158"/>
                    <a:pt x="0" y="347"/>
                  </a:cubicBezTo>
                  <a:lnTo>
                    <a:pt x="0" y="1765"/>
                  </a:lnTo>
                  <a:cubicBezTo>
                    <a:pt x="0" y="1985"/>
                    <a:pt x="158" y="2143"/>
                    <a:pt x="347" y="2143"/>
                  </a:cubicBezTo>
                  <a:cubicBezTo>
                    <a:pt x="536" y="2143"/>
                    <a:pt x="693" y="1985"/>
                    <a:pt x="693" y="1765"/>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80"/>
            <p:cNvSpPr/>
            <p:nvPr/>
          </p:nvSpPr>
          <p:spPr>
            <a:xfrm>
              <a:off x="-21256925" y="2838400"/>
              <a:ext cx="45700" cy="44525"/>
            </a:xfrm>
            <a:custGeom>
              <a:avLst/>
              <a:gdLst/>
              <a:ahLst/>
              <a:cxnLst/>
              <a:rect l="l" t="t" r="r" b="b"/>
              <a:pathLst>
                <a:path w="1828" h="1781" extrusionOk="0">
                  <a:moveTo>
                    <a:pt x="410" y="0"/>
                  </a:moveTo>
                  <a:cubicBezTo>
                    <a:pt x="323" y="0"/>
                    <a:pt x="236" y="39"/>
                    <a:pt x="158" y="118"/>
                  </a:cubicBezTo>
                  <a:cubicBezTo>
                    <a:pt x="0" y="276"/>
                    <a:pt x="0" y="465"/>
                    <a:pt x="158" y="622"/>
                  </a:cubicBezTo>
                  <a:lnTo>
                    <a:pt x="1166" y="1662"/>
                  </a:lnTo>
                  <a:cubicBezTo>
                    <a:pt x="1245" y="1741"/>
                    <a:pt x="1331" y="1780"/>
                    <a:pt x="1418" y="1780"/>
                  </a:cubicBezTo>
                  <a:cubicBezTo>
                    <a:pt x="1504" y="1780"/>
                    <a:pt x="1591" y="1741"/>
                    <a:pt x="1670" y="1662"/>
                  </a:cubicBezTo>
                  <a:cubicBezTo>
                    <a:pt x="1827" y="1504"/>
                    <a:pt x="1827" y="1315"/>
                    <a:pt x="1670" y="1158"/>
                  </a:cubicBezTo>
                  <a:lnTo>
                    <a:pt x="662" y="118"/>
                  </a:lnTo>
                  <a:cubicBezTo>
                    <a:pt x="583" y="39"/>
                    <a:pt x="496"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80"/>
            <p:cNvSpPr/>
            <p:nvPr/>
          </p:nvSpPr>
          <p:spPr>
            <a:xfrm>
              <a:off x="-21079725" y="2838400"/>
              <a:ext cx="45700" cy="44525"/>
            </a:xfrm>
            <a:custGeom>
              <a:avLst/>
              <a:gdLst/>
              <a:ahLst/>
              <a:cxnLst/>
              <a:rect l="l" t="t" r="r" b="b"/>
              <a:pathLst>
                <a:path w="1828" h="1781" extrusionOk="0">
                  <a:moveTo>
                    <a:pt x="1418" y="0"/>
                  </a:moveTo>
                  <a:cubicBezTo>
                    <a:pt x="1332" y="0"/>
                    <a:pt x="1245" y="39"/>
                    <a:pt x="1166" y="118"/>
                  </a:cubicBezTo>
                  <a:lnTo>
                    <a:pt x="158" y="1158"/>
                  </a:lnTo>
                  <a:cubicBezTo>
                    <a:pt x="1" y="1315"/>
                    <a:pt x="1" y="1504"/>
                    <a:pt x="158" y="1662"/>
                  </a:cubicBezTo>
                  <a:cubicBezTo>
                    <a:pt x="237" y="1741"/>
                    <a:pt x="324" y="1780"/>
                    <a:pt x="410" y="1780"/>
                  </a:cubicBezTo>
                  <a:cubicBezTo>
                    <a:pt x="497" y="1780"/>
                    <a:pt x="584" y="1741"/>
                    <a:pt x="662" y="1662"/>
                  </a:cubicBezTo>
                  <a:lnTo>
                    <a:pt x="1671" y="622"/>
                  </a:lnTo>
                  <a:cubicBezTo>
                    <a:pt x="1828" y="465"/>
                    <a:pt x="1828" y="276"/>
                    <a:pt x="1671" y="118"/>
                  </a:cubicBezTo>
                  <a:cubicBezTo>
                    <a:pt x="1592" y="39"/>
                    <a:pt x="150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80"/>
            <p:cNvSpPr/>
            <p:nvPr/>
          </p:nvSpPr>
          <p:spPr>
            <a:xfrm>
              <a:off x="-21113575" y="2825000"/>
              <a:ext cx="26800" cy="35050"/>
            </a:xfrm>
            <a:custGeom>
              <a:avLst/>
              <a:gdLst/>
              <a:ahLst/>
              <a:cxnLst/>
              <a:rect l="l" t="t" r="r" b="b"/>
              <a:pathLst>
                <a:path w="1072" h="1402" extrusionOk="0">
                  <a:moveTo>
                    <a:pt x="647" y="0"/>
                  </a:moveTo>
                  <a:cubicBezTo>
                    <a:pt x="510" y="0"/>
                    <a:pt x="386" y="71"/>
                    <a:pt x="315" y="213"/>
                  </a:cubicBezTo>
                  <a:lnTo>
                    <a:pt x="32" y="906"/>
                  </a:lnTo>
                  <a:cubicBezTo>
                    <a:pt x="0" y="1095"/>
                    <a:pt x="95" y="1284"/>
                    <a:pt x="252" y="1379"/>
                  </a:cubicBezTo>
                  <a:cubicBezTo>
                    <a:pt x="298" y="1394"/>
                    <a:pt x="344" y="1402"/>
                    <a:pt x="388" y="1402"/>
                  </a:cubicBezTo>
                  <a:cubicBezTo>
                    <a:pt x="527" y="1402"/>
                    <a:pt x="653" y="1325"/>
                    <a:pt x="725" y="1158"/>
                  </a:cubicBezTo>
                  <a:lnTo>
                    <a:pt x="977" y="497"/>
                  </a:lnTo>
                  <a:cubicBezTo>
                    <a:pt x="1071" y="308"/>
                    <a:pt x="977" y="119"/>
                    <a:pt x="788" y="24"/>
                  </a:cubicBezTo>
                  <a:cubicBezTo>
                    <a:pt x="740" y="8"/>
                    <a:pt x="693" y="0"/>
                    <a:pt x="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6" name="Google Shape;10646;p80"/>
            <p:cNvSpPr/>
            <p:nvPr/>
          </p:nvSpPr>
          <p:spPr>
            <a:xfrm>
              <a:off x="-21204175" y="2825000"/>
              <a:ext cx="27600" cy="35050"/>
            </a:xfrm>
            <a:custGeom>
              <a:avLst/>
              <a:gdLst/>
              <a:ahLst/>
              <a:cxnLst/>
              <a:rect l="l" t="t" r="r" b="b"/>
              <a:pathLst>
                <a:path w="1104" h="1402" extrusionOk="0">
                  <a:moveTo>
                    <a:pt x="429" y="0"/>
                  </a:moveTo>
                  <a:cubicBezTo>
                    <a:pt x="381" y="0"/>
                    <a:pt x="332" y="8"/>
                    <a:pt x="285" y="24"/>
                  </a:cubicBezTo>
                  <a:cubicBezTo>
                    <a:pt x="95" y="119"/>
                    <a:pt x="1" y="308"/>
                    <a:pt x="95" y="497"/>
                  </a:cubicBezTo>
                  <a:lnTo>
                    <a:pt x="348" y="1158"/>
                  </a:lnTo>
                  <a:cubicBezTo>
                    <a:pt x="419" y="1325"/>
                    <a:pt x="545" y="1402"/>
                    <a:pt x="684" y="1402"/>
                  </a:cubicBezTo>
                  <a:cubicBezTo>
                    <a:pt x="728" y="1402"/>
                    <a:pt x="774" y="1394"/>
                    <a:pt x="820" y="1379"/>
                  </a:cubicBezTo>
                  <a:cubicBezTo>
                    <a:pt x="1041" y="1284"/>
                    <a:pt x="1104" y="1095"/>
                    <a:pt x="1041" y="906"/>
                  </a:cubicBezTo>
                  <a:lnTo>
                    <a:pt x="757" y="213"/>
                  </a:lnTo>
                  <a:cubicBezTo>
                    <a:pt x="710" y="71"/>
                    <a:pt x="574" y="0"/>
                    <a:pt x="4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7" name="Google Shape;10647;p80"/>
            <p:cNvSpPr/>
            <p:nvPr/>
          </p:nvSpPr>
          <p:spPr>
            <a:xfrm>
              <a:off x="-21297900" y="2940575"/>
              <a:ext cx="54375" cy="18150"/>
            </a:xfrm>
            <a:custGeom>
              <a:avLst/>
              <a:gdLst/>
              <a:ahLst/>
              <a:cxnLst/>
              <a:rect l="l" t="t" r="r" b="b"/>
              <a:pathLst>
                <a:path w="2175" h="726" extrusionOk="0">
                  <a:moveTo>
                    <a:pt x="379" y="1"/>
                  </a:moveTo>
                  <a:cubicBezTo>
                    <a:pt x="158" y="1"/>
                    <a:pt x="1" y="158"/>
                    <a:pt x="1" y="379"/>
                  </a:cubicBezTo>
                  <a:cubicBezTo>
                    <a:pt x="1" y="568"/>
                    <a:pt x="158" y="725"/>
                    <a:pt x="379" y="725"/>
                  </a:cubicBezTo>
                  <a:lnTo>
                    <a:pt x="1828" y="725"/>
                  </a:lnTo>
                  <a:cubicBezTo>
                    <a:pt x="2017" y="725"/>
                    <a:pt x="2175" y="568"/>
                    <a:pt x="2175" y="379"/>
                  </a:cubicBezTo>
                  <a:cubicBezTo>
                    <a:pt x="2175" y="158"/>
                    <a:pt x="2017" y="1"/>
                    <a:pt x="1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80"/>
            <p:cNvSpPr/>
            <p:nvPr/>
          </p:nvSpPr>
          <p:spPr>
            <a:xfrm>
              <a:off x="-21047425" y="2940575"/>
              <a:ext cx="54375" cy="18150"/>
            </a:xfrm>
            <a:custGeom>
              <a:avLst/>
              <a:gdLst/>
              <a:ahLst/>
              <a:cxnLst/>
              <a:rect l="l" t="t" r="r" b="b"/>
              <a:pathLst>
                <a:path w="2175" h="726" extrusionOk="0">
                  <a:moveTo>
                    <a:pt x="347" y="1"/>
                  </a:moveTo>
                  <a:cubicBezTo>
                    <a:pt x="158" y="1"/>
                    <a:pt x="0" y="158"/>
                    <a:pt x="0" y="379"/>
                  </a:cubicBezTo>
                  <a:cubicBezTo>
                    <a:pt x="0" y="568"/>
                    <a:pt x="158" y="725"/>
                    <a:pt x="347" y="725"/>
                  </a:cubicBezTo>
                  <a:lnTo>
                    <a:pt x="1796" y="725"/>
                  </a:lnTo>
                  <a:cubicBezTo>
                    <a:pt x="2017" y="725"/>
                    <a:pt x="2174" y="568"/>
                    <a:pt x="2174" y="379"/>
                  </a:cubicBezTo>
                  <a:cubicBezTo>
                    <a:pt x="2174" y="158"/>
                    <a:pt x="2017"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80"/>
            <p:cNvSpPr/>
            <p:nvPr/>
          </p:nvSpPr>
          <p:spPr>
            <a:xfrm>
              <a:off x="-21056100" y="2892750"/>
              <a:ext cx="37050" cy="25150"/>
            </a:xfrm>
            <a:custGeom>
              <a:avLst/>
              <a:gdLst/>
              <a:ahLst/>
              <a:cxnLst/>
              <a:rect l="l" t="t" r="r" b="b"/>
              <a:pathLst>
                <a:path w="1482" h="1006" extrusionOk="0">
                  <a:moveTo>
                    <a:pt x="1082" y="0"/>
                  </a:moveTo>
                  <a:cubicBezTo>
                    <a:pt x="1038" y="0"/>
                    <a:pt x="992" y="8"/>
                    <a:pt x="946" y="23"/>
                  </a:cubicBezTo>
                  <a:lnTo>
                    <a:pt x="284" y="307"/>
                  </a:lnTo>
                  <a:cubicBezTo>
                    <a:pt x="64" y="433"/>
                    <a:pt x="1" y="622"/>
                    <a:pt x="64" y="780"/>
                  </a:cubicBezTo>
                  <a:cubicBezTo>
                    <a:pt x="133" y="918"/>
                    <a:pt x="253" y="1006"/>
                    <a:pt x="386" y="1006"/>
                  </a:cubicBezTo>
                  <a:cubicBezTo>
                    <a:pt x="435" y="1006"/>
                    <a:pt x="486" y="994"/>
                    <a:pt x="536" y="969"/>
                  </a:cubicBezTo>
                  <a:lnTo>
                    <a:pt x="1198" y="717"/>
                  </a:lnTo>
                  <a:cubicBezTo>
                    <a:pt x="1419" y="622"/>
                    <a:pt x="1482" y="433"/>
                    <a:pt x="1419" y="244"/>
                  </a:cubicBezTo>
                  <a:cubicBezTo>
                    <a:pt x="1347" y="77"/>
                    <a:pt x="1221" y="0"/>
                    <a:pt x="10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80"/>
            <p:cNvSpPr/>
            <p:nvPr/>
          </p:nvSpPr>
          <p:spPr>
            <a:xfrm>
              <a:off x="-21271100" y="2893975"/>
              <a:ext cx="37825" cy="25150"/>
            </a:xfrm>
            <a:custGeom>
              <a:avLst/>
              <a:gdLst/>
              <a:ahLst/>
              <a:cxnLst/>
              <a:rect l="l" t="t" r="r" b="b"/>
              <a:pathLst>
                <a:path w="1513" h="1006" extrusionOk="0">
                  <a:moveTo>
                    <a:pt x="398" y="0"/>
                  </a:moveTo>
                  <a:cubicBezTo>
                    <a:pt x="254" y="0"/>
                    <a:pt x="141" y="88"/>
                    <a:pt x="95" y="227"/>
                  </a:cubicBezTo>
                  <a:cubicBezTo>
                    <a:pt x="0" y="416"/>
                    <a:pt x="95" y="605"/>
                    <a:pt x="284" y="699"/>
                  </a:cubicBezTo>
                  <a:lnTo>
                    <a:pt x="945" y="983"/>
                  </a:lnTo>
                  <a:cubicBezTo>
                    <a:pt x="991" y="998"/>
                    <a:pt x="1039" y="1006"/>
                    <a:pt x="1086" y="1006"/>
                  </a:cubicBezTo>
                  <a:cubicBezTo>
                    <a:pt x="1232" y="1006"/>
                    <a:pt x="1370" y="929"/>
                    <a:pt x="1418" y="762"/>
                  </a:cubicBezTo>
                  <a:cubicBezTo>
                    <a:pt x="1512" y="573"/>
                    <a:pt x="1418" y="384"/>
                    <a:pt x="1229" y="290"/>
                  </a:cubicBezTo>
                  <a:lnTo>
                    <a:pt x="567" y="37"/>
                  </a:lnTo>
                  <a:cubicBezTo>
                    <a:pt x="508" y="12"/>
                    <a:pt x="451" y="0"/>
                    <a:pt x="3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80"/>
            <p:cNvSpPr/>
            <p:nvPr/>
          </p:nvSpPr>
          <p:spPr>
            <a:xfrm>
              <a:off x="-21298675" y="3049275"/>
              <a:ext cx="306400" cy="35275"/>
            </a:xfrm>
            <a:custGeom>
              <a:avLst/>
              <a:gdLst/>
              <a:ahLst/>
              <a:cxnLst/>
              <a:rect l="l" t="t" r="r" b="b"/>
              <a:pathLst>
                <a:path w="12256" h="1411" extrusionOk="0">
                  <a:moveTo>
                    <a:pt x="1832" y="0"/>
                  </a:moveTo>
                  <a:cubicBezTo>
                    <a:pt x="1379" y="0"/>
                    <a:pt x="930" y="126"/>
                    <a:pt x="567" y="378"/>
                  </a:cubicBezTo>
                  <a:cubicBezTo>
                    <a:pt x="473" y="441"/>
                    <a:pt x="347" y="505"/>
                    <a:pt x="284" y="536"/>
                  </a:cubicBezTo>
                  <a:cubicBezTo>
                    <a:pt x="95" y="631"/>
                    <a:pt x="0" y="820"/>
                    <a:pt x="95" y="1009"/>
                  </a:cubicBezTo>
                  <a:cubicBezTo>
                    <a:pt x="143" y="1176"/>
                    <a:pt x="263" y="1252"/>
                    <a:pt x="414" y="1252"/>
                  </a:cubicBezTo>
                  <a:cubicBezTo>
                    <a:pt x="462" y="1252"/>
                    <a:pt x="514" y="1244"/>
                    <a:pt x="567" y="1229"/>
                  </a:cubicBezTo>
                  <a:cubicBezTo>
                    <a:pt x="725" y="1166"/>
                    <a:pt x="819" y="1103"/>
                    <a:pt x="946" y="1009"/>
                  </a:cubicBezTo>
                  <a:cubicBezTo>
                    <a:pt x="1198" y="835"/>
                    <a:pt x="1505" y="749"/>
                    <a:pt x="1816" y="749"/>
                  </a:cubicBezTo>
                  <a:cubicBezTo>
                    <a:pt x="2127" y="749"/>
                    <a:pt x="2442" y="835"/>
                    <a:pt x="2710" y="1009"/>
                  </a:cubicBezTo>
                  <a:cubicBezTo>
                    <a:pt x="3104" y="1276"/>
                    <a:pt x="3553" y="1410"/>
                    <a:pt x="3994" y="1410"/>
                  </a:cubicBezTo>
                  <a:cubicBezTo>
                    <a:pt x="4435" y="1410"/>
                    <a:pt x="4868" y="1276"/>
                    <a:pt x="5230" y="1009"/>
                  </a:cubicBezTo>
                  <a:cubicBezTo>
                    <a:pt x="5498" y="835"/>
                    <a:pt x="5805" y="749"/>
                    <a:pt x="6108" y="749"/>
                  </a:cubicBezTo>
                  <a:cubicBezTo>
                    <a:pt x="6412" y="749"/>
                    <a:pt x="6711" y="835"/>
                    <a:pt x="6963" y="1009"/>
                  </a:cubicBezTo>
                  <a:cubicBezTo>
                    <a:pt x="7357" y="1276"/>
                    <a:pt x="7806" y="1410"/>
                    <a:pt x="8247" y="1410"/>
                  </a:cubicBezTo>
                  <a:cubicBezTo>
                    <a:pt x="8688" y="1410"/>
                    <a:pt x="9121" y="1276"/>
                    <a:pt x="9483" y="1009"/>
                  </a:cubicBezTo>
                  <a:cubicBezTo>
                    <a:pt x="9751" y="835"/>
                    <a:pt x="10058" y="749"/>
                    <a:pt x="10369" y="749"/>
                  </a:cubicBezTo>
                  <a:cubicBezTo>
                    <a:pt x="10681" y="749"/>
                    <a:pt x="10996" y="835"/>
                    <a:pt x="11279" y="1009"/>
                  </a:cubicBezTo>
                  <a:cubicBezTo>
                    <a:pt x="11437" y="1103"/>
                    <a:pt x="11531" y="1166"/>
                    <a:pt x="11689" y="1261"/>
                  </a:cubicBezTo>
                  <a:cubicBezTo>
                    <a:pt x="11736" y="1274"/>
                    <a:pt x="11782" y="1280"/>
                    <a:pt x="11825" y="1280"/>
                  </a:cubicBezTo>
                  <a:cubicBezTo>
                    <a:pt x="11984" y="1280"/>
                    <a:pt x="12112" y="1195"/>
                    <a:pt x="12161" y="1072"/>
                  </a:cubicBezTo>
                  <a:cubicBezTo>
                    <a:pt x="12256" y="820"/>
                    <a:pt x="12161" y="599"/>
                    <a:pt x="11972" y="536"/>
                  </a:cubicBezTo>
                  <a:cubicBezTo>
                    <a:pt x="11846" y="505"/>
                    <a:pt x="11783" y="473"/>
                    <a:pt x="11657" y="378"/>
                  </a:cubicBezTo>
                  <a:cubicBezTo>
                    <a:pt x="11279" y="126"/>
                    <a:pt x="10830" y="0"/>
                    <a:pt x="10381" y="0"/>
                  </a:cubicBezTo>
                  <a:cubicBezTo>
                    <a:pt x="9932" y="0"/>
                    <a:pt x="9483" y="126"/>
                    <a:pt x="9105" y="378"/>
                  </a:cubicBezTo>
                  <a:cubicBezTo>
                    <a:pt x="8853" y="568"/>
                    <a:pt x="8546" y="662"/>
                    <a:pt x="8239" y="662"/>
                  </a:cubicBezTo>
                  <a:cubicBezTo>
                    <a:pt x="7932" y="662"/>
                    <a:pt x="7625" y="568"/>
                    <a:pt x="7373" y="378"/>
                  </a:cubicBezTo>
                  <a:cubicBezTo>
                    <a:pt x="6979" y="126"/>
                    <a:pt x="6538" y="0"/>
                    <a:pt x="6101" y="0"/>
                  </a:cubicBezTo>
                  <a:cubicBezTo>
                    <a:pt x="5663" y="0"/>
                    <a:pt x="5230" y="126"/>
                    <a:pt x="4852" y="378"/>
                  </a:cubicBezTo>
                  <a:cubicBezTo>
                    <a:pt x="4600" y="568"/>
                    <a:pt x="4293" y="662"/>
                    <a:pt x="3986" y="662"/>
                  </a:cubicBezTo>
                  <a:cubicBezTo>
                    <a:pt x="3679" y="662"/>
                    <a:pt x="3371" y="568"/>
                    <a:pt x="3119" y="378"/>
                  </a:cubicBezTo>
                  <a:cubicBezTo>
                    <a:pt x="2741" y="126"/>
                    <a:pt x="2284" y="0"/>
                    <a:pt x="1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80"/>
            <p:cNvSpPr/>
            <p:nvPr/>
          </p:nvSpPr>
          <p:spPr>
            <a:xfrm>
              <a:off x="-21298675" y="3013050"/>
              <a:ext cx="306400" cy="34675"/>
            </a:xfrm>
            <a:custGeom>
              <a:avLst/>
              <a:gdLst/>
              <a:ahLst/>
              <a:cxnLst/>
              <a:rect l="l" t="t" r="r" b="b"/>
              <a:pathLst>
                <a:path w="12256" h="1387" extrusionOk="0">
                  <a:moveTo>
                    <a:pt x="1832" y="0"/>
                  </a:moveTo>
                  <a:cubicBezTo>
                    <a:pt x="1379" y="0"/>
                    <a:pt x="930" y="126"/>
                    <a:pt x="567" y="378"/>
                  </a:cubicBezTo>
                  <a:cubicBezTo>
                    <a:pt x="473" y="410"/>
                    <a:pt x="347" y="504"/>
                    <a:pt x="284" y="536"/>
                  </a:cubicBezTo>
                  <a:cubicBezTo>
                    <a:pt x="95" y="599"/>
                    <a:pt x="0" y="819"/>
                    <a:pt x="95" y="1008"/>
                  </a:cubicBezTo>
                  <a:cubicBezTo>
                    <a:pt x="141" y="1147"/>
                    <a:pt x="255" y="1234"/>
                    <a:pt x="399" y="1234"/>
                  </a:cubicBezTo>
                  <a:cubicBezTo>
                    <a:pt x="452" y="1234"/>
                    <a:pt x="508" y="1223"/>
                    <a:pt x="567" y="1197"/>
                  </a:cubicBezTo>
                  <a:cubicBezTo>
                    <a:pt x="725" y="1166"/>
                    <a:pt x="819" y="1071"/>
                    <a:pt x="946" y="1008"/>
                  </a:cubicBezTo>
                  <a:cubicBezTo>
                    <a:pt x="1198" y="835"/>
                    <a:pt x="1505" y="748"/>
                    <a:pt x="1816" y="748"/>
                  </a:cubicBezTo>
                  <a:cubicBezTo>
                    <a:pt x="2127" y="748"/>
                    <a:pt x="2442" y="835"/>
                    <a:pt x="2710" y="1008"/>
                  </a:cubicBezTo>
                  <a:cubicBezTo>
                    <a:pt x="3104" y="1260"/>
                    <a:pt x="3553" y="1386"/>
                    <a:pt x="3994" y="1386"/>
                  </a:cubicBezTo>
                  <a:cubicBezTo>
                    <a:pt x="4435" y="1386"/>
                    <a:pt x="4868" y="1260"/>
                    <a:pt x="5230" y="1008"/>
                  </a:cubicBezTo>
                  <a:cubicBezTo>
                    <a:pt x="5498" y="835"/>
                    <a:pt x="5805" y="748"/>
                    <a:pt x="6108" y="748"/>
                  </a:cubicBezTo>
                  <a:cubicBezTo>
                    <a:pt x="6412" y="748"/>
                    <a:pt x="6711" y="835"/>
                    <a:pt x="6963" y="1008"/>
                  </a:cubicBezTo>
                  <a:cubicBezTo>
                    <a:pt x="7357" y="1260"/>
                    <a:pt x="7806" y="1386"/>
                    <a:pt x="8247" y="1386"/>
                  </a:cubicBezTo>
                  <a:cubicBezTo>
                    <a:pt x="8688" y="1386"/>
                    <a:pt x="9121" y="1260"/>
                    <a:pt x="9483" y="1008"/>
                  </a:cubicBezTo>
                  <a:cubicBezTo>
                    <a:pt x="9751" y="835"/>
                    <a:pt x="10058" y="748"/>
                    <a:pt x="10369" y="748"/>
                  </a:cubicBezTo>
                  <a:cubicBezTo>
                    <a:pt x="10681" y="748"/>
                    <a:pt x="10996" y="835"/>
                    <a:pt x="11279" y="1008"/>
                  </a:cubicBezTo>
                  <a:cubicBezTo>
                    <a:pt x="11437" y="1071"/>
                    <a:pt x="11531" y="1166"/>
                    <a:pt x="11689" y="1229"/>
                  </a:cubicBezTo>
                  <a:cubicBezTo>
                    <a:pt x="11741" y="1251"/>
                    <a:pt x="11792" y="1261"/>
                    <a:pt x="11840" y="1261"/>
                  </a:cubicBezTo>
                  <a:cubicBezTo>
                    <a:pt x="11992" y="1261"/>
                    <a:pt x="12113" y="1160"/>
                    <a:pt x="12161" y="1040"/>
                  </a:cubicBezTo>
                  <a:cubicBezTo>
                    <a:pt x="12256" y="819"/>
                    <a:pt x="12161" y="630"/>
                    <a:pt x="11972" y="536"/>
                  </a:cubicBezTo>
                  <a:cubicBezTo>
                    <a:pt x="11846" y="504"/>
                    <a:pt x="11783" y="473"/>
                    <a:pt x="11657" y="378"/>
                  </a:cubicBezTo>
                  <a:cubicBezTo>
                    <a:pt x="11279" y="126"/>
                    <a:pt x="10830" y="0"/>
                    <a:pt x="10381" y="0"/>
                  </a:cubicBezTo>
                  <a:cubicBezTo>
                    <a:pt x="9932" y="0"/>
                    <a:pt x="9483" y="126"/>
                    <a:pt x="9105" y="378"/>
                  </a:cubicBezTo>
                  <a:cubicBezTo>
                    <a:pt x="8853" y="552"/>
                    <a:pt x="8546" y="638"/>
                    <a:pt x="8239" y="638"/>
                  </a:cubicBezTo>
                  <a:cubicBezTo>
                    <a:pt x="7932" y="638"/>
                    <a:pt x="7625" y="552"/>
                    <a:pt x="7373" y="378"/>
                  </a:cubicBezTo>
                  <a:cubicBezTo>
                    <a:pt x="6979" y="126"/>
                    <a:pt x="6538" y="0"/>
                    <a:pt x="6101" y="0"/>
                  </a:cubicBezTo>
                  <a:cubicBezTo>
                    <a:pt x="5663" y="0"/>
                    <a:pt x="5230" y="126"/>
                    <a:pt x="4852" y="378"/>
                  </a:cubicBezTo>
                  <a:cubicBezTo>
                    <a:pt x="4600" y="552"/>
                    <a:pt x="4293" y="638"/>
                    <a:pt x="3986" y="638"/>
                  </a:cubicBezTo>
                  <a:cubicBezTo>
                    <a:pt x="3679" y="638"/>
                    <a:pt x="3371" y="552"/>
                    <a:pt x="3119" y="378"/>
                  </a:cubicBezTo>
                  <a:cubicBezTo>
                    <a:pt x="2741" y="126"/>
                    <a:pt x="2284" y="0"/>
                    <a:pt x="1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80"/>
            <p:cNvSpPr/>
            <p:nvPr/>
          </p:nvSpPr>
          <p:spPr>
            <a:xfrm>
              <a:off x="-21299475" y="2868125"/>
              <a:ext cx="307200" cy="143375"/>
            </a:xfrm>
            <a:custGeom>
              <a:avLst/>
              <a:gdLst/>
              <a:ahLst/>
              <a:cxnLst/>
              <a:rect l="l" t="t" r="r" b="b"/>
              <a:pathLst>
                <a:path w="12288" h="5735" extrusionOk="0">
                  <a:moveTo>
                    <a:pt x="6144" y="788"/>
                  </a:moveTo>
                  <a:cubicBezTo>
                    <a:pt x="7531" y="788"/>
                    <a:pt x="8633" y="1891"/>
                    <a:pt x="8633" y="3245"/>
                  </a:cubicBezTo>
                  <a:cubicBezTo>
                    <a:pt x="8633" y="3938"/>
                    <a:pt x="8350" y="4506"/>
                    <a:pt x="7909" y="5010"/>
                  </a:cubicBezTo>
                  <a:cubicBezTo>
                    <a:pt x="7720" y="4947"/>
                    <a:pt x="7562" y="4884"/>
                    <a:pt x="7373" y="4758"/>
                  </a:cubicBezTo>
                  <a:cubicBezTo>
                    <a:pt x="7011" y="4506"/>
                    <a:pt x="6578" y="4379"/>
                    <a:pt x="6140" y="4379"/>
                  </a:cubicBezTo>
                  <a:cubicBezTo>
                    <a:pt x="5703" y="4379"/>
                    <a:pt x="5262" y="4506"/>
                    <a:pt x="4884" y="4758"/>
                  </a:cubicBezTo>
                  <a:cubicBezTo>
                    <a:pt x="4727" y="4884"/>
                    <a:pt x="4569" y="4947"/>
                    <a:pt x="4380" y="5010"/>
                  </a:cubicBezTo>
                  <a:cubicBezTo>
                    <a:pt x="3939" y="4537"/>
                    <a:pt x="3655" y="3875"/>
                    <a:pt x="3655" y="3245"/>
                  </a:cubicBezTo>
                  <a:cubicBezTo>
                    <a:pt x="3655" y="1891"/>
                    <a:pt x="4758" y="788"/>
                    <a:pt x="6144" y="788"/>
                  </a:cubicBezTo>
                  <a:close/>
                  <a:moveTo>
                    <a:pt x="6144" y="0"/>
                  </a:moveTo>
                  <a:cubicBezTo>
                    <a:pt x="4380" y="0"/>
                    <a:pt x="2931" y="1450"/>
                    <a:pt x="2931" y="3214"/>
                  </a:cubicBezTo>
                  <a:cubicBezTo>
                    <a:pt x="2931" y="3812"/>
                    <a:pt x="3088" y="4411"/>
                    <a:pt x="3372" y="4884"/>
                  </a:cubicBezTo>
                  <a:cubicBezTo>
                    <a:pt x="3277" y="4852"/>
                    <a:pt x="3183" y="4789"/>
                    <a:pt x="3120" y="4726"/>
                  </a:cubicBezTo>
                  <a:cubicBezTo>
                    <a:pt x="2742" y="4474"/>
                    <a:pt x="2285" y="4348"/>
                    <a:pt x="1832" y="4348"/>
                  </a:cubicBezTo>
                  <a:cubicBezTo>
                    <a:pt x="1379" y="4348"/>
                    <a:pt x="930" y="4474"/>
                    <a:pt x="568" y="4726"/>
                  </a:cubicBezTo>
                  <a:cubicBezTo>
                    <a:pt x="473" y="4758"/>
                    <a:pt x="347" y="4852"/>
                    <a:pt x="284" y="4884"/>
                  </a:cubicBezTo>
                  <a:cubicBezTo>
                    <a:pt x="95" y="4947"/>
                    <a:pt x="1" y="5167"/>
                    <a:pt x="95" y="5356"/>
                  </a:cubicBezTo>
                  <a:cubicBezTo>
                    <a:pt x="143" y="5498"/>
                    <a:pt x="261" y="5569"/>
                    <a:pt x="410" y="5569"/>
                  </a:cubicBezTo>
                  <a:cubicBezTo>
                    <a:pt x="460" y="5569"/>
                    <a:pt x="513" y="5561"/>
                    <a:pt x="568" y="5545"/>
                  </a:cubicBezTo>
                  <a:cubicBezTo>
                    <a:pt x="725" y="5514"/>
                    <a:pt x="820" y="5419"/>
                    <a:pt x="946" y="5356"/>
                  </a:cubicBezTo>
                  <a:cubicBezTo>
                    <a:pt x="1198" y="5183"/>
                    <a:pt x="1505" y="5096"/>
                    <a:pt x="1816" y="5096"/>
                  </a:cubicBezTo>
                  <a:cubicBezTo>
                    <a:pt x="2127" y="5096"/>
                    <a:pt x="2442" y="5183"/>
                    <a:pt x="2710" y="5356"/>
                  </a:cubicBezTo>
                  <a:cubicBezTo>
                    <a:pt x="3104" y="5608"/>
                    <a:pt x="3553" y="5734"/>
                    <a:pt x="3994" y="5734"/>
                  </a:cubicBezTo>
                  <a:cubicBezTo>
                    <a:pt x="4435" y="5734"/>
                    <a:pt x="4868" y="5608"/>
                    <a:pt x="5231" y="5356"/>
                  </a:cubicBezTo>
                  <a:cubicBezTo>
                    <a:pt x="5498" y="5183"/>
                    <a:pt x="5806" y="5096"/>
                    <a:pt x="6109" y="5096"/>
                  </a:cubicBezTo>
                  <a:cubicBezTo>
                    <a:pt x="6412" y="5096"/>
                    <a:pt x="6711" y="5183"/>
                    <a:pt x="6963" y="5356"/>
                  </a:cubicBezTo>
                  <a:cubicBezTo>
                    <a:pt x="7357" y="5608"/>
                    <a:pt x="7806" y="5734"/>
                    <a:pt x="8247" y="5734"/>
                  </a:cubicBezTo>
                  <a:cubicBezTo>
                    <a:pt x="8688" y="5734"/>
                    <a:pt x="9122" y="5608"/>
                    <a:pt x="9484" y="5356"/>
                  </a:cubicBezTo>
                  <a:cubicBezTo>
                    <a:pt x="9752" y="5183"/>
                    <a:pt x="10059" y="5096"/>
                    <a:pt x="10370" y="5096"/>
                  </a:cubicBezTo>
                  <a:cubicBezTo>
                    <a:pt x="10681" y="5096"/>
                    <a:pt x="10996" y="5183"/>
                    <a:pt x="11280" y="5356"/>
                  </a:cubicBezTo>
                  <a:cubicBezTo>
                    <a:pt x="11437" y="5419"/>
                    <a:pt x="11532" y="5514"/>
                    <a:pt x="11689" y="5577"/>
                  </a:cubicBezTo>
                  <a:cubicBezTo>
                    <a:pt x="11742" y="5599"/>
                    <a:pt x="11793" y="5609"/>
                    <a:pt x="11840" y="5609"/>
                  </a:cubicBezTo>
                  <a:cubicBezTo>
                    <a:pt x="11993" y="5609"/>
                    <a:pt x="12114" y="5508"/>
                    <a:pt x="12162" y="5388"/>
                  </a:cubicBezTo>
                  <a:cubicBezTo>
                    <a:pt x="12288" y="5199"/>
                    <a:pt x="12193" y="5010"/>
                    <a:pt x="12004" y="4915"/>
                  </a:cubicBezTo>
                  <a:cubicBezTo>
                    <a:pt x="11878" y="4884"/>
                    <a:pt x="11815" y="4852"/>
                    <a:pt x="11689" y="4758"/>
                  </a:cubicBezTo>
                  <a:cubicBezTo>
                    <a:pt x="11311" y="4506"/>
                    <a:pt x="10862" y="4379"/>
                    <a:pt x="10413" y="4379"/>
                  </a:cubicBezTo>
                  <a:cubicBezTo>
                    <a:pt x="9964" y="4379"/>
                    <a:pt x="9515" y="4506"/>
                    <a:pt x="9137" y="4758"/>
                  </a:cubicBezTo>
                  <a:lnTo>
                    <a:pt x="8885" y="4884"/>
                  </a:lnTo>
                  <a:cubicBezTo>
                    <a:pt x="9169" y="4379"/>
                    <a:pt x="9358" y="3812"/>
                    <a:pt x="9358" y="3214"/>
                  </a:cubicBezTo>
                  <a:cubicBezTo>
                    <a:pt x="9358" y="1450"/>
                    <a:pt x="7909" y="0"/>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54" name="Google Shape;10654;p80"/>
          <p:cNvSpPr/>
          <p:nvPr/>
        </p:nvSpPr>
        <p:spPr>
          <a:xfrm>
            <a:off x="3766168" y="1689838"/>
            <a:ext cx="472676" cy="471160"/>
          </a:xfrm>
          <a:custGeom>
            <a:avLst/>
            <a:gdLst/>
            <a:ahLst/>
            <a:cxnLst/>
            <a:rect l="l" t="t" r="r" b="b"/>
            <a:pathLst>
              <a:path w="12162" h="12123" extrusionOk="0">
                <a:moveTo>
                  <a:pt x="8192" y="3616"/>
                </a:moveTo>
                <a:cubicBezTo>
                  <a:pt x="8381" y="3616"/>
                  <a:pt x="8539" y="3805"/>
                  <a:pt x="8539" y="3994"/>
                </a:cubicBezTo>
                <a:cubicBezTo>
                  <a:pt x="8539" y="4183"/>
                  <a:pt x="8381" y="4341"/>
                  <a:pt x="8192" y="4341"/>
                </a:cubicBezTo>
                <a:lnTo>
                  <a:pt x="3907" y="4341"/>
                </a:lnTo>
                <a:cubicBezTo>
                  <a:pt x="3687" y="4341"/>
                  <a:pt x="3529" y="4183"/>
                  <a:pt x="3529" y="3994"/>
                </a:cubicBezTo>
                <a:cubicBezTo>
                  <a:pt x="3529" y="3805"/>
                  <a:pt x="3687" y="3616"/>
                  <a:pt x="3907" y="3616"/>
                </a:cubicBezTo>
                <a:close/>
                <a:moveTo>
                  <a:pt x="8948" y="5097"/>
                </a:moveTo>
                <a:cubicBezTo>
                  <a:pt x="9137" y="5097"/>
                  <a:pt x="9295" y="5254"/>
                  <a:pt x="9295" y="5443"/>
                </a:cubicBezTo>
                <a:cubicBezTo>
                  <a:pt x="9295" y="5632"/>
                  <a:pt x="9137" y="5790"/>
                  <a:pt x="8948" y="5790"/>
                </a:cubicBezTo>
                <a:lnTo>
                  <a:pt x="3214" y="5790"/>
                </a:lnTo>
                <a:cubicBezTo>
                  <a:pt x="3025" y="5790"/>
                  <a:pt x="2868" y="5632"/>
                  <a:pt x="2868" y="5443"/>
                </a:cubicBezTo>
                <a:cubicBezTo>
                  <a:pt x="2868" y="5254"/>
                  <a:pt x="3025" y="5097"/>
                  <a:pt x="3214" y="5097"/>
                </a:cubicBezTo>
                <a:close/>
                <a:moveTo>
                  <a:pt x="4600" y="6514"/>
                </a:moveTo>
                <a:cubicBezTo>
                  <a:pt x="4443" y="6703"/>
                  <a:pt x="4317" y="6987"/>
                  <a:pt x="4285" y="7207"/>
                </a:cubicBezTo>
                <a:lnTo>
                  <a:pt x="2490" y="7207"/>
                </a:lnTo>
                <a:cubicBezTo>
                  <a:pt x="2269" y="7207"/>
                  <a:pt x="2112" y="7050"/>
                  <a:pt x="2112" y="6861"/>
                </a:cubicBezTo>
                <a:cubicBezTo>
                  <a:pt x="2112" y="6672"/>
                  <a:pt x="2269" y="6514"/>
                  <a:pt x="2490" y="6514"/>
                </a:cubicBezTo>
                <a:close/>
                <a:moveTo>
                  <a:pt x="9641" y="6514"/>
                </a:moveTo>
                <a:cubicBezTo>
                  <a:pt x="9830" y="6514"/>
                  <a:pt x="9988" y="6672"/>
                  <a:pt x="9988" y="6861"/>
                </a:cubicBezTo>
                <a:cubicBezTo>
                  <a:pt x="9988" y="7050"/>
                  <a:pt x="9830" y="7207"/>
                  <a:pt x="9641" y="7207"/>
                </a:cubicBezTo>
                <a:lnTo>
                  <a:pt x="7845" y="7207"/>
                </a:lnTo>
                <a:cubicBezTo>
                  <a:pt x="7782" y="6955"/>
                  <a:pt x="7688" y="6703"/>
                  <a:pt x="7530" y="6514"/>
                </a:cubicBezTo>
                <a:close/>
                <a:moveTo>
                  <a:pt x="4317" y="7932"/>
                </a:moveTo>
                <a:cubicBezTo>
                  <a:pt x="4380" y="8184"/>
                  <a:pt x="4506" y="8436"/>
                  <a:pt x="4632" y="8625"/>
                </a:cubicBezTo>
                <a:lnTo>
                  <a:pt x="3246" y="8625"/>
                </a:lnTo>
                <a:cubicBezTo>
                  <a:pt x="3025" y="8625"/>
                  <a:pt x="2868" y="8468"/>
                  <a:pt x="2868" y="8279"/>
                </a:cubicBezTo>
                <a:cubicBezTo>
                  <a:pt x="2868" y="8090"/>
                  <a:pt x="3025" y="7932"/>
                  <a:pt x="3246" y="7932"/>
                </a:cubicBezTo>
                <a:close/>
                <a:moveTo>
                  <a:pt x="6050" y="6514"/>
                </a:moveTo>
                <a:cubicBezTo>
                  <a:pt x="6648" y="6514"/>
                  <a:pt x="7121" y="6987"/>
                  <a:pt x="7121" y="7554"/>
                </a:cubicBezTo>
                <a:cubicBezTo>
                  <a:pt x="7121" y="8153"/>
                  <a:pt x="6648" y="8625"/>
                  <a:pt x="6050" y="8625"/>
                </a:cubicBezTo>
                <a:cubicBezTo>
                  <a:pt x="5483" y="8625"/>
                  <a:pt x="5010" y="8153"/>
                  <a:pt x="5010" y="7554"/>
                </a:cubicBezTo>
                <a:cubicBezTo>
                  <a:pt x="5010" y="6987"/>
                  <a:pt x="5483" y="6514"/>
                  <a:pt x="6050" y="6514"/>
                </a:cubicBezTo>
                <a:close/>
                <a:moveTo>
                  <a:pt x="8948" y="7932"/>
                </a:moveTo>
                <a:cubicBezTo>
                  <a:pt x="9137" y="7932"/>
                  <a:pt x="9295" y="8090"/>
                  <a:pt x="9295" y="8279"/>
                </a:cubicBezTo>
                <a:cubicBezTo>
                  <a:pt x="9295" y="8468"/>
                  <a:pt x="9137" y="8625"/>
                  <a:pt x="8948" y="8625"/>
                </a:cubicBezTo>
                <a:lnTo>
                  <a:pt x="7530" y="8625"/>
                </a:lnTo>
                <a:cubicBezTo>
                  <a:pt x="7688" y="8436"/>
                  <a:pt x="7782" y="8216"/>
                  <a:pt x="7845" y="7932"/>
                </a:cubicBezTo>
                <a:close/>
                <a:moveTo>
                  <a:pt x="8192" y="9350"/>
                </a:moveTo>
                <a:cubicBezTo>
                  <a:pt x="8381" y="9350"/>
                  <a:pt x="8539" y="9507"/>
                  <a:pt x="8539" y="9696"/>
                </a:cubicBezTo>
                <a:cubicBezTo>
                  <a:pt x="8539" y="9885"/>
                  <a:pt x="8381" y="10043"/>
                  <a:pt x="8192" y="10043"/>
                </a:cubicBezTo>
                <a:lnTo>
                  <a:pt x="3907" y="10043"/>
                </a:lnTo>
                <a:cubicBezTo>
                  <a:pt x="3687" y="10043"/>
                  <a:pt x="3529" y="9885"/>
                  <a:pt x="3529" y="9696"/>
                </a:cubicBezTo>
                <a:cubicBezTo>
                  <a:pt x="3529" y="9507"/>
                  <a:pt x="3687" y="9350"/>
                  <a:pt x="3907" y="9350"/>
                </a:cubicBezTo>
                <a:close/>
                <a:moveTo>
                  <a:pt x="7467" y="10799"/>
                </a:moveTo>
                <a:cubicBezTo>
                  <a:pt x="7688" y="10799"/>
                  <a:pt x="7845" y="10957"/>
                  <a:pt x="7845" y="11146"/>
                </a:cubicBezTo>
                <a:cubicBezTo>
                  <a:pt x="7845" y="11366"/>
                  <a:pt x="7688" y="11492"/>
                  <a:pt x="7467" y="11492"/>
                </a:cubicBezTo>
                <a:lnTo>
                  <a:pt x="4632" y="11492"/>
                </a:lnTo>
                <a:cubicBezTo>
                  <a:pt x="4443" y="11492"/>
                  <a:pt x="4285" y="11335"/>
                  <a:pt x="4285" y="11146"/>
                </a:cubicBezTo>
                <a:cubicBezTo>
                  <a:pt x="4285" y="10957"/>
                  <a:pt x="4443" y="10799"/>
                  <a:pt x="4632" y="10799"/>
                </a:cubicBezTo>
                <a:close/>
                <a:moveTo>
                  <a:pt x="8917" y="1"/>
                </a:moveTo>
                <a:cubicBezTo>
                  <a:pt x="8830" y="1"/>
                  <a:pt x="8743" y="40"/>
                  <a:pt x="8665" y="119"/>
                </a:cubicBezTo>
                <a:cubicBezTo>
                  <a:pt x="8507" y="276"/>
                  <a:pt x="8507" y="497"/>
                  <a:pt x="8665" y="654"/>
                </a:cubicBezTo>
                <a:lnTo>
                  <a:pt x="9484" y="1474"/>
                </a:lnTo>
                <a:lnTo>
                  <a:pt x="347" y="1474"/>
                </a:lnTo>
                <a:cubicBezTo>
                  <a:pt x="158" y="1474"/>
                  <a:pt x="1" y="1631"/>
                  <a:pt x="1" y="1820"/>
                </a:cubicBezTo>
                <a:cubicBezTo>
                  <a:pt x="1" y="2009"/>
                  <a:pt x="158" y="2167"/>
                  <a:pt x="347" y="2167"/>
                </a:cubicBezTo>
                <a:lnTo>
                  <a:pt x="1639" y="2167"/>
                </a:lnTo>
                <a:lnTo>
                  <a:pt x="820" y="3017"/>
                </a:lnTo>
                <a:cubicBezTo>
                  <a:pt x="662" y="3175"/>
                  <a:pt x="662" y="3364"/>
                  <a:pt x="820" y="3521"/>
                </a:cubicBezTo>
                <a:cubicBezTo>
                  <a:pt x="899" y="3600"/>
                  <a:pt x="985" y="3640"/>
                  <a:pt x="1072" y="3640"/>
                </a:cubicBezTo>
                <a:cubicBezTo>
                  <a:pt x="1159" y="3640"/>
                  <a:pt x="1245" y="3600"/>
                  <a:pt x="1324" y="3521"/>
                </a:cubicBezTo>
                <a:lnTo>
                  <a:pt x="2679" y="2167"/>
                </a:lnTo>
                <a:lnTo>
                  <a:pt x="5735" y="2167"/>
                </a:lnTo>
                <a:lnTo>
                  <a:pt x="5735" y="2923"/>
                </a:lnTo>
                <a:lnTo>
                  <a:pt x="3970" y="2923"/>
                </a:lnTo>
                <a:cubicBezTo>
                  <a:pt x="3372" y="2923"/>
                  <a:pt x="2899" y="3395"/>
                  <a:pt x="2899" y="3994"/>
                </a:cubicBezTo>
                <a:cubicBezTo>
                  <a:pt x="2899" y="4152"/>
                  <a:pt x="2962" y="4246"/>
                  <a:pt x="2994" y="4372"/>
                </a:cubicBezTo>
                <a:cubicBezTo>
                  <a:pt x="2521" y="4498"/>
                  <a:pt x="2206" y="4939"/>
                  <a:pt x="2206" y="5412"/>
                </a:cubicBezTo>
                <a:cubicBezTo>
                  <a:pt x="2206" y="5569"/>
                  <a:pt x="2238" y="5664"/>
                  <a:pt x="2269" y="5790"/>
                </a:cubicBezTo>
                <a:cubicBezTo>
                  <a:pt x="1797" y="5916"/>
                  <a:pt x="1481" y="6357"/>
                  <a:pt x="1481" y="6829"/>
                </a:cubicBezTo>
                <a:cubicBezTo>
                  <a:pt x="1481" y="7334"/>
                  <a:pt x="1797" y="7743"/>
                  <a:pt x="2269" y="7838"/>
                </a:cubicBezTo>
                <a:cubicBezTo>
                  <a:pt x="2238" y="7964"/>
                  <a:pt x="2206" y="8090"/>
                  <a:pt x="2206" y="8247"/>
                </a:cubicBezTo>
                <a:cubicBezTo>
                  <a:pt x="2206" y="8751"/>
                  <a:pt x="2553" y="9129"/>
                  <a:pt x="2994" y="9255"/>
                </a:cubicBezTo>
                <a:cubicBezTo>
                  <a:pt x="2962" y="9381"/>
                  <a:pt x="2899" y="9507"/>
                  <a:pt x="2899" y="9665"/>
                </a:cubicBezTo>
                <a:cubicBezTo>
                  <a:pt x="2899" y="10169"/>
                  <a:pt x="3277" y="10547"/>
                  <a:pt x="3687" y="10673"/>
                </a:cubicBezTo>
                <a:cubicBezTo>
                  <a:pt x="3655" y="10799"/>
                  <a:pt x="3624" y="10925"/>
                  <a:pt x="3624" y="11083"/>
                </a:cubicBezTo>
                <a:cubicBezTo>
                  <a:pt x="3624" y="11650"/>
                  <a:pt x="4096" y="12122"/>
                  <a:pt x="4695" y="12122"/>
                </a:cubicBezTo>
                <a:lnTo>
                  <a:pt x="7530" y="12122"/>
                </a:lnTo>
                <a:cubicBezTo>
                  <a:pt x="8097" y="12122"/>
                  <a:pt x="8570" y="11650"/>
                  <a:pt x="8570" y="11083"/>
                </a:cubicBezTo>
                <a:cubicBezTo>
                  <a:pt x="8570" y="10925"/>
                  <a:pt x="8539" y="10799"/>
                  <a:pt x="8507" y="10673"/>
                </a:cubicBezTo>
                <a:cubicBezTo>
                  <a:pt x="8980" y="10547"/>
                  <a:pt x="9295" y="10137"/>
                  <a:pt x="9295" y="9665"/>
                </a:cubicBezTo>
                <a:cubicBezTo>
                  <a:pt x="9295" y="9507"/>
                  <a:pt x="9263" y="9381"/>
                  <a:pt x="9200" y="9255"/>
                </a:cubicBezTo>
                <a:cubicBezTo>
                  <a:pt x="9673" y="9129"/>
                  <a:pt x="9988" y="8720"/>
                  <a:pt x="9988" y="8247"/>
                </a:cubicBezTo>
                <a:cubicBezTo>
                  <a:pt x="9988" y="8090"/>
                  <a:pt x="9956" y="7964"/>
                  <a:pt x="9925" y="7838"/>
                </a:cubicBezTo>
                <a:cubicBezTo>
                  <a:pt x="10397" y="7712"/>
                  <a:pt x="10712" y="7302"/>
                  <a:pt x="10712" y="6829"/>
                </a:cubicBezTo>
                <a:cubicBezTo>
                  <a:pt x="10712" y="6294"/>
                  <a:pt x="10366" y="5916"/>
                  <a:pt x="9925" y="5790"/>
                </a:cubicBezTo>
                <a:cubicBezTo>
                  <a:pt x="9956" y="5664"/>
                  <a:pt x="9988" y="5569"/>
                  <a:pt x="9988" y="5412"/>
                </a:cubicBezTo>
                <a:cubicBezTo>
                  <a:pt x="9988" y="4876"/>
                  <a:pt x="9641" y="4498"/>
                  <a:pt x="9200" y="4372"/>
                </a:cubicBezTo>
                <a:cubicBezTo>
                  <a:pt x="9263" y="4246"/>
                  <a:pt x="9295" y="4152"/>
                  <a:pt x="9295" y="3994"/>
                </a:cubicBezTo>
                <a:cubicBezTo>
                  <a:pt x="9295" y="3395"/>
                  <a:pt x="8822" y="2923"/>
                  <a:pt x="8224" y="2923"/>
                </a:cubicBezTo>
                <a:lnTo>
                  <a:pt x="6459" y="2923"/>
                </a:lnTo>
                <a:lnTo>
                  <a:pt x="6459" y="2167"/>
                </a:lnTo>
                <a:lnTo>
                  <a:pt x="11815" y="2167"/>
                </a:lnTo>
                <a:cubicBezTo>
                  <a:pt x="12004" y="2167"/>
                  <a:pt x="12162" y="2009"/>
                  <a:pt x="12162" y="1820"/>
                </a:cubicBezTo>
                <a:cubicBezTo>
                  <a:pt x="12162" y="1631"/>
                  <a:pt x="12004" y="1474"/>
                  <a:pt x="11815" y="1474"/>
                </a:cubicBezTo>
                <a:lnTo>
                  <a:pt x="10523" y="1474"/>
                </a:lnTo>
                <a:lnTo>
                  <a:pt x="9169" y="119"/>
                </a:lnTo>
                <a:cubicBezTo>
                  <a:pt x="9090" y="40"/>
                  <a:pt x="9003" y="1"/>
                  <a:pt x="89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80"/>
          <p:cNvSpPr/>
          <p:nvPr/>
        </p:nvSpPr>
        <p:spPr>
          <a:xfrm>
            <a:off x="3765566" y="2273932"/>
            <a:ext cx="473881" cy="475125"/>
          </a:xfrm>
          <a:custGeom>
            <a:avLst/>
            <a:gdLst/>
            <a:ahLst/>
            <a:cxnLst/>
            <a:rect l="l" t="t" r="r" b="b"/>
            <a:pathLst>
              <a:path w="12193" h="12225" extrusionOk="0">
                <a:moveTo>
                  <a:pt x="8601" y="694"/>
                </a:moveTo>
                <a:cubicBezTo>
                  <a:pt x="9011" y="694"/>
                  <a:pt x="9326" y="1009"/>
                  <a:pt x="9326" y="1418"/>
                </a:cubicBezTo>
                <a:cubicBezTo>
                  <a:pt x="9326" y="1796"/>
                  <a:pt x="9011" y="2111"/>
                  <a:pt x="8601" y="2111"/>
                </a:cubicBezTo>
                <a:cubicBezTo>
                  <a:pt x="8223" y="2111"/>
                  <a:pt x="7908" y="1796"/>
                  <a:pt x="7908" y="1418"/>
                </a:cubicBezTo>
                <a:cubicBezTo>
                  <a:pt x="7908" y="1009"/>
                  <a:pt x="8223" y="694"/>
                  <a:pt x="8601" y="694"/>
                </a:cubicBezTo>
                <a:close/>
                <a:moveTo>
                  <a:pt x="10428" y="1418"/>
                </a:moveTo>
                <a:cubicBezTo>
                  <a:pt x="11027" y="1418"/>
                  <a:pt x="11500" y="1891"/>
                  <a:pt x="11500" y="2458"/>
                </a:cubicBezTo>
                <a:cubicBezTo>
                  <a:pt x="11058" y="2238"/>
                  <a:pt x="10586" y="2111"/>
                  <a:pt x="10113" y="2111"/>
                </a:cubicBezTo>
                <a:lnTo>
                  <a:pt x="9861" y="2111"/>
                </a:lnTo>
                <a:cubicBezTo>
                  <a:pt x="9987" y="1922"/>
                  <a:pt x="10082" y="1639"/>
                  <a:pt x="10082" y="1418"/>
                </a:cubicBezTo>
                <a:close/>
                <a:moveTo>
                  <a:pt x="7624" y="2427"/>
                </a:moveTo>
                <a:lnTo>
                  <a:pt x="7624" y="2427"/>
                </a:lnTo>
                <a:cubicBezTo>
                  <a:pt x="7782" y="2616"/>
                  <a:pt x="8034" y="2742"/>
                  <a:pt x="8255" y="2836"/>
                </a:cubicBezTo>
                <a:cubicBezTo>
                  <a:pt x="8223" y="3088"/>
                  <a:pt x="8286" y="3340"/>
                  <a:pt x="8412" y="3466"/>
                </a:cubicBezTo>
                <a:lnTo>
                  <a:pt x="9704" y="4915"/>
                </a:lnTo>
                <a:cubicBezTo>
                  <a:pt x="10239" y="5483"/>
                  <a:pt x="10334" y="6270"/>
                  <a:pt x="9987" y="6932"/>
                </a:cubicBezTo>
                <a:cubicBezTo>
                  <a:pt x="9672" y="7530"/>
                  <a:pt x="9074" y="7877"/>
                  <a:pt x="8412" y="7877"/>
                </a:cubicBezTo>
                <a:lnTo>
                  <a:pt x="7750" y="7877"/>
                </a:lnTo>
                <a:cubicBezTo>
                  <a:pt x="7813" y="7688"/>
                  <a:pt x="7908" y="7467"/>
                  <a:pt x="7908" y="7278"/>
                </a:cubicBezTo>
                <a:lnTo>
                  <a:pt x="7908" y="7152"/>
                </a:lnTo>
                <a:lnTo>
                  <a:pt x="8475" y="7152"/>
                </a:lnTo>
                <a:cubicBezTo>
                  <a:pt x="8853" y="7152"/>
                  <a:pt x="9200" y="6963"/>
                  <a:pt x="9420" y="6617"/>
                </a:cubicBezTo>
                <a:cubicBezTo>
                  <a:pt x="9672" y="6144"/>
                  <a:pt x="9483" y="5609"/>
                  <a:pt x="9326" y="5451"/>
                </a:cubicBezTo>
                <a:lnTo>
                  <a:pt x="7908" y="3970"/>
                </a:lnTo>
                <a:cubicBezTo>
                  <a:pt x="7530" y="3561"/>
                  <a:pt x="7435" y="2931"/>
                  <a:pt x="7624" y="2427"/>
                </a:cubicBezTo>
                <a:close/>
                <a:moveTo>
                  <a:pt x="4398" y="4298"/>
                </a:moveTo>
                <a:cubicBezTo>
                  <a:pt x="4581" y="4298"/>
                  <a:pt x="4764" y="4315"/>
                  <a:pt x="4946" y="4348"/>
                </a:cubicBezTo>
                <a:cubicBezTo>
                  <a:pt x="6238" y="4632"/>
                  <a:pt x="7183" y="5861"/>
                  <a:pt x="7183" y="7278"/>
                </a:cubicBezTo>
                <a:cubicBezTo>
                  <a:pt x="7183" y="7593"/>
                  <a:pt x="6931" y="7877"/>
                  <a:pt x="6616" y="7877"/>
                </a:cubicBezTo>
                <a:lnTo>
                  <a:pt x="2143" y="7877"/>
                </a:lnTo>
                <a:cubicBezTo>
                  <a:pt x="1607" y="7877"/>
                  <a:pt x="1134" y="8003"/>
                  <a:pt x="725" y="8223"/>
                </a:cubicBezTo>
                <a:cubicBezTo>
                  <a:pt x="725" y="7625"/>
                  <a:pt x="1197" y="7152"/>
                  <a:pt x="1796" y="7152"/>
                </a:cubicBezTo>
                <a:lnTo>
                  <a:pt x="5388" y="7152"/>
                </a:lnTo>
                <a:cubicBezTo>
                  <a:pt x="5577" y="7152"/>
                  <a:pt x="5734" y="6995"/>
                  <a:pt x="5734" y="6806"/>
                </a:cubicBezTo>
                <a:cubicBezTo>
                  <a:pt x="5734" y="6617"/>
                  <a:pt x="5577" y="6459"/>
                  <a:pt x="5388" y="6459"/>
                </a:cubicBezTo>
                <a:lnTo>
                  <a:pt x="2930" y="6459"/>
                </a:lnTo>
                <a:cubicBezTo>
                  <a:pt x="3088" y="6018"/>
                  <a:pt x="3497" y="5735"/>
                  <a:pt x="3970" y="5735"/>
                </a:cubicBezTo>
                <a:lnTo>
                  <a:pt x="4663" y="5735"/>
                </a:lnTo>
                <a:cubicBezTo>
                  <a:pt x="4883" y="5735"/>
                  <a:pt x="5041" y="5577"/>
                  <a:pt x="5041" y="5388"/>
                </a:cubicBezTo>
                <a:cubicBezTo>
                  <a:pt x="5041" y="5199"/>
                  <a:pt x="4883" y="5041"/>
                  <a:pt x="4663" y="5041"/>
                </a:cubicBezTo>
                <a:lnTo>
                  <a:pt x="3970" y="5041"/>
                </a:lnTo>
                <a:cubicBezTo>
                  <a:pt x="3088" y="5041"/>
                  <a:pt x="2395" y="5672"/>
                  <a:pt x="2237" y="6459"/>
                </a:cubicBezTo>
                <a:lnTo>
                  <a:pt x="1796" y="6459"/>
                </a:lnTo>
                <a:cubicBezTo>
                  <a:pt x="1733" y="6459"/>
                  <a:pt x="1607" y="6459"/>
                  <a:pt x="1512" y="6491"/>
                </a:cubicBezTo>
                <a:cubicBezTo>
                  <a:pt x="1670" y="5861"/>
                  <a:pt x="2048" y="5293"/>
                  <a:pt x="2552" y="4915"/>
                </a:cubicBezTo>
                <a:cubicBezTo>
                  <a:pt x="3072" y="4519"/>
                  <a:pt x="3728" y="4298"/>
                  <a:pt x="4398" y="4298"/>
                </a:cubicBezTo>
                <a:close/>
                <a:moveTo>
                  <a:pt x="5041" y="8728"/>
                </a:moveTo>
                <a:lnTo>
                  <a:pt x="5041" y="9295"/>
                </a:lnTo>
                <a:lnTo>
                  <a:pt x="4316" y="9295"/>
                </a:lnTo>
                <a:lnTo>
                  <a:pt x="5041" y="8728"/>
                </a:lnTo>
                <a:close/>
                <a:moveTo>
                  <a:pt x="8601" y="1"/>
                </a:moveTo>
                <a:cubicBezTo>
                  <a:pt x="7750" y="1"/>
                  <a:pt x="7089" y="757"/>
                  <a:pt x="7215" y="1607"/>
                </a:cubicBezTo>
                <a:cubicBezTo>
                  <a:pt x="6585" y="2458"/>
                  <a:pt x="6616" y="3655"/>
                  <a:pt x="7309" y="4443"/>
                </a:cubicBezTo>
                <a:lnTo>
                  <a:pt x="8727" y="5955"/>
                </a:lnTo>
                <a:cubicBezTo>
                  <a:pt x="8853" y="6176"/>
                  <a:pt x="8696" y="6491"/>
                  <a:pt x="8412" y="6491"/>
                </a:cubicBezTo>
                <a:lnTo>
                  <a:pt x="7782" y="6491"/>
                </a:lnTo>
                <a:cubicBezTo>
                  <a:pt x="7467" y="5104"/>
                  <a:pt x="6459" y="4002"/>
                  <a:pt x="5073" y="3750"/>
                </a:cubicBezTo>
                <a:cubicBezTo>
                  <a:pt x="4809" y="3688"/>
                  <a:pt x="4546" y="3658"/>
                  <a:pt x="4286" y="3658"/>
                </a:cubicBezTo>
                <a:cubicBezTo>
                  <a:pt x="3490" y="3658"/>
                  <a:pt x="2729" y="3936"/>
                  <a:pt x="2111" y="4411"/>
                </a:cubicBezTo>
                <a:cubicBezTo>
                  <a:pt x="1323" y="5010"/>
                  <a:pt x="851" y="5892"/>
                  <a:pt x="725" y="6837"/>
                </a:cubicBezTo>
                <a:cubicBezTo>
                  <a:pt x="315" y="7152"/>
                  <a:pt x="0" y="7719"/>
                  <a:pt x="0" y="8286"/>
                </a:cubicBezTo>
                <a:lnTo>
                  <a:pt x="0" y="9011"/>
                </a:lnTo>
                <a:cubicBezTo>
                  <a:pt x="0" y="9218"/>
                  <a:pt x="163" y="9357"/>
                  <a:pt x="328" y="9357"/>
                </a:cubicBezTo>
                <a:cubicBezTo>
                  <a:pt x="415" y="9357"/>
                  <a:pt x="502" y="9318"/>
                  <a:pt x="567" y="9232"/>
                </a:cubicBezTo>
                <a:cubicBezTo>
                  <a:pt x="977" y="8854"/>
                  <a:pt x="1512" y="8664"/>
                  <a:pt x="2080" y="8664"/>
                </a:cubicBezTo>
                <a:lnTo>
                  <a:pt x="4033" y="8664"/>
                </a:lnTo>
                <a:lnTo>
                  <a:pt x="2993" y="9452"/>
                </a:lnTo>
                <a:cubicBezTo>
                  <a:pt x="2710" y="9641"/>
                  <a:pt x="2867" y="10082"/>
                  <a:pt x="3182" y="10082"/>
                </a:cubicBezTo>
                <a:lnTo>
                  <a:pt x="4946" y="10082"/>
                </a:lnTo>
                <a:lnTo>
                  <a:pt x="4946" y="11878"/>
                </a:lnTo>
                <a:cubicBezTo>
                  <a:pt x="4946" y="12067"/>
                  <a:pt x="5104" y="12225"/>
                  <a:pt x="5293" y="12225"/>
                </a:cubicBezTo>
                <a:cubicBezTo>
                  <a:pt x="5514" y="12225"/>
                  <a:pt x="5671" y="12067"/>
                  <a:pt x="5671" y="11878"/>
                </a:cubicBezTo>
                <a:lnTo>
                  <a:pt x="5671" y="10082"/>
                </a:lnTo>
                <a:lnTo>
                  <a:pt x="6364" y="10082"/>
                </a:lnTo>
                <a:lnTo>
                  <a:pt x="6364" y="10429"/>
                </a:lnTo>
                <a:cubicBezTo>
                  <a:pt x="6364" y="10618"/>
                  <a:pt x="6522" y="10775"/>
                  <a:pt x="6711" y="10775"/>
                </a:cubicBezTo>
                <a:cubicBezTo>
                  <a:pt x="6931" y="10775"/>
                  <a:pt x="7089" y="10618"/>
                  <a:pt x="7089" y="10429"/>
                </a:cubicBezTo>
                <a:lnTo>
                  <a:pt x="7089" y="9704"/>
                </a:lnTo>
                <a:cubicBezTo>
                  <a:pt x="7089" y="9515"/>
                  <a:pt x="6931" y="9358"/>
                  <a:pt x="6711" y="9358"/>
                </a:cubicBezTo>
                <a:lnTo>
                  <a:pt x="5671" y="9358"/>
                </a:lnTo>
                <a:lnTo>
                  <a:pt x="5671" y="8664"/>
                </a:lnTo>
                <a:lnTo>
                  <a:pt x="8349" y="8664"/>
                </a:lnTo>
                <a:cubicBezTo>
                  <a:pt x="9231" y="8664"/>
                  <a:pt x="10113" y="8129"/>
                  <a:pt x="10554" y="7341"/>
                </a:cubicBezTo>
                <a:cubicBezTo>
                  <a:pt x="11027" y="6396"/>
                  <a:pt x="10901" y="5293"/>
                  <a:pt x="10145" y="4506"/>
                </a:cubicBezTo>
                <a:lnTo>
                  <a:pt x="8822" y="3057"/>
                </a:lnTo>
                <a:lnTo>
                  <a:pt x="8822" y="2994"/>
                </a:lnTo>
                <a:cubicBezTo>
                  <a:pt x="8853" y="2931"/>
                  <a:pt x="8759" y="2931"/>
                  <a:pt x="9987" y="2931"/>
                </a:cubicBezTo>
                <a:cubicBezTo>
                  <a:pt x="10554" y="2931"/>
                  <a:pt x="11058" y="3151"/>
                  <a:pt x="11437" y="3529"/>
                </a:cubicBezTo>
                <a:cubicBezTo>
                  <a:pt x="11523" y="3616"/>
                  <a:pt x="11621" y="3654"/>
                  <a:pt x="11712" y="3654"/>
                </a:cubicBezTo>
                <a:cubicBezTo>
                  <a:pt x="11886" y="3654"/>
                  <a:pt x="12035" y="3515"/>
                  <a:pt x="12035" y="3309"/>
                </a:cubicBezTo>
                <a:lnTo>
                  <a:pt x="12035" y="2584"/>
                </a:lnTo>
                <a:cubicBezTo>
                  <a:pt x="12193" y="1481"/>
                  <a:pt x="11374" y="694"/>
                  <a:pt x="10397" y="694"/>
                </a:cubicBezTo>
                <a:lnTo>
                  <a:pt x="9830" y="694"/>
                </a:lnTo>
                <a:cubicBezTo>
                  <a:pt x="9609" y="284"/>
                  <a:pt x="9137"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80"/>
          <p:cNvSpPr/>
          <p:nvPr/>
        </p:nvSpPr>
        <p:spPr>
          <a:xfrm>
            <a:off x="3757598" y="2851126"/>
            <a:ext cx="489816" cy="473881"/>
          </a:xfrm>
          <a:custGeom>
            <a:avLst/>
            <a:gdLst/>
            <a:ahLst/>
            <a:cxnLst/>
            <a:rect l="l" t="t" r="r" b="b"/>
            <a:pathLst>
              <a:path w="12603" h="12193" extrusionOk="0">
                <a:moveTo>
                  <a:pt x="9547" y="5986"/>
                </a:moveTo>
                <a:cubicBezTo>
                  <a:pt x="9767" y="6364"/>
                  <a:pt x="9925" y="6742"/>
                  <a:pt x="10019" y="7152"/>
                </a:cubicBezTo>
                <a:lnTo>
                  <a:pt x="8381" y="7152"/>
                </a:lnTo>
                <a:lnTo>
                  <a:pt x="9547" y="5986"/>
                </a:lnTo>
                <a:close/>
                <a:moveTo>
                  <a:pt x="9988" y="7845"/>
                </a:moveTo>
                <a:cubicBezTo>
                  <a:pt x="9925" y="8255"/>
                  <a:pt x="9767" y="8633"/>
                  <a:pt x="9515" y="8979"/>
                </a:cubicBezTo>
                <a:lnTo>
                  <a:pt x="8381" y="7845"/>
                </a:lnTo>
                <a:close/>
                <a:moveTo>
                  <a:pt x="7152" y="8349"/>
                </a:moveTo>
                <a:lnTo>
                  <a:pt x="7152" y="9987"/>
                </a:lnTo>
                <a:cubicBezTo>
                  <a:pt x="6774" y="9924"/>
                  <a:pt x="6365" y="9767"/>
                  <a:pt x="6018" y="9515"/>
                </a:cubicBezTo>
                <a:lnTo>
                  <a:pt x="7152" y="8349"/>
                </a:lnTo>
                <a:close/>
                <a:moveTo>
                  <a:pt x="7877" y="8349"/>
                </a:moveTo>
                <a:lnTo>
                  <a:pt x="9011" y="9515"/>
                </a:lnTo>
                <a:cubicBezTo>
                  <a:pt x="8665" y="9735"/>
                  <a:pt x="8255" y="9893"/>
                  <a:pt x="7877" y="9987"/>
                </a:cubicBezTo>
                <a:lnTo>
                  <a:pt x="7877" y="8349"/>
                </a:lnTo>
                <a:close/>
                <a:moveTo>
                  <a:pt x="10555" y="4947"/>
                </a:moveTo>
                <a:cubicBezTo>
                  <a:pt x="11815" y="6522"/>
                  <a:pt x="11721" y="8790"/>
                  <a:pt x="10271" y="10240"/>
                </a:cubicBezTo>
                <a:cubicBezTo>
                  <a:pt x="9506" y="11022"/>
                  <a:pt x="8502" y="11409"/>
                  <a:pt x="7503" y="11409"/>
                </a:cubicBezTo>
                <a:cubicBezTo>
                  <a:pt x="6611" y="11409"/>
                  <a:pt x="5723" y="11101"/>
                  <a:pt x="5010" y="10492"/>
                </a:cubicBezTo>
                <a:lnTo>
                  <a:pt x="5514" y="9987"/>
                </a:lnTo>
                <a:cubicBezTo>
                  <a:pt x="6089" y="10447"/>
                  <a:pt x="6788" y="10671"/>
                  <a:pt x="7489" y="10671"/>
                </a:cubicBezTo>
                <a:cubicBezTo>
                  <a:pt x="8325" y="10671"/>
                  <a:pt x="9165" y="10352"/>
                  <a:pt x="9799" y="9735"/>
                </a:cubicBezTo>
                <a:cubicBezTo>
                  <a:pt x="10996" y="8570"/>
                  <a:pt x="11059" y="6711"/>
                  <a:pt x="10051" y="5451"/>
                </a:cubicBezTo>
                <a:lnTo>
                  <a:pt x="10555" y="4947"/>
                </a:lnTo>
                <a:close/>
                <a:moveTo>
                  <a:pt x="5703" y="2143"/>
                </a:moveTo>
                <a:cubicBezTo>
                  <a:pt x="7404" y="2269"/>
                  <a:pt x="8948" y="3371"/>
                  <a:pt x="9641" y="4947"/>
                </a:cubicBezTo>
                <a:lnTo>
                  <a:pt x="4254" y="10334"/>
                </a:lnTo>
                <a:cubicBezTo>
                  <a:pt x="4096" y="10492"/>
                  <a:pt x="4096" y="10681"/>
                  <a:pt x="4254" y="10838"/>
                </a:cubicBezTo>
                <a:cubicBezTo>
                  <a:pt x="4506" y="11090"/>
                  <a:pt x="4758" y="11279"/>
                  <a:pt x="5042" y="11468"/>
                </a:cubicBezTo>
                <a:cubicBezTo>
                  <a:pt x="2584" y="11185"/>
                  <a:pt x="694" y="9137"/>
                  <a:pt x="694" y="6742"/>
                </a:cubicBezTo>
                <a:cubicBezTo>
                  <a:pt x="694" y="4317"/>
                  <a:pt x="2584" y="2300"/>
                  <a:pt x="5010" y="2143"/>
                </a:cubicBezTo>
                <a:lnTo>
                  <a:pt x="5010" y="3056"/>
                </a:lnTo>
                <a:cubicBezTo>
                  <a:pt x="4979" y="2993"/>
                  <a:pt x="4915" y="2993"/>
                  <a:pt x="4884" y="2962"/>
                </a:cubicBezTo>
                <a:cubicBezTo>
                  <a:pt x="4805" y="2883"/>
                  <a:pt x="4719" y="2844"/>
                  <a:pt x="4632" y="2844"/>
                </a:cubicBezTo>
                <a:cubicBezTo>
                  <a:pt x="4545" y="2844"/>
                  <a:pt x="4459" y="2883"/>
                  <a:pt x="4380" y="2962"/>
                </a:cubicBezTo>
                <a:cubicBezTo>
                  <a:pt x="4222" y="3119"/>
                  <a:pt x="4222" y="3308"/>
                  <a:pt x="4380" y="3466"/>
                </a:cubicBezTo>
                <a:cubicBezTo>
                  <a:pt x="4663" y="3750"/>
                  <a:pt x="4979" y="3876"/>
                  <a:pt x="5357" y="3876"/>
                </a:cubicBezTo>
                <a:cubicBezTo>
                  <a:pt x="5766" y="3876"/>
                  <a:pt x="6081" y="3718"/>
                  <a:pt x="6333" y="3466"/>
                </a:cubicBezTo>
                <a:cubicBezTo>
                  <a:pt x="6491" y="3308"/>
                  <a:pt x="6491" y="3119"/>
                  <a:pt x="6333" y="2962"/>
                </a:cubicBezTo>
                <a:cubicBezTo>
                  <a:pt x="6254" y="2883"/>
                  <a:pt x="6168" y="2844"/>
                  <a:pt x="6081" y="2844"/>
                </a:cubicBezTo>
                <a:cubicBezTo>
                  <a:pt x="5995" y="2844"/>
                  <a:pt x="5908" y="2883"/>
                  <a:pt x="5829" y="2962"/>
                </a:cubicBezTo>
                <a:cubicBezTo>
                  <a:pt x="5798" y="2993"/>
                  <a:pt x="5766" y="3056"/>
                  <a:pt x="5703" y="3056"/>
                </a:cubicBezTo>
                <a:lnTo>
                  <a:pt x="5703" y="2143"/>
                </a:lnTo>
                <a:close/>
                <a:moveTo>
                  <a:pt x="3907" y="0"/>
                </a:moveTo>
                <a:cubicBezTo>
                  <a:pt x="3687" y="0"/>
                  <a:pt x="3529" y="158"/>
                  <a:pt x="3529" y="379"/>
                </a:cubicBezTo>
                <a:cubicBezTo>
                  <a:pt x="3529" y="568"/>
                  <a:pt x="3687" y="725"/>
                  <a:pt x="3907" y="725"/>
                </a:cubicBezTo>
                <a:cubicBezTo>
                  <a:pt x="4380" y="725"/>
                  <a:pt x="4758" y="1040"/>
                  <a:pt x="4915" y="1481"/>
                </a:cubicBezTo>
                <a:cubicBezTo>
                  <a:pt x="2175" y="1670"/>
                  <a:pt x="1" y="4002"/>
                  <a:pt x="1" y="6774"/>
                </a:cubicBezTo>
                <a:cubicBezTo>
                  <a:pt x="1" y="9735"/>
                  <a:pt x="2427" y="12193"/>
                  <a:pt x="5420" y="12193"/>
                </a:cubicBezTo>
                <a:cubicBezTo>
                  <a:pt x="5798" y="12193"/>
                  <a:pt x="6144" y="12130"/>
                  <a:pt x="6522" y="12067"/>
                </a:cubicBezTo>
                <a:cubicBezTo>
                  <a:pt x="6858" y="12144"/>
                  <a:pt x="7200" y="12182"/>
                  <a:pt x="7541" y="12182"/>
                </a:cubicBezTo>
                <a:cubicBezTo>
                  <a:pt x="8738" y="12182"/>
                  <a:pt x="9931" y="11714"/>
                  <a:pt x="10838" y="10807"/>
                </a:cubicBezTo>
                <a:cubicBezTo>
                  <a:pt x="12603" y="8948"/>
                  <a:pt x="12603" y="6049"/>
                  <a:pt x="10775" y="4222"/>
                </a:cubicBezTo>
                <a:cubicBezTo>
                  <a:pt x="10697" y="4143"/>
                  <a:pt x="10610" y="4104"/>
                  <a:pt x="10523" y="4104"/>
                </a:cubicBezTo>
                <a:cubicBezTo>
                  <a:pt x="10437" y="4104"/>
                  <a:pt x="10350" y="4143"/>
                  <a:pt x="10271" y="4222"/>
                </a:cubicBezTo>
                <a:lnTo>
                  <a:pt x="10114" y="4380"/>
                </a:lnTo>
                <a:cubicBezTo>
                  <a:pt x="9295" y="2741"/>
                  <a:pt x="7593" y="1544"/>
                  <a:pt x="5640" y="1418"/>
                </a:cubicBezTo>
                <a:cubicBezTo>
                  <a:pt x="5483" y="599"/>
                  <a:pt x="4758" y="0"/>
                  <a:pt x="39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57" name="Google Shape;10657;p80"/>
          <p:cNvGrpSpPr/>
          <p:nvPr/>
        </p:nvGrpSpPr>
        <p:grpSpPr>
          <a:xfrm>
            <a:off x="6713966" y="1688917"/>
            <a:ext cx="413912" cy="472676"/>
            <a:chOff x="-17545650" y="2051350"/>
            <a:chExt cx="266250" cy="304050"/>
          </a:xfrm>
        </p:grpSpPr>
        <p:sp>
          <p:nvSpPr>
            <p:cNvPr id="10658" name="Google Shape;10658;p80"/>
            <p:cNvSpPr/>
            <p:nvPr/>
          </p:nvSpPr>
          <p:spPr>
            <a:xfrm>
              <a:off x="-17475550" y="22301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80"/>
            <p:cNvSpPr/>
            <p:nvPr/>
          </p:nvSpPr>
          <p:spPr>
            <a:xfrm>
              <a:off x="-1745822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80"/>
            <p:cNvSpPr/>
            <p:nvPr/>
          </p:nvSpPr>
          <p:spPr>
            <a:xfrm>
              <a:off x="-1749367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80"/>
            <p:cNvSpPr/>
            <p:nvPr/>
          </p:nvSpPr>
          <p:spPr>
            <a:xfrm>
              <a:off x="-17545650" y="2051350"/>
              <a:ext cx="266250" cy="304050"/>
            </a:xfrm>
            <a:custGeom>
              <a:avLst/>
              <a:gdLst/>
              <a:ahLst/>
              <a:cxnLst/>
              <a:rect l="l" t="t" r="r" b="b"/>
              <a:pathLst>
                <a:path w="10650" h="12162" extrusionOk="0">
                  <a:moveTo>
                    <a:pt x="5640" y="694"/>
                  </a:moveTo>
                  <a:lnTo>
                    <a:pt x="5640" y="1072"/>
                  </a:lnTo>
                  <a:cubicBezTo>
                    <a:pt x="5640" y="1387"/>
                    <a:pt x="5797" y="1671"/>
                    <a:pt x="5986" y="1860"/>
                  </a:cubicBezTo>
                  <a:cubicBezTo>
                    <a:pt x="5797" y="2017"/>
                    <a:pt x="5577" y="2143"/>
                    <a:pt x="5293" y="2143"/>
                  </a:cubicBezTo>
                  <a:cubicBezTo>
                    <a:pt x="5010" y="2143"/>
                    <a:pt x="4789" y="2017"/>
                    <a:pt x="4569" y="1860"/>
                  </a:cubicBezTo>
                  <a:cubicBezTo>
                    <a:pt x="4821" y="1702"/>
                    <a:pt x="4915" y="1387"/>
                    <a:pt x="4915" y="1072"/>
                  </a:cubicBezTo>
                  <a:lnTo>
                    <a:pt x="4915" y="694"/>
                  </a:lnTo>
                  <a:close/>
                  <a:moveTo>
                    <a:pt x="7404" y="2143"/>
                  </a:moveTo>
                  <a:cubicBezTo>
                    <a:pt x="8507" y="2143"/>
                    <a:pt x="9452" y="2868"/>
                    <a:pt x="9799" y="3844"/>
                  </a:cubicBezTo>
                  <a:cubicBezTo>
                    <a:pt x="9893" y="4065"/>
                    <a:pt x="9704" y="4285"/>
                    <a:pt x="9452" y="4285"/>
                  </a:cubicBezTo>
                  <a:lnTo>
                    <a:pt x="8475" y="4285"/>
                  </a:lnTo>
                  <a:cubicBezTo>
                    <a:pt x="8381" y="3403"/>
                    <a:pt x="7971" y="2647"/>
                    <a:pt x="7278" y="2143"/>
                  </a:cubicBezTo>
                  <a:close/>
                  <a:moveTo>
                    <a:pt x="3277" y="2143"/>
                  </a:moveTo>
                  <a:cubicBezTo>
                    <a:pt x="2615" y="2647"/>
                    <a:pt x="2206" y="3435"/>
                    <a:pt x="2080" y="4285"/>
                  </a:cubicBezTo>
                  <a:lnTo>
                    <a:pt x="1103" y="4285"/>
                  </a:lnTo>
                  <a:cubicBezTo>
                    <a:pt x="1092" y="4287"/>
                    <a:pt x="1081" y="4288"/>
                    <a:pt x="1071" y="4288"/>
                  </a:cubicBezTo>
                  <a:cubicBezTo>
                    <a:pt x="893" y="4288"/>
                    <a:pt x="729" y="4052"/>
                    <a:pt x="788" y="3844"/>
                  </a:cubicBezTo>
                  <a:cubicBezTo>
                    <a:pt x="1135" y="2805"/>
                    <a:pt x="2080" y="2143"/>
                    <a:pt x="3151" y="2143"/>
                  </a:cubicBezTo>
                  <a:close/>
                  <a:moveTo>
                    <a:pt x="6428" y="2458"/>
                  </a:moveTo>
                  <a:cubicBezTo>
                    <a:pt x="7152" y="2805"/>
                    <a:pt x="7625" y="3529"/>
                    <a:pt x="7719" y="4317"/>
                  </a:cubicBezTo>
                  <a:lnTo>
                    <a:pt x="2773" y="4317"/>
                  </a:lnTo>
                  <a:cubicBezTo>
                    <a:pt x="2962" y="3529"/>
                    <a:pt x="3435" y="2805"/>
                    <a:pt x="4128" y="2458"/>
                  </a:cubicBezTo>
                  <a:cubicBezTo>
                    <a:pt x="4443" y="2742"/>
                    <a:pt x="4852" y="2899"/>
                    <a:pt x="5293" y="2899"/>
                  </a:cubicBezTo>
                  <a:cubicBezTo>
                    <a:pt x="5734" y="2899"/>
                    <a:pt x="6112" y="2742"/>
                    <a:pt x="6428" y="2458"/>
                  </a:cubicBezTo>
                  <a:close/>
                  <a:moveTo>
                    <a:pt x="9168" y="5010"/>
                  </a:moveTo>
                  <a:lnTo>
                    <a:pt x="9168" y="5861"/>
                  </a:lnTo>
                  <a:lnTo>
                    <a:pt x="9231" y="5861"/>
                  </a:lnTo>
                  <a:cubicBezTo>
                    <a:pt x="9231" y="8381"/>
                    <a:pt x="7656" y="10618"/>
                    <a:pt x="5293" y="11437"/>
                  </a:cubicBezTo>
                  <a:cubicBezTo>
                    <a:pt x="2930" y="10618"/>
                    <a:pt x="1355" y="8350"/>
                    <a:pt x="1355" y="5861"/>
                  </a:cubicBezTo>
                  <a:lnTo>
                    <a:pt x="1355" y="5010"/>
                  </a:lnTo>
                  <a:close/>
                  <a:moveTo>
                    <a:pt x="4600" y="1"/>
                  </a:moveTo>
                  <a:cubicBezTo>
                    <a:pt x="4411" y="1"/>
                    <a:pt x="4254" y="190"/>
                    <a:pt x="4254" y="379"/>
                  </a:cubicBezTo>
                  <a:lnTo>
                    <a:pt x="4254" y="1135"/>
                  </a:lnTo>
                  <a:cubicBezTo>
                    <a:pt x="4254" y="1324"/>
                    <a:pt x="4096" y="1482"/>
                    <a:pt x="3907" y="1482"/>
                  </a:cubicBezTo>
                  <a:lnTo>
                    <a:pt x="3183" y="1482"/>
                  </a:lnTo>
                  <a:cubicBezTo>
                    <a:pt x="1828" y="1482"/>
                    <a:pt x="599" y="2332"/>
                    <a:pt x="158" y="3655"/>
                  </a:cubicBezTo>
                  <a:cubicBezTo>
                    <a:pt x="1" y="4159"/>
                    <a:pt x="253" y="4695"/>
                    <a:pt x="725" y="4916"/>
                  </a:cubicBezTo>
                  <a:lnTo>
                    <a:pt x="725" y="5861"/>
                  </a:lnTo>
                  <a:cubicBezTo>
                    <a:pt x="725" y="7278"/>
                    <a:pt x="1135" y="8602"/>
                    <a:pt x="1985" y="9736"/>
                  </a:cubicBezTo>
                  <a:cubicBezTo>
                    <a:pt x="2804" y="10901"/>
                    <a:pt x="3939" y="11721"/>
                    <a:pt x="5230" y="12162"/>
                  </a:cubicBezTo>
                  <a:lnTo>
                    <a:pt x="5482" y="12162"/>
                  </a:lnTo>
                  <a:cubicBezTo>
                    <a:pt x="6806" y="11721"/>
                    <a:pt x="7908" y="10901"/>
                    <a:pt x="8759" y="9736"/>
                  </a:cubicBezTo>
                  <a:cubicBezTo>
                    <a:pt x="9578" y="8602"/>
                    <a:pt x="10019" y="7278"/>
                    <a:pt x="10019" y="5861"/>
                  </a:cubicBezTo>
                  <a:lnTo>
                    <a:pt x="10019" y="4916"/>
                  </a:lnTo>
                  <a:cubicBezTo>
                    <a:pt x="10397" y="4664"/>
                    <a:pt x="10649" y="4159"/>
                    <a:pt x="10492" y="3655"/>
                  </a:cubicBezTo>
                  <a:cubicBezTo>
                    <a:pt x="10051" y="2332"/>
                    <a:pt x="8822" y="1482"/>
                    <a:pt x="7436" y="1482"/>
                  </a:cubicBezTo>
                  <a:lnTo>
                    <a:pt x="6743" y="1482"/>
                  </a:lnTo>
                  <a:cubicBezTo>
                    <a:pt x="6554" y="1482"/>
                    <a:pt x="6396" y="1324"/>
                    <a:pt x="6396" y="1135"/>
                  </a:cubicBezTo>
                  <a:lnTo>
                    <a:pt x="6396" y="379"/>
                  </a:lnTo>
                  <a:cubicBezTo>
                    <a:pt x="6396" y="190"/>
                    <a:pt x="6238" y="1"/>
                    <a:pt x="60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62" name="Google Shape;10662;p80"/>
          <p:cNvSpPr/>
          <p:nvPr/>
        </p:nvSpPr>
        <p:spPr>
          <a:xfrm>
            <a:off x="6682919" y="2273951"/>
            <a:ext cx="473881" cy="475086"/>
          </a:xfrm>
          <a:custGeom>
            <a:avLst/>
            <a:gdLst/>
            <a:ahLst/>
            <a:cxnLst/>
            <a:rect l="l" t="t" r="r" b="b"/>
            <a:pathLst>
              <a:path w="12193" h="12224" extrusionOk="0">
                <a:moveTo>
                  <a:pt x="6144" y="788"/>
                </a:moveTo>
                <a:cubicBezTo>
                  <a:pt x="6805" y="788"/>
                  <a:pt x="7467" y="914"/>
                  <a:pt x="8097" y="1229"/>
                </a:cubicBezTo>
                <a:cubicBezTo>
                  <a:pt x="7625" y="1859"/>
                  <a:pt x="6931" y="2205"/>
                  <a:pt x="6144" y="2205"/>
                </a:cubicBezTo>
                <a:cubicBezTo>
                  <a:pt x="5356" y="2205"/>
                  <a:pt x="4632" y="1859"/>
                  <a:pt x="4159" y="1229"/>
                </a:cubicBezTo>
                <a:cubicBezTo>
                  <a:pt x="4758" y="945"/>
                  <a:pt x="5482" y="788"/>
                  <a:pt x="6144" y="788"/>
                </a:cubicBezTo>
                <a:close/>
                <a:moveTo>
                  <a:pt x="8727" y="1544"/>
                </a:moveTo>
                <a:cubicBezTo>
                  <a:pt x="9767" y="2268"/>
                  <a:pt x="10523" y="3371"/>
                  <a:pt x="10744" y="4663"/>
                </a:cubicBezTo>
                <a:cubicBezTo>
                  <a:pt x="10775" y="4852"/>
                  <a:pt x="10586" y="5041"/>
                  <a:pt x="10397" y="5041"/>
                </a:cubicBezTo>
                <a:lnTo>
                  <a:pt x="1922" y="5041"/>
                </a:lnTo>
                <a:cubicBezTo>
                  <a:pt x="1639" y="5041"/>
                  <a:pt x="1481" y="4883"/>
                  <a:pt x="1544" y="4663"/>
                </a:cubicBezTo>
                <a:cubicBezTo>
                  <a:pt x="1733" y="3371"/>
                  <a:pt x="2489" y="2268"/>
                  <a:pt x="3529" y="1544"/>
                </a:cubicBezTo>
                <a:cubicBezTo>
                  <a:pt x="4128" y="2363"/>
                  <a:pt x="5104" y="2899"/>
                  <a:pt x="6144" y="2899"/>
                </a:cubicBezTo>
                <a:cubicBezTo>
                  <a:pt x="7152" y="2899"/>
                  <a:pt x="8160" y="2426"/>
                  <a:pt x="8727" y="1544"/>
                </a:cubicBezTo>
                <a:close/>
                <a:moveTo>
                  <a:pt x="10082" y="5765"/>
                </a:moveTo>
                <a:lnTo>
                  <a:pt x="10082" y="6144"/>
                </a:lnTo>
                <a:cubicBezTo>
                  <a:pt x="10082" y="6364"/>
                  <a:pt x="9924" y="6522"/>
                  <a:pt x="9735" y="6522"/>
                </a:cubicBezTo>
                <a:lnTo>
                  <a:pt x="2552" y="6522"/>
                </a:lnTo>
                <a:cubicBezTo>
                  <a:pt x="2363" y="6522"/>
                  <a:pt x="2206" y="6364"/>
                  <a:pt x="2206" y="6144"/>
                </a:cubicBezTo>
                <a:lnTo>
                  <a:pt x="2206" y="5765"/>
                </a:lnTo>
                <a:close/>
                <a:moveTo>
                  <a:pt x="6112" y="0"/>
                </a:moveTo>
                <a:cubicBezTo>
                  <a:pt x="3466" y="0"/>
                  <a:pt x="1229" y="1985"/>
                  <a:pt x="788" y="4505"/>
                </a:cubicBezTo>
                <a:cubicBezTo>
                  <a:pt x="693" y="4978"/>
                  <a:pt x="977" y="5450"/>
                  <a:pt x="1418" y="5639"/>
                </a:cubicBezTo>
                <a:lnTo>
                  <a:pt x="1418" y="6112"/>
                </a:lnTo>
                <a:cubicBezTo>
                  <a:pt x="1418" y="6585"/>
                  <a:pt x="1733" y="6994"/>
                  <a:pt x="2111" y="7152"/>
                </a:cubicBezTo>
                <a:lnTo>
                  <a:pt x="2111" y="7939"/>
                </a:lnTo>
                <a:cubicBezTo>
                  <a:pt x="2111" y="8317"/>
                  <a:pt x="1796" y="8632"/>
                  <a:pt x="1418" y="8632"/>
                </a:cubicBezTo>
                <a:cubicBezTo>
                  <a:pt x="1009" y="8632"/>
                  <a:pt x="693" y="8317"/>
                  <a:pt x="693" y="7939"/>
                </a:cubicBezTo>
                <a:lnTo>
                  <a:pt x="693" y="7561"/>
                </a:lnTo>
                <a:cubicBezTo>
                  <a:pt x="693" y="7372"/>
                  <a:pt x="536" y="7215"/>
                  <a:pt x="347" y="7215"/>
                </a:cubicBezTo>
                <a:cubicBezTo>
                  <a:pt x="158" y="7215"/>
                  <a:pt x="0" y="7372"/>
                  <a:pt x="0" y="7561"/>
                </a:cubicBezTo>
                <a:lnTo>
                  <a:pt x="0" y="7939"/>
                </a:lnTo>
                <a:cubicBezTo>
                  <a:pt x="0" y="8727"/>
                  <a:pt x="630" y="9357"/>
                  <a:pt x="1418" y="9357"/>
                </a:cubicBezTo>
                <a:cubicBezTo>
                  <a:pt x="2206" y="9357"/>
                  <a:pt x="2836" y="8727"/>
                  <a:pt x="2836" y="7939"/>
                </a:cubicBezTo>
                <a:lnTo>
                  <a:pt x="2836" y="7215"/>
                </a:lnTo>
                <a:lnTo>
                  <a:pt x="4285" y="7215"/>
                </a:lnTo>
                <a:lnTo>
                  <a:pt x="4285" y="10806"/>
                </a:lnTo>
                <a:cubicBezTo>
                  <a:pt x="4285" y="11184"/>
                  <a:pt x="3970" y="11499"/>
                  <a:pt x="3592" y="11499"/>
                </a:cubicBezTo>
                <a:cubicBezTo>
                  <a:pt x="3182" y="11499"/>
                  <a:pt x="2867" y="11184"/>
                  <a:pt x="2867" y="10806"/>
                </a:cubicBezTo>
                <a:lnTo>
                  <a:pt x="2867" y="10460"/>
                </a:lnTo>
                <a:cubicBezTo>
                  <a:pt x="2867" y="10239"/>
                  <a:pt x="2710" y="10082"/>
                  <a:pt x="2521" y="10082"/>
                </a:cubicBezTo>
                <a:cubicBezTo>
                  <a:pt x="2332" y="10082"/>
                  <a:pt x="2174" y="10239"/>
                  <a:pt x="2174" y="10460"/>
                </a:cubicBezTo>
                <a:lnTo>
                  <a:pt x="2174" y="10806"/>
                </a:lnTo>
                <a:cubicBezTo>
                  <a:pt x="2174" y="11594"/>
                  <a:pt x="2804" y="12224"/>
                  <a:pt x="3592" y="12224"/>
                </a:cubicBezTo>
                <a:cubicBezTo>
                  <a:pt x="4380" y="12224"/>
                  <a:pt x="5010" y="11594"/>
                  <a:pt x="5010" y="10806"/>
                </a:cubicBezTo>
                <a:lnTo>
                  <a:pt x="5010" y="7215"/>
                </a:lnTo>
                <a:lnTo>
                  <a:pt x="7120" y="7215"/>
                </a:lnTo>
                <a:lnTo>
                  <a:pt x="7120" y="10806"/>
                </a:lnTo>
                <a:cubicBezTo>
                  <a:pt x="7120" y="11594"/>
                  <a:pt x="7751" y="12224"/>
                  <a:pt x="8538" y="12224"/>
                </a:cubicBezTo>
                <a:cubicBezTo>
                  <a:pt x="9326" y="12224"/>
                  <a:pt x="9956" y="11594"/>
                  <a:pt x="9956" y="10806"/>
                </a:cubicBezTo>
                <a:lnTo>
                  <a:pt x="9956" y="10460"/>
                </a:lnTo>
                <a:cubicBezTo>
                  <a:pt x="9956" y="10239"/>
                  <a:pt x="9798" y="10082"/>
                  <a:pt x="9609" y="10082"/>
                </a:cubicBezTo>
                <a:cubicBezTo>
                  <a:pt x="9420" y="10082"/>
                  <a:pt x="9263" y="10239"/>
                  <a:pt x="9263" y="10460"/>
                </a:cubicBezTo>
                <a:lnTo>
                  <a:pt x="9263" y="10806"/>
                </a:lnTo>
                <a:cubicBezTo>
                  <a:pt x="9263" y="11184"/>
                  <a:pt x="8948" y="11499"/>
                  <a:pt x="8538" y="11499"/>
                </a:cubicBezTo>
                <a:cubicBezTo>
                  <a:pt x="8160" y="11499"/>
                  <a:pt x="7845" y="11184"/>
                  <a:pt x="7845" y="10806"/>
                </a:cubicBezTo>
                <a:lnTo>
                  <a:pt x="7845" y="7215"/>
                </a:lnTo>
                <a:lnTo>
                  <a:pt x="9294" y="7215"/>
                </a:lnTo>
                <a:lnTo>
                  <a:pt x="9294" y="7939"/>
                </a:lnTo>
                <a:cubicBezTo>
                  <a:pt x="9294" y="8727"/>
                  <a:pt x="9924" y="9357"/>
                  <a:pt x="10712" y="9357"/>
                </a:cubicBezTo>
                <a:cubicBezTo>
                  <a:pt x="11500" y="9357"/>
                  <a:pt x="12130" y="8727"/>
                  <a:pt x="12130" y="7939"/>
                </a:cubicBezTo>
                <a:lnTo>
                  <a:pt x="12130" y="7561"/>
                </a:lnTo>
                <a:cubicBezTo>
                  <a:pt x="12193" y="7372"/>
                  <a:pt x="12035" y="7215"/>
                  <a:pt x="11846" y="7215"/>
                </a:cubicBezTo>
                <a:cubicBezTo>
                  <a:pt x="11657" y="7215"/>
                  <a:pt x="11500" y="7372"/>
                  <a:pt x="11500" y="7561"/>
                </a:cubicBezTo>
                <a:lnTo>
                  <a:pt x="11500" y="7939"/>
                </a:lnTo>
                <a:cubicBezTo>
                  <a:pt x="11500" y="8317"/>
                  <a:pt x="11185" y="8632"/>
                  <a:pt x="10775" y="8632"/>
                </a:cubicBezTo>
                <a:cubicBezTo>
                  <a:pt x="10397" y="8632"/>
                  <a:pt x="10082" y="8317"/>
                  <a:pt x="10082" y="7939"/>
                </a:cubicBezTo>
                <a:lnTo>
                  <a:pt x="10082" y="7152"/>
                </a:lnTo>
                <a:cubicBezTo>
                  <a:pt x="10523" y="6994"/>
                  <a:pt x="10775" y="6585"/>
                  <a:pt x="10775" y="6112"/>
                </a:cubicBezTo>
                <a:lnTo>
                  <a:pt x="10775" y="5639"/>
                </a:lnTo>
                <a:cubicBezTo>
                  <a:pt x="11216" y="5450"/>
                  <a:pt x="11500" y="4978"/>
                  <a:pt x="11405" y="4505"/>
                </a:cubicBezTo>
                <a:cubicBezTo>
                  <a:pt x="10996" y="1953"/>
                  <a:pt x="8727"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63" name="Google Shape;10663;p80"/>
          <p:cNvGrpSpPr/>
          <p:nvPr/>
        </p:nvGrpSpPr>
        <p:grpSpPr>
          <a:xfrm>
            <a:off x="6684584" y="2865574"/>
            <a:ext cx="472676" cy="444538"/>
            <a:chOff x="-17565350" y="2809825"/>
            <a:chExt cx="304050" cy="285950"/>
          </a:xfrm>
        </p:grpSpPr>
        <p:sp>
          <p:nvSpPr>
            <p:cNvPr id="10664" name="Google Shape;10664;p80"/>
            <p:cNvSpPr/>
            <p:nvPr/>
          </p:nvSpPr>
          <p:spPr>
            <a:xfrm>
              <a:off x="-17458225" y="2970500"/>
              <a:ext cx="18150" cy="17375"/>
            </a:xfrm>
            <a:custGeom>
              <a:avLst/>
              <a:gdLst/>
              <a:ahLst/>
              <a:cxnLst/>
              <a:rect l="l" t="t" r="r" b="b"/>
              <a:pathLst>
                <a:path w="726" h="695" extrusionOk="0">
                  <a:moveTo>
                    <a:pt x="379" y="1"/>
                  </a:moveTo>
                  <a:cubicBezTo>
                    <a:pt x="158" y="1"/>
                    <a:pt x="1" y="158"/>
                    <a:pt x="1" y="347"/>
                  </a:cubicBezTo>
                  <a:cubicBezTo>
                    <a:pt x="1" y="537"/>
                    <a:pt x="158" y="694"/>
                    <a:pt x="379" y="694"/>
                  </a:cubicBezTo>
                  <a:cubicBezTo>
                    <a:pt x="568" y="694"/>
                    <a:pt x="725" y="537"/>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5" name="Google Shape;10665;p80"/>
            <p:cNvSpPr/>
            <p:nvPr/>
          </p:nvSpPr>
          <p:spPr>
            <a:xfrm>
              <a:off x="-17385750" y="297050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80"/>
            <p:cNvSpPr/>
            <p:nvPr/>
          </p:nvSpPr>
          <p:spPr>
            <a:xfrm>
              <a:off x="-17565350" y="2809825"/>
              <a:ext cx="304050" cy="285950"/>
            </a:xfrm>
            <a:custGeom>
              <a:avLst/>
              <a:gdLst/>
              <a:ahLst/>
              <a:cxnLst/>
              <a:rect l="l" t="t" r="r" b="b"/>
              <a:pathLst>
                <a:path w="12162" h="11438" extrusionOk="0">
                  <a:moveTo>
                    <a:pt x="3183" y="726"/>
                  </a:moveTo>
                  <a:cubicBezTo>
                    <a:pt x="4191" y="726"/>
                    <a:pt x="4979" y="1513"/>
                    <a:pt x="4979" y="2490"/>
                  </a:cubicBezTo>
                  <a:cubicBezTo>
                    <a:pt x="4979" y="3466"/>
                    <a:pt x="4191" y="4254"/>
                    <a:pt x="3183" y="4254"/>
                  </a:cubicBezTo>
                  <a:cubicBezTo>
                    <a:pt x="2206" y="4254"/>
                    <a:pt x="1419" y="3466"/>
                    <a:pt x="1419" y="2490"/>
                  </a:cubicBezTo>
                  <a:cubicBezTo>
                    <a:pt x="1419" y="1545"/>
                    <a:pt x="2206" y="726"/>
                    <a:pt x="3183" y="726"/>
                  </a:cubicBezTo>
                  <a:close/>
                  <a:moveTo>
                    <a:pt x="8980" y="726"/>
                  </a:moveTo>
                  <a:cubicBezTo>
                    <a:pt x="9956" y="726"/>
                    <a:pt x="10744" y="1513"/>
                    <a:pt x="10744" y="2490"/>
                  </a:cubicBezTo>
                  <a:cubicBezTo>
                    <a:pt x="10744" y="3466"/>
                    <a:pt x="9956" y="4254"/>
                    <a:pt x="8980" y="4254"/>
                  </a:cubicBezTo>
                  <a:cubicBezTo>
                    <a:pt x="8003" y="4254"/>
                    <a:pt x="7216" y="3466"/>
                    <a:pt x="7216" y="2490"/>
                  </a:cubicBezTo>
                  <a:cubicBezTo>
                    <a:pt x="7184" y="1545"/>
                    <a:pt x="8003" y="726"/>
                    <a:pt x="8980" y="726"/>
                  </a:cubicBezTo>
                  <a:close/>
                  <a:moveTo>
                    <a:pt x="6491" y="2868"/>
                  </a:moveTo>
                  <a:cubicBezTo>
                    <a:pt x="6648" y="4097"/>
                    <a:pt x="7720" y="5010"/>
                    <a:pt x="8980" y="5010"/>
                  </a:cubicBezTo>
                  <a:cubicBezTo>
                    <a:pt x="9610" y="5010"/>
                    <a:pt x="10208" y="4758"/>
                    <a:pt x="10650" y="4380"/>
                  </a:cubicBezTo>
                  <a:cubicBezTo>
                    <a:pt x="11185" y="5042"/>
                    <a:pt x="11469" y="5924"/>
                    <a:pt x="11469" y="6774"/>
                  </a:cubicBezTo>
                  <a:cubicBezTo>
                    <a:pt x="11469" y="6964"/>
                    <a:pt x="11311" y="7121"/>
                    <a:pt x="11122" y="7121"/>
                  </a:cubicBezTo>
                  <a:lnTo>
                    <a:pt x="10965" y="7121"/>
                  </a:lnTo>
                  <a:cubicBezTo>
                    <a:pt x="10051" y="7121"/>
                    <a:pt x="9137" y="7405"/>
                    <a:pt x="8381" y="7909"/>
                  </a:cubicBezTo>
                  <a:cubicBezTo>
                    <a:pt x="7751" y="8350"/>
                    <a:pt x="7026" y="8602"/>
                    <a:pt x="6239" y="8602"/>
                  </a:cubicBezTo>
                  <a:lnTo>
                    <a:pt x="5955" y="8602"/>
                  </a:lnTo>
                  <a:cubicBezTo>
                    <a:pt x="5168" y="8602"/>
                    <a:pt x="4412" y="8350"/>
                    <a:pt x="3781" y="7909"/>
                  </a:cubicBezTo>
                  <a:cubicBezTo>
                    <a:pt x="2962" y="7373"/>
                    <a:pt x="2049" y="7121"/>
                    <a:pt x="1072" y="7121"/>
                  </a:cubicBezTo>
                  <a:cubicBezTo>
                    <a:pt x="883" y="7121"/>
                    <a:pt x="725" y="6964"/>
                    <a:pt x="725" y="6774"/>
                  </a:cubicBezTo>
                  <a:cubicBezTo>
                    <a:pt x="725" y="5924"/>
                    <a:pt x="978" y="5042"/>
                    <a:pt x="1545" y="4380"/>
                  </a:cubicBezTo>
                  <a:cubicBezTo>
                    <a:pt x="1986" y="4758"/>
                    <a:pt x="2553" y="5010"/>
                    <a:pt x="3183" y="5010"/>
                  </a:cubicBezTo>
                  <a:cubicBezTo>
                    <a:pt x="4443" y="5010"/>
                    <a:pt x="5483" y="4065"/>
                    <a:pt x="5672" y="2868"/>
                  </a:cubicBezTo>
                  <a:close/>
                  <a:moveTo>
                    <a:pt x="1356" y="7877"/>
                  </a:moveTo>
                  <a:cubicBezTo>
                    <a:pt x="2112" y="7909"/>
                    <a:pt x="2805" y="8129"/>
                    <a:pt x="3403" y="8539"/>
                  </a:cubicBezTo>
                  <a:cubicBezTo>
                    <a:pt x="4160" y="9074"/>
                    <a:pt x="5042" y="9326"/>
                    <a:pt x="5955" y="9326"/>
                  </a:cubicBezTo>
                  <a:lnTo>
                    <a:pt x="6239" y="9326"/>
                  </a:lnTo>
                  <a:cubicBezTo>
                    <a:pt x="7153" y="9326"/>
                    <a:pt x="8035" y="9074"/>
                    <a:pt x="8791" y="8539"/>
                  </a:cubicBezTo>
                  <a:cubicBezTo>
                    <a:pt x="9389" y="8161"/>
                    <a:pt x="10145" y="7909"/>
                    <a:pt x="10839" y="7877"/>
                  </a:cubicBezTo>
                  <a:lnTo>
                    <a:pt x="10839" y="7877"/>
                  </a:lnTo>
                  <a:cubicBezTo>
                    <a:pt x="9925" y="9578"/>
                    <a:pt x="8066" y="10713"/>
                    <a:pt x="6113" y="10713"/>
                  </a:cubicBezTo>
                  <a:cubicBezTo>
                    <a:pt x="4097" y="10713"/>
                    <a:pt x="2301" y="9578"/>
                    <a:pt x="1356" y="7877"/>
                  </a:cubicBezTo>
                  <a:close/>
                  <a:moveTo>
                    <a:pt x="3214" y="1"/>
                  </a:moveTo>
                  <a:cubicBezTo>
                    <a:pt x="1828" y="1"/>
                    <a:pt x="725" y="1104"/>
                    <a:pt x="725" y="2490"/>
                  </a:cubicBezTo>
                  <a:cubicBezTo>
                    <a:pt x="725" y="2962"/>
                    <a:pt x="852" y="3403"/>
                    <a:pt x="1072" y="3782"/>
                  </a:cubicBezTo>
                  <a:cubicBezTo>
                    <a:pt x="379" y="4601"/>
                    <a:pt x="1" y="5672"/>
                    <a:pt x="1" y="6774"/>
                  </a:cubicBezTo>
                  <a:cubicBezTo>
                    <a:pt x="1" y="7121"/>
                    <a:pt x="221" y="7436"/>
                    <a:pt x="442" y="7657"/>
                  </a:cubicBezTo>
                  <a:cubicBezTo>
                    <a:pt x="1356" y="9862"/>
                    <a:pt x="3498" y="11437"/>
                    <a:pt x="6081" y="11437"/>
                  </a:cubicBezTo>
                  <a:cubicBezTo>
                    <a:pt x="8633" y="11437"/>
                    <a:pt x="10807" y="9862"/>
                    <a:pt x="11689" y="7657"/>
                  </a:cubicBezTo>
                  <a:cubicBezTo>
                    <a:pt x="12004" y="7436"/>
                    <a:pt x="12162" y="7121"/>
                    <a:pt x="12162" y="6774"/>
                  </a:cubicBezTo>
                  <a:cubicBezTo>
                    <a:pt x="12162" y="5672"/>
                    <a:pt x="11784" y="4664"/>
                    <a:pt x="11122" y="3782"/>
                  </a:cubicBezTo>
                  <a:cubicBezTo>
                    <a:pt x="11343" y="3403"/>
                    <a:pt x="11469" y="2962"/>
                    <a:pt x="11469" y="2490"/>
                  </a:cubicBezTo>
                  <a:cubicBezTo>
                    <a:pt x="11469" y="1104"/>
                    <a:pt x="10366" y="1"/>
                    <a:pt x="8980" y="1"/>
                  </a:cubicBezTo>
                  <a:cubicBezTo>
                    <a:pt x="7720" y="1"/>
                    <a:pt x="6711" y="946"/>
                    <a:pt x="6491" y="2143"/>
                  </a:cubicBezTo>
                  <a:lnTo>
                    <a:pt x="5672" y="2143"/>
                  </a:lnTo>
                  <a:cubicBezTo>
                    <a:pt x="5514" y="915"/>
                    <a:pt x="4475"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80"/>
            <p:cNvSpPr/>
            <p:nvPr/>
          </p:nvSpPr>
          <p:spPr>
            <a:xfrm>
              <a:off x="-17368425" y="2846075"/>
              <a:ext cx="54350" cy="53575"/>
            </a:xfrm>
            <a:custGeom>
              <a:avLst/>
              <a:gdLst/>
              <a:ahLst/>
              <a:cxnLst/>
              <a:rect l="l" t="t" r="r" b="b"/>
              <a:pathLst>
                <a:path w="2174" h="2143" extrusionOk="0">
                  <a:moveTo>
                    <a:pt x="1103" y="693"/>
                  </a:moveTo>
                  <a:cubicBezTo>
                    <a:pt x="1292" y="693"/>
                    <a:pt x="1449" y="851"/>
                    <a:pt x="1449" y="1040"/>
                  </a:cubicBezTo>
                  <a:cubicBezTo>
                    <a:pt x="1449" y="1229"/>
                    <a:pt x="1292" y="1386"/>
                    <a:pt x="1103" y="1386"/>
                  </a:cubicBezTo>
                  <a:cubicBezTo>
                    <a:pt x="914" y="1386"/>
                    <a:pt x="756" y="1229"/>
                    <a:pt x="756" y="1040"/>
                  </a:cubicBezTo>
                  <a:cubicBezTo>
                    <a:pt x="756" y="851"/>
                    <a:pt x="914" y="693"/>
                    <a:pt x="1103" y="693"/>
                  </a:cubicBezTo>
                  <a:close/>
                  <a:moveTo>
                    <a:pt x="1103" y="0"/>
                  </a:moveTo>
                  <a:cubicBezTo>
                    <a:pt x="504" y="0"/>
                    <a:pt x="32" y="473"/>
                    <a:pt x="32" y="1071"/>
                  </a:cubicBezTo>
                  <a:cubicBezTo>
                    <a:pt x="0" y="1638"/>
                    <a:pt x="504" y="2143"/>
                    <a:pt x="1103" y="2143"/>
                  </a:cubicBezTo>
                  <a:cubicBezTo>
                    <a:pt x="1701" y="2143"/>
                    <a:pt x="2174" y="1670"/>
                    <a:pt x="2174" y="1071"/>
                  </a:cubicBezTo>
                  <a:cubicBezTo>
                    <a:pt x="2174" y="473"/>
                    <a:pt x="170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80"/>
            <p:cNvSpPr/>
            <p:nvPr/>
          </p:nvSpPr>
          <p:spPr>
            <a:xfrm>
              <a:off x="-17511775" y="2846075"/>
              <a:ext cx="52775" cy="53575"/>
            </a:xfrm>
            <a:custGeom>
              <a:avLst/>
              <a:gdLst/>
              <a:ahLst/>
              <a:cxnLst/>
              <a:rect l="l" t="t" r="r" b="b"/>
              <a:pathLst>
                <a:path w="2111" h="2143" extrusionOk="0">
                  <a:moveTo>
                    <a:pt x="1040" y="693"/>
                  </a:moveTo>
                  <a:cubicBezTo>
                    <a:pt x="1260" y="693"/>
                    <a:pt x="1418" y="851"/>
                    <a:pt x="1418" y="1040"/>
                  </a:cubicBezTo>
                  <a:cubicBezTo>
                    <a:pt x="1418" y="1229"/>
                    <a:pt x="1260" y="1386"/>
                    <a:pt x="1040" y="1386"/>
                  </a:cubicBezTo>
                  <a:cubicBezTo>
                    <a:pt x="851" y="1386"/>
                    <a:pt x="693" y="1229"/>
                    <a:pt x="693" y="1040"/>
                  </a:cubicBezTo>
                  <a:cubicBezTo>
                    <a:pt x="693" y="851"/>
                    <a:pt x="851" y="693"/>
                    <a:pt x="1040" y="693"/>
                  </a:cubicBezTo>
                  <a:close/>
                  <a:moveTo>
                    <a:pt x="1040" y="0"/>
                  </a:moveTo>
                  <a:cubicBezTo>
                    <a:pt x="473" y="0"/>
                    <a:pt x="0" y="473"/>
                    <a:pt x="0" y="1071"/>
                  </a:cubicBezTo>
                  <a:cubicBezTo>
                    <a:pt x="0" y="1638"/>
                    <a:pt x="473" y="2143"/>
                    <a:pt x="1040" y="2143"/>
                  </a:cubicBezTo>
                  <a:cubicBezTo>
                    <a:pt x="1638" y="2143"/>
                    <a:pt x="2111" y="1670"/>
                    <a:pt x="2111" y="1071"/>
                  </a:cubicBezTo>
                  <a:cubicBezTo>
                    <a:pt x="2111" y="473"/>
                    <a:pt x="163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69" name="Google Shape;10669;p80"/>
          <p:cNvSpPr/>
          <p:nvPr/>
        </p:nvSpPr>
        <p:spPr>
          <a:xfrm>
            <a:off x="2680515" y="3446569"/>
            <a:ext cx="360006" cy="471471"/>
          </a:xfrm>
          <a:custGeom>
            <a:avLst/>
            <a:gdLst/>
            <a:ahLst/>
            <a:cxnLst/>
            <a:rect l="l" t="t" r="r" b="b"/>
            <a:pathLst>
              <a:path w="9263" h="12131" extrusionOk="0">
                <a:moveTo>
                  <a:pt x="6207" y="694"/>
                </a:moveTo>
                <a:lnTo>
                  <a:pt x="5829" y="1419"/>
                </a:lnTo>
                <a:lnTo>
                  <a:pt x="3434" y="1419"/>
                </a:lnTo>
                <a:lnTo>
                  <a:pt x="3088" y="694"/>
                </a:lnTo>
                <a:close/>
                <a:moveTo>
                  <a:pt x="2363" y="946"/>
                </a:moveTo>
                <a:lnTo>
                  <a:pt x="2773" y="1671"/>
                </a:lnTo>
                <a:lnTo>
                  <a:pt x="1702" y="2742"/>
                </a:lnTo>
                <a:lnTo>
                  <a:pt x="945" y="2364"/>
                </a:lnTo>
                <a:lnTo>
                  <a:pt x="2363" y="946"/>
                </a:lnTo>
                <a:close/>
                <a:moveTo>
                  <a:pt x="6900" y="946"/>
                </a:moveTo>
                <a:lnTo>
                  <a:pt x="8318" y="2364"/>
                </a:lnTo>
                <a:lnTo>
                  <a:pt x="7561" y="2742"/>
                </a:lnTo>
                <a:lnTo>
                  <a:pt x="6522" y="1671"/>
                </a:lnTo>
                <a:lnTo>
                  <a:pt x="6900" y="946"/>
                </a:lnTo>
                <a:close/>
                <a:moveTo>
                  <a:pt x="725" y="3025"/>
                </a:moveTo>
                <a:lnTo>
                  <a:pt x="1418" y="3372"/>
                </a:lnTo>
                <a:lnTo>
                  <a:pt x="1418" y="8696"/>
                </a:lnTo>
                <a:lnTo>
                  <a:pt x="725" y="9043"/>
                </a:lnTo>
                <a:lnTo>
                  <a:pt x="725" y="3025"/>
                </a:lnTo>
                <a:close/>
                <a:moveTo>
                  <a:pt x="8570" y="3025"/>
                </a:moveTo>
                <a:lnTo>
                  <a:pt x="8570" y="9043"/>
                </a:lnTo>
                <a:lnTo>
                  <a:pt x="7845" y="8696"/>
                </a:lnTo>
                <a:lnTo>
                  <a:pt x="7845" y="3372"/>
                </a:lnTo>
                <a:lnTo>
                  <a:pt x="8570" y="3025"/>
                </a:lnTo>
                <a:close/>
                <a:moveTo>
                  <a:pt x="5923" y="2080"/>
                </a:moveTo>
                <a:lnTo>
                  <a:pt x="7152" y="3277"/>
                </a:lnTo>
                <a:lnTo>
                  <a:pt x="7152" y="8759"/>
                </a:lnTo>
                <a:lnTo>
                  <a:pt x="5923" y="9988"/>
                </a:lnTo>
                <a:lnTo>
                  <a:pt x="3371" y="9988"/>
                </a:lnTo>
                <a:lnTo>
                  <a:pt x="2143" y="8759"/>
                </a:lnTo>
                <a:lnTo>
                  <a:pt x="2143" y="3277"/>
                </a:lnTo>
                <a:lnTo>
                  <a:pt x="3371" y="2080"/>
                </a:lnTo>
                <a:close/>
                <a:moveTo>
                  <a:pt x="1702" y="9358"/>
                </a:moveTo>
                <a:lnTo>
                  <a:pt x="2773" y="10429"/>
                </a:lnTo>
                <a:lnTo>
                  <a:pt x="2395" y="11154"/>
                </a:lnTo>
                <a:lnTo>
                  <a:pt x="945" y="9736"/>
                </a:lnTo>
                <a:lnTo>
                  <a:pt x="1702" y="9358"/>
                </a:lnTo>
                <a:close/>
                <a:moveTo>
                  <a:pt x="7530" y="9358"/>
                </a:moveTo>
                <a:lnTo>
                  <a:pt x="8286" y="9767"/>
                </a:lnTo>
                <a:lnTo>
                  <a:pt x="6868" y="11185"/>
                </a:lnTo>
                <a:lnTo>
                  <a:pt x="6459" y="10429"/>
                </a:lnTo>
                <a:lnTo>
                  <a:pt x="7530" y="9358"/>
                </a:lnTo>
                <a:close/>
                <a:moveTo>
                  <a:pt x="5829" y="10713"/>
                </a:moveTo>
                <a:lnTo>
                  <a:pt x="6207" y="11406"/>
                </a:lnTo>
                <a:lnTo>
                  <a:pt x="3088" y="11406"/>
                </a:lnTo>
                <a:lnTo>
                  <a:pt x="3434" y="10713"/>
                </a:lnTo>
                <a:close/>
                <a:moveTo>
                  <a:pt x="2489" y="1"/>
                </a:moveTo>
                <a:cubicBezTo>
                  <a:pt x="2426" y="1"/>
                  <a:pt x="2300" y="32"/>
                  <a:pt x="2269" y="95"/>
                </a:cubicBezTo>
                <a:lnTo>
                  <a:pt x="126" y="2238"/>
                </a:lnTo>
                <a:cubicBezTo>
                  <a:pt x="63" y="2301"/>
                  <a:pt x="0" y="2395"/>
                  <a:pt x="0" y="2458"/>
                </a:cubicBezTo>
                <a:lnTo>
                  <a:pt x="0" y="9641"/>
                </a:lnTo>
                <a:cubicBezTo>
                  <a:pt x="0" y="9704"/>
                  <a:pt x="63" y="9830"/>
                  <a:pt x="126" y="9862"/>
                </a:cubicBezTo>
                <a:lnTo>
                  <a:pt x="2269" y="12004"/>
                </a:lnTo>
                <a:cubicBezTo>
                  <a:pt x="2332" y="12067"/>
                  <a:pt x="2426" y="12130"/>
                  <a:pt x="2489" y="12130"/>
                </a:cubicBezTo>
                <a:lnTo>
                  <a:pt x="6774" y="12130"/>
                </a:lnTo>
                <a:cubicBezTo>
                  <a:pt x="6868" y="12130"/>
                  <a:pt x="6994" y="12067"/>
                  <a:pt x="7026" y="12004"/>
                </a:cubicBezTo>
                <a:lnTo>
                  <a:pt x="9137" y="9862"/>
                </a:lnTo>
                <a:cubicBezTo>
                  <a:pt x="9231" y="9830"/>
                  <a:pt x="9263" y="9736"/>
                  <a:pt x="9263" y="9641"/>
                </a:cubicBezTo>
                <a:lnTo>
                  <a:pt x="9263" y="2458"/>
                </a:lnTo>
                <a:cubicBezTo>
                  <a:pt x="9263" y="2395"/>
                  <a:pt x="9231" y="2269"/>
                  <a:pt x="9137" y="2238"/>
                </a:cubicBezTo>
                <a:lnTo>
                  <a:pt x="7026" y="95"/>
                </a:lnTo>
                <a:cubicBezTo>
                  <a:pt x="6931" y="32"/>
                  <a:pt x="6868" y="1"/>
                  <a:pt x="67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0" name="Google Shape;10670;p80"/>
          <p:cNvSpPr/>
          <p:nvPr/>
        </p:nvSpPr>
        <p:spPr>
          <a:xfrm>
            <a:off x="1428633" y="1688459"/>
            <a:ext cx="471471" cy="473920"/>
          </a:xfrm>
          <a:custGeom>
            <a:avLst/>
            <a:gdLst/>
            <a:ahLst/>
            <a:cxnLst/>
            <a:rect l="l" t="t" r="r" b="b"/>
            <a:pathLst>
              <a:path w="12131" h="12194" extrusionOk="0">
                <a:moveTo>
                  <a:pt x="4632" y="725"/>
                </a:moveTo>
                <a:cubicBezTo>
                  <a:pt x="5609" y="725"/>
                  <a:pt x="6396" y="1513"/>
                  <a:pt x="6396" y="2490"/>
                </a:cubicBezTo>
                <a:cubicBezTo>
                  <a:pt x="6365" y="2679"/>
                  <a:pt x="6522" y="2836"/>
                  <a:pt x="6680" y="2899"/>
                </a:cubicBezTo>
                <a:cubicBezTo>
                  <a:pt x="7341" y="2994"/>
                  <a:pt x="7814" y="3592"/>
                  <a:pt x="7814" y="4317"/>
                </a:cubicBezTo>
                <a:cubicBezTo>
                  <a:pt x="7814" y="4695"/>
                  <a:pt x="7656" y="5042"/>
                  <a:pt x="7404" y="5325"/>
                </a:cubicBezTo>
                <a:cubicBezTo>
                  <a:pt x="7184" y="5483"/>
                  <a:pt x="7278" y="5798"/>
                  <a:pt x="7530" y="5924"/>
                </a:cubicBezTo>
                <a:cubicBezTo>
                  <a:pt x="8129" y="6207"/>
                  <a:pt x="8539" y="6869"/>
                  <a:pt x="8539" y="7530"/>
                </a:cubicBezTo>
                <a:cubicBezTo>
                  <a:pt x="8539" y="8507"/>
                  <a:pt x="7751" y="9295"/>
                  <a:pt x="6774" y="9295"/>
                </a:cubicBezTo>
                <a:lnTo>
                  <a:pt x="4979" y="9295"/>
                </a:lnTo>
                <a:lnTo>
                  <a:pt x="4979" y="6932"/>
                </a:lnTo>
                <a:lnTo>
                  <a:pt x="6333" y="5609"/>
                </a:lnTo>
                <a:cubicBezTo>
                  <a:pt x="6491" y="5451"/>
                  <a:pt x="6491" y="5231"/>
                  <a:pt x="6333" y="5073"/>
                </a:cubicBezTo>
                <a:cubicBezTo>
                  <a:pt x="6254" y="4994"/>
                  <a:pt x="6168" y="4955"/>
                  <a:pt x="6081" y="4955"/>
                </a:cubicBezTo>
                <a:cubicBezTo>
                  <a:pt x="5995" y="4955"/>
                  <a:pt x="5908" y="4994"/>
                  <a:pt x="5829" y="5073"/>
                </a:cubicBezTo>
                <a:lnTo>
                  <a:pt x="4979" y="5924"/>
                </a:lnTo>
                <a:lnTo>
                  <a:pt x="4979" y="2490"/>
                </a:lnTo>
                <a:cubicBezTo>
                  <a:pt x="4979" y="2301"/>
                  <a:pt x="4821" y="2143"/>
                  <a:pt x="4632" y="2143"/>
                </a:cubicBezTo>
                <a:cubicBezTo>
                  <a:pt x="4443" y="2143"/>
                  <a:pt x="4285" y="2301"/>
                  <a:pt x="4285" y="2490"/>
                </a:cubicBezTo>
                <a:lnTo>
                  <a:pt x="4285" y="4506"/>
                </a:lnTo>
                <a:lnTo>
                  <a:pt x="3466" y="3655"/>
                </a:lnTo>
                <a:cubicBezTo>
                  <a:pt x="3388" y="3577"/>
                  <a:pt x="3293" y="3537"/>
                  <a:pt x="3198" y="3537"/>
                </a:cubicBezTo>
                <a:cubicBezTo>
                  <a:pt x="3104" y="3537"/>
                  <a:pt x="3009" y="3577"/>
                  <a:pt x="2931" y="3655"/>
                </a:cubicBezTo>
                <a:cubicBezTo>
                  <a:pt x="2773" y="3844"/>
                  <a:pt x="2773" y="4033"/>
                  <a:pt x="2931" y="4191"/>
                </a:cubicBezTo>
                <a:lnTo>
                  <a:pt x="4285" y="5514"/>
                </a:lnTo>
                <a:lnTo>
                  <a:pt x="4285" y="7373"/>
                </a:lnTo>
                <a:lnTo>
                  <a:pt x="3466" y="6554"/>
                </a:lnTo>
                <a:cubicBezTo>
                  <a:pt x="3388" y="6475"/>
                  <a:pt x="3293" y="6436"/>
                  <a:pt x="3198" y="6436"/>
                </a:cubicBezTo>
                <a:cubicBezTo>
                  <a:pt x="3104" y="6436"/>
                  <a:pt x="3009" y="6475"/>
                  <a:pt x="2931" y="6554"/>
                </a:cubicBezTo>
                <a:cubicBezTo>
                  <a:pt x="2773" y="6711"/>
                  <a:pt x="2773" y="6900"/>
                  <a:pt x="2931" y="7058"/>
                </a:cubicBezTo>
                <a:lnTo>
                  <a:pt x="4285" y="8413"/>
                </a:lnTo>
                <a:lnTo>
                  <a:pt x="4285" y="9295"/>
                </a:lnTo>
                <a:lnTo>
                  <a:pt x="2521" y="9295"/>
                </a:lnTo>
                <a:cubicBezTo>
                  <a:pt x="1513" y="9295"/>
                  <a:pt x="694" y="8507"/>
                  <a:pt x="694" y="7530"/>
                </a:cubicBezTo>
                <a:cubicBezTo>
                  <a:pt x="694" y="6837"/>
                  <a:pt x="1103" y="6207"/>
                  <a:pt x="1734" y="5924"/>
                </a:cubicBezTo>
                <a:cubicBezTo>
                  <a:pt x="1954" y="5798"/>
                  <a:pt x="1986" y="5514"/>
                  <a:pt x="1828" y="5325"/>
                </a:cubicBezTo>
                <a:cubicBezTo>
                  <a:pt x="1576" y="5042"/>
                  <a:pt x="1418" y="4695"/>
                  <a:pt x="1418" y="4317"/>
                </a:cubicBezTo>
                <a:cubicBezTo>
                  <a:pt x="1418" y="3624"/>
                  <a:pt x="1891" y="3057"/>
                  <a:pt x="2584" y="2899"/>
                </a:cubicBezTo>
                <a:cubicBezTo>
                  <a:pt x="2742" y="2836"/>
                  <a:pt x="2899" y="2679"/>
                  <a:pt x="2868" y="2490"/>
                </a:cubicBezTo>
                <a:cubicBezTo>
                  <a:pt x="2868" y="1513"/>
                  <a:pt x="3655" y="725"/>
                  <a:pt x="4632" y="725"/>
                </a:cubicBezTo>
                <a:close/>
                <a:moveTo>
                  <a:pt x="7467" y="725"/>
                </a:moveTo>
                <a:cubicBezTo>
                  <a:pt x="8444" y="725"/>
                  <a:pt x="9295" y="1513"/>
                  <a:pt x="9232" y="2584"/>
                </a:cubicBezTo>
                <a:cubicBezTo>
                  <a:pt x="9232" y="2742"/>
                  <a:pt x="9358" y="2899"/>
                  <a:pt x="9515" y="2931"/>
                </a:cubicBezTo>
                <a:cubicBezTo>
                  <a:pt x="10177" y="3057"/>
                  <a:pt x="10712" y="3624"/>
                  <a:pt x="10712" y="4348"/>
                </a:cubicBezTo>
                <a:cubicBezTo>
                  <a:pt x="10712" y="4726"/>
                  <a:pt x="10555" y="5105"/>
                  <a:pt x="10271" y="5357"/>
                </a:cubicBezTo>
                <a:cubicBezTo>
                  <a:pt x="10082" y="5514"/>
                  <a:pt x="10145" y="5829"/>
                  <a:pt x="10397" y="5955"/>
                </a:cubicBezTo>
                <a:cubicBezTo>
                  <a:pt x="11027" y="6239"/>
                  <a:pt x="11406" y="6900"/>
                  <a:pt x="11406" y="7562"/>
                </a:cubicBezTo>
                <a:cubicBezTo>
                  <a:pt x="11406" y="8570"/>
                  <a:pt x="10586" y="9358"/>
                  <a:pt x="9610" y="9358"/>
                </a:cubicBezTo>
                <a:lnTo>
                  <a:pt x="8507" y="9358"/>
                </a:lnTo>
                <a:cubicBezTo>
                  <a:pt x="8980" y="8885"/>
                  <a:pt x="9232" y="8224"/>
                  <a:pt x="9232" y="7562"/>
                </a:cubicBezTo>
                <a:cubicBezTo>
                  <a:pt x="9232" y="6743"/>
                  <a:pt x="8854" y="5987"/>
                  <a:pt x="8192" y="5514"/>
                </a:cubicBezTo>
                <a:cubicBezTo>
                  <a:pt x="8413" y="5168"/>
                  <a:pt x="8539" y="4789"/>
                  <a:pt x="8539" y="4348"/>
                </a:cubicBezTo>
                <a:cubicBezTo>
                  <a:pt x="8539" y="3435"/>
                  <a:pt x="7940" y="2616"/>
                  <a:pt x="7089" y="2332"/>
                </a:cubicBezTo>
                <a:cubicBezTo>
                  <a:pt x="7058" y="1828"/>
                  <a:pt x="6837" y="1387"/>
                  <a:pt x="6554" y="1009"/>
                </a:cubicBezTo>
                <a:cubicBezTo>
                  <a:pt x="6837" y="788"/>
                  <a:pt x="7152" y="725"/>
                  <a:pt x="7467" y="725"/>
                </a:cubicBezTo>
                <a:close/>
                <a:moveTo>
                  <a:pt x="7121" y="10019"/>
                </a:moveTo>
                <a:lnTo>
                  <a:pt x="7121" y="11469"/>
                </a:lnTo>
                <a:lnTo>
                  <a:pt x="4979" y="11469"/>
                </a:lnTo>
                <a:lnTo>
                  <a:pt x="4979" y="10019"/>
                </a:lnTo>
                <a:close/>
                <a:moveTo>
                  <a:pt x="4632" y="1"/>
                </a:moveTo>
                <a:cubicBezTo>
                  <a:pt x="3340" y="1"/>
                  <a:pt x="2269" y="1009"/>
                  <a:pt x="2175" y="2301"/>
                </a:cubicBezTo>
                <a:cubicBezTo>
                  <a:pt x="1292" y="2616"/>
                  <a:pt x="694" y="3403"/>
                  <a:pt x="694" y="4317"/>
                </a:cubicBezTo>
                <a:cubicBezTo>
                  <a:pt x="694" y="4726"/>
                  <a:pt x="820" y="5136"/>
                  <a:pt x="1072" y="5483"/>
                </a:cubicBezTo>
                <a:cubicBezTo>
                  <a:pt x="379" y="5955"/>
                  <a:pt x="1" y="6711"/>
                  <a:pt x="1" y="7530"/>
                </a:cubicBezTo>
                <a:cubicBezTo>
                  <a:pt x="1" y="8917"/>
                  <a:pt x="1135" y="10019"/>
                  <a:pt x="2521" y="10019"/>
                </a:cubicBezTo>
                <a:lnTo>
                  <a:pt x="4285" y="10019"/>
                </a:lnTo>
                <a:lnTo>
                  <a:pt x="4285" y="11469"/>
                </a:lnTo>
                <a:lnTo>
                  <a:pt x="2521" y="11469"/>
                </a:lnTo>
                <a:cubicBezTo>
                  <a:pt x="2332" y="11469"/>
                  <a:pt x="2175" y="11626"/>
                  <a:pt x="2175" y="11815"/>
                </a:cubicBezTo>
                <a:cubicBezTo>
                  <a:pt x="2175" y="12036"/>
                  <a:pt x="2332" y="12193"/>
                  <a:pt x="2521" y="12193"/>
                </a:cubicBezTo>
                <a:lnTo>
                  <a:pt x="9641" y="12193"/>
                </a:lnTo>
                <a:cubicBezTo>
                  <a:pt x="9830" y="12193"/>
                  <a:pt x="9988" y="12036"/>
                  <a:pt x="9988" y="11815"/>
                </a:cubicBezTo>
                <a:cubicBezTo>
                  <a:pt x="9988" y="11626"/>
                  <a:pt x="9830" y="11469"/>
                  <a:pt x="9641" y="11469"/>
                </a:cubicBezTo>
                <a:lnTo>
                  <a:pt x="7877" y="11469"/>
                </a:lnTo>
                <a:lnTo>
                  <a:pt x="7877" y="10019"/>
                </a:lnTo>
                <a:lnTo>
                  <a:pt x="9610" y="10019"/>
                </a:lnTo>
                <a:cubicBezTo>
                  <a:pt x="10964" y="10019"/>
                  <a:pt x="12130" y="8917"/>
                  <a:pt x="12130" y="7530"/>
                </a:cubicBezTo>
                <a:cubicBezTo>
                  <a:pt x="12130" y="6711"/>
                  <a:pt x="11721" y="5955"/>
                  <a:pt x="11059" y="5483"/>
                </a:cubicBezTo>
                <a:cubicBezTo>
                  <a:pt x="11280" y="5136"/>
                  <a:pt x="11406" y="4726"/>
                  <a:pt x="11406" y="4317"/>
                </a:cubicBezTo>
                <a:cubicBezTo>
                  <a:pt x="11406" y="3403"/>
                  <a:pt x="10838" y="2584"/>
                  <a:pt x="9956" y="2301"/>
                </a:cubicBezTo>
                <a:cubicBezTo>
                  <a:pt x="9830" y="1040"/>
                  <a:pt x="8791" y="1"/>
                  <a:pt x="7467" y="1"/>
                </a:cubicBezTo>
                <a:cubicBezTo>
                  <a:pt x="6963" y="1"/>
                  <a:pt x="6459" y="158"/>
                  <a:pt x="6050" y="442"/>
                </a:cubicBezTo>
                <a:cubicBezTo>
                  <a:pt x="5672" y="158"/>
                  <a:pt x="5168"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80"/>
          <p:cNvSpPr/>
          <p:nvPr/>
        </p:nvSpPr>
        <p:spPr>
          <a:xfrm>
            <a:off x="1428633" y="2274689"/>
            <a:ext cx="471471" cy="473609"/>
          </a:xfrm>
          <a:custGeom>
            <a:avLst/>
            <a:gdLst/>
            <a:ahLst/>
            <a:cxnLst/>
            <a:rect l="l" t="t" r="r" b="b"/>
            <a:pathLst>
              <a:path w="12131" h="12186" extrusionOk="0">
                <a:moveTo>
                  <a:pt x="6050" y="1442"/>
                </a:moveTo>
                <a:cubicBezTo>
                  <a:pt x="6396" y="1442"/>
                  <a:pt x="6774" y="1757"/>
                  <a:pt x="6774" y="2167"/>
                </a:cubicBezTo>
                <a:cubicBezTo>
                  <a:pt x="6774" y="2576"/>
                  <a:pt x="6459" y="2891"/>
                  <a:pt x="6050" y="2891"/>
                </a:cubicBezTo>
                <a:cubicBezTo>
                  <a:pt x="5672" y="2891"/>
                  <a:pt x="5357" y="2576"/>
                  <a:pt x="5357" y="2167"/>
                </a:cubicBezTo>
                <a:cubicBezTo>
                  <a:pt x="5357" y="1789"/>
                  <a:pt x="5672" y="1442"/>
                  <a:pt x="6050" y="1442"/>
                </a:cubicBezTo>
                <a:close/>
                <a:moveTo>
                  <a:pt x="6018" y="3585"/>
                </a:moveTo>
                <a:cubicBezTo>
                  <a:pt x="6207" y="3585"/>
                  <a:pt x="6365" y="3742"/>
                  <a:pt x="6365" y="3963"/>
                </a:cubicBezTo>
                <a:lnTo>
                  <a:pt x="6365" y="4309"/>
                </a:lnTo>
                <a:cubicBezTo>
                  <a:pt x="6239" y="4467"/>
                  <a:pt x="6176" y="4593"/>
                  <a:pt x="6018" y="4782"/>
                </a:cubicBezTo>
                <a:cubicBezTo>
                  <a:pt x="5861" y="4593"/>
                  <a:pt x="5766" y="4467"/>
                  <a:pt x="5672" y="4309"/>
                </a:cubicBezTo>
                <a:lnTo>
                  <a:pt x="5672" y="3963"/>
                </a:lnTo>
                <a:cubicBezTo>
                  <a:pt x="5672" y="3742"/>
                  <a:pt x="5829" y="3585"/>
                  <a:pt x="6018" y="3585"/>
                </a:cubicBezTo>
                <a:close/>
                <a:moveTo>
                  <a:pt x="1009" y="2891"/>
                </a:moveTo>
                <a:cubicBezTo>
                  <a:pt x="2710" y="2891"/>
                  <a:pt x="4317" y="3679"/>
                  <a:pt x="5325" y="5002"/>
                </a:cubicBezTo>
                <a:lnTo>
                  <a:pt x="1544" y="5002"/>
                </a:lnTo>
                <a:cubicBezTo>
                  <a:pt x="1040" y="5002"/>
                  <a:pt x="662" y="4624"/>
                  <a:pt x="662" y="4152"/>
                </a:cubicBezTo>
                <a:lnTo>
                  <a:pt x="662" y="3238"/>
                </a:lnTo>
                <a:cubicBezTo>
                  <a:pt x="662" y="3049"/>
                  <a:pt x="820" y="2891"/>
                  <a:pt x="1009" y="2891"/>
                </a:cubicBezTo>
                <a:close/>
                <a:moveTo>
                  <a:pt x="11059" y="2891"/>
                </a:moveTo>
                <a:cubicBezTo>
                  <a:pt x="11248" y="2891"/>
                  <a:pt x="11406" y="3049"/>
                  <a:pt x="11406" y="3238"/>
                </a:cubicBezTo>
                <a:lnTo>
                  <a:pt x="11406" y="4152"/>
                </a:lnTo>
                <a:cubicBezTo>
                  <a:pt x="11406" y="4624"/>
                  <a:pt x="11027" y="5002"/>
                  <a:pt x="10555" y="5002"/>
                </a:cubicBezTo>
                <a:lnTo>
                  <a:pt x="6774" y="5002"/>
                </a:lnTo>
                <a:cubicBezTo>
                  <a:pt x="7782" y="3679"/>
                  <a:pt x="9358" y="2891"/>
                  <a:pt x="11059" y="2891"/>
                </a:cubicBezTo>
                <a:close/>
                <a:moveTo>
                  <a:pt x="6018" y="5884"/>
                </a:moveTo>
                <a:lnTo>
                  <a:pt x="6365" y="6231"/>
                </a:lnTo>
                <a:lnTo>
                  <a:pt x="6365" y="6798"/>
                </a:lnTo>
                <a:cubicBezTo>
                  <a:pt x="6365" y="6987"/>
                  <a:pt x="6207" y="7145"/>
                  <a:pt x="6018" y="7145"/>
                </a:cubicBezTo>
                <a:cubicBezTo>
                  <a:pt x="5829" y="7145"/>
                  <a:pt x="5672" y="6987"/>
                  <a:pt x="5672" y="6798"/>
                </a:cubicBezTo>
                <a:lnTo>
                  <a:pt x="5672" y="6231"/>
                </a:lnTo>
                <a:lnTo>
                  <a:pt x="6018" y="5884"/>
                </a:lnTo>
                <a:close/>
                <a:moveTo>
                  <a:pt x="9893" y="5727"/>
                </a:moveTo>
                <a:cubicBezTo>
                  <a:pt x="10334" y="5727"/>
                  <a:pt x="10744" y="6105"/>
                  <a:pt x="10744" y="6578"/>
                </a:cubicBezTo>
                <a:lnTo>
                  <a:pt x="10744" y="6798"/>
                </a:lnTo>
                <a:lnTo>
                  <a:pt x="10712" y="6798"/>
                </a:lnTo>
                <a:cubicBezTo>
                  <a:pt x="10712" y="6987"/>
                  <a:pt x="10555" y="7145"/>
                  <a:pt x="10334" y="7145"/>
                </a:cubicBezTo>
                <a:cubicBezTo>
                  <a:pt x="9043" y="7145"/>
                  <a:pt x="7814" y="6641"/>
                  <a:pt x="6932" y="5727"/>
                </a:cubicBezTo>
                <a:close/>
                <a:moveTo>
                  <a:pt x="5136" y="5758"/>
                </a:moveTo>
                <a:cubicBezTo>
                  <a:pt x="4254" y="6672"/>
                  <a:pt x="3025" y="7176"/>
                  <a:pt x="1734" y="7176"/>
                </a:cubicBezTo>
                <a:cubicBezTo>
                  <a:pt x="1513" y="7145"/>
                  <a:pt x="1355" y="6987"/>
                  <a:pt x="1355" y="6798"/>
                </a:cubicBezTo>
                <a:lnTo>
                  <a:pt x="1355" y="6578"/>
                </a:lnTo>
                <a:cubicBezTo>
                  <a:pt x="1355" y="6357"/>
                  <a:pt x="1450" y="6168"/>
                  <a:pt x="1607" y="6010"/>
                </a:cubicBezTo>
                <a:cubicBezTo>
                  <a:pt x="1765" y="5853"/>
                  <a:pt x="1986" y="5758"/>
                  <a:pt x="2206" y="5758"/>
                </a:cubicBezTo>
                <a:close/>
                <a:moveTo>
                  <a:pt x="4616" y="1"/>
                </a:moveTo>
                <a:cubicBezTo>
                  <a:pt x="4522" y="1"/>
                  <a:pt x="4427" y="40"/>
                  <a:pt x="4348" y="119"/>
                </a:cubicBezTo>
                <a:cubicBezTo>
                  <a:pt x="4191" y="277"/>
                  <a:pt x="4191" y="466"/>
                  <a:pt x="4348" y="655"/>
                </a:cubicBezTo>
                <a:lnTo>
                  <a:pt x="4947" y="1222"/>
                </a:lnTo>
                <a:cubicBezTo>
                  <a:pt x="4726" y="1505"/>
                  <a:pt x="4600" y="1820"/>
                  <a:pt x="4600" y="2167"/>
                </a:cubicBezTo>
                <a:cubicBezTo>
                  <a:pt x="4600" y="2639"/>
                  <a:pt x="4821" y="3049"/>
                  <a:pt x="5199" y="3333"/>
                </a:cubicBezTo>
                <a:cubicBezTo>
                  <a:pt x="5105" y="3427"/>
                  <a:pt x="5073" y="3522"/>
                  <a:pt x="5042" y="3679"/>
                </a:cubicBezTo>
                <a:cubicBezTo>
                  <a:pt x="3939" y="2734"/>
                  <a:pt x="2521" y="2167"/>
                  <a:pt x="1040" y="2167"/>
                </a:cubicBezTo>
                <a:cubicBezTo>
                  <a:pt x="473" y="2167"/>
                  <a:pt x="1" y="2639"/>
                  <a:pt x="1" y="3238"/>
                </a:cubicBezTo>
                <a:lnTo>
                  <a:pt x="1" y="4152"/>
                </a:lnTo>
                <a:cubicBezTo>
                  <a:pt x="1" y="4845"/>
                  <a:pt x="410" y="5412"/>
                  <a:pt x="1009" y="5632"/>
                </a:cubicBezTo>
                <a:cubicBezTo>
                  <a:pt x="820" y="5916"/>
                  <a:pt x="694" y="6231"/>
                  <a:pt x="694" y="6578"/>
                </a:cubicBezTo>
                <a:lnTo>
                  <a:pt x="694" y="6798"/>
                </a:lnTo>
                <a:cubicBezTo>
                  <a:pt x="694" y="7365"/>
                  <a:pt x="1166" y="7838"/>
                  <a:pt x="1765" y="7838"/>
                </a:cubicBezTo>
                <a:cubicBezTo>
                  <a:pt x="2931" y="7838"/>
                  <a:pt x="4033" y="7491"/>
                  <a:pt x="4979" y="6830"/>
                </a:cubicBezTo>
                <a:cubicBezTo>
                  <a:pt x="4979" y="7271"/>
                  <a:pt x="5294" y="7649"/>
                  <a:pt x="5703" y="7806"/>
                </a:cubicBezTo>
                <a:lnTo>
                  <a:pt x="5703" y="11839"/>
                </a:lnTo>
                <a:cubicBezTo>
                  <a:pt x="5703" y="12028"/>
                  <a:pt x="5861" y="12185"/>
                  <a:pt x="6050" y="12185"/>
                </a:cubicBezTo>
                <a:cubicBezTo>
                  <a:pt x="6239" y="12185"/>
                  <a:pt x="6396" y="12028"/>
                  <a:pt x="6396" y="11839"/>
                </a:cubicBezTo>
                <a:lnTo>
                  <a:pt x="6396" y="7806"/>
                </a:lnTo>
                <a:cubicBezTo>
                  <a:pt x="6806" y="7649"/>
                  <a:pt x="7121" y="7302"/>
                  <a:pt x="7121" y="6830"/>
                </a:cubicBezTo>
                <a:cubicBezTo>
                  <a:pt x="8066" y="7491"/>
                  <a:pt x="9200" y="7838"/>
                  <a:pt x="10334" y="7838"/>
                </a:cubicBezTo>
                <a:cubicBezTo>
                  <a:pt x="10933" y="7838"/>
                  <a:pt x="11406" y="7365"/>
                  <a:pt x="11406" y="6798"/>
                </a:cubicBezTo>
                <a:lnTo>
                  <a:pt x="11406" y="6578"/>
                </a:lnTo>
                <a:cubicBezTo>
                  <a:pt x="11406" y="6231"/>
                  <a:pt x="11280" y="5916"/>
                  <a:pt x="11090" y="5632"/>
                </a:cubicBezTo>
                <a:cubicBezTo>
                  <a:pt x="11689" y="5443"/>
                  <a:pt x="12130" y="4845"/>
                  <a:pt x="12130" y="4152"/>
                </a:cubicBezTo>
                <a:lnTo>
                  <a:pt x="12130" y="3238"/>
                </a:lnTo>
                <a:cubicBezTo>
                  <a:pt x="12130" y="2639"/>
                  <a:pt x="11658" y="2167"/>
                  <a:pt x="11059" y="2167"/>
                </a:cubicBezTo>
                <a:cubicBezTo>
                  <a:pt x="9610" y="2167"/>
                  <a:pt x="8129" y="2734"/>
                  <a:pt x="7089" y="3679"/>
                </a:cubicBezTo>
                <a:cubicBezTo>
                  <a:pt x="7058" y="3553"/>
                  <a:pt x="6995" y="3427"/>
                  <a:pt x="6932" y="3333"/>
                </a:cubicBezTo>
                <a:cubicBezTo>
                  <a:pt x="7278" y="3049"/>
                  <a:pt x="7530" y="2639"/>
                  <a:pt x="7530" y="2167"/>
                </a:cubicBezTo>
                <a:cubicBezTo>
                  <a:pt x="7530" y="1820"/>
                  <a:pt x="7404" y="1505"/>
                  <a:pt x="7152" y="1222"/>
                </a:cubicBezTo>
                <a:lnTo>
                  <a:pt x="7751" y="655"/>
                </a:lnTo>
                <a:cubicBezTo>
                  <a:pt x="7908" y="466"/>
                  <a:pt x="7908" y="277"/>
                  <a:pt x="7751" y="119"/>
                </a:cubicBezTo>
                <a:cubicBezTo>
                  <a:pt x="7672" y="40"/>
                  <a:pt x="7586" y="1"/>
                  <a:pt x="7499" y="1"/>
                </a:cubicBezTo>
                <a:cubicBezTo>
                  <a:pt x="7412" y="1"/>
                  <a:pt x="7326" y="40"/>
                  <a:pt x="7247" y="119"/>
                </a:cubicBezTo>
                <a:lnTo>
                  <a:pt x="6522" y="844"/>
                </a:lnTo>
                <a:cubicBezTo>
                  <a:pt x="6365" y="812"/>
                  <a:pt x="6207" y="749"/>
                  <a:pt x="6050" y="749"/>
                </a:cubicBezTo>
                <a:cubicBezTo>
                  <a:pt x="5892" y="749"/>
                  <a:pt x="5735" y="812"/>
                  <a:pt x="5577" y="844"/>
                </a:cubicBezTo>
                <a:lnTo>
                  <a:pt x="4884" y="119"/>
                </a:lnTo>
                <a:cubicBezTo>
                  <a:pt x="4805" y="40"/>
                  <a:pt x="4711" y="1"/>
                  <a:pt x="4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72" name="Google Shape;10672;p80"/>
          <p:cNvGrpSpPr/>
          <p:nvPr/>
        </p:nvGrpSpPr>
        <p:grpSpPr>
          <a:xfrm>
            <a:off x="1457493" y="2850904"/>
            <a:ext cx="416283" cy="473881"/>
            <a:chOff x="-20904875" y="2788575"/>
            <a:chExt cx="267775" cy="304825"/>
          </a:xfrm>
        </p:grpSpPr>
        <p:sp>
          <p:nvSpPr>
            <p:cNvPr id="10673" name="Google Shape;10673;p80"/>
            <p:cNvSpPr/>
            <p:nvPr/>
          </p:nvSpPr>
          <p:spPr>
            <a:xfrm>
              <a:off x="-20904875" y="2788575"/>
              <a:ext cx="267775" cy="304825"/>
            </a:xfrm>
            <a:custGeom>
              <a:avLst/>
              <a:gdLst/>
              <a:ahLst/>
              <a:cxnLst/>
              <a:rect l="l" t="t" r="r" b="b"/>
              <a:pathLst>
                <a:path w="10711" h="12193" extrusionOk="0">
                  <a:moveTo>
                    <a:pt x="5294" y="725"/>
                  </a:moveTo>
                  <a:cubicBezTo>
                    <a:pt x="5483" y="725"/>
                    <a:pt x="5640" y="882"/>
                    <a:pt x="5640" y="1103"/>
                  </a:cubicBezTo>
                  <a:lnTo>
                    <a:pt x="5640" y="1166"/>
                  </a:lnTo>
                  <a:cubicBezTo>
                    <a:pt x="5640" y="1373"/>
                    <a:pt x="5803" y="1512"/>
                    <a:pt x="5977" y="1512"/>
                  </a:cubicBezTo>
                  <a:cubicBezTo>
                    <a:pt x="6068" y="1512"/>
                    <a:pt x="6163" y="1473"/>
                    <a:pt x="6239" y="1387"/>
                  </a:cubicBezTo>
                  <a:lnTo>
                    <a:pt x="6270" y="1355"/>
                  </a:lnTo>
                  <a:cubicBezTo>
                    <a:pt x="6341" y="1284"/>
                    <a:pt x="6429" y="1252"/>
                    <a:pt x="6514" y="1252"/>
                  </a:cubicBezTo>
                  <a:cubicBezTo>
                    <a:pt x="6695" y="1252"/>
                    <a:pt x="6869" y="1393"/>
                    <a:pt x="6869" y="1607"/>
                  </a:cubicBezTo>
                  <a:cubicBezTo>
                    <a:pt x="6869" y="1765"/>
                    <a:pt x="6774" y="1828"/>
                    <a:pt x="6711" y="1922"/>
                  </a:cubicBezTo>
                  <a:cubicBezTo>
                    <a:pt x="6459" y="2143"/>
                    <a:pt x="6617" y="2489"/>
                    <a:pt x="6932" y="2489"/>
                  </a:cubicBezTo>
                  <a:lnTo>
                    <a:pt x="7026" y="2489"/>
                  </a:lnTo>
                  <a:cubicBezTo>
                    <a:pt x="7215" y="2489"/>
                    <a:pt x="7373" y="2678"/>
                    <a:pt x="7373" y="2867"/>
                  </a:cubicBezTo>
                  <a:cubicBezTo>
                    <a:pt x="7373" y="3056"/>
                    <a:pt x="7215" y="3214"/>
                    <a:pt x="7026" y="3214"/>
                  </a:cubicBezTo>
                  <a:lnTo>
                    <a:pt x="6932" y="3214"/>
                  </a:lnTo>
                  <a:cubicBezTo>
                    <a:pt x="6774" y="3214"/>
                    <a:pt x="6648" y="3277"/>
                    <a:pt x="6617" y="3466"/>
                  </a:cubicBezTo>
                  <a:cubicBezTo>
                    <a:pt x="6585" y="3560"/>
                    <a:pt x="6585" y="3718"/>
                    <a:pt x="6711" y="3844"/>
                  </a:cubicBezTo>
                  <a:lnTo>
                    <a:pt x="6743" y="3875"/>
                  </a:lnTo>
                  <a:cubicBezTo>
                    <a:pt x="6806" y="3970"/>
                    <a:pt x="6869" y="4033"/>
                    <a:pt x="6869" y="4127"/>
                  </a:cubicBezTo>
                  <a:cubicBezTo>
                    <a:pt x="6869" y="4334"/>
                    <a:pt x="6693" y="4473"/>
                    <a:pt x="6518" y="4473"/>
                  </a:cubicBezTo>
                  <a:cubicBezTo>
                    <a:pt x="6427" y="4473"/>
                    <a:pt x="6335" y="4435"/>
                    <a:pt x="6270" y="4348"/>
                  </a:cubicBezTo>
                  <a:lnTo>
                    <a:pt x="6239" y="4316"/>
                  </a:lnTo>
                  <a:cubicBezTo>
                    <a:pt x="6156" y="4234"/>
                    <a:pt x="6063" y="4199"/>
                    <a:pt x="5976" y="4199"/>
                  </a:cubicBezTo>
                  <a:cubicBezTo>
                    <a:pt x="5797" y="4199"/>
                    <a:pt x="5640" y="4346"/>
                    <a:pt x="5640" y="4537"/>
                  </a:cubicBezTo>
                  <a:lnTo>
                    <a:pt x="5640" y="4632"/>
                  </a:lnTo>
                  <a:cubicBezTo>
                    <a:pt x="5640" y="4821"/>
                    <a:pt x="5483" y="4978"/>
                    <a:pt x="5294" y="4978"/>
                  </a:cubicBezTo>
                  <a:cubicBezTo>
                    <a:pt x="5073" y="4978"/>
                    <a:pt x="4916" y="4821"/>
                    <a:pt x="4916" y="4632"/>
                  </a:cubicBezTo>
                  <a:lnTo>
                    <a:pt x="4916" y="4537"/>
                  </a:lnTo>
                  <a:cubicBezTo>
                    <a:pt x="4958" y="4346"/>
                    <a:pt x="4801" y="4213"/>
                    <a:pt x="4626" y="4213"/>
                  </a:cubicBezTo>
                  <a:cubicBezTo>
                    <a:pt x="4541" y="4213"/>
                    <a:pt x="4452" y="4244"/>
                    <a:pt x="4380" y="4316"/>
                  </a:cubicBezTo>
                  <a:lnTo>
                    <a:pt x="4349" y="4348"/>
                  </a:lnTo>
                  <a:cubicBezTo>
                    <a:pt x="4270" y="4427"/>
                    <a:pt x="4175" y="4466"/>
                    <a:pt x="4081" y="4466"/>
                  </a:cubicBezTo>
                  <a:cubicBezTo>
                    <a:pt x="3986" y="4466"/>
                    <a:pt x="3892" y="4427"/>
                    <a:pt x="3813" y="4348"/>
                  </a:cubicBezTo>
                  <a:cubicBezTo>
                    <a:pt x="3655" y="4190"/>
                    <a:pt x="3655" y="4001"/>
                    <a:pt x="3813" y="3844"/>
                  </a:cubicBezTo>
                  <a:lnTo>
                    <a:pt x="3876" y="3812"/>
                  </a:lnTo>
                  <a:cubicBezTo>
                    <a:pt x="4096" y="3560"/>
                    <a:pt x="3939" y="3214"/>
                    <a:pt x="3624" y="3214"/>
                  </a:cubicBezTo>
                  <a:lnTo>
                    <a:pt x="3561" y="3214"/>
                  </a:lnTo>
                  <a:cubicBezTo>
                    <a:pt x="3340" y="3214"/>
                    <a:pt x="3183" y="3056"/>
                    <a:pt x="3183" y="2867"/>
                  </a:cubicBezTo>
                  <a:cubicBezTo>
                    <a:pt x="3183" y="2678"/>
                    <a:pt x="3340" y="2489"/>
                    <a:pt x="3561" y="2489"/>
                  </a:cubicBezTo>
                  <a:lnTo>
                    <a:pt x="3624" y="2489"/>
                  </a:lnTo>
                  <a:cubicBezTo>
                    <a:pt x="3939" y="2489"/>
                    <a:pt x="4096" y="2111"/>
                    <a:pt x="3876" y="1922"/>
                  </a:cubicBezTo>
                  <a:cubicBezTo>
                    <a:pt x="3813" y="1891"/>
                    <a:pt x="3718" y="1796"/>
                    <a:pt x="3718" y="1607"/>
                  </a:cubicBezTo>
                  <a:cubicBezTo>
                    <a:pt x="3718" y="1393"/>
                    <a:pt x="3892" y="1252"/>
                    <a:pt x="4063" y="1252"/>
                  </a:cubicBezTo>
                  <a:cubicBezTo>
                    <a:pt x="4144" y="1252"/>
                    <a:pt x="4225" y="1284"/>
                    <a:pt x="4286" y="1355"/>
                  </a:cubicBezTo>
                  <a:lnTo>
                    <a:pt x="4349" y="1387"/>
                  </a:lnTo>
                  <a:cubicBezTo>
                    <a:pt x="4424" y="1473"/>
                    <a:pt x="4515" y="1512"/>
                    <a:pt x="4602" y="1512"/>
                  </a:cubicBezTo>
                  <a:cubicBezTo>
                    <a:pt x="4767" y="1512"/>
                    <a:pt x="4916" y="1373"/>
                    <a:pt x="4916" y="1166"/>
                  </a:cubicBezTo>
                  <a:lnTo>
                    <a:pt x="4916" y="1103"/>
                  </a:lnTo>
                  <a:cubicBezTo>
                    <a:pt x="4916" y="882"/>
                    <a:pt x="5073" y="725"/>
                    <a:pt x="5294" y="725"/>
                  </a:cubicBezTo>
                  <a:close/>
                  <a:moveTo>
                    <a:pt x="757" y="5766"/>
                  </a:moveTo>
                  <a:lnTo>
                    <a:pt x="757" y="5766"/>
                  </a:lnTo>
                  <a:cubicBezTo>
                    <a:pt x="1482" y="5892"/>
                    <a:pt x="2647" y="6144"/>
                    <a:pt x="3120" y="6648"/>
                  </a:cubicBezTo>
                  <a:cubicBezTo>
                    <a:pt x="3624" y="7152"/>
                    <a:pt x="3624" y="7498"/>
                    <a:pt x="3340" y="7908"/>
                  </a:cubicBezTo>
                  <a:lnTo>
                    <a:pt x="2616" y="7152"/>
                  </a:lnTo>
                  <a:cubicBezTo>
                    <a:pt x="2537" y="7073"/>
                    <a:pt x="2442" y="7034"/>
                    <a:pt x="2348" y="7034"/>
                  </a:cubicBezTo>
                  <a:cubicBezTo>
                    <a:pt x="2253" y="7034"/>
                    <a:pt x="2159" y="7073"/>
                    <a:pt x="2080" y="7152"/>
                  </a:cubicBezTo>
                  <a:cubicBezTo>
                    <a:pt x="1923" y="7309"/>
                    <a:pt x="1923" y="7498"/>
                    <a:pt x="2080" y="7656"/>
                  </a:cubicBezTo>
                  <a:lnTo>
                    <a:pt x="2836" y="8412"/>
                  </a:lnTo>
                  <a:cubicBezTo>
                    <a:pt x="2695" y="8515"/>
                    <a:pt x="2554" y="8575"/>
                    <a:pt x="2401" y="8575"/>
                  </a:cubicBezTo>
                  <a:cubicBezTo>
                    <a:pt x="2176" y="8575"/>
                    <a:pt x="1925" y="8446"/>
                    <a:pt x="1608" y="8129"/>
                  </a:cubicBezTo>
                  <a:cubicBezTo>
                    <a:pt x="1135" y="7656"/>
                    <a:pt x="883" y="6490"/>
                    <a:pt x="757" y="5766"/>
                  </a:cubicBezTo>
                  <a:close/>
                  <a:moveTo>
                    <a:pt x="9893" y="6459"/>
                  </a:moveTo>
                  <a:cubicBezTo>
                    <a:pt x="9799" y="7183"/>
                    <a:pt x="9578" y="8381"/>
                    <a:pt x="9074" y="8853"/>
                  </a:cubicBezTo>
                  <a:cubicBezTo>
                    <a:pt x="8805" y="9123"/>
                    <a:pt x="8570" y="9287"/>
                    <a:pt x="8321" y="9287"/>
                  </a:cubicBezTo>
                  <a:cubicBezTo>
                    <a:pt x="8162" y="9287"/>
                    <a:pt x="7998" y="9221"/>
                    <a:pt x="7814" y="9074"/>
                  </a:cubicBezTo>
                  <a:lnTo>
                    <a:pt x="8570" y="8349"/>
                  </a:lnTo>
                  <a:cubicBezTo>
                    <a:pt x="8728" y="8192"/>
                    <a:pt x="8728" y="7971"/>
                    <a:pt x="8570" y="7814"/>
                  </a:cubicBezTo>
                  <a:cubicBezTo>
                    <a:pt x="8491" y="7735"/>
                    <a:pt x="8397" y="7695"/>
                    <a:pt x="8302" y="7695"/>
                  </a:cubicBezTo>
                  <a:cubicBezTo>
                    <a:pt x="8208" y="7695"/>
                    <a:pt x="8113" y="7735"/>
                    <a:pt x="8035" y="7814"/>
                  </a:cubicBezTo>
                  <a:lnTo>
                    <a:pt x="7278" y="8570"/>
                  </a:lnTo>
                  <a:cubicBezTo>
                    <a:pt x="7026" y="8192"/>
                    <a:pt x="7026" y="7814"/>
                    <a:pt x="7531" y="7309"/>
                  </a:cubicBezTo>
                  <a:cubicBezTo>
                    <a:pt x="8003" y="6837"/>
                    <a:pt x="9169" y="6553"/>
                    <a:pt x="9893" y="6459"/>
                  </a:cubicBezTo>
                  <a:close/>
                  <a:moveTo>
                    <a:pt x="5357" y="0"/>
                  </a:moveTo>
                  <a:cubicBezTo>
                    <a:pt x="4979" y="0"/>
                    <a:pt x="4601" y="221"/>
                    <a:pt x="4412" y="536"/>
                  </a:cubicBezTo>
                  <a:cubicBezTo>
                    <a:pt x="4313" y="500"/>
                    <a:pt x="4206" y="482"/>
                    <a:pt x="4097" y="482"/>
                  </a:cubicBezTo>
                  <a:cubicBezTo>
                    <a:pt x="3826" y="482"/>
                    <a:pt x="3543" y="594"/>
                    <a:pt x="3340" y="819"/>
                  </a:cubicBezTo>
                  <a:cubicBezTo>
                    <a:pt x="3088" y="1103"/>
                    <a:pt x="2962" y="1513"/>
                    <a:pt x="3088" y="1891"/>
                  </a:cubicBezTo>
                  <a:cubicBezTo>
                    <a:pt x="2710" y="2080"/>
                    <a:pt x="2521" y="2426"/>
                    <a:pt x="2521" y="2836"/>
                  </a:cubicBezTo>
                  <a:cubicBezTo>
                    <a:pt x="2521" y="3214"/>
                    <a:pt x="2773" y="3560"/>
                    <a:pt x="3088" y="3781"/>
                  </a:cubicBezTo>
                  <a:cubicBezTo>
                    <a:pt x="2962" y="4127"/>
                    <a:pt x="3057" y="4569"/>
                    <a:pt x="3340" y="4821"/>
                  </a:cubicBezTo>
                  <a:cubicBezTo>
                    <a:pt x="3549" y="5030"/>
                    <a:pt x="3844" y="5153"/>
                    <a:pt x="4123" y="5153"/>
                  </a:cubicBezTo>
                  <a:cubicBezTo>
                    <a:pt x="4223" y="5153"/>
                    <a:pt x="4320" y="5137"/>
                    <a:pt x="4412" y="5104"/>
                  </a:cubicBezTo>
                  <a:cubicBezTo>
                    <a:pt x="4538" y="5325"/>
                    <a:pt x="4758" y="5545"/>
                    <a:pt x="5010" y="5608"/>
                  </a:cubicBezTo>
                  <a:lnTo>
                    <a:pt x="5010" y="9483"/>
                  </a:lnTo>
                  <a:lnTo>
                    <a:pt x="3907" y="8381"/>
                  </a:lnTo>
                  <a:cubicBezTo>
                    <a:pt x="4538" y="7593"/>
                    <a:pt x="4380" y="6837"/>
                    <a:pt x="3655" y="6144"/>
                  </a:cubicBezTo>
                  <a:cubicBezTo>
                    <a:pt x="2773" y="5230"/>
                    <a:pt x="505" y="5041"/>
                    <a:pt x="410" y="5041"/>
                  </a:cubicBezTo>
                  <a:cubicBezTo>
                    <a:pt x="158" y="5041"/>
                    <a:pt x="1" y="5199"/>
                    <a:pt x="1" y="5419"/>
                  </a:cubicBezTo>
                  <a:cubicBezTo>
                    <a:pt x="1" y="5482"/>
                    <a:pt x="190" y="7751"/>
                    <a:pt x="1104" y="8696"/>
                  </a:cubicBezTo>
                  <a:cubicBezTo>
                    <a:pt x="1517" y="9091"/>
                    <a:pt x="1951" y="9312"/>
                    <a:pt x="2382" y="9312"/>
                  </a:cubicBezTo>
                  <a:cubicBezTo>
                    <a:pt x="2706" y="9312"/>
                    <a:pt x="3029" y="9187"/>
                    <a:pt x="3340" y="8916"/>
                  </a:cubicBezTo>
                  <a:lnTo>
                    <a:pt x="4979" y="10554"/>
                  </a:lnTo>
                  <a:lnTo>
                    <a:pt x="4979" y="11500"/>
                  </a:lnTo>
                  <a:lnTo>
                    <a:pt x="2490" y="11500"/>
                  </a:lnTo>
                  <a:cubicBezTo>
                    <a:pt x="2301" y="11500"/>
                    <a:pt x="2143" y="11657"/>
                    <a:pt x="2143" y="11846"/>
                  </a:cubicBezTo>
                  <a:cubicBezTo>
                    <a:pt x="2143" y="12035"/>
                    <a:pt x="2301" y="12193"/>
                    <a:pt x="2490" y="12193"/>
                  </a:cubicBezTo>
                  <a:lnTo>
                    <a:pt x="8192" y="12193"/>
                  </a:lnTo>
                  <a:cubicBezTo>
                    <a:pt x="8381" y="12193"/>
                    <a:pt x="8539" y="12035"/>
                    <a:pt x="8539" y="11846"/>
                  </a:cubicBezTo>
                  <a:cubicBezTo>
                    <a:pt x="8539" y="11657"/>
                    <a:pt x="8381" y="11500"/>
                    <a:pt x="8192" y="11500"/>
                  </a:cubicBezTo>
                  <a:lnTo>
                    <a:pt x="5703" y="11500"/>
                  </a:lnTo>
                  <a:lnTo>
                    <a:pt x="5703" y="11248"/>
                  </a:lnTo>
                  <a:lnTo>
                    <a:pt x="7342" y="9641"/>
                  </a:lnTo>
                  <a:cubicBezTo>
                    <a:pt x="7677" y="9909"/>
                    <a:pt x="8000" y="10034"/>
                    <a:pt x="8317" y="10034"/>
                  </a:cubicBezTo>
                  <a:cubicBezTo>
                    <a:pt x="8746" y="10034"/>
                    <a:pt x="9162" y="9805"/>
                    <a:pt x="9578" y="9389"/>
                  </a:cubicBezTo>
                  <a:cubicBezTo>
                    <a:pt x="10492" y="8507"/>
                    <a:pt x="10681" y="6238"/>
                    <a:pt x="10681" y="6144"/>
                  </a:cubicBezTo>
                  <a:cubicBezTo>
                    <a:pt x="10710" y="5910"/>
                    <a:pt x="10550" y="5731"/>
                    <a:pt x="10376" y="5731"/>
                  </a:cubicBezTo>
                  <a:cubicBezTo>
                    <a:pt x="10362" y="5731"/>
                    <a:pt x="10348" y="5732"/>
                    <a:pt x="10334" y="5734"/>
                  </a:cubicBezTo>
                  <a:cubicBezTo>
                    <a:pt x="10240" y="5734"/>
                    <a:pt x="8003" y="5923"/>
                    <a:pt x="7058" y="6837"/>
                  </a:cubicBezTo>
                  <a:cubicBezTo>
                    <a:pt x="6333" y="7561"/>
                    <a:pt x="6176" y="8286"/>
                    <a:pt x="6806" y="9074"/>
                  </a:cubicBezTo>
                  <a:lnTo>
                    <a:pt x="5703" y="10176"/>
                  </a:lnTo>
                  <a:lnTo>
                    <a:pt x="5703" y="5608"/>
                  </a:lnTo>
                  <a:cubicBezTo>
                    <a:pt x="5955" y="5545"/>
                    <a:pt x="6176" y="5356"/>
                    <a:pt x="6302" y="5104"/>
                  </a:cubicBezTo>
                  <a:cubicBezTo>
                    <a:pt x="6401" y="5140"/>
                    <a:pt x="6508" y="5158"/>
                    <a:pt x="6616" y="5158"/>
                  </a:cubicBezTo>
                  <a:cubicBezTo>
                    <a:pt x="6888" y="5158"/>
                    <a:pt x="7170" y="5046"/>
                    <a:pt x="7373" y="4821"/>
                  </a:cubicBezTo>
                  <a:cubicBezTo>
                    <a:pt x="7562" y="4632"/>
                    <a:pt x="7688" y="4348"/>
                    <a:pt x="7688" y="4096"/>
                  </a:cubicBezTo>
                  <a:cubicBezTo>
                    <a:pt x="7688" y="3970"/>
                    <a:pt x="7688" y="3875"/>
                    <a:pt x="7657" y="3781"/>
                  </a:cubicBezTo>
                  <a:cubicBezTo>
                    <a:pt x="8003" y="3560"/>
                    <a:pt x="8192" y="3214"/>
                    <a:pt x="8192" y="2836"/>
                  </a:cubicBezTo>
                  <a:cubicBezTo>
                    <a:pt x="8192" y="2426"/>
                    <a:pt x="7972" y="2080"/>
                    <a:pt x="7657" y="1891"/>
                  </a:cubicBezTo>
                  <a:cubicBezTo>
                    <a:pt x="7751" y="1513"/>
                    <a:pt x="7688" y="1103"/>
                    <a:pt x="7373" y="819"/>
                  </a:cubicBezTo>
                  <a:cubicBezTo>
                    <a:pt x="7164" y="610"/>
                    <a:pt x="6869" y="487"/>
                    <a:pt x="6590" y="487"/>
                  </a:cubicBezTo>
                  <a:cubicBezTo>
                    <a:pt x="6491" y="487"/>
                    <a:pt x="6393" y="503"/>
                    <a:pt x="6302" y="536"/>
                  </a:cubicBezTo>
                  <a:cubicBezTo>
                    <a:pt x="6113" y="189"/>
                    <a:pt x="5766"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80"/>
            <p:cNvSpPr/>
            <p:nvPr/>
          </p:nvSpPr>
          <p:spPr>
            <a:xfrm>
              <a:off x="-20788300" y="2842125"/>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040" y="1418"/>
                    <a:pt x="1418" y="1103"/>
                    <a:pt x="1418" y="725"/>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75" name="Google Shape;10675;p80"/>
          <p:cNvGrpSpPr/>
          <p:nvPr/>
        </p:nvGrpSpPr>
        <p:grpSpPr>
          <a:xfrm>
            <a:off x="4397908" y="2275564"/>
            <a:ext cx="360045" cy="471471"/>
            <a:chOff x="-19006700" y="2434925"/>
            <a:chExt cx="231600" cy="303275"/>
          </a:xfrm>
        </p:grpSpPr>
        <p:sp>
          <p:nvSpPr>
            <p:cNvPr id="10676" name="Google Shape;10676;p80"/>
            <p:cNvSpPr/>
            <p:nvPr/>
          </p:nvSpPr>
          <p:spPr>
            <a:xfrm>
              <a:off x="-18906675" y="2552275"/>
              <a:ext cx="36275" cy="44150"/>
            </a:xfrm>
            <a:custGeom>
              <a:avLst/>
              <a:gdLst/>
              <a:ahLst/>
              <a:cxnLst/>
              <a:rect l="l" t="t" r="r" b="b"/>
              <a:pathLst>
                <a:path w="1451" h="1766" extrusionOk="0">
                  <a:moveTo>
                    <a:pt x="1000" y="0"/>
                  </a:moveTo>
                  <a:cubicBezTo>
                    <a:pt x="853" y="0"/>
                    <a:pt x="718" y="108"/>
                    <a:pt x="694" y="253"/>
                  </a:cubicBezTo>
                  <a:cubicBezTo>
                    <a:pt x="641" y="95"/>
                    <a:pt x="478" y="25"/>
                    <a:pt x="334" y="25"/>
                  </a:cubicBezTo>
                  <a:cubicBezTo>
                    <a:pt x="306" y="25"/>
                    <a:pt x="279" y="27"/>
                    <a:pt x="253" y="32"/>
                  </a:cubicBezTo>
                  <a:cubicBezTo>
                    <a:pt x="64" y="95"/>
                    <a:pt x="1" y="316"/>
                    <a:pt x="32" y="473"/>
                  </a:cubicBezTo>
                  <a:lnTo>
                    <a:pt x="284" y="1513"/>
                  </a:lnTo>
                  <a:cubicBezTo>
                    <a:pt x="347" y="1671"/>
                    <a:pt x="505" y="1765"/>
                    <a:pt x="663" y="1765"/>
                  </a:cubicBezTo>
                  <a:cubicBezTo>
                    <a:pt x="820" y="1765"/>
                    <a:pt x="946" y="1671"/>
                    <a:pt x="1009" y="1513"/>
                  </a:cubicBezTo>
                  <a:lnTo>
                    <a:pt x="1356" y="473"/>
                  </a:lnTo>
                  <a:cubicBezTo>
                    <a:pt x="1450" y="253"/>
                    <a:pt x="1324" y="64"/>
                    <a:pt x="1135" y="32"/>
                  </a:cubicBezTo>
                  <a:cubicBezTo>
                    <a:pt x="1091" y="10"/>
                    <a:pt x="1045" y="0"/>
                    <a:pt x="10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80"/>
            <p:cNvSpPr/>
            <p:nvPr/>
          </p:nvSpPr>
          <p:spPr>
            <a:xfrm>
              <a:off x="-18935800" y="25255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80"/>
            <p:cNvSpPr/>
            <p:nvPr/>
          </p:nvSpPr>
          <p:spPr>
            <a:xfrm>
              <a:off x="-18864125" y="252550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80"/>
            <p:cNvSpPr/>
            <p:nvPr/>
          </p:nvSpPr>
          <p:spPr>
            <a:xfrm>
              <a:off x="-19006700" y="2434925"/>
              <a:ext cx="231600" cy="303275"/>
            </a:xfrm>
            <a:custGeom>
              <a:avLst/>
              <a:gdLst/>
              <a:ahLst/>
              <a:cxnLst/>
              <a:rect l="l" t="t" r="r" b="b"/>
              <a:pathLst>
                <a:path w="9264" h="12131" extrusionOk="0">
                  <a:moveTo>
                    <a:pt x="6302" y="757"/>
                  </a:moveTo>
                  <a:cubicBezTo>
                    <a:pt x="6774" y="851"/>
                    <a:pt x="7089" y="1292"/>
                    <a:pt x="7089" y="1765"/>
                  </a:cubicBezTo>
                  <a:lnTo>
                    <a:pt x="7089" y="2521"/>
                  </a:lnTo>
                  <a:cubicBezTo>
                    <a:pt x="6774" y="2269"/>
                    <a:pt x="6428" y="2175"/>
                    <a:pt x="6018" y="2175"/>
                  </a:cubicBezTo>
                  <a:cubicBezTo>
                    <a:pt x="5451" y="2175"/>
                    <a:pt x="4916" y="2427"/>
                    <a:pt x="4601" y="2868"/>
                  </a:cubicBezTo>
                  <a:cubicBezTo>
                    <a:pt x="4285" y="2427"/>
                    <a:pt x="3781" y="2175"/>
                    <a:pt x="3183" y="2175"/>
                  </a:cubicBezTo>
                  <a:cubicBezTo>
                    <a:pt x="2805" y="2175"/>
                    <a:pt x="2395" y="2269"/>
                    <a:pt x="2143" y="2521"/>
                  </a:cubicBezTo>
                  <a:lnTo>
                    <a:pt x="2143" y="1765"/>
                  </a:lnTo>
                  <a:cubicBezTo>
                    <a:pt x="2143" y="1261"/>
                    <a:pt x="2458" y="851"/>
                    <a:pt x="2931" y="757"/>
                  </a:cubicBezTo>
                  <a:cubicBezTo>
                    <a:pt x="3088" y="1135"/>
                    <a:pt x="3466" y="1418"/>
                    <a:pt x="3907" y="1418"/>
                  </a:cubicBezTo>
                  <a:lnTo>
                    <a:pt x="5325" y="1418"/>
                  </a:lnTo>
                  <a:cubicBezTo>
                    <a:pt x="5766" y="1418"/>
                    <a:pt x="6144" y="1135"/>
                    <a:pt x="6302" y="757"/>
                  </a:cubicBezTo>
                  <a:close/>
                  <a:moveTo>
                    <a:pt x="6050" y="2899"/>
                  </a:moveTo>
                  <a:cubicBezTo>
                    <a:pt x="6617" y="2899"/>
                    <a:pt x="7089" y="3372"/>
                    <a:pt x="7089" y="3970"/>
                  </a:cubicBezTo>
                  <a:lnTo>
                    <a:pt x="7089" y="4695"/>
                  </a:lnTo>
                  <a:cubicBezTo>
                    <a:pt x="7089" y="6050"/>
                    <a:pt x="5987" y="7152"/>
                    <a:pt x="4632" y="7152"/>
                  </a:cubicBezTo>
                  <a:cubicBezTo>
                    <a:pt x="3246" y="7152"/>
                    <a:pt x="2143" y="6050"/>
                    <a:pt x="2143" y="4695"/>
                  </a:cubicBezTo>
                  <a:lnTo>
                    <a:pt x="2143" y="3970"/>
                  </a:lnTo>
                  <a:cubicBezTo>
                    <a:pt x="2143" y="3372"/>
                    <a:pt x="2616" y="2899"/>
                    <a:pt x="3183" y="2899"/>
                  </a:cubicBezTo>
                  <a:cubicBezTo>
                    <a:pt x="3781" y="2899"/>
                    <a:pt x="4254" y="3372"/>
                    <a:pt x="4254" y="3970"/>
                  </a:cubicBezTo>
                  <a:cubicBezTo>
                    <a:pt x="4254" y="4159"/>
                    <a:pt x="4411" y="4317"/>
                    <a:pt x="4632" y="4317"/>
                  </a:cubicBezTo>
                  <a:cubicBezTo>
                    <a:pt x="4821" y="4317"/>
                    <a:pt x="4979" y="4159"/>
                    <a:pt x="4979" y="3970"/>
                  </a:cubicBezTo>
                  <a:cubicBezTo>
                    <a:pt x="4979" y="3372"/>
                    <a:pt x="5451" y="2899"/>
                    <a:pt x="6050" y="2899"/>
                  </a:cubicBezTo>
                  <a:close/>
                  <a:moveTo>
                    <a:pt x="7121" y="7152"/>
                  </a:moveTo>
                  <a:cubicBezTo>
                    <a:pt x="7909" y="7152"/>
                    <a:pt x="8539" y="7782"/>
                    <a:pt x="8539" y="8570"/>
                  </a:cubicBezTo>
                  <a:lnTo>
                    <a:pt x="8539" y="9956"/>
                  </a:lnTo>
                  <a:cubicBezTo>
                    <a:pt x="8129" y="9799"/>
                    <a:pt x="7846" y="9421"/>
                    <a:pt x="7846" y="8948"/>
                  </a:cubicBezTo>
                  <a:cubicBezTo>
                    <a:pt x="7846" y="8728"/>
                    <a:pt x="7688" y="8570"/>
                    <a:pt x="7499" y="8570"/>
                  </a:cubicBezTo>
                  <a:cubicBezTo>
                    <a:pt x="7278" y="8570"/>
                    <a:pt x="7121" y="8728"/>
                    <a:pt x="7121" y="8948"/>
                  </a:cubicBezTo>
                  <a:cubicBezTo>
                    <a:pt x="7121" y="9799"/>
                    <a:pt x="7751" y="10523"/>
                    <a:pt x="8539" y="10681"/>
                  </a:cubicBezTo>
                  <a:lnTo>
                    <a:pt x="8539" y="11405"/>
                  </a:lnTo>
                  <a:cubicBezTo>
                    <a:pt x="6963" y="11405"/>
                    <a:pt x="5703" y="10114"/>
                    <a:pt x="5703" y="8570"/>
                  </a:cubicBezTo>
                  <a:cubicBezTo>
                    <a:pt x="5703" y="7782"/>
                    <a:pt x="6333" y="7152"/>
                    <a:pt x="7121" y="7152"/>
                  </a:cubicBezTo>
                  <a:close/>
                  <a:moveTo>
                    <a:pt x="2868" y="7373"/>
                  </a:moveTo>
                  <a:cubicBezTo>
                    <a:pt x="3435" y="7719"/>
                    <a:pt x="4033" y="7908"/>
                    <a:pt x="4664" y="7908"/>
                  </a:cubicBezTo>
                  <a:cubicBezTo>
                    <a:pt x="4821" y="7908"/>
                    <a:pt x="4979" y="7908"/>
                    <a:pt x="5168" y="7877"/>
                  </a:cubicBezTo>
                  <a:lnTo>
                    <a:pt x="5168" y="7877"/>
                  </a:lnTo>
                  <a:cubicBezTo>
                    <a:pt x="5073" y="8097"/>
                    <a:pt x="5042" y="8349"/>
                    <a:pt x="5042" y="8633"/>
                  </a:cubicBezTo>
                  <a:cubicBezTo>
                    <a:pt x="5042" y="9799"/>
                    <a:pt x="5609" y="10838"/>
                    <a:pt x="6459" y="11468"/>
                  </a:cubicBezTo>
                  <a:lnTo>
                    <a:pt x="5357" y="11468"/>
                  </a:lnTo>
                  <a:cubicBezTo>
                    <a:pt x="3970" y="11468"/>
                    <a:pt x="2868" y="10334"/>
                    <a:pt x="2868" y="8980"/>
                  </a:cubicBezTo>
                  <a:lnTo>
                    <a:pt x="2868" y="7373"/>
                  </a:lnTo>
                  <a:close/>
                  <a:moveTo>
                    <a:pt x="3246" y="1"/>
                  </a:moveTo>
                  <a:cubicBezTo>
                    <a:pt x="2238" y="1"/>
                    <a:pt x="1450" y="788"/>
                    <a:pt x="1450" y="1765"/>
                  </a:cubicBezTo>
                  <a:lnTo>
                    <a:pt x="1450" y="4695"/>
                  </a:lnTo>
                  <a:cubicBezTo>
                    <a:pt x="1450" y="5420"/>
                    <a:pt x="1734" y="6144"/>
                    <a:pt x="2175" y="6680"/>
                  </a:cubicBezTo>
                  <a:lnTo>
                    <a:pt x="2175" y="8948"/>
                  </a:lnTo>
                  <a:cubicBezTo>
                    <a:pt x="2175" y="9956"/>
                    <a:pt x="2647" y="10838"/>
                    <a:pt x="3340" y="11405"/>
                  </a:cubicBezTo>
                  <a:lnTo>
                    <a:pt x="2017" y="11405"/>
                  </a:lnTo>
                  <a:lnTo>
                    <a:pt x="1387" y="10208"/>
                  </a:lnTo>
                  <a:cubicBezTo>
                    <a:pt x="1319" y="10094"/>
                    <a:pt x="1184" y="10013"/>
                    <a:pt x="1055" y="10013"/>
                  </a:cubicBezTo>
                  <a:cubicBezTo>
                    <a:pt x="1006" y="10013"/>
                    <a:pt x="958" y="10025"/>
                    <a:pt x="914" y="10051"/>
                  </a:cubicBezTo>
                  <a:cubicBezTo>
                    <a:pt x="757" y="10114"/>
                    <a:pt x="662" y="10366"/>
                    <a:pt x="757" y="10523"/>
                  </a:cubicBezTo>
                  <a:lnTo>
                    <a:pt x="1229" y="11405"/>
                  </a:lnTo>
                  <a:lnTo>
                    <a:pt x="347" y="11405"/>
                  </a:lnTo>
                  <a:cubicBezTo>
                    <a:pt x="158" y="11405"/>
                    <a:pt x="1" y="11563"/>
                    <a:pt x="1" y="11783"/>
                  </a:cubicBezTo>
                  <a:cubicBezTo>
                    <a:pt x="1" y="11973"/>
                    <a:pt x="158" y="12130"/>
                    <a:pt x="347" y="12130"/>
                  </a:cubicBezTo>
                  <a:lnTo>
                    <a:pt x="8917" y="12130"/>
                  </a:lnTo>
                  <a:cubicBezTo>
                    <a:pt x="9106" y="12130"/>
                    <a:pt x="9263" y="11973"/>
                    <a:pt x="9263" y="11783"/>
                  </a:cubicBezTo>
                  <a:lnTo>
                    <a:pt x="9263" y="8633"/>
                  </a:lnTo>
                  <a:cubicBezTo>
                    <a:pt x="9263" y="7467"/>
                    <a:pt x="8381" y="6585"/>
                    <a:pt x="7278" y="6459"/>
                  </a:cubicBezTo>
                  <a:cubicBezTo>
                    <a:pt x="7657" y="5955"/>
                    <a:pt x="7846" y="5325"/>
                    <a:pt x="7846" y="4695"/>
                  </a:cubicBezTo>
                  <a:lnTo>
                    <a:pt x="7846" y="1765"/>
                  </a:lnTo>
                  <a:cubicBezTo>
                    <a:pt x="7846" y="788"/>
                    <a:pt x="7058" y="1"/>
                    <a:pt x="6081" y="1"/>
                  </a:cubicBezTo>
                  <a:cubicBezTo>
                    <a:pt x="5861" y="1"/>
                    <a:pt x="5703" y="158"/>
                    <a:pt x="5703" y="347"/>
                  </a:cubicBezTo>
                  <a:cubicBezTo>
                    <a:pt x="5703" y="536"/>
                    <a:pt x="5546" y="694"/>
                    <a:pt x="5357" y="694"/>
                  </a:cubicBezTo>
                  <a:lnTo>
                    <a:pt x="3939" y="694"/>
                  </a:lnTo>
                  <a:cubicBezTo>
                    <a:pt x="3750" y="694"/>
                    <a:pt x="3592" y="536"/>
                    <a:pt x="3592" y="347"/>
                  </a:cubicBezTo>
                  <a:cubicBezTo>
                    <a:pt x="3592" y="158"/>
                    <a:pt x="3435" y="1"/>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80" name="Google Shape;10680;p80"/>
          <p:cNvSpPr/>
          <p:nvPr/>
        </p:nvSpPr>
        <p:spPr>
          <a:xfrm>
            <a:off x="4340441" y="2851728"/>
            <a:ext cx="472676" cy="472676"/>
          </a:xfrm>
          <a:custGeom>
            <a:avLst/>
            <a:gdLst/>
            <a:ahLst/>
            <a:cxnLst/>
            <a:rect l="l" t="t" r="r" b="b"/>
            <a:pathLst>
              <a:path w="12162" h="12162" extrusionOk="0">
                <a:moveTo>
                  <a:pt x="1072" y="3561"/>
                </a:moveTo>
                <a:cubicBezTo>
                  <a:pt x="1229" y="3561"/>
                  <a:pt x="1418" y="3813"/>
                  <a:pt x="1418" y="4254"/>
                </a:cubicBezTo>
                <a:cubicBezTo>
                  <a:pt x="1418" y="4695"/>
                  <a:pt x="1229" y="4979"/>
                  <a:pt x="1072" y="4979"/>
                </a:cubicBezTo>
                <a:cubicBezTo>
                  <a:pt x="914" y="4979"/>
                  <a:pt x="694" y="4695"/>
                  <a:pt x="694" y="4254"/>
                </a:cubicBezTo>
                <a:cubicBezTo>
                  <a:pt x="694" y="3813"/>
                  <a:pt x="914" y="3561"/>
                  <a:pt x="1072" y="3561"/>
                </a:cubicBezTo>
                <a:close/>
                <a:moveTo>
                  <a:pt x="4632" y="3561"/>
                </a:moveTo>
                <a:cubicBezTo>
                  <a:pt x="4821" y="3561"/>
                  <a:pt x="5010" y="3813"/>
                  <a:pt x="5010" y="4254"/>
                </a:cubicBezTo>
                <a:cubicBezTo>
                  <a:pt x="5010" y="4695"/>
                  <a:pt x="4758" y="4979"/>
                  <a:pt x="4632" y="4979"/>
                </a:cubicBezTo>
                <a:cubicBezTo>
                  <a:pt x="4474" y="4979"/>
                  <a:pt x="4285" y="4695"/>
                  <a:pt x="4285" y="4254"/>
                </a:cubicBezTo>
                <a:cubicBezTo>
                  <a:pt x="4285" y="3813"/>
                  <a:pt x="4474" y="3561"/>
                  <a:pt x="4632" y="3561"/>
                </a:cubicBezTo>
                <a:close/>
                <a:moveTo>
                  <a:pt x="2836" y="2080"/>
                </a:moveTo>
                <a:cubicBezTo>
                  <a:pt x="3466" y="2080"/>
                  <a:pt x="4065" y="2395"/>
                  <a:pt x="4443" y="2836"/>
                </a:cubicBezTo>
                <a:cubicBezTo>
                  <a:pt x="3939" y="2962"/>
                  <a:pt x="3529" y="3498"/>
                  <a:pt x="3529" y="4254"/>
                </a:cubicBezTo>
                <a:cubicBezTo>
                  <a:pt x="3529" y="4979"/>
                  <a:pt x="3939" y="5546"/>
                  <a:pt x="4443" y="5672"/>
                </a:cubicBezTo>
                <a:cubicBezTo>
                  <a:pt x="4065" y="6113"/>
                  <a:pt x="3466" y="6428"/>
                  <a:pt x="2836" y="6428"/>
                </a:cubicBezTo>
                <a:cubicBezTo>
                  <a:pt x="2206" y="6428"/>
                  <a:pt x="1607" y="6144"/>
                  <a:pt x="1229" y="5672"/>
                </a:cubicBezTo>
                <a:cubicBezTo>
                  <a:pt x="1733" y="5546"/>
                  <a:pt x="2143" y="5010"/>
                  <a:pt x="2143" y="4254"/>
                </a:cubicBezTo>
                <a:cubicBezTo>
                  <a:pt x="2143" y="3561"/>
                  <a:pt x="1733" y="2962"/>
                  <a:pt x="1229" y="2836"/>
                </a:cubicBezTo>
                <a:cubicBezTo>
                  <a:pt x="1607" y="2395"/>
                  <a:pt x="2206" y="2080"/>
                  <a:pt x="2836" y="2080"/>
                </a:cubicBezTo>
                <a:close/>
                <a:moveTo>
                  <a:pt x="11090" y="6459"/>
                </a:moveTo>
                <a:cubicBezTo>
                  <a:pt x="11311" y="6459"/>
                  <a:pt x="11468" y="6617"/>
                  <a:pt x="11468" y="6806"/>
                </a:cubicBezTo>
                <a:cubicBezTo>
                  <a:pt x="11468" y="7027"/>
                  <a:pt x="11311" y="7184"/>
                  <a:pt x="11090" y="7184"/>
                </a:cubicBezTo>
                <a:cubicBezTo>
                  <a:pt x="10901" y="7184"/>
                  <a:pt x="10744" y="7027"/>
                  <a:pt x="10744" y="6806"/>
                </a:cubicBezTo>
                <a:cubicBezTo>
                  <a:pt x="10744" y="6617"/>
                  <a:pt x="10901" y="6459"/>
                  <a:pt x="11090" y="6459"/>
                </a:cubicBezTo>
                <a:close/>
                <a:moveTo>
                  <a:pt x="4222" y="6774"/>
                </a:moveTo>
                <a:cubicBezTo>
                  <a:pt x="4254" y="6901"/>
                  <a:pt x="4285" y="7058"/>
                  <a:pt x="4285" y="7184"/>
                </a:cubicBezTo>
                <a:cubicBezTo>
                  <a:pt x="4285" y="7972"/>
                  <a:pt x="3655" y="8602"/>
                  <a:pt x="2868" y="8602"/>
                </a:cubicBezTo>
                <a:cubicBezTo>
                  <a:pt x="2080" y="8539"/>
                  <a:pt x="1418" y="7909"/>
                  <a:pt x="1418" y="7121"/>
                </a:cubicBezTo>
                <a:cubicBezTo>
                  <a:pt x="1418" y="7027"/>
                  <a:pt x="1418" y="6901"/>
                  <a:pt x="1450" y="6774"/>
                </a:cubicBezTo>
                <a:cubicBezTo>
                  <a:pt x="1859" y="7027"/>
                  <a:pt x="2332" y="7121"/>
                  <a:pt x="2836" y="7121"/>
                </a:cubicBezTo>
                <a:cubicBezTo>
                  <a:pt x="3340" y="7121"/>
                  <a:pt x="3813" y="7027"/>
                  <a:pt x="4222" y="6774"/>
                </a:cubicBezTo>
                <a:close/>
                <a:moveTo>
                  <a:pt x="10744" y="7877"/>
                </a:moveTo>
                <a:cubicBezTo>
                  <a:pt x="11153" y="7877"/>
                  <a:pt x="11468" y="8192"/>
                  <a:pt x="11468" y="8602"/>
                </a:cubicBezTo>
                <a:cubicBezTo>
                  <a:pt x="11468" y="8980"/>
                  <a:pt x="11153" y="9295"/>
                  <a:pt x="10744" y="9295"/>
                </a:cubicBezTo>
                <a:cubicBezTo>
                  <a:pt x="10618" y="8917"/>
                  <a:pt x="10397" y="8539"/>
                  <a:pt x="10114" y="8287"/>
                </a:cubicBezTo>
                <a:cubicBezTo>
                  <a:pt x="10240" y="8035"/>
                  <a:pt x="10492" y="7877"/>
                  <a:pt x="10744" y="7877"/>
                </a:cubicBezTo>
                <a:close/>
                <a:moveTo>
                  <a:pt x="8979" y="8539"/>
                </a:moveTo>
                <a:cubicBezTo>
                  <a:pt x="9578" y="8539"/>
                  <a:pt x="10051" y="9011"/>
                  <a:pt x="10051" y="9610"/>
                </a:cubicBezTo>
                <a:cubicBezTo>
                  <a:pt x="10051" y="10240"/>
                  <a:pt x="9578" y="10713"/>
                  <a:pt x="8979" y="10713"/>
                </a:cubicBezTo>
                <a:cubicBezTo>
                  <a:pt x="8822" y="10713"/>
                  <a:pt x="8664" y="10681"/>
                  <a:pt x="8538" y="10650"/>
                </a:cubicBezTo>
                <a:cubicBezTo>
                  <a:pt x="8570" y="10429"/>
                  <a:pt x="8633" y="10240"/>
                  <a:pt x="8633" y="10019"/>
                </a:cubicBezTo>
                <a:cubicBezTo>
                  <a:pt x="8633" y="9578"/>
                  <a:pt x="8507" y="9169"/>
                  <a:pt x="8255" y="8822"/>
                </a:cubicBezTo>
                <a:cubicBezTo>
                  <a:pt x="8475" y="8665"/>
                  <a:pt x="8696" y="8539"/>
                  <a:pt x="8979" y="8539"/>
                </a:cubicBezTo>
                <a:close/>
                <a:moveTo>
                  <a:pt x="4852" y="8003"/>
                </a:moveTo>
                <a:cubicBezTo>
                  <a:pt x="5356" y="8224"/>
                  <a:pt x="5734" y="8759"/>
                  <a:pt x="5734" y="9326"/>
                </a:cubicBezTo>
                <a:cubicBezTo>
                  <a:pt x="5734" y="10114"/>
                  <a:pt x="5104" y="10744"/>
                  <a:pt x="4317" y="10744"/>
                </a:cubicBezTo>
                <a:cubicBezTo>
                  <a:pt x="3529" y="10713"/>
                  <a:pt x="2868" y="10083"/>
                  <a:pt x="2868" y="9295"/>
                </a:cubicBezTo>
                <a:cubicBezTo>
                  <a:pt x="3781" y="9295"/>
                  <a:pt x="4537" y="8759"/>
                  <a:pt x="4852" y="8003"/>
                </a:cubicBezTo>
                <a:close/>
                <a:moveTo>
                  <a:pt x="6459" y="8633"/>
                </a:moveTo>
                <a:cubicBezTo>
                  <a:pt x="7247" y="8633"/>
                  <a:pt x="7877" y="9263"/>
                  <a:pt x="7877" y="10051"/>
                </a:cubicBezTo>
                <a:cubicBezTo>
                  <a:pt x="7877" y="10807"/>
                  <a:pt x="7247" y="11469"/>
                  <a:pt x="6459" y="11469"/>
                </a:cubicBezTo>
                <a:cubicBezTo>
                  <a:pt x="6113" y="11469"/>
                  <a:pt x="5734" y="11343"/>
                  <a:pt x="5514" y="11122"/>
                </a:cubicBezTo>
                <a:cubicBezTo>
                  <a:pt x="6113" y="10713"/>
                  <a:pt x="6459" y="10083"/>
                  <a:pt x="6459" y="9326"/>
                </a:cubicBezTo>
                <a:cubicBezTo>
                  <a:pt x="6459" y="9106"/>
                  <a:pt x="6428" y="8854"/>
                  <a:pt x="6333" y="8633"/>
                </a:cubicBezTo>
                <a:close/>
                <a:moveTo>
                  <a:pt x="1418" y="1"/>
                </a:moveTo>
                <a:cubicBezTo>
                  <a:pt x="631" y="1"/>
                  <a:pt x="1" y="631"/>
                  <a:pt x="1" y="1419"/>
                </a:cubicBezTo>
                <a:cubicBezTo>
                  <a:pt x="1" y="1891"/>
                  <a:pt x="221" y="2269"/>
                  <a:pt x="599" y="2553"/>
                </a:cubicBezTo>
                <a:cubicBezTo>
                  <a:pt x="221" y="3025"/>
                  <a:pt x="1" y="3624"/>
                  <a:pt x="1" y="4254"/>
                </a:cubicBezTo>
                <a:cubicBezTo>
                  <a:pt x="1" y="5042"/>
                  <a:pt x="316" y="5798"/>
                  <a:pt x="851" y="6302"/>
                </a:cubicBezTo>
                <a:cubicBezTo>
                  <a:pt x="757" y="6554"/>
                  <a:pt x="694" y="6806"/>
                  <a:pt x="694" y="7090"/>
                </a:cubicBezTo>
                <a:cubicBezTo>
                  <a:pt x="694" y="8035"/>
                  <a:pt x="1324" y="8822"/>
                  <a:pt x="2174" y="9137"/>
                </a:cubicBezTo>
                <a:lnTo>
                  <a:pt x="2174" y="9263"/>
                </a:lnTo>
                <a:cubicBezTo>
                  <a:pt x="2174" y="10429"/>
                  <a:pt x="3151" y="11437"/>
                  <a:pt x="4317" y="11437"/>
                </a:cubicBezTo>
                <a:cubicBezTo>
                  <a:pt x="4474" y="11437"/>
                  <a:pt x="4695" y="11374"/>
                  <a:pt x="4852" y="11374"/>
                </a:cubicBezTo>
                <a:cubicBezTo>
                  <a:pt x="5230" y="11847"/>
                  <a:pt x="5829" y="12162"/>
                  <a:pt x="6491" y="12162"/>
                </a:cubicBezTo>
                <a:cubicBezTo>
                  <a:pt x="7215" y="12162"/>
                  <a:pt x="7845" y="11815"/>
                  <a:pt x="8223" y="11311"/>
                </a:cubicBezTo>
                <a:cubicBezTo>
                  <a:pt x="8475" y="11437"/>
                  <a:pt x="8727" y="11469"/>
                  <a:pt x="8979" y="11469"/>
                </a:cubicBezTo>
                <a:cubicBezTo>
                  <a:pt x="9830" y="11469"/>
                  <a:pt x="10555" y="10839"/>
                  <a:pt x="10712" y="10051"/>
                </a:cubicBezTo>
                <a:lnTo>
                  <a:pt x="10744" y="10051"/>
                </a:lnTo>
                <a:cubicBezTo>
                  <a:pt x="11531" y="10051"/>
                  <a:pt x="12161" y="9421"/>
                  <a:pt x="12161" y="8633"/>
                </a:cubicBezTo>
                <a:cubicBezTo>
                  <a:pt x="12161" y="8287"/>
                  <a:pt x="12004" y="7909"/>
                  <a:pt x="11783" y="7657"/>
                </a:cubicBezTo>
                <a:cubicBezTo>
                  <a:pt x="12004" y="7436"/>
                  <a:pt x="12161" y="7121"/>
                  <a:pt x="12161" y="6806"/>
                </a:cubicBezTo>
                <a:cubicBezTo>
                  <a:pt x="12161" y="6239"/>
                  <a:pt x="11689" y="5766"/>
                  <a:pt x="11090" y="5766"/>
                </a:cubicBezTo>
                <a:cubicBezTo>
                  <a:pt x="10523" y="5766"/>
                  <a:pt x="10051" y="6239"/>
                  <a:pt x="10051" y="6806"/>
                </a:cubicBezTo>
                <a:cubicBezTo>
                  <a:pt x="10051" y="6964"/>
                  <a:pt x="10082" y="7184"/>
                  <a:pt x="10145" y="7279"/>
                </a:cubicBezTo>
                <a:cubicBezTo>
                  <a:pt x="10051" y="7342"/>
                  <a:pt x="9925" y="7405"/>
                  <a:pt x="9799" y="7531"/>
                </a:cubicBezTo>
                <a:cubicBezTo>
                  <a:pt x="9641" y="7657"/>
                  <a:pt x="9515" y="7783"/>
                  <a:pt x="9452" y="7940"/>
                </a:cubicBezTo>
                <a:cubicBezTo>
                  <a:pt x="9295" y="7909"/>
                  <a:pt x="9137" y="7877"/>
                  <a:pt x="8948" y="7877"/>
                </a:cubicBezTo>
                <a:cubicBezTo>
                  <a:pt x="8507" y="7877"/>
                  <a:pt x="8066" y="8035"/>
                  <a:pt x="7751" y="8318"/>
                </a:cubicBezTo>
                <a:cubicBezTo>
                  <a:pt x="7404" y="8035"/>
                  <a:pt x="6932" y="7877"/>
                  <a:pt x="6459" y="7877"/>
                </a:cubicBezTo>
                <a:cubicBezTo>
                  <a:pt x="6302" y="7877"/>
                  <a:pt x="6113" y="7909"/>
                  <a:pt x="5955" y="7909"/>
                </a:cubicBezTo>
                <a:cubicBezTo>
                  <a:pt x="5703" y="7594"/>
                  <a:pt x="5356" y="7373"/>
                  <a:pt x="5010" y="7247"/>
                </a:cubicBezTo>
                <a:lnTo>
                  <a:pt x="5010" y="7121"/>
                </a:lnTo>
                <a:cubicBezTo>
                  <a:pt x="5010" y="6869"/>
                  <a:pt x="4915" y="6585"/>
                  <a:pt x="4789" y="6302"/>
                </a:cubicBezTo>
                <a:cubicBezTo>
                  <a:pt x="5356" y="5798"/>
                  <a:pt x="5671" y="5042"/>
                  <a:pt x="5671" y="4254"/>
                </a:cubicBezTo>
                <a:cubicBezTo>
                  <a:pt x="5671" y="3624"/>
                  <a:pt x="5482" y="3025"/>
                  <a:pt x="5073" y="2553"/>
                </a:cubicBezTo>
                <a:cubicBezTo>
                  <a:pt x="5419" y="2301"/>
                  <a:pt x="5671" y="1891"/>
                  <a:pt x="5671" y="1419"/>
                </a:cubicBezTo>
                <a:cubicBezTo>
                  <a:pt x="5671" y="631"/>
                  <a:pt x="5041" y="1"/>
                  <a:pt x="4254" y="1"/>
                </a:cubicBezTo>
                <a:cubicBezTo>
                  <a:pt x="4065" y="1"/>
                  <a:pt x="3907" y="158"/>
                  <a:pt x="3907" y="348"/>
                </a:cubicBezTo>
                <a:cubicBezTo>
                  <a:pt x="3907" y="568"/>
                  <a:pt x="4065" y="726"/>
                  <a:pt x="4254" y="726"/>
                </a:cubicBezTo>
                <a:cubicBezTo>
                  <a:pt x="4632" y="726"/>
                  <a:pt x="4947" y="1041"/>
                  <a:pt x="4947" y="1419"/>
                </a:cubicBezTo>
                <a:cubicBezTo>
                  <a:pt x="4947" y="1702"/>
                  <a:pt x="4789" y="1923"/>
                  <a:pt x="4600" y="2049"/>
                </a:cubicBezTo>
                <a:cubicBezTo>
                  <a:pt x="4128" y="1671"/>
                  <a:pt x="3498" y="1419"/>
                  <a:pt x="2836" y="1419"/>
                </a:cubicBezTo>
                <a:cubicBezTo>
                  <a:pt x="2174" y="1419"/>
                  <a:pt x="1544" y="1671"/>
                  <a:pt x="1072" y="2049"/>
                </a:cubicBezTo>
                <a:cubicBezTo>
                  <a:pt x="820" y="1923"/>
                  <a:pt x="694" y="1702"/>
                  <a:pt x="694" y="1419"/>
                </a:cubicBezTo>
                <a:cubicBezTo>
                  <a:pt x="694" y="1041"/>
                  <a:pt x="1009" y="726"/>
                  <a:pt x="1418" y="726"/>
                </a:cubicBezTo>
                <a:cubicBezTo>
                  <a:pt x="1607" y="726"/>
                  <a:pt x="1765" y="568"/>
                  <a:pt x="1765" y="348"/>
                </a:cubicBezTo>
                <a:cubicBezTo>
                  <a:pt x="1765" y="158"/>
                  <a:pt x="1607"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80"/>
          <p:cNvSpPr/>
          <p:nvPr/>
        </p:nvSpPr>
        <p:spPr>
          <a:xfrm>
            <a:off x="7304850" y="1688478"/>
            <a:ext cx="415117" cy="473881"/>
          </a:xfrm>
          <a:custGeom>
            <a:avLst/>
            <a:gdLst/>
            <a:ahLst/>
            <a:cxnLst/>
            <a:rect l="l" t="t" r="r" b="b"/>
            <a:pathLst>
              <a:path w="10681" h="12193" extrusionOk="0">
                <a:moveTo>
                  <a:pt x="8475" y="693"/>
                </a:moveTo>
                <a:cubicBezTo>
                  <a:pt x="8318" y="1513"/>
                  <a:pt x="7562" y="2111"/>
                  <a:pt x="6742" y="2111"/>
                </a:cubicBezTo>
                <a:cubicBezTo>
                  <a:pt x="6333" y="2111"/>
                  <a:pt x="5986" y="2237"/>
                  <a:pt x="5671" y="2426"/>
                </a:cubicBezTo>
                <a:lnTo>
                  <a:pt x="5671" y="1765"/>
                </a:lnTo>
                <a:cubicBezTo>
                  <a:pt x="5671" y="1166"/>
                  <a:pt x="6144" y="693"/>
                  <a:pt x="6742" y="693"/>
                </a:cubicBezTo>
                <a:close/>
                <a:moveTo>
                  <a:pt x="7089" y="4285"/>
                </a:moveTo>
                <a:cubicBezTo>
                  <a:pt x="8853" y="4285"/>
                  <a:pt x="9924" y="5356"/>
                  <a:pt x="9924" y="7120"/>
                </a:cubicBezTo>
                <a:cubicBezTo>
                  <a:pt x="9956" y="8129"/>
                  <a:pt x="9609" y="9231"/>
                  <a:pt x="9074" y="10082"/>
                </a:cubicBezTo>
                <a:cubicBezTo>
                  <a:pt x="8507" y="10933"/>
                  <a:pt x="7814" y="11405"/>
                  <a:pt x="7089" y="11405"/>
                </a:cubicBezTo>
                <a:cubicBezTo>
                  <a:pt x="6931" y="11405"/>
                  <a:pt x="6774" y="11374"/>
                  <a:pt x="6648" y="11342"/>
                </a:cubicBezTo>
                <a:cubicBezTo>
                  <a:pt x="6238" y="11216"/>
                  <a:pt x="5766" y="11122"/>
                  <a:pt x="5325" y="11122"/>
                </a:cubicBezTo>
                <a:cubicBezTo>
                  <a:pt x="4884" y="11122"/>
                  <a:pt x="4411" y="11216"/>
                  <a:pt x="3970" y="11342"/>
                </a:cubicBezTo>
                <a:cubicBezTo>
                  <a:pt x="3812" y="11374"/>
                  <a:pt x="3655" y="11405"/>
                  <a:pt x="3560" y="11405"/>
                </a:cubicBezTo>
                <a:cubicBezTo>
                  <a:pt x="2836" y="11405"/>
                  <a:pt x="2143" y="10901"/>
                  <a:pt x="1576" y="10082"/>
                </a:cubicBezTo>
                <a:cubicBezTo>
                  <a:pt x="1040" y="9200"/>
                  <a:pt x="725" y="8097"/>
                  <a:pt x="725" y="7120"/>
                </a:cubicBezTo>
                <a:cubicBezTo>
                  <a:pt x="725" y="5356"/>
                  <a:pt x="1765" y="4285"/>
                  <a:pt x="3560" y="4285"/>
                </a:cubicBezTo>
                <a:cubicBezTo>
                  <a:pt x="3970" y="4285"/>
                  <a:pt x="4380" y="4348"/>
                  <a:pt x="4726" y="4474"/>
                </a:cubicBezTo>
                <a:cubicBezTo>
                  <a:pt x="4821" y="4506"/>
                  <a:pt x="4884" y="4506"/>
                  <a:pt x="4978" y="4569"/>
                </a:cubicBezTo>
                <a:lnTo>
                  <a:pt x="4978" y="5293"/>
                </a:lnTo>
                <a:cubicBezTo>
                  <a:pt x="4663" y="5262"/>
                  <a:pt x="4348" y="5199"/>
                  <a:pt x="4065" y="5041"/>
                </a:cubicBezTo>
                <a:cubicBezTo>
                  <a:pt x="4021" y="5015"/>
                  <a:pt x="3971" y="5003"/>
                  <a:pt x="3919" y="5003"/>
                </a:cubicBezTo>
                <a:cubicBezTo>
                  <a:pt x="3783" y="5003"/>
                  <a:pt x="3638" y="5084"/>
                  <a:pt x="3592" y="5199"/>
                </a:cubicBezTo>
                <a:cubicBezTo>
                  <a:pt x="3497" y="5356"/>
                  <a:pt x="3592" y="5577"/>
                  <a:pt x="3749" y="5671"/>
                </a:cubicBezTo>
                <a:cubicBezTo>
                  <a:pt x="4254" y="5892"/>
                  <a:pt x="4758" y="6018"/>
                  <a:pt x="5325" y="6018"/>
                </a:cubicBezTo>
                <a:cubicBezTo>
                  <a:pt x="5860" y="6018"/>
                  <a:pt x="6427" y="5892"/>
                  <a:pt x="6900" y="5671"/>
                </a:cubicBezTo>
                <a:cubicBezTo>
                  <a:pt x="7057" y="5577"/>
                  <a:pt x="7120" y="5356"/>
                  <a:pt x="7057" y="5199"/>
                </a:cubicBezTo>
                <a:cubicBezTo>
                  <a:pt x="6989" y="5084"/>
                  <a:pt x="6854" y="5003"/>
                  <a:pt x="6725" y="5003"/>
                </a:cubicBezTo>
                <a:cubicBezTo>
                  <a:pt x="6676" y="5003"/>
                  <a:pt x="6628" y="5015"/>
                  <a:pt x="6585" y="5041"/>
                </a:cubicBezTo>
                <a:cubicBezTo>
                  <a:pt x="6301" y="5199"/>
                  <a:pt x="5986" y="5262"/>
                  <a:pt x="5671" y="5293"/>
                </a:cubicBezTo>
                <a:lnTo>
                  <a:pt x="5671" y="4569"/>
                </a:lnTo>
                <a:cubicBezTo>
                  <a:pt x="5766" y="4569"/>
                  <a:pt x="5829" y="4506"/>
                  <a:pt x="5923" y="4474"/>
                </a:cubicBezTo>
                <a:cubicBezTo>
                  <a:pt x="6270" y="4348"/>
                  <a:pt x="6648" y="4285"/>
                  <a:pt x="7089" y="4285"/>
                </a:cubicBezTo>
                <a:close/>
                <a:moveTo>
                  <a:pt x="6774" y="0"/>
                </a:moveTo>
                <a:cubicBezTo>
                  <a:pt x="5797" y="0"/>
                  <a:pt x="5010" y="788"/>
                  <a:pt x="5010" y="1765"/>
                </a:cubicBezTo>
                <a:cubicBezTo>
                  <a:pt x="4695" y="1513"/>
                  <a:pt x="4348" y="1418"/>
                  <a:pt x="3938" y="1418"/>
                </a:cubicBezTo>
                <a:cubicBezTo>
                  <a:pt x="3749" y="1418"/>
                  <a:pt x="3592" y="1576"/>
                  <a:pt x="3592" y="1765"/>
                </a:cubicBezTo>
                <a:cubicBezTo>
                  <a:pt x="3592" y="1954"/>
                  <a:pt x="3749" y="2111"/>
                  <a:pt x="3938" y="2111"/>
                </a:cubicBezTo>
                <a:cubicBezTo>
                  <a:pt x="4537" y="2111"/>
                  <a:pt x="5010" y="2584"/>
                  <a:pt x="5010" y="3182"/>
                </a:cubicBezTo>
                <a:lnTo>
                  <a:pt x="5010" y="3812"/>
                </a:lnTo>
                <a:cubicBezTo>
                  <a:pt x="4569" y="3655"/>
                  <a:pt x="4096" y="3560"/>
                  <a:pt x="3592" y="3560"/>
                </a:cubicBezTo>
                <a:cubicBezTo>
                  <a:pt x="1513" y="3560"/>
                  <a:pt x="0" y="4884"/>
                  <a:pt x="0" y="7152"/>
                </a:cubicBezTo>
                <a:cubicBezTo>
                  <a:pt x="0" y="8286"/>
                  <a:pt x="347" y="9515"/>
                  <a:pt x="977" y="10491"/>
                </a:cubicBezTo>
                <a:cubicBezTo>
                  <a:pt x="1702" y="11594"/>
                  <a:pt x="2615" y="12193"/>
                  <a:pt x="3560" y="12193"/>
                </a:cubicBezTo>
                <a:cubicBezTo>
                  <a:pt x="3781" y="12193"/>
                  <a:pt x="3970" y="12161"/>
                  <a:pt x="4222" y="12130"/>
                </a:cubicBezTo>
                <a:cubicBezTo>
                  <a:pt x="4600" y="12004"/>
                  <a:pt x="4970" y="11941"/>
                  <a:pt x="5340" y="11941"/>
                </a:cubicBezTo>
                <a:cubicBezTo>
                  <a:pt x="5711" y="11941"/>
                  <a:pt x="6081" y="12004"/>
                  <a:pt x="6459" y="12130"/>
                </a:cubicBezTo>
                <a:cubicBezTo>
                  <a:pt x="6648" y="12193"/>
                  <a:pt x="6900" y="12193"/>
                  <a:pt x="7152" y="12193"/>
                </a:cubicBezTo>
                <a:cubicBezTo>
                  <a:pt x="8097" y="12193"/>
                  <a:pt x="8979" y="11594"/>
                  <a:pt x="9704" y="10491"/>
                </a:cubicBezTo>
                <a:cubicBezTo>
                  <a:pt x="10334" y="9546"/>
                  <a:pt x="10681" y="8286"/>
                  <a:pt x="10681" y="7152"/>
                </a:cubicBezTo>
                <a:cubicBezTo>
                  <a:pt x="10681" y="4884"/>
                  <a:pt x="9168" y="3560"/>
                  <a:pt x="7089" y="3560"/>
                </a:cubicBezTo>
                <a:cubicBezTo>
                  <a:pt x="6585" y="3560"/>
                  <a:pt x="6112" y="3655"/>
                  <a:pt x="5671" y="3812"/>
                </a:cubicBezTo>
                <a:lnTo>
                  <a:pt x="5671" y="3340"/>
                </a:lnTo>
                <a:lnTo>
                  <a:pt x="5797" y="3214"/>
                </a:lnTo>
                <a:cubicBezTo>
                  <a:pt x="6081" y="2930"/>
                  <a:pt x="6396" y="2836"/>
                  <a:pt x="6774" y="2836"/>
                </a:cubicBezTo>
                <a:cubicBezTo>
                  <a:pt x="8160" y="2836"/>
                  <a:pt x="9263" y="1733"/>
                  <a:pt x="9263" y="347"/>
                </a:cubicBezTo>
                <a:cubicBezTo>
                  <a:pt x="9263" y="158"/>
                  <a:pt x="9105" y="0"/>
                  <a:pt x="89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82" name="Google Shape;10682;p80"/>
          <p:cNvGrpSpPr/>
          <p:nvPr/>
        </p:nvGrpSpPr>
        <p:grpSpPr>
          <a:xfrm>
            <a:off x="7276507" y="2289051"/>
            <a:ext cx="473881" cy="444499"/>
            <a:chOff x="-17190425" y="2435725"/>
            <a:chExt cx="304825" cy="285925"/>
          </a:xfrm>
        </p:grpSpPr>
        <p:sp>
          <p:nvSpPr>
            <p:cNvPr id="10683" name="Google Shape;10683;p80"/>
            <p:cNvSpPr/>
            <p:nvPr/>
          </p:nvSpPr>
          <p:spPr>
            <a:xfrm>
              <a:off x="-16994325" y="2596400"/>
              <a:ext cx="18150" cy="17350"/>
            </a:xfrm>
            <a:custGeom>
              <a:avLst/>
              <a:gdLst/>
              <a:ahLst/>
              <a:cxnLst/>
              <a:rect l="l" t="t" r="r" b="b"/>
              <a:pathLst>
                <a:path w="726" h="694" extrusionOk="0">
                  <a:moveTo>
                    <a:pt x="348" y="0"/>
                  </a:moveTo>
                  <a:cubicBezTo>
                    <a:pt x="159" y="0"/>
                    <a:pt x="1" y="158"/>
                    <a:pt x="1" y="347"/>
                  </a:cubicBezTo>
                  <a:cubicBezTo>
                    <a:pt x="1" y="536"/>
                    <a:pt x="159"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80"/>
            <p:cNvSpPr/>
            <p:nvPr/>
          </p:nvSpPr>
          <p:spPr>
            <a:xfrm>
              <a:off x="-17100650" y="25964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80"/>
            <p:cNvSpPr/>
            <p:nvPr/>
          </p:nvSpPr>
          <p:spPr>
            <a:xfrm>
              <a:off x="-17190425" y="2435725"/>
              <a:ext cx="304825" cy="285925"/>
            </a:xfrm>
            <a:custGeom>
              <a:avLst/>
              <a:gdLst/>
              <a:ahLst/>
              <a:cxnLst/>
              <a:rect l="l" t="t" r="r" b="b"/>
              <a:pathLst>
                <a:path w="12193" h="11437" extrusionOk="0">
                  <a:moveTo>
                    <a:pt x="2111" y="725"/>
                  </a:moveTo>
                  <a:cubicBezTo>
                    <a:pt x="2836" y="725"/>
                    <a:pt x="3434" y="1292"/>
                    <a:pt x="3529" y="2016"/>
                  </a:cubicBezTo>
                  <a:cubicBezTo>
                    <a:pt x="2804" y="2363"/>
                    <a:pt x="2174" y="2867"/>
                    <a:pt x="1702" y="3497"/>
                  </a:cubicBezTo>
                  <a:cubicBezTo>
                    <a:pt x="1103" y="3308"/>
                    <a:pt x="693" y="2773"/>
                    <a:pt x="693" y="2143"/>
                  </a:cubicBezTo>
                  <a:cubicBezTo>
                    <a:pt x="693" y="1355"/>
                    <a:pt x="1323" y="725"/>
                    <a:pt x="2111" y="725"/>
                  </a:cubicBezTo>
                  <a:close/>
                  <a:moveTo>
                    <a:pt x="10019" y="693"/>
                  </a:moveTo>
                  <a:cubicBezTo>
                    <a:pt x="10806" y="693"/>
                    <a:pt x="11437" y="1323"/>
                    <a:pt x="11437" y="2111"/>
                  </a:cubicBezTo>
                  <a:cubicBezTo>
                    <a:pt x="11437" y="2773"/>
                    <a:pt x="11027" y="3308"/>
                    <a:pt x="10397" y="3497"/>
                  </a:cubicBezTo>
                  <a:cubicBezTo>
                    <a:pt x="9924" y="2867"/>
                    <a:pt x="9294" y="2363"/>
                    <a:pt x="8601" y="2016"/>
                  </a:cubicBezTo>
                  <a:cubicBezTo>
                    <a:pt x="8696" y="1260"/>
                    <a:pt x="9263" y="693"/>
                    <a:pt x="10019" y="693"/>
                  </a:cubicBezTo>
                  <a:close/>
                  <a:moveTo>
                    <a:pt x="7959" y="4997"/>
                  </a:moveTo>
                  <a:cubicBezTo>
                    <a:pt x="8453" y="4997"/>
                    <a:pt x="8961" y="5407"/>
                    <a:pt x="9200" y="6018"/>
                  </a:cubicBezTo>
                  <a:cubicBezTo>
                    <a:pt x="9452" y="6774"/>
                    <a:pt x="9231" y="7530"/>
                    <a:pt x="8664" y="7719"/>
                  </a:cubicBezTo>
                  <a:cubicBezTo>
                    <a:pt x="8555" y="7741"/>
                    <a:pt x="8447" y="7777"/>
                    <a:pt x="8338" y="7777"/>
                  </a:cubicBezTo>
                  <a:cubicBezTo>
                    <a:pt x="8289" y="7777"/>
                    <a:pt x="8240" y="7770"/>
                    <a:pt x="8192" y="7750"/>
                  </a:cubicBezTo>
                  <a:cubicBezTo>
                    <a:pt x="8003" y="7372"/>
                    <a:pt x="7624" y="6900"/>
                    <a:pt x="7183" y="6711"/>
                  </a:cubicBezTo>
                  <a:cubicBezTo>
                    <a:pt x="6900" y="5955"/>
                    <a:pt x="7152" y="5230"/>
                    <a:pt x="7687" y="5041"/>
                  </a:cubicBezTo>
                  <a:cubicBezTo>
                    <a:pt x="7776" y="5011"/>
                    <a:pt x="7868" y="4997"/>
                    <a:pt x="7959" y="4997"/>
                  </a:cubicBezTo>
                  <a:close/>
                  <a:moveTo>
                    <a:pt x="4107" y="4995"/>
                  </a:moveTo>
                  <a:cubicBezTo>
                    <a:pt x="4200" y="4995"/>
                    <a:pt x="4292" y="5010"/>
                    <a:pt x="4379" y="5041"/>
                  </a:cubicBezTo>
                  <a:cubicBezTo>
                    <a:pt x="4947" y="5230"/>
                    <a:pt x="5167" y="6081"/>
                    <a:pt x="4852" y="6805"/>
                  </a:cubicBezTo>
                  <a:cubicBezTo>
                    <a:pt x="4568" y="7026"/>
                    <a:pt x="4222" y="7404"/>
                    <a:pt x="4064" y="7687"/>
                  </a:cubicBezTo>
                  <a:cubicBezTo>
                    <a:pt x="3946" y="7755"/>
                    <a:pt x="3819" y="7786"/>
                    <a:pt x="3697" y="7786"/>
                  </a:cubicBezTo>
                  <a:cubicBezTo>
                    <a:pt x="3592" y="7786"/>
                    <a:pt x="3491" y="7763"/>
                    <a:pt x="3403" y="7719"/>
                  </a:cubicBezTo>
                  <a:cubicBezTo>
                    <a:pt x="2836" y="7530"/>
                    <a:pt x="2615" y="6742"/>
                    <a:pt x="2899" y="6018"/>
                  </a:cubicBezTo>
                  <a:cubicBezTo>
                    <a:pt x="3110" y="5385"/>
                    <a:pt x="3629" y="4995"/>
                    <a:pt x="4107" y="4995"/>
                  </a:cubicBezTo>
                  <a:close/>
                  <a:moveTo>
                    <a:pt x="6081" y="8538"/>
                  </a:moveTo>
                  <a:cubicBezTo>
                    <a:pt x="6207" y="8538"/>
                    <a:pt x="6364" y="8632"/>
                    <a:pt x="6396" y="8790"/>
                  </a:cubicBezTo>
                  <a:lnTo>
                    <a:pt x="6081" y="9105"/>
                  </a:lnTo>
                  <a:lnTo>
                    <a:pt x="5766" y="8790"/>
                  </a:lnTo>
                  <a:cubicBezTo>
                    <a:pt x="5797" y="8664"/>
                    <a:pt x="5955" y="8538"/>
                    <a:pt x="6081" y="8538"/>
                  </a:cubicBezTo>
                  <a:close/>
                  <a:moveTo>
                    <a:pt x="6144" y="2111"/>
                  </a:moveTo>
                  <a:cubicBezTo>
                    <a:pt x="8727" y="2111"/>
                    <a:pt x="10806" y="4064"/>
                    <a:pt x="10806" y="6427"/>
                  </a:cubicBezTo>
                  <a:cubicBezTo>
                    <a:pt x="10712" y="7908"/>
                    <a:pt x="9893" y="9263"/>
                    <a:pt x="8570" y="10050"/>
                  </a:cubicBezTo>
                  <a:cubicBezTo>
                    <a:pt x="8570" y="9924"/>
                    <a:pt x="8601" y="9767"/>
                    <a:pt x="8601" y="9609"/>
                  </a:cubicBezTo>
                  <a:cubicBezTo>
                    <a:pt x="8601" y="9168"/>
                    <a:pt x="8570" y="8790"/>
                    <a:pt x="8475" y="8475"/>
                  </a:cubicBezTo>
                  <a:cubicBezTo>
                    <a:pt x="8633" y="8475"/>
                    <a:pt x="8790" y="8443"/>
                    <a:pt x="8916" y="8380"/>
                  </a:cubicBezTo>
                  <a:cubicBezTo>
                    <a:pt x="9861" y="8034"/>
                    <a:pt x="10239" y="6868"/>
                    <a:pt x="9861" y="5766"/>
                  </a:cubicBezTo>
                  <a:cubicBezTo>
                    <a:pt x="9523" y="4855"/>
                    <a:pt x="8755" y="4267"/>
                    <a:pt x="7966" y="4267"/>
                  </a:cubicBezTo>
                  <a:cubicBezTo>
                    <a:pt x="7799" y="4267"/>
                    <a:pt x="7632" y="4293"/>
                    <a:pt x="7467" y="4348"/>
                  </a:cubicBezTo>
                  <a:cubicBezTo>
                    <a:pt x="6679" y="4600"/>
                    <a:pt x="6270" y="5514"/>
                    <a:pt x="6396" y="6396"/>
                  </a:cubicBezTo>
                  <a:cubicBezTo>
                    <a:pt x="6337" y="6376"/>
                    <a:pt x="6272" y="6369"/>
                    <a:pt x="6205" y="6369"/>
                  </a:cubicBezTo>
                  <a:cubicBezTo>
                    <a:pt x="6053" y="6369"/>
                    <a:pt x="5886" y="6405"/>
                    <a:pt x="5734" y="6427"/>
                  </a:cubicBezTo>
                  <a:cubicBezTo>
                    <a:pt x="5829" y="5514"/>
                    <a:pt x="5451" y="4600"/>
                    <a:pt x="4663" y="4348"/>
                  </a:cubicBezTo>
                  <a:cubicBezTo>
                    <a:pt x="4486" y="4277"/>
                    <a:pt x="4304" y="4244"/>
                    <a:pt x="4124" y="4244"/>
                  </a:cubicBezTo>
                  <a:cubicBezTo>
                    <a:pt x="3341" y="4244"/>
                    <a:pt x="2576" y="4869"/>
                    <a:pt x="2269" y="5766"/>
                  </a:cubicBezTo>
                  <a:cubicBezTo>
                    <a:pt x="1859" y="6868"/>
                    <a:pt x="2269" y="8034"/>
                    <a:pt x="3214" y="8380"/>
                  </a:cubicBezTo>
                  <a:cubicBezTo>
                    <a:pt x="3371" y="8475"/>
                    <a:pt x="3560" y="8475"/>
                    <a:pt x="3718" y="8475"/>
                  </a:cubicBezTo>
                  <a:lnTo>
                    <a:pt x="3749" y="8475"/>
                  </a:lnTo>
                  <a:cubicBezTo>
                    <a:pt x="3686" y="8790"/>
                    <a:pt x="3623" y="9137"/>
                    <a:pt x="3623" y="9609"/>
                  </a:cubicBezTo>
                  <a:cubicBezTo>
                    <a:pt x="3623" y="9767"/>
                    <a:pt x="3623" y="9893"/>
                    <a:pt x="3686" y="10050"/>
                  </a:cubicBezTo>
                  <a:cubicBezTo>
                    <a:pt x="2332" y="9263"/>
                    <a:pt x="1512" y="7908"/>
                    <a:pt x="1512" y="6427"/>
                  </a:cubicBezTo>
                  <a:cubicBezTo>
                    <a:pt x="1512" y="4064"/>
                    <a:pt x="3592" y="2111"/>
                    <a:pt x="6144" y="2111"/>
                  </a:cubicBezTo>
                  <a:close/>
                  <a:moveTo>
                    <a:pt x="6127" y="7151"/>
                  </a:moveTo>
                  <a:cubicBezTo>
                    <a:pt x="6481" y="7151"/>
                    <a:pt x="6828" y="7269"/>
                    <a:pt x="7057" y="7498"/>
                  </a:cubicBezTo>
                  <a:cubicBezTo>
                    <a:pt x="7656" y="8065"/>
                    <a:pt x="7845" y="8601"/>
                    <a:pt x="7845" y="9609"/>
                  </a:cubicBezTo>
                  <a:cubicBezTo>
                    <a:pt x="7845" y="10050"/>
                    <a:pt x="7782" y="10334"/>
                    <a:pt x="7624" y="10491"/>
                  </a:cubicBezTo>
                  <a:cubicBezTo>
                    <a:pt x="7451" y="10640"/>
                    <a:pt x="7123" y="10691"/>
                    <a:pt x="6746" y="10691"/>
                  </a:cubicBezTo>
                  <a:cubicBezTo>
                    <a:pt x="6643" y="10691"/>
                    <a:pt x="6536" y="10687"/>
                    <a:pt x="6427" y="10680"/>
                  </a:cubicBezTo>
                  <a:lnTo>
                    <a:pt x="6427" y="9767"/>
                  </a:lnTo>
                  <a:lnTo>
                    <a:pt x="7026" y="9168"/>
                  </a:lnTo>
                  <a:cubicBezTo>
                    <a:pt x="7089" y="9105"/>
                    <a:pt x="7152" y="9011"/>
                    <a:pt x="7152" y="8948"/>
                  </a:cubicBezTo>
                  <a:cubicBezTo>
                    <a:pt x="7152" y="8349"/>
                    <a:pt x="6679" y="7876"/>
                    <a:pt x="6081" y="7876"/>
                  </a:cubicBezTo>
                  <a:cubicBezTo>
                    <a:pt x="5482" y="7876"/>
                    <a:pt x="5010" y="8349"/>
                    <a:pt x="5010" y="8948"/>
                  </a:cubicBezTo>
                  <a:cubicBezTo>
                    <a:pt x="5010" y="9011"/>
                    <a:pt x="5041" y="9137"/>
                    <a:pt x="5136" y="9168"/>
                  </a:cubicBezTo>
                  <a:lnTo>
                    <a:pt x="5734" y="9767"/>
                  </a:lnTo>
                  <a:lnTo>
                    <a:pt x="5734" y="10680"/>
                  </a:lnTo>
                  <a:lnTo>
                    <a:pt x="5356" y="10680"/>
                  </a:lnTo>
                  <a:cubicBezTo>
                    <a:pt x="4631" y="10680"/>
                    <a:pt x="4316" y="10554"/>
                    <a:pt x="4316" y="9609"/>
                  </a:cubicBezTo>
                  <a:cubicBezTo>
                    <a:pt x="4316" y="8601"/>
                    <a:pt x="4537" y="8160"/>
                    <a:pt x="5104" y="7561"/>
                  </a:cubicBezTo>
                  <a:cubicBezTo>
                    <a:pt x="5364" y="7285"/>
                    <a:pt x="5750" y="7151"/>
                    <a:pt x="6127" y="7151"/>
                  </a:cubicBezTo>
                  <a:close/>
                  <a:moveTo>
                    <a:pt x="2143" y="0"/>
                  </a:moveTo>
                  <a:cubicBezTo>
                    <a:pt x="945" y="0"/>
                    <a:pt x="0" y="945"/>
                    <a:pt x="0" y="2143"/>
                  </a:cubicBezTo>
                  <a:cubicBezTo>
                    <a:pt x="0" y="2647"/>
                    <a:pt x="221" y="3151"/>
                    <a:pt x="536" y="3560"/>
                  </a:cubicBezTo>
                  <a:cubicBezTo>
                    <a:pt x="756" y="3812"/>
                    <a:pt x="1040" y="4001"/>
                    <a:pt x="1355" y="4127"/>
                  </a:cubicBezTo>
                  <a:cubicBezTo>
                    <a:pt x="945" y="4852"/>
                    <a:pt x="756" y="5640"/>
                    <a:pt x="756" y="6427"/>
                  </a:cubicBezTo>
                  <a:cubicBezTo>
                    <a:pt x="756" y="8506"/>
                    <a:pt x="2143" y="10334"/>
                    <a:pt x="4096" y="11058"/>
                  </a:cubicBezTo>
                  <a:cubicBezTo>
                    <a:pt x="4474" y="11373"/>
                    <a:pt x="4947" y="11436"/>
                    <a:pt x="5356" y="11436"/>
                  </a:cubicBezTo>
                  <a:lnTo>
                    <a:pt x="6364" y="11436"/>
                  </a:lnTo>
                  <a:cubicBezTo>
                    <a:pt x="7026" y="11436"/>
                    <a:pt x="7656" y="11436"/>
                    <a:pt x="8097" y="11058"/>
                  </a:cubicBezTo>
                  <a:cubicBezTo>
                    <a:pt x="10050" y="10334"/>
                    <a:pt x="11437" y="8506"/>
                    <a:pt x="11437" y="6427"/>
                  </a:cubicBezTo>
                  <a:cubicBezTo>
                    <a:pt x="11437" y="5608"/>
                    <a:pt x="11248" y="4820"/>
                    <a:pt x="10838" y="4127"/>
                  </a:cubicBezTo>
                  <a:cubicBezTo>
                    <a:pt x="11153" y="4001"/>
                    <a:pt x="11437" y="3812"/>
                    <a:pt x="11657" y="3560"/>
                  </a:cubicBezTo>
                  <a:cubicBezTo>
                    <a:pt x="12035" y="3151"/>
                    <a:pt x="12193" y="2647"/>
                    <a:pt x="12193" y="2143"/>
                  </a:cubicBezTo>
                  <a:cubicBezTo>
                    <a:pt x="12193" y="945"/>
                    <a:pt x="11185" y="0"/>
                    <a:pt x="10019" y="0"/>
                  </a:cubicBezTo>
                  <a:cubicBezTo>
                    <a:pt x="8979" y="0"/>
                    <a:pt x="8129" y="756"/>
                    <a:pt x="7939" y="1733"/>
                  </a:cubicBezTo>
                  <a:cubicBezTo>
                    <a:pt x="7341" y="1544"/>
                    <a:pt x="6711" y="1418"/>
                    <a:pt x="6081" y="1418"/>
                  </a:cubicBezTo>
                  <a:cubicBezTo>
                    <a:pt x="5451" y="1418"/>
                    <a:pt x="4821" y="1544"/>
                    <a:pt x="4222" y="1733"/>
                  </a:cubicBezTo>
                  <a:cubicBezTo>
                    <a:pt x="4033" y="756"/>
                    <a:pt x="3151"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86" name="Google Shape;10686;p80"/>
          <p:cNvSpPr/>
          <p:nvPr/>
        </p:nvSpPr>
        <p:spPr>
          <a:xfrm>
            <a:off x="7277916" y="2853555"/>
            <a:ext cx="468984" cy="469023"/>
          </a:xfrm>
          <a:custGeom>
            <a:avLst/>
            <a:gdLst/>
            <a:ahLst/>
            <a:cxnLst/>
            <a:rect l="l" t="t" r="r" b="b"/>
            <a:pathLst>
              <a:path w="12067" h="12068" extrusionOk="0">
                <a:moveTo>
                  <a:pt x="5955" y="1104"/>
                </a:moveTo>
                <a:lnTo>
                  <a:pt x="6270" y="1734"/>
                </a:lnTo>
                <a:lnTo>
                  <a:pt x="5955" y="2364"/>
                </a:lnTo>
                <a:lnTo>
                  <a:pt x="5640" y="1734"/>
                </a:lnTo>
                <a:lnTo>
                  <a:pt x="5955" y="1104"/>
                </a:lnTo>
                <a:close/>
                <a:moveTo>
                  <a:pt x="9420" y="2521"/>
                </a:moveTo>
                <a:lnTo>
                  <a:pt x="9168" y="3183"/>
                </a:lnTo>
                <a:lnTo>
                  <a:pt x="8507" y="3435"/>
                </a:lnTo>
                <a:lnTo>
                  <a:pt x="8759" y="2773"/>
                </a:lnTo>
                <a:lnTo>
                  <a:pt x="9420" y="2521"/>
                </a:lnTo>
                <a:close/>
                <a:moveTo>
                  <a:pt x="2489" y="2553"/>
                </a:moveTo>
                <a:lnTo>
                  <a:pt x="3151" y="2805"/>
                </a:lnTo>
                <a:lnTo>
                  <a:pt x="3403" y="3466"/>
                </a:lnTo>
                <a:lnTo>
                  <a:pt x="2710" y="3246"/>
                </a:lnTo>
                <a:lnTo>
                  <a:pt x="2489" y="2553"/>
                </a:lnTo>
                <a:close/>
                <a:moveTo>
                  <a:pt x="4663" y="2931"/>
                </a:moveTo>
                <a:lnTo>
                  <a:pt x="5608" y="3403"/>
                </a:lnTo>
                <a:lnTo>
                  <a:pt x="5608" y="4254"/>
                </a:lnTo>
                <a:cubicBezTo>
                  <a:pt x="5356" y="4286"/>
                  <a:pt x="5167" y="4380"/>
                  <a:pt x="4978" y="4538"/>
                </a:cubicBezTo>
                <a:lnTo>
                  <a:pt x="4348" y="3908"/>
                </a:lnTo>
                <a:lnTo>
                  <a:pt x="4663" y="2931"/>
                </a:lnTo>
                <a:close/>
                <a:moveTo>
                  <a:pt x="7246" y="2931"/>
                </a:moveTo>
                <a:lnTo>
                  <a:pt x="7561" y="3908"/>
                </a:lnTo>
                <a:lnTo>
                  <a:pt x="6931" y="4538"/>
                </a:lnTo>
                <a:cubicBezTo>
                  <a:pt x="6742" y="4412"/>
                  <a:pt x="6553" y="4349"/>
                  <a:pt x="6301" y="4254"/>
                </a:cubicBezTo>
                <a:lnTo>
                  <a:pt x="6301" y="3403"/>
                </a:lnTo>
                <a:lnTo>
                  <a:pt x="7246" y="2931"/>
                </a:lnTo>
                <a:close/>
                <a:moveTo>
                  <a:pt x="3812" y="4412"/>
                </a:moveTo>
                <a:lnTo>
                  <a:pt x="4442" y="5042"/>
                </a:lnTo>
                <a:cubicBezTo>
                  <a:pt x="4348" y="5231"/>
                  <a:pt x="4253" y="5451"/>
                  <a:pt x="4190" y="5672"/>
                </a:cubicBezTo>
                <a:lnTo>
                  <a:pt x="3308" y="5672"/>
                </a:lnTo>
                <a:lnTo>
                  <a:pt x="2836" y="4727"/>
                </a:lnTo>
                <a:lnTo>
                  <a:pt x="3812" y="4412"/>
                </a:lnTo>
                <a:close/>
                <a:moveTo>
                  <a:pt x="8034" y="4412"/>
                </a:moveTo>
                <a:lnTo>
                  <a:pt x="9011" y="4727"/>
                </a:lnTo>
                <a:lnTo>
                  <a:pt x="8538" y="5672"/>
                </a:lnTo>
                <a:lnTo>
                  <a:pt x="7687" y="5672"/>
                </a:lnTo>
                <a:cubicBezTo>
                  <a:pt x="7656" y="5451"/>
                  <a:pt x="7561" y="5231"/>
                  <a:pt x="7404" y="5042"/>
                </a:cubicBezTo>
                <a:lnTo>
                  <a:pt x="8034" y="4412"/>
                </a:lnTo>
                <a:close/>
                <a:moveTo>
                  <a:pt x="1670" y="5703"/>
                </a:moveTo>
                <a:lnTo>
                  <a:pt x="2300" y="6018"/>
                </a:lnTo>
                <a:lnTo>
                  <a:pt x="1670" y="6333"/>
                </a:lnTo>
                <a:lnTo>
                  <a:pt x="1040" y="6018"/>
                </a:lnTo>
                <a:lnTo>
                  <a:pt x="1670" y="5703"/>
                </a:lnTo>
                <a:close/>
                <a:moveTo>
                  <a:pt x="10239" y="5703"/>
                </a:moveTo>
                <a:lnTo>
                  <a:pt x="10869" y="6018"/>
                </a:lnTo>
                <a:lnTo>
                  <a:pt x="10239" y="6333"/>
                </a:lnTo>
                <a:lnTo>
                  <a:pt x="9609" y="6018"/>
                </a:lnTo>
                <a:lnTo>
                  <a:pt x="10239" y="5703"/>
                </a:lnTo>
                <a:close/>
                <a:moveTo>
                  <a:pt x="5955" y="4979"/>
                </a:moveTo>
                <a:cubicBezTo>
                  <a:pt x="6553" y="4979"/>
                  <a:pt x="7026" y="5451"/>
                  <a:pt x="7026" y="6018"/>
                </a:cubicBezTo>
                <a:cubicBezTo>
                  <a:pt x="7026" y="6617"/>
                  <a:pt x="6553" y="7089"/>
                  <a:pt x="5955" y="7089"/>
                </a:cubicBezTo>
                <a:cubicBezTo>
                  <a:pt x="5356" y="7089"/>
                  <a:pt x="4884" y="6617"/>
                  <a:pt x="4884" y="6018"/>
                </a:cubicBezTo>
                <a:cubicBezTo>
                  <a:pt x="4884" y="5451"/>
                  <a:pt x="5356" y="4979"/>
                  <a:pt x="5955" y="4979"/>
                </a:cubicBezTo>
                <a:close/>
                <a:moveTo>
                  <a:pt x="4222" y="6365"/>
                </a:moveTo>
                <a:lnTo>
                  <a:pt x="4222" y="6396"/>
                </a:lnTo>
                <a:cubicBezTo>
                  <a:pt x="4253" y="6617"/>
                  <a:pt x="4348" y="6806"/>
                  <a:pt x="4505" y="7026"/>
                </a:cubicBezTo>
                <a:lnTo>
                  <a:pt x="3875" y="7657"/>
                </a:lnTo>
                <a:lnTo>
                  <a:pt x="2867" y="7310"/>
                </a:lnTo>
                <a:lnTo>
                  <a:pt x="3340" y="6365"/>
                </a:lnTo>
                <a:close/>
                <a:moveTo>
                  <a:pt x="8601" y="6396"/>
                </a:moveTo>
                <a:lnTo>
                  <a:pt x="9074" y="7342"/>
                </a:lnTo>
                <a:lnTo>
                  <a:pt x="8066" y="7657"/>
                </a:lnTo>
                <a:lnTo>
                  <a:pt x="7435" y="7026"/>
                </a:lnTo>
                <a:cubicBezTo>
                  <a:pt x="7561" y="6806"/>
                  <a:pt x="7656" y="6617"/>
                  <a:pt x="7719" y="6396"/>
                </a:cubicBezTo>
                <a:close/>
                <a:moveTo>
                  <a:pt x="4978" y="7531"/>
                </a:moveTo>
                <a:cubicBezTo>
                  <a:pt x="5167" y="7657"/>
                  <a:pt x="5356" y="7720"/>
                  <a:pt x="5608" y="7814"/>
                </a:cubicBezTo>
                <a:lnTo>
                  <a:pt x="5608" y="8665"/>
                </a:lnTo>
                <a:lnTo>
                  <a:pt x="4663" y="9137"/>
                </a:lnTo>
                <a:lnTo>
                  <a:pt x="4348" y="8161"/>
                </a:lnTo>
                <a:lnTo>
                  <a:pt x="4978" y="7531"/>
                </a:lnTo>
                <a:close/>
                <a:moveTo>
                  <a:pt x="6931" y="7531"/>
                </a:moveTo>
                <a:lnTo>
                  <a:pt x="7561" y="8161"/>
                </a:lnTo>
                <a:lnTo>
                  <a:pt x="7246" y="9137"/>
                </a:lnTo>
                <a:lnTo>
                  <a:pt x="6301" y="8665"/>
                </a:lnTo>
                <a:lnTo>
                  <a:pt x="6301" y="7814"/>
                </a:lnTo>
                <a:cubicBezTo>
                  <a:pt x="6553" y="7751"/>
                  <a:pt x="6742" y="7688"/>
                  <a:pt x="6931" y="7531"/>
                </a:cubicBezTo>
                <a:close/>
                <a:moveTo>
                  <a:pt x="8507" y="8602"/>
                </a:moveTo>
                <a:lnTo>
                  <a:pt x="9168" y="8822"/>
                </a:lnTo>
                <a:lnTo>
                  <a:pt x="9420" y="9484"/>
                </a:lnTo>
                <a:lnTo>
                  <a:pt x="8759" y="9263"/>
                </a:lnTo>
                <a:lnTo>
                  <a:pt x="8507" y="8602"/>
                </a:lnTo>
                <a:close/>
                <a:moveTo>
                  <a:pt x="3403" y="8633"/>
                </a:moveTo>
                <a:lnTo>
                  <a:pt x="3151" y="9295"/>
                </a:lnTo>
                <a:lnTo>
                  <a:pt x="2489" y="9547"/>
                </a:lnTo>
                <a:lnTo>
                  <a:pt x="2710" y="8854"/>
                </a:lnTo>
                <a:lnTo>
                  <a:pt x="3403" y="8633"/>
                </a:lnTo>
                <a:close/>
                <a:moveTo>
                  <a:pt x="5955" y="9704"/>
                </a:moveTo>
                <a:lnTo>
                  <a:pt x="6270" y="10334"/>
                </a:lnTo>
                <a:lnTo>
                  <a:pt x="5955" y="10965"/>
                </a:lnTo>
                <a:lnTo>
                  <a:pt x="5640" y="10334"/>
                </a:lnTo>
                <a:lnTo>
                  <a:pt x="5955" y="9704"/>
                </a:lnTo>
                <a:close/>
                <a:moveTo>
                  <a:pt x="6018" y="1"/>
                </a:moveTo>
                <a:cubicBezTo>
                  <a:pt x="5923" y="1"/>
                  <a:pt x="5766" y="95"/>
                  <a:pt x="5703" y="190"/>
                </a:cubicBezTo>
                <a:lnTo>
                  <a:pt x="5010" y="1671"/>
                </a:lnTo>
                <a:cubicBezTo>
                  <a:pt x="4978" y="1765"/>
                  <a:pt x="4978" y="1891"/>
                  <a:pt x="5010" y="1986"/>
                </a:cubicBezTo>
                <a:lnTo>
                  <a:pt x="5230" y="2458"/>
                </a:lnTo>
                <a:lnTo>
                  <a:pt x="4758" y="2206"/>
                </a:lnTo>
                <a:cubicBezTo>
                  <a:pt x="4710" y="2190"/>
                  <a:pt x="4655" y="2183"/>
                  <a:pt x="4596" y="2183"/>
                </a:cubicBezTo>
                <a:cubicBezTo>
                  <a:pt x="4537" y="2183"/>
                  <a:pt x="4474" y="2190"/>
                  <a:pt x="4411" y="2206"/>
                </a:cubicBezTo>
                <a:cubicBezTo>
                  <a:pt x="4285" y="2238"/>
                  <a:pt x="4222" y="2332"/>
                  <a:pt x="4190" y="2458"/>
                </a:cubicBezTo>
                <a:lnTo>
                  <a:pt x="4033" y="2962"/>
                </a:lnTo>
                <a:lnTo>
                  <a:pt x="3875" y="2458"/>
                </a:lnTo>
                <a:cubicBezTo>
                  <a:pt x="3812" y="2332"/>
                  <a:pt x="3749" y="2238"/>
                  <a:pt x="3623" y="2206"/>
                </a:cubicBezTo>
                <a:lnTo>
                  <a:pt x="2143" y="1702"/>
                </a:lnTo>
                <a:cubicBezTo>
                  <a:pt x="2109" y="1694"/>
                  <a:pt x="2073" y="1690"/>
                  <a:pt x="2036" y="1690"/>
                </a:cubicBezTo>
                <a:cubicBezTo>
                  <a:pt x="1937" y="1690"/>
                  <a:pt x="1834" y="1719"/>
                  <a:pt x="1765" y="1765"/>
                </a:cubicBezTo>
                <a:cubicBezTo>
                  <a:pt x="1702" y="1860"/>
                  <a:pt x="1670" y="2017"/>
                  <a:pt x="1702" y="2143"/>
                </a:cubicBezTo>
                <a:lnTo>
                  <a:pt x="2206" y="3624"/>
                </a:lnTo>
                <a:cubicBezTo>
                  <a:pt x="2237" y="3750"/>
                  <a:pt x="2332" y="3813"/>
                  <a:pt x="2458" y="3876"/>
                </a:cubicBezTo>
                <a:lnTo>
                  <a:pt x="2962" y="4034"/>
                </a:lnTo>
                <a:lnTo>
                  <a:pt x="2458" y="4191"/>
                </a:lnTo>
                <a:cubicBezTo>
                  <a:pt x="2332" y="4223"/>
                  <a:pt x="2237" y="4286"/>
                  <a:pt x="2206" y="4412"/>
                </a:cubicBezTo>
                <a:cubicBezTo>
                  <a:pt x="2174" y="4538"/>
                  <a:pt x="2143" y="4664"/>
                  <a:pt x="2206" y="4758"/>
                </a:cubicBezTo>
                <a:lnTo>
                  <a:pt x="2458" y="5231"/>
                </a:lnTo>
                <a:lnTo>
                  <a:pt x="1985" y="5010"/>
                </a:lnTo>
                <a:cubicBezTo>
                  <a:pt x="1922" y="4994"/>
                  <a:pt x="1859" y="4987"/>
                  <a:pt x="1804" y="4987"/>
                </a:cubicBezTo>
                <a:cubicBezTo>
                  <a:pt x="1749" y="4987"/>
                  <a:pt x="1702" y="4994"/>
                  <a:pt x="1670" y="5010"/>
                </a:cubicBezTo>
                <a:lnTo>
                  <a:pt x="189" y="5703"/>
                </a:lnTo>
                <a:cubicBezTo>
                  <a:pt x="95" y="5798"/>
                  <a:pt x="0" y="5924"/>
                  <a:pt x="0" y="6018"/>
                </a:cubicBezTo>
                <a:cubicBezTo>
                  <a:pt x="0" y="6144"/>
                  <a:pt x="95" y="6302"/>
                  <a:pt x="189" y="6333"/>
                </a:cubicBezTo>
                <a:lnTo>
                  <a:pt x="1670" y="7058"/>
                </a:lnTo>
                <a:cubicBezTo>
                  <a:pt x="1717" y="7074"/>
                  <a:pt x="1772" y="7082"/>
                  <a:pt x="1828" y="7082"/>
                </a:cubicBezTo>
                <a:cubicBezTo>
                  <a:pt x="1883" y="7082"/>
                  <a:pt x="1938" y="7074"/>
                  <a:pt x="1985" y="7058"/>
                </a:cubicBezTo>
                <a:lnTo>
                  <a:pt x="2458" y="6806"/>
                </a:lnTo>
                <a:lnTo>
                  <a:pt x="2206" y="7279"/>
                </a:lnTo>
                <a:cubicBezTo>
                  <a:pt x="2174" y="7405"/>
                  <a:pt x="2174" y="7531"/>
                  <a:pt x="2206" y="7657"/>
                </a:cubicBezTo>
                <a:cubicBezTo>
                  <a:pt x="2237" y="7751"/>
                  <a:pt x="2332" y="7846"/>
                  <a:pt x="2458" y="7877"/>
                </a:cubicBezTo>
                <a:lnTo>
                  <a:pt x="2962" y="8035"/>
                </a:lnTo>
                <a:lnTo>
                  <a:pt x="2458" y="8192"/>
                </a:lnTo>
                <a:cubicBezTo>
                  <a:pt x="2332" y="8224"/>
                  <a:pt x="2237" y="8318"/>
                  <a:pt x="2206" y="8444"/>
                </a:cubicBezTo>
                <a:lnTo>
                  <a:pt x="1702" y="9925"/>
                </a:lnTo>
                <a:cubicBezTo>
                  <a:pt x="1623" y="10161"/>
                  <a:pt x="1784" y="10397"/>
                  <a:pt x="2004" y="10397"/>
                </a:cubicBezTo>
                <a:cubicBezTo>
                  <a:pt x="2048" y="10397"/>
                  <a:pt x="2095" y="10387"/>
                  <a:pt x="2143" y="10366"/>
                </a:cubicBezTo>
                <a:lnTo>
                  <a:pt x="3623" y="9862"/>
                </a:lnTo>
                <a:cubicBezTo>
                  <a:pt x="3749" y="9799"/>
                  <a:pt x="3812" y="9736"/>
                  <a:pt x="3875" y="9610"/>
                </a:cubicBezTo>
                <a:lnTo>
                  <a:pt x="4033" y="9106"/>
                </a:lnTo>
                <a:lnTo>
                  <a:pt x="4190" y="9610"/>
                </a:lnTo>
                <a:cubicBezTo>
                  <a:pt x="4222" y="9736"/>
                  <a:pt x="4285" y="9799"/>
                  <a:pt x="4411" y="9862"/>
                </a:cubicBezTo>
                <a:cubicBezTo>
                  <a:pt x="4484" y="9880"/>
                  <a:pt x="4556" y="9898"/>
                  <a:pt x="4623" y="9898"/>
                </a:cubicBezTo>
                <a:cubicBezTo>
                  <a:pt x="4672" y="9898"/>
                  <a:pt x="4718" y="9889"/>
                  <a:pt x="4758" y="9862"/>
                </a:cubicBezTo>
                <a:lnTo>
                  <a:pt x="5230" y="9610"/>
                </a:lnTo>
                <a:lnTo>
                  <a:pt x="5010" y="10082"/>
                </a:lnTo>
                <a:cubicBezTo>
                  <a:pt x="4978" y="10208"/>
                  <a:pt x="4978" y="10334"/>
                  <a:pt x="5010" y="10398"/>
                </a:cubicBezTo>
                <a:lnTo>
                  <a:pt x="5703" y="11847"/>
                </a:lnTo>
                <a:cubicBezTo>
                  <a:pt x="5797" y="11973"/>
                  <a:pt x="5923" y="12067"/>
                  <a:pt x="6018" y="12067"/>
                </a:cubicBezTo>
                <a:cubicBezTo>
                  <a:pt x="6144" y="12067"/>
                  <a:pt x="6301" y="11973"/>
                  <a:pt x="6333" y="11847"/>
                </a:cubicBezTo>
                <a:lnTo>
                  <a:pt x="7057" y="10398"/>
                </a:lnTo>
                <a:cubicBezTo>
                  <a:pt x="7089" y="10271"/>
                  <a:pt x="7089" y="10177"/>
                  <a:pt x="7057" y="10082"/>
                </a:cubicBezTo>
                <a:lnTo>
                  <a:pt x="6805" y="9610"/>
                </a:lnTo>
                <a:lnTo>
                  <a:pt x="7278" y="9862"/>
                </a:lnTo>
                <a:cubicBezTo>
                  <a:pt x="7341" y="9878"/>
                  <a:pt x="7404" y="9886"/>
                  <a:pt x="7467" y="9886"/>
                </a:cubicBezTo>
                <a:cubicBezTo>
                  <a:pt x="7530" y="9886"/>
                  <a:pt x="7593" y="9878"/>
                  <a:pt x="7656" y="9862"/>
                </a:cubicBezTo>
                <a:cubicBezTo>
                  <a:pt x="7750" y="9799"/>
                  <a:pt x="7845" y="9736"/>
                  <a:pt x="7877" y="9610"/>
                </a:cubicBezTo>
                <a:lnTo>
                  <a:pt x="8034" y="9106"/>
                </a:lnTo>
                <a:lnTo>
                  <a:pt x="8192" y="9610"/>
                </a:lnTo>
                <a:cubicBezTo>
                  <a:pt x="8223" y="9736"/>
                  <a:pt x="8318" y="9799"/>
                  <a:pt x="8444" y="9862"/>
                </a:cubicBezTo>
                <a:lnTo>
                  <a:pt x="9924" y="10366"/>
                </a:lnTo>
                <a:cubicBezTo>
                  <a:pt x="9957" y="10373"/>
                  <a:pt x="9990" y="10377"/>
                  <a:pt x="10023" y="10377"/>
                </a:cubicBezTo>
                <a:cubicBezTo>
                  <a:pt x="10268" y="10377"/>
                  <a:pt x="10477" y="10175"/>
                  <a:pt x="10365" y="9925"/>
                </a:cubicBezTo>
                <a:lnTo>
                  <a:pt x="9861" y="8444"/>
                </a:lnTo>
                <a:cubicBezTo>
                  <a:pt x="9798" y="8318"/>
                  <a:pt x="9735" y="8224"/>
                  <a:pt x="9609" y="8192"/>
                </a:cubicBezTo>
                <a:lnTo>
                  <a:pt x="9105" y="8035"/>
                </a:lnTo>
                <a:lnTo>
                  <a:pt x="9609" y="7877"/>
                </a:lnTo>
                <a:cubicBezTo>
                  <a:pt x="9735" y="7846"/>
                  <a:pt x="9798" y="7751"/>
                  <a:pt x="9861" y="7657"/>
                </a:cubicBezTo>
                <a:cubicBezTo>
                  <a:pt x="9893" y="7531"/>
                  <a:pt x="9924" y="7405"/>
                  <a:pt x="9861" y="7279"/>
                </a:cubicBezTo>
                <a:lnTo>
                  <a:pt x="9609" y="6806"/>
                </a:lnTo>
                <a:lnTo>
                  <a:pt x="10082" y="7058"/>
                </a:lnTo>
                <a:cubicBezTo>
                  <a:pt x="10145" y="7074"/>
                  <a:pt x="10208" y="7082"/>
                  <a:pt x="10263" y="7082"/>
                </a:cubicBezTo>
                <a:cubicBezTo>
                  <a:pt x="10318" y="7082"/>
                  <a:pt x="10365" y="7074"/>
                  <a:pt x="10397" y="7058"/>
                </a:cubicBezTo>
                <a:lnTo>
                  <a:pt x="11846" y="6333"/>
                </a:lnTo>
                <a:cubicBezTo>
                  <a:pt x="11972" y="6270"/>
                  <a:pt x="12067" y="6144"/>
                  <a:pt x="12067" y="6018"/>
                </a:cubicBezTo>
                <a:cubicBezTo>
                  <a:pt x="12067" y="5924"/>
                  <a:pt x="11972" y="5766"/>
                  <a:pt x="11846" y="5703"/>
                </a:cubicBezTo>
                <a:lnTo>
                  <a:pt x="10397" y="5010"/>
                </a:lnTo>
                <a:cubicBezTo>
                  <a:pt x="10334" y="4994"/>
                  <a:pt x="10279" y="4987"/>
                  <a:pt x="10228" y="4987"/>
                </a:cubicBezTo>
                <a:cubicBezTo>
                  <a:pt x="10176" y="4987"/>
                  <a:pt x="10129" y="4994"/>
                  <a:pt x="10082" y="5010"/>
                </a:cubicBezTo>
                <a:lnTo>
                  <a:pt x="9609" y="5231"/>
                </a:lnTo>
                <a:lnTo>
                  <a:pt x="9861" y="4758"/>
                </a:lnTo>
                <a:cubicBezTo>
                  <a:pt x="9893" y="4664"/>
                  <a:pt x="9893" y="4538"/>
                  <a:pt x="9861" y="4412"/>
                </a:cubicBezTo>
                <a:cubicBezTo>
                  <a:pt x="9798" y="4286"/>
                  <a:pt x="9735" y="4223"/>
                  <a:pt x="9609" y="4191"/>
                </a:cubicBezTo>
                <a:lnTo>
                  <a:pt x="9105" y="4034"/>
                </a:lnTo>
                <a:lnTo>
                  <a:pt x="9609" y="3876"/>
                </a:lnTo>
                <a:cubicBezTo>
                  <a:pt x="9735" y="3813"/>
                  <a:pt x="9798" y="3750"/>
                  <a:pt x="9861" y="3624"/>
                </a:cubicBezTo>
                <a:lnTo>
                  <a:pt x="10365" y="2143"/>
                </a:lnTo>
                <a:cubicBezTo>
                  <a:pt x="10397" y="2017"/>
                  <a:pt x="10365" y="1860"/>
                  <a:pt x="10271" y="1765"/>
                </a:cubicBezTo>
                <a:cubicBezTo>
                  <a:pt x="10226" y="1721"/>
                  <a:pt x="10135" y="1676"/>
                  <a:pt x="10040" y="1676"/>
                </a:cubicBezTo>
                <a:cubicBezTo>
                  <a:pt x="10001" y="1676"/>
                  <a:pt x="9961" y="1684"/>
                  <a:pt x="9924" y="1702"/>
                </a:cubicBezTo>
                <a:lnTo>
                  <a:pt x="8444" y="2206"/>
                </a:lnTo>
                <a:cubicBezTo>
                  <a:pt x="8318" y="2238"/>
                  <a:pt x="8223" y="2332"/>
                  <a:pt x="8192" y="2458"/>
                </a:cubicBezTo>
                <a:lnTo>
                  <a:pt x="8034" y="2962"/>
                </a:lnTo>
                <a:lnTo>
                  <a:pt x="7877" y="2458"/>
                </a:lnTo>
                <a:cubicBezTo>
                  <a:pt x="7845" y="2332"/>
                  <a:pt x="7750" y="2238"/>
                  <a:pt x="7656" y="2206"/>
                </a:cubicBezTo>
                <a:cubicBezTo>
                  <a:pt x="7583" y="2188"/>
                  <a:pt x="7510" y="2170"/>
                  <a:pt x="7438" y="2170"/>
                </a:cubicBezTo>
                <a:cubicBezTo>
                  <a:pt x="7384" y="2170"/>
                  <a:pt x="7331" y="2180"/>
                  <a:pt x="7278" y="2206"/>
                </a:cubicBezTo>
                <a:lnTo>
                  <a:pt x="6805" y="2458"/>
                </a:lnTo>
                <a:lnTo>
                  <a:pt x="7057" y="1986"/>
                </a:lnTo>
                <a:cubicBezTo>
                  <a:pt x="7089" y="1860"/>
                  <a:pt x="7089" y="1734"/>
                  <a:pt x="7057" y="1671"/>
                </a:cubicBezTo>
                <a:lnTo>
                  <a:pt x="6333" y="190"/>
                </a:lnTo>
                <a:cubicBezTo>
                  <a:pt x="6270" y="95"/>
                  <a:pt x="6144" y="1"/>
                  <a:pt x="60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87" name="Google Shape;10687;p80"/>
          <p:cNvGrpSpPr/>
          <p:nvPr/>
        </p:nvGrpSpPr>
        <p:grpSpPr>
          <a:xfrm>
            <a:off x="4931233" y="3444650"/>
            <a:ext cx="476329" cy="475086"/>
            <a:chOff x="-15719925" y="2416825"/>
            <a:chExt cx="306400" cy="305600"/>
          </a:xfrm>
        </p:grpSpPr>
        <p:sp>
          <p:nvSpPr>
            <p:cNvPr id="10688" name="Google Shape;10688;p80"/>
            <p:cNvSpPr/>
            <p:nvPr/>
          </p:nvSpPr>
          <p:spPr>
            <a:xfrm>
              <a:off x="-15719925" y="2416825"/>
              <a:ext cx="306400" cy="305600"/>
            </a:xfrm>
            <a:custGeom>
              <a:avLst/>
              <a:gdLst/>
              <a:ahLst/>
              <a:cxnLst/>
              <a:rect l="l" t="t" r="r" b="b"/>
              <a:pathLst>
                <a:path w="12256" h="12224" extrusionOk="0">
                  <a:moveTo>
                    <a:pt x="6648" y="756"/>
                  </a:moveTo>
                  <a:lnTo>
                    <a:pt x="8002" y="3466"/>
                  </a:lnTo>
                  <a:cubicBezTo>
                    <a:pt x="8034" y="3560"/>
                    <a:pt x="8065" y="3592"/>
                    <a:pt x="8160" y="3623"/>
                  </a:cubicBezTo>
                  <a:lnTo>
                    <a:pt x="9451" y="4316"/>
                  </a:lnTo>
                  <a:lnTo>
                    <a:pt x="10617" y="7246"/>
                  </a:lnTo>
                  <a:lnTo>
                    <a:pt x="7845" y="7246"/>
                  </a:lnTo>
                  <a:lnTo>
                    <a:pt x="7215" y="5356"/>
                  </a:lnTo>
                  <a:cubicBezTo>
                    <a:pt x="7135" y="5198"/>
                    <a:pt x="6990" y="5128"/>
                    <a:pt x="6852" y="5128"/>
                  </a:cubicBezTo>
                  <a:cubicBezTo>
                    <a:pt x="6826" y="5128"/>
                    <a:pt x="6799" y="5130"/>
                    <a:pt x="6774" y="5135"/>
                  </a:cubicBezTo>
                  <a:cubicBezTo>
                    <a:pt x="6616" y="5167"/>
                    <a:pt x="6490" y="5419"/>
                    <a:pt x="6522" y="5576"/>
                  </a:cubicBezTo>
                  <a:lnTo>
                    <a:pt x="7089" y="7215"/>
                  </a:lnTo>
                  <a:lnTo>
                    <a:pt x="5167" y="7215"/>
                  </a:lnTo>
                  <a:lnTo>
                    <a:pt x="5797" y="4064"/>
                  </a:lnTo>
                  <a:cubicBezTo>
                    <a:pt x="5828" y="3875"/>
                    <a:pt x="5702" y="3686"/>
                    <a:pt x="5513" y="3623"/>
                  </a:cubicBezTo>
                  <a:cubicBezTo>
                    <a:pt x="5494" y="3620"/>
                    <a:pt x="5474" y="3618"/>
                    <a:pt x="5454" y="3618"/>
                  </a:cubicBezTo>
                  <a:cubicBezTo>
                    <a:pt x="5281" y="3618"/>
                    <a:pt x="5101" y="3737"/>
                    <a:pt x="5072" y="3907"/>
                  </a:cubicBezTo>
                  <a:lnTo>
                    <a:pt x="4411" y="7183"/>
                  </a:lnTo>
                  <a:lnTo>
                    <a:pt x="1607" y="7183"/>
                  </a:lnTo>
                  <a:lnTo>
                    <a:pt x="2142" y="4946"/>
                  </a:lnTo>
                  <a:lnTo>
                    <a:pt x="3466" y="4316"/>
                  </a:lnTo>
                  <a:cubicBezTo>
                    <a:pt x="3529" y="4253"/>
                    <a:pt x="3560" y="4222"/>
                    <a:pt x="3623" y="4159"/>
                  </a:cubicBezTo>
                  <a:lnTo>
                    <a:pt x="4253" y="2930"/>
                  </a:lnTo>
                  <a:lnTo>
                    <a:pt x="6175" y="2930"/>
                  </a:lnTo>
                  <a:cubicBezTo>
                    <a:pt x="6364" y="2930"/>
                    <a:pt x="6522" y="2772"/>
                    <a:pt x="6522" y="2583"/>
                  </a:cubicBezTo>
                  <a:cubicBezTo>
                    <a:pt x="6522" y="2363"/>
                    <a:pt x="6364" y="2205"/>
                    <a:pt x="6175" y="2205"/>
                  </a:cubicBezTo>
                  <a:lnTo>
                    <a:pt x="5230" y="2205"/>
                  </a:lnTo>
                  <a:lnTo>
                    <a:pt x="5702" y="756"/>
                  </a:lnTo>
                  <a:close/>
                  <a:moveTo>
                    <a:pt x="10397" y="7876"/>
                  </a:moveTo>
                  <a:lnTo>
                    <a:pt x="9830" y="8601"/>
                  </a:lnTo>
                  <a:lnTo>
                    <a:pt x="8916" y="8601"/>
                  </a:lnTo>
                  <a:cubicBezTo>
                    <a:pt x="8727" y="8601"/>
                    <a:pt x="8569" y="8758"/>
                    <a:pt x="8569" y="8947"/>
                  </a:cubicBezTo>
                  <a:cubicBezTo>
                    <a:pt x="8664" y="9199"/>
                    <a:pt x="8821" y="9357"/>
                    <a:pt x="9010" y="9357"/>
                  </a:cubicBezTo>
                  <a:lnTo>
                    <a:pt x="9357" y="9357"/>
                  </a:lnTo>
                  <a:lnTo>
                    <a:pt x="8821" y="10050"/>
                  </a:lnTo>
                  <a:lnTo>
                    <a:pt x="7561" y="10050"/>
                  </a:lnTo>
                  <a:cubicBezTo>
                    <a:pt x="7435" y="10050"/>
                    <a:pt x="7278" y="10145"/>
                    <a:pt x="7246" y="10239"/>
                  </a:cubicBezTo>
                  <a:lnTo>
                    <a:pt x="6616" y="11468"/>
                  </a:lnTo>
                  <a:lnTo>
                    <a:pt x="5576" y="11468"/>
                  </a:lnTo>
                  <a:lnTo>
                    <a:pt x="5041" y="10775"/>
                  </a:lnTo>
                  <a:lnTo>
                    <a:pt x="6080" y="10775"/>
                  </a:lnTo>
                  <a:cubicBezTo>
                    <a:pt x="6301" y="10775"/>
                    <a:pt x="6459" y="10617"/>
                    <a:pt x="6459" y="10397"/>
                  </a:cubicBezTo>
                  <a:cubicBezTo>
                    <a:pt x="6459" y="10208"/>
                    <a:pt x="6301" y="10050"/>
                    <a:pt x="6080" y="10050"/>
                  </a:cubicBezTo>
                  <a:lnTo>
                    <a:pt x="4474" y="10050"/>
                  </a:lnTo>
                  <a:lnTo>
                    <a:pt x="3529" y="8758"/>
                  </a:lnTo>
                  <a:cubicBezTo>
                    <a:pt x="3466" y="8664"/>
                    <a:pt x="3371" y="8601"/>
                    <a:pt x="3245" y="8601"/>
                  </a:cubicBezTo>
                  <a:lnTo>
                    <a:pt x="2048" y="8601"/>
                  </a:lnTo>
                  <a:lnTo>
                    <a:pt x="1670" y="7876"/>
                  </a:lnTo>
                  <a:close/>
                  <a:moveTo>
                    <a:pt x="5419" y="0"/>
                  </a:moveTo>
                  <a:cubicBezTo>
                    <a:pt x="5261" y="0"/>
                    <a:pt x="5135" y="126"/>
                    <a:pt x="5072" y="252"/>
                  </a:cubicBezTo>
                  <a:lnTo>
                    <a:pt x="4442" y="2174"/>
                  </a:lnTo>
                  <a:lnTo>
                    <a:pt x="3970" y="2174"/>
                  </a:lnTo>
                  <a:cubicBezTo>
                    <a:pt x="3844" y="2174"/>
                    <a:pt x="3686" y="2237"/>
                    <a:pt x="3655" y="2363"/>
                  </a:cubicBezTo>
                  <a:lnTo>
                    <a:pt x="2993" y="3718"/>
                  </a:lnTo>
                  <a:lnTo>
                    <a:pt x="1638" y="4379"/>
                  </a:lnTo>
                  <a:cubicBezTo>
                    <a:pt x="1575" y="4411"/>
                    <a:pt x="1481" y="4505"/>
                    <a:pt x="1449" y="4600"/>
                  </a:cubicBezTo>
                  <a:lnTo>
                    <a:pt x="819" y="7215"/>
                  </a:lnTo>
                  <a:lnTo>
                    <a:pt x="347" y="7215"/>
                  </a:lnTo>
                  <a:cubicBezTo>
                    <a:pt x="158" y="7215"/>
                    <a:pt x="0" y="7372"/>
                    <a:pt x="0" y="7561"/>
                  </a:cubicBezTo>
                  <a:cubicBezTo>
                    <a:pt x="0" y="7750"/>
                    <a:pt x="158" y="7908"/>
                    <a:pt x="347" y="7908"/>
                  </a:cubicBezTo>
                  <a:lnTo>
                    <a:pt x="851" y="7908"/>
                  </a:lnTo>
                  <a:lnTo>
                    <a:pt x="1481" y="9136"/>
                  </a:lnTo>
                  <a:cubicBezTo>
                    <a:pt x="1575" y="9262"/>
                    <a:pt x="1670" y="9325"/>
                    <a:pt x="1796" y="9325"/>
                  </a:cubicBezTo>
                  <a:lnTo>
                    <a:pt x="3056" y="9325"/>
                  </a:lnTo>
                  <a:lnTo>
                    <a:pt x="3623" y="10050"/>
                  </a:lnTo>
                  <a:lnTo>
                    <a:pt x="2552" y="10050"/>
                  </a:lnTo>
                  <a:cubicBezTo>
                    <a:pt x="2363" y="10050"/>
                    <a:pt x="2205" y="10208"/>
                    <a:pt x="2205" y="10397"/>
                  </a:cubicBezTo>
                  <a:cubicBezTo>
                    <a:pt x="2205" y="10617"/>
                    <a:pt x="2363" y="10775"/>
                    <a:pt x="2552" y="10775"/>
                  </a:cubicBezTo>
                  <a:lnTo>
                    <a:pt x="4159" y="10775"/>
                  </a:lnTo>
                  <a:lnTo>
                    <a:pt x="5104" y="12066"/>
                  </a:lnTo>
                  <a:cubicBezTo>
                    <a:pt x="5198" y="12129"/>
                    <a:pt x="5261" y="12224"/>
                    <a:pt x="5387" y="12224"/>
                  </a:cubicBezTo>
                  <a:lnTo>
                    <a:pt x="6805" y="12224"/>
                  </a:lnTo>
                  <a:cubicBezTo>
                    <a:pt x="6931" y="12224"/>
                    <a:pt x="7089" y="12129"/>
                    <a:pt x="7120" y="12035"/>
                  </a:cubicBezTo>
                  <a:lnTo>
                    <a:pt x="7750" y="10806"/>
                  </a:lnTo>
                  <a:lnTo>
                    <a:pt x="8979" y="10806"/>
                  </a:lnTo>
                  <a:cubicBezTo>
                    <a:pt x="9073" y="10806"/>
                    <a:pt x="9199" y="10775"/>
                    <a:pt x="9231" y="10649"/>
                  </a:cubicBezTo>
                  <a:lnTo>
                    <a:pt x="10176" y="9357"/>
                  </a:lnTo>
                  <a:lnTo>
                    <a:pt x="11184" y="9357"/>
                  </a:lnTo>
                  <a:cubicBezTo>
                    <a:pt x="11373" y="9357"/>
                    <a:pt x="11531" y="9199"/>
                    <a:pt x="11531" y="8979"/>
                  </a:cubicBezTo>
                  <a:cubicBezTo>
                    <a:pt x="11531" y="8790"/>
                    <a:pt x="11373" y="8632"/>
                    <a:pt x="11184" y="8632"/>
                  </a:cubicBezTo>
                  <a:lnTo>
                    <a:pt x="10775" y="8632"/>
                  </a:lnTo>
                  <a:lnTo>
                    <a:pt x="11342" y="7908"/>
                  </a:lnTo>
                  <a:lnTo>
                    <a:pt x="11877" y="7908"/>
                  </a:lnTo>
                  <a:cubicBezTo>
                    <a:pt x="12098" y="7908"/>
                    <a:pt x="12255" y="7750"/>
                    <a:pt x="12255" y="7561"/>
                  </a:cubicBezTo>
                  <a:cubicBezTo>
                    <a:pt x="12255" y="7372"/>
                    <a:pt x="12098" y="7215"/>
                    <a:pt x="11877" y="7215"/>
                  </a:cubicBezTo>
                  <a:lnTo>
                    <a:pt x="11373" y="7215"/>
                  </a:lnTo>
                  <a:lnTo>
                    <a:pt x="10019" y="3875"/>
                  </a:lnTo>
                  <a:cubicBezTo>
                    <a:pt x="9987" y="3781"/>
                    <a:pt x="9956" y="3718"/>
                    <a:pt x="9861" y="3655"/>
                  </a:cubicBezTo>
                  <a:lnTo>
                    <a:pt x="8538" y="2993"/>
                  </a:lnTo>
                  <a:lnTo>
                    <a:pt x="7152" y="189"/>
                  </a:lnTo>
                  <a:cubicBezTo>
                    <a:pt x="7089" y="95"/>
                    <a:pt x="6963" y="0"/>
                    <a:pt x="68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80"/>
            <p:cNvSpPr/>
            <p:nvPr/>
          </p:nvSpPr>
          <p:spPr>
            <a:xfrm>
              <a:off x="-15467900" y="2686175"/>
              <a:ext cx="53575" cy="17350"/>
            </a:xfrm>
            <a:custGeom>
              <a:avLst/>
              <a:gdLst/>
              <a:ahLst/>
              <a:cxnLst/>
              <a:rect l="l" t="t" r="r" b="b"/>
              <a:pathLst>
                <a:path w="2143" h="694" extrusionOk="0">
                  <a:moveTo>
                    <a:pt x="347" y="1"/>
                  </a:moveTo>
                  <a:cubicBezTo>
                    <a:pt x="158" y="1"/>
                    <a:pt x="1" y="158"/>
                    <a:pt x="1" y="347"/>
                  </a:cubicBezTo>
                  <a:cubicBezTo>
                    <a:pt x="1" y="536"/>
                    <a:pt x="158" y="694"/>
                    <a:pt x="347" y="694"/>
                  </a:cubicBezTo>
                  <a:lnTo>
                    <a:pt x="1796" y="694"/>
                  </a:lnTo>
                  <a:cubicBezTo>
                    <a:pt x="1985" y="694"/>
                    <a:pt x="2143" y="536"/>
                    <a:pt x="2143" y="347"/>
                  </a:cubicBezTo>
                  <a:cubicBezTo>
                    <a:pt x="2143"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80"/>
            <p:cNvSpPr/>
            <p:nvPr/>
          </p:nvSpPr>
          <p:spPr>
            <a:xfrm>
              <a:off x="-15718350" y="2703500"/>
              <a:ext cx="54350" cy="18150"/>
            </a:xfrm>
            <a:custGeom>
              <a:avLst/>
              <a:gdLst/>
              <a:ahLst/>
              <a:cxnLst/>
              <a:rect l="l" t="t" r="r" b="b"/>
              <a:pathLst>
                <a:path w="2174" h="726" extrusionOk="0">
                  <a:moveTo>
                    <a:pt x="347" y="1"/>
                  </a:moveTo>
                  <a:cubicBezTo>
                    <a:pt x="158" y="1"/>
                    <a:pt x="0" y="158"/>
                    <a:pt x="0" y="347"/>
                  </a:cubicBezTo>
                  <a:cubicBezTo>
                    <a:pt x="0" y="568"/>
                    <a:pt x="158" y="725"/>
                    <a:pt x="347" y="725"/>
                  </a:cubicBezTo>
                  <a:lnTo>
                    <a:pt x="1827" y="725"/>
                  </a:lnTo>
                  <a:cubicBezTo>
                    <a:pt x="2016" y="725"/>
                    <a:pt x="2174" y="568"/>
                    <a:pt x="2174" y="347"/>
                  </a:cubicBezTo>
                  <a:cubicBezTo>
                    <a:pt x="2174" y="158"/>
                    <a:pt x="2016"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91" name="Google Shape;10691;p80"/>
          <p:cNvSpPr/>
          <p:nvPr/>
        </p:nvSpPr>
        <p:spPr>
          <a:xfrm>
            <a:off x="2017508" y="1687545"/>
            <a:ext cx="477534" cy="475746"/>
          </a:xfrm>
          <a:custGeom>
            <a:avLst/>
            <a:gdLst/>
            <a:ahLst/>
            <a:cxnLst/>
            <a:rect l="l" t="t" r="r" b="b"/>
            <a:pathLst>
              <a:path w="12287" h="12241" extrusionOk="0">
                <a:moveTo>
                  <a:pt x="6207" y="1056"/>
                </a:moveTo>
                <a:lnTo>
                  <a:pt x="6553" y="1560"/>
                </a:lnTo>
                <a:cubicBezTo>
                  <a:pt x="6994" y="2253"/>
                  <a:pt x="7656" y="2663"/>
                  <a:pt x="8443" y="2820"/>
                </a:cubicBezTo>
                <a:cubicBezTo>
                  <a:pt x="8191" y="3261"/>
                  <a:pt x="8097" y="3765"/>
                  <a:pt x="8002" y="4332"/>
                </a:cubicBezTo>
                <a:cubicBezTo>
                  <a:pt x="7939" y="5152"/>
                  <a:pt x="8097" y="5939"/>
                  <a:pt x="8443" y="6506"/>
                </a:cubicBezTo>
                <a:cubicBezTo>
                  <a:pt x="8498" y="6588"/>
                  <a:pt x="8623" y="6670"/>
                  <a:pt x="8758" y="6670"/>
                </a:cubicBezTo>
                <a:cubicBezTo>
                  <a:pt x="8779" y="6670"/>
                  <a:pt x="8800" y="6668"/>
                  <a:pt x="8821" y="6664"/>
                </a:cubicBezTo>
                <a:cubicBezTo>
                  <a:pt x="9420" y="6506"/>
                  <a:pt x="9924" y="6223"/>
                  <a:pt x="10365" y="5908"/>
                </a:cubicBezTo>
                <a:cubicBezTo>
                  <a:pt x="10680" y="6254"/>
                  <a:pt x="11090" y="6569"/>
                  <a:pt x="11499" y="6853"/>
                </a:cubicBezTo>
                <a:cubicBezTo>
                  <a:pt x="11279" y="7325"/>
                  <a:pt x="11153" y="7798"/>
                  <a:pt x="11153" y="8271"/>
                </a:cubicBezTo>
                <a:cubicBezTo>
                  <a:pt x="10586" y="8302"/>
                  <a:pt x="10082" y="8428"/>
                  <a:pt x="9578" y="8617"/>
                </a:cubicBezTo>
                <a:cubicBezTo>
                  <a:pt x="9389" y="8712"/>
                  <a:pt x="9294" y="8932"/>
                  <a:pt x="9389" y="9090"/>
                </a:cubicBezTo>
                <a:lnTo>
                  <a:pt x="9704" y="9751"/>
                </a:lnTo>
                <a:lnTo>
                  <a:pt x="7183" y="8932"/>
                </a:lnTo>
                <a:lnTo>
                  <a:pt x="9861" y="7861"/>
                </a:lnTo>
                <a:cubicBezTo>
                  <a:pt x="10050" y="7798"/>
                  <a:pt x="10145" y="7609"/>
                  <a:pt x="10050" y="7388"/>
                </a:cubicBezTo>
                <a:cubicBezTo>
                  <a:pt x="10003" y="7247"/>
                  <a:pt x="9867" y="7176"/>
                  <a:pt x="9722" y="7176"/>
                </a:cubicBezTo>
                <a:cubicBezTo>
                  <a:pt x="9674" y="7176"/>
                  <a:pt x="9625" y="7184"/>
                  <a:pt x="9578" y="7199"/>
                </a:cubicBezTo>
                <a:lnTo>
                  <a:pt x="6522" y="8428"/>
                </a:lnTo>
                <a:lnTo>
                  <a:pt x="6522" y="3986"/>
                </a:lnTo>
                <a:cubicBezTo>
                  <a:pt x="6522" y="3765"/>
                  <a:pt x="6364" y="3608"/>
                  <a:pt x="6144" y="3608"/>
                </a:cubicBezTo>
                <a:cubicBezTo>
                  <a:pt x="5955" y="3608"/>
                  <a:pt x="5797" y="3765"/>
                  <a:pt x="5797" y="3986"/>
                </a:cubicBezTo>
                <a:lnTo>
                  <a:pt x="5797" y="8428"/>
                </a:lnTo>
                <a:lnTo>
                  <a:pt x="2710" y="7199"/>
                </a:lnTo>
                <a:cubicBezTo>
                  <a:pt x="2662" y="7184"/>
                  <a:pt x="2615" y="7176"/>
                  <a:pt x="2570" y="7176"/>
                </a:cubicBezTo>
                <a:cubicBezTo>
                  <a:pt x="2434" y="7176"/>
                  <a:pt x="2316" y="7247"/>
                  <a:pt x="2268" y="7388"/>
                </a:cubicBezTo>
                <a:cubicBezTo>
                  <a:pt x="2174" y="7609"/>
                  <a:pt x="2268" y="7798"/>
                  <a:pt x="2457" y="7861"/>
                </a:cubicBezTo>
                <a:lnTo>
                  <a:pt x="5135" y="8932"/>
                </a:lnTo>
                <a:lnTo>
                  <a:pt x="2615" y="9751"/>
                </a:lnTo>
                <a:lnTo>
                  <a:pt x="2930" y="9090"/>
                </a:lnTo>
                <a:cubicBezTo>
                  <a:pt x="2993" y="8901"/>
                  <a:pt x="2930" y="8712"/>
                  <a:pt x="2741" y="8617"/>
                </a:cubicBezTo>
                <a:cubicBezTo>
                  <a:pt x="2205" y="8397"/>
                  <a:pt x="1701" y="8271"/>
                  <a:pt x="1166" y="8271"/>
                </a:cubicBezTo>
                <a:cubicBezTo>
                  <a:pt x="1166" y="7798"/>
                  <a:pt x="1040" y="7325"/>
                  <a:pt x="882" y="6853"/>
                </a:cubicBezTo>
                <a:cubicBezTo>
                  <a:pt x="1323" y="6569"/>
                  <a:pt x="1701" y="6254"/>
                  <a:pt x="2016" y="5908"/>
                </a:cubicBezTo>
                <a:cubicBezTo>
                  <a:pt x="2457" y="6254"/>
                  <a:pt x="2962" y="6506"/>
                  <a:pt x="3560" y="6664"/>
                </a:cubicBezTo>
                <a:cubicBezTo>
                  <a:pt x="3596" y="6671"/>
                  <a:pt x="3631" y="6675"/>
                  <a:pt x="3665" y="6675"/>
                </a:cubicBezTo>
                <a:cubicBezTo>
                  <a:pt x="3784" y="6675"/>
                  <a:pt x="3889" y="6628"/>
                  <a:pt x="3938" y="6506"/>
                </a:cubicBezTo>
                <a:cubicBezTo>
                  <a:pt x="4316" y="5939"/>
                  <a:pt x="4411" y="5152"/>
                  <a:pt x="4379" y="4332"/>
                </a:cubicBezTo>
                <a:cubicBezTo>
                  <a:pt x="4348" y="3734"/>
                  <a:pt x="4190" y="3230"/>
                  <a:pt x="3938" y="2820"/>
                </a:cubicBezTo>
                <a:cubicBezTo>
                  <a:pt x="4694" y="2663"/>
                  <a:pt x="5356" y="2190"/>
                  <a:pt x="5828" y="1560"/>
                </a:cubicBezTo>
                <a:lnTo>
                  <a:pt x="6207" y="1056"/>
                </a:lnTo>
                <a:close/>
                <a:moveTo>
                  <a:pt x="6116" y="1"/>
                </a:moveTo>
                <a:cubicBezTo>
                  <a:pt x="6002" y="1"/>
                  <a:pt x="5892" y="48"/>
                  <a:pt x="5828" y="142"/>
                </a:cubicBezTo>
                <a:lnTo>
                  <a:pt x="5198" y="1150"/>
                </a:lnTo>
                <a:cubicBezTo>
                  <a:pt x="4789" y="1781"/>
                  <a:pt x="4064" y="2159"/>
                  <a:pt x="3277" y="2159"/>
                </a:cubicBezTo>
                <a:cubicBezTo>
                  <a:pt x="2962" y="2159"/>
                  <a:pt x="2804" y="2568"/>
                  <a:pt x="3056" y="2757"/>
                </a:cubicBezTo>
                <a:cubicBezTo>
                  <a:pt x="3371" y="3072"/>
                  <a:pt x="3592" y="3671"/>
                  <a:pt x="3623" y="4364"/>
                </a:cubicBezTo>
                <a:cubicBezTo>
                  <a:pt x="3686" y="4931"/>
                  <a:pt x="3592" y="5467"/>
                  <a:pt x="3434" y="5876"/>
                </a:cubicBezTo>
                <a:cubicBezTo>
                  <a:pt x="2962" y="5719"/>
                  <a:pt x="2520" y="5435"/>
                  <a:pt x="2174" y="5120"/>
                </a:cubicBezTo>
                <a:cubicBezTo>
                  <a:pt x="2103" y="5049"/>
                  <a:pt x="2019" y="5016"/>
                  <a:pt x="1937" y="5016"/>
                </a:cubicBezTo>
                <a:cubicBezTo>
                  <a:pt x="1837" y="5016"/>
                  <a:pt x="1739" y="5065"/>
                  <a:pt x="1670" y="5152"/>
                </a:cubicBezTo>
                <a:cubicBezTo>
                  <a:pt x="1323" y="5624"/>
                  <a:pt x="851" y="6065"/>
                  <a:pt x="252" y="6349"/>
                </a:cubicBezTo>
                <a:cubicBezTo>
                  <a:pt x="95" y="6412"/>
                  <a:pt x="0" y="6601"/>
                  <a:pt x="95" y="6790"/>
                </a:cubicBezTo>
                <a:cubicBezTo>
                  <a:pt x="347" y="7388"/>
                  <a:pt x="441" y="8018"/>
                  <a:pt x="410" y="8586"/>
                </a:cubicBezTo>
                <a:cubicBezTo>
                  <a:pt x="410" y="8712"/>
                  <a:pt x="441" y="8775"/>
                  <a:pt x="536" y="8838"/>
                </a:cubicBezTo>
                <a:cubicBezTo>
                  <a:pt x="630" y="8964"/>
                  <a:pt x="788" y="8964"/>
                  <a:pt x="945" y="8964"/>
                </a:cubicBezTo>
                <a:cubicBezTo>
                  <a:pt x="1355" y="8964"/>
                  <a:pt x="1701" y="9058"/>
                  <a:pt x="2111" y="9153"/>
                </a:cubicBezTo>
                <a:lnTo>
                  <a:pt x="1544" y="10224"/>
                </a:lnTo>
                <a:cubicBezTo>
                  <a:pt x="1406" y="10472"/>
                  <a:pt x="1606" y="10745"/>
                  <a:pt x="1870" y="10745"/>
                </a:cubicBezTo>
                <a:cubicBezTo>
                  <a:pt x="1907" y="10745"/>
                  <a:pt x="1946" y="10740"/>
                  <a:pt x="1985" y="10728"/>
                </a:cubicBezTo>
                <a:lnTo>
                  <a:pt x="5797" y="9499"/>
                </a:lnTo>
                <a:lnTo>
                  <a:pt x="5797" y="11894"/>
                </a:lnTo>
                <a:cubicBezTo>
                  <a:pt x="5797" y="12083"/>
                  <a:pt x="5955" y="12240"/>
                  <a:pt x="6144" y="12240"/>
                </a:cubicBezTo>
                <a:cubicBezTo>
                  <a:pt x="6364" y="12240"/>
                  <a:pt x="6522" y="12083"/>
                  <a:pt x="6522" y="11894"/>
                </a:cubicBezTo>
                <a:lnTo>
                  <a:pt x="6522" y="9499"/>
                </a:lnTo>
                <a:lnTo>
                  <a:pt x="10334" y="10728"/>
                </a:lnTo>
                <a:cubicBezTo>
                  <a:pt x="10382" y="10747"/>
                  <a:pt x="10431" y="10756"/>
                  <a:pt x="10476" y="10756"/>
                </a:cubicBezTo>
                <a:cubicBezTo>
                  <a:pt x="10726" y="10756"/>
                  <a:pt x="10908" y="10490"/>
                  <a:pt x="10775" y="10224"/>
                </a:cubicBezTo>
                <a:lnTo>
                  <a:pt x="10208" y="9153"/>
                </a:lnTo>
                <a:cubicBezTo>
                  <a:pt x="10554" y="9058"/>
                  <a:pt x="10964" y="8964"/>
                  <a:pt x="11342" y="8964"/>
                </a:cubicBezTo>
                <a:cubicBezTo>
                  <a:pt x="11387" y="8964"/>
                  <a:pt x="11432" y="8966"/>
                  <a:pt x="11476" y="8966"/>
                </a:cubicBezTo>
                <a:cubicBezTo>
                  <a:pt x="11587" y="8966"/>
                  <a:pt x="11693" y="8950"/>
                  <a:pt x="11783" y="8838"/>
                </a:cubicBezTo>
                <a:cubicBezTo>
                  <a:pt x="11846" y="8775"/>
                  <a:pt x="11909" y="8680"/>
                  <a:pt x="11909" y="8586"/>
                </a:cubicBezTo>
                <a:cubicBezTo>
                  <a:pt x="11877" y="7987"/>
                  <a:pt x="11972" y="7388"/>
                  <a:pt x="12224" y="6790"/>
                </a:cubicBezTo>
                <a:cubicBezTo>
                  <a:pt x="12287" y="6601"/>
                  <a:pt x="12224" y="6412"/>
                  <a:pt x="12003" y="6349"/>
                </a:cubicBezTo>
                <a:cubicBezTo>
                  <a:pt x="11436" y="6065"/>
                  <a:pt x="10964" y="5624"/>
                  <a:pt x="10586" y="5152"/>
                </a:cubicBezTo>
                <a:cubicBezTo>
                  <a:pt x="10534" y="5065"/>
                  <a:pt x="10434" y="5016"/>
                  <a:pt x="10329" y="5016"/>
                </a:cubicBezTo>
                <a:cubicBezTo>
                  <a:pt x="10243" y="5016"/>
                  <a:pt x="10153" y="5049"/>
                  <a:pt x="10082" y="5120"/>
                </a:cubicBezTo>
                <a:cubicBezTo>
                  <a:pt x="9735" y="5435"/>
                  <a:pt x="9294" y="5719"/>
                  <a:pt x="8821" y="5876"/>
                </a:cubicBezTo>
                <a:cubicBezTo>
                  <a:pt x="8664" y="5467"/>
                  <a:pt x="8601" y="4931"/>
                  <a:pt x="8632" y="4364"/>
                </a:cubicBezTo>
                <a:cubicBezTo>
                  <a:pt x="8664" y="3702"/>
                  <a:pt x="8916" y="3072"/>
                  <a:pt x="9231" y="2757"/>
                </a:cubicBezTo>
                <a:cubicBezTo>
                  <a:pt x="9452" y="2505"/>
                  <a:pt x="9294" y="2159"/>
                  <a:pt x="8979" y="2159"/>
                </a:cubicBezTo>
                <a:cubicBezTo>
                  <a:pt x="8191" y="2159"/>
                  <a:pt x="7498" y="1781"/>
                  <a:pt x="7057" y="1150"/>
                </a:cubicBezTo>
                <a:lnTo>
                  <a:pt x="6427" y="142"/>
                </a:lnTo>
                <a:cubicBezTo>
                  <a:pt x="6348" y="48"/>
                  <a:pt x="6230" y="1"/>
                  <a:pt x="61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80"/>
          <p:cNvSpPr/>
          <p:nvPr/>
        </p:nvSpPr>
        <p:spPr>
          <a:xfrm>
            <a:off x="2019335" y="2331824"/>
            <a:ext cx="473881" cy="359346"/>
          </a:xfrm>
          <a:custGeom>
            <a:avLst/>
            <a:gdLst/>
            <a:ahLst/>
            <a:cxnLst/>
            <a:rect l="l" t="t" r="r" b="b"/>
            <a:pathLst>
              <a:path w="12193" h="9246" extrusionOk="0">
                <a:moveTo>
                  <a:pt x="3781" y="1936"/>
                </a:moveTo>
                <a:lnTo>
                  <a:pt x="3907" y="2881"/>
                </a:lnTo>
                <a:lnTo>
                  <a:pt x="3466" y="2881"/>
                </a:lnTo>
                <a:lnTo>
                  <a:pt x="3781" y="1936"/>
                </a:lnTo>
                <a:close/>
                <a:moveTo>
                  <a:pt x="2489" y="3574"/>
                </a:moveTo>
                <a:lnTo>
                  <a:pt x="2017" y="4961"/>
                </a:lnTo>
                <a:cubicBezTo>
                  <a:pt x="1387" y="4771"/>
                  <a:pt x="914" y="4267"/>
                  <a:pt x="757" y="3574"/>
                </a:cubicBezTo>
                <a:close/>
                <a:moveTo>
                  <a:pt x="7877" y="3574"/>
                </a:moveTo>
                <a:lnTo>
                  <a:pt x="7877" y="3952"/>
                </a:lnTo>
                <a:cubicBezTo>
                  <a:pt x="7877" y="4425"/>
                  <a:pt x="7562" y="4835"/>
                  <a:pt x="7089" y="4961"/>
                </a:cubicBezTo>
                <a:cubicBezTo>
                  <a:pt x="7058" y="4835"/>
                  <a:pt x="7026" y="4740"/>
                  <a:pt x="6932" y="4614"/>
                </a:cubicBezTo>
                <a:lnTo>
                  <a:pt x="6302" y="3574"/>
                </a:lnTo>
                <a:close/>
                <a:moveTo>
                  <a:pt x="4033" y="3574"/>
                </a:moveTo>
                <a:lnTo>
                  <a:pt x="4222" y="4992"/>
                </a:lnTo>
                <a:lnTo>
                  <a:pt x="2773" y="4992"/>
                </a:lnTo>
                <a:lnTo>
                  <a:pt x="3246" y="3574"/>
                </a:lnTo>
                <a:close/>
                <a:moveTo>
                  <a:pt x="10712" y="3574"/>
                </a:moveTo>
                <a:cubicBezTo>
                  <a:pt x="11153" y="3637"/>
                  <a:pt x="11468" y="3952"/>
                  <a:pt x="11468" y="4330"/>
                </a:cubicBezTo>
                <a:cubicBezTo>
                  <a:pt x="11437" y="4740"/>
                  <a:pt x="11153" y="4992"/>
                  <a:pt x="10775" y="4992"/>
                </a:cubicBezTo>
                <a:cubicBezTo>
                  <a:pt x="10366" y="4992"/>
                  <a:pt x="10051" y="4677"/>
                  <a:pt x="10051" y="4299"/>
                </a:cubicBezTo>
                <a:cubicBezTo>
                  <a:pt x="10051" y="3889"/>
                  <a:pt x="10334" y="3574"/>
                  <a:pt x="10712" y="3574"/>
                </a:cubicBezTo>
                <a:close/>
                <a:moveTo>
                  <a:pt x="4537" y="2062"/>
                </a:moveTo>
                <a:lnTo>
                  <a:pt x="6365" y="4992"/>
                </a:lnTo>
                <a:cubicBezTo>
                  <a:pt x="6428" y="5118"/>
                  <a:pt x="6491" y="5244"/>
                  <a:pt x="6491" y="5370"/>
                </a:cubicBezTo>
                <a:cubicBezTo>
                  <a:pt x="6491" y="5748"/>
                  <a:pt x="6176" y="6063"/>
                  <a:pt x="5766" y="6063"/>
                </a:cubicBezTo>
                <a:cubicBezTo>
                  <a:pt x="5356" y="6063"/>
                  <a:pt x="5104" y="5843"/>
                  <a:pt x="5010" y="5465"/>
                </a:cubicBezTo>
                <a:lnTo>
                  <a:pt x="4537" y="2062"/>
                </a:lnTo>
                <a:close/>
                <a:moveTo>
                  <a:pt x="9515" y="3543"/>
                </a:moveTo>
                <a:cubicBezTo>
                  <a:pt x="9389" y="3732"/>
                  <a:pt x="9295" y="3984"/>
                  <a:pt x="9295" y="4236"/>
                </a:cubicBezTo>
                <a:cubicBezTo>
                  <a:pt x="9295" y="5024"/>
                  <a:pt x="9925" y="5654"/>
                  <a:pt x="10712" y="5654"/>
                </a:cubicBezTo>
                <a:lnTo>
                  <a:pt x="10870" y="5654"/>
                </a:lnTo>
                <a:lnTo>
                  <a:pt x="10397" y="6693"/>
                </a:lnTo>
                <a:cubicBezTo>
                  <a:pt x="10303" y="6977"/>
                  <a:pt x="10019" y="7134"/>
                  <a:pt x="9704" y="7134"/>
                </a:cubicBezTo>
                <a:lnTo>
                  <a:pt x="4663" y="7134"/>
                </a:lnTo>
                <a:cubicBezTo>
                  <a:pt x="3781" y="7134"/>
                  <a:pt x="3088" y="6504"/>
                  <a:pt x="2931" y="5717"/>
                </a:cubicBezTo>
                <a:lnTo>
                  <a:pt x="4348" y="5717"/>
                </a:lnTo>
                <a:cubicBezTo>
                  <a:pt x="4506" y="6347"/>
                  <a:pt x="5041" y="6788"/>
                  <a:pt x="5734" y="6788"/>
                </a:cubicBezTo>
                <a:cubicBezTo>
                  <a:pt x="6396" y="6788"/>
                  <a:pt x="6932" y="6315"/>
                  <a:pt x="7089" y="5654"/>
                </a:cubicBezTo>
                <a:cubicBezTo>
                  <a:pt x="7940" y="5496"/>
                  <a:pt x="8570" y="4803"/>
                  <a:pt x="8570" y="3889"/>
                </a:cubicBezTo>
                <a:lnTo>
                  <a:pt x="8570" y="3543"/>
                </a:lnTo>
                <a:close/>
                <a:moveTo>
                  <a:pt x="3928" y="1"/>
                </a:moveTo>
                <a:cubicBezTo>
                  <a:pt x="3795" y="1"/>
                  <a:pt x="3661" y="81"/>
                  <a:pt x="3592" y="235"/>
                </a:cubicBezTo>
                <a:lnTo>
                  <a:pt x="2742" y="2850"/>
                </a:lnTo>
                <a:lnTo>
                  <a:pt x="379" y="2850"/>
                </a:lnTo>
                <a:cubicBezTo>
                  <a:pt x="158" y="2850"/>
                  <a:pt x="1" y="3007"/>
                  <a:pt x="1" y="3196"/>
                </a:cubicBezTo>
                <a:cubicBezTo>
                  <a:pt x="1" y="4330"/>
                  <a:pt x="757" y="5276"/>
                  <a:pt x="1828" y="5591"/>
                </a:cubicBezTo>
                <a:lnTo>
                  <a:pt x="851" y="8552"/>
                </a:lnTo>
                <a:lnTo>
                  <a:pt x="379" y="8552"/>
                </a:lnTo>
                <a:cubicBezTo>
                  <a:pt x="158" y="8552"/>
                  <a:pt x="1" y="8710"/>
                  <a:pt x="1" y="8899"/>
                </a:cubicBezTo>
                <a:cubicBezTo>
                  <a:pt x="1" y="9088"/>
                  <a:pt x="158" y="9245"/>
                  <a:pt x="379" y="9245"/>
                </a:cubicBezTo>
                <a:lnTo>
                  <a:pt x="1072" y="9245"/>
                </a:lnTo>
                <a:cubicBezTo>
                  <a:pt x="1229" y="9245"/>
                  <a:pt x="1355" y="9182"/>
                  <a:pt x="1450" y="9025"/>
                </a:cubicBezTo>
                <a:lnTo>
                  <a:pt x="2332" y="6252"/>
                </a:lnTo>
                <a:cubicBezTo>
                  <a:pt x="2710" y="7166"/>
                  <a:pt x="3592" y="7827"/>
                  <a:pt x="4663" y="7827"/>
                </a:cubicBezTo>
                <a:lnTo>
                  <a:pt x="6837" y="7827"/>
                </a:lnTo>
                <a:lnTo>
                  <a:pt x="6554" y="8552"/>
                </a:lnTo>
                <a:lnTo>
                  <a:pt x="6081" y="8552"/>
                </a:lnTo>
                <a:cubicBezTo>
                  <a:pt x="5892" y="8552"/>
                  <a:pt x="5734" y="8710"/>
                  <a:pt x="5734" y="8899"/>
                </a:cubicBezTo>
                <a:cubicBezTo>
                  <a:pt x="5734" y="9088"/>
                  <a:pt x="5892" y="9245"/>
                  <a:pt x="6081" y="9245"/>
                </a:cubicBezTo>
                <a:lnTo>
                  <a:pt x="6806" y="9245"/>
                </a:lnTo>
                <a:cubicBezTo>
                  <a:pt x="6963" y="9245"/>
                  <a:pt x="7058" y="9182"/>
                  <a:pt x="7121" y="9025"/>
                </a:cubicBezTo>
                <a:lnTo>
                  <a:pt x="7593" y="7796"/>
                </a:lnTo>
                <a:lnTo>
                  <a:pt x="8853" y="7796"/>
                </a:lnTo>
                <a:lnTo>
                  <a:pt x="9326" y="9025"/>
                </a:lnTo>
                <a:cubicBezTo>
                  <a:pt x="9358" y="9151"/>
                  <a:pt x="9515" y="9245"/>
                  <a:pt x="9641" y="9245"/>
                </a:cubicBezTo>
                <a:lnTo>
                  <a:pt x="10334" y="9245"/>
                </a:lnTo>
                <a:cubicBezTo>
                  <a:pt x="10523" y="9245"/>
                  <a:pt x="10681" y="9088"/>
                  <a:pt x="10681" y="8899"/>
                </a:cubicBezTo>
                <a:cubicBezTo>
                  <a:pt x="10681" y="8710"/>
                  <a:pt x="10523" y="8552"/>
                  <a:pt x="10334" y="8552"/>
                </a:cubicBezTo>
                <a:lnTo>
                  <a:pt x="9862" y="8552"/>
                </a:lnTo>
                <a:lnTo>
                  <a:pt x="9578" y="7827"/>
                </a:lnTo>
                <a:lnTo>
                  <a:pt x="9641" y="7827"/>
                </a:lnTo>
                <a:cubicBezTo>
                  <a:pt x="10208" y="7827"/>
                  <a:pt x="10744" y="7512"/>
                  <a:pt x="10964" y="7008"/>
                </a:cubicBezTo>
                <a:lnTo>
                  <a:pt x="11941" y="5055"/>
                </a:lnTo>
                <a:cubicBezTo>
                  <a:pt x="12067" y="4835"/>
                  <a:pt x="12098" y="4614"/>
                  <a:pt x="12098" y="4362"/>
                </a:cubicBezTo>
                <a:cubicBezTo>
                  <a:pt x="12193" y="4362"/>
                  <a:pt x="12193" y="4330"/>
                  <a:pt x="12193" y="4330"/>
                </a:cubicBezTo>
                <a:cubicBezTo>
                  <a:pt x="12130" y="3543"/>
                  <a:pt x="11468" y="2881"/>
                  <a:pt x="10681" y="2881"/>
                </a:cubicBezTo>
                <a:lnTo>
                  <a:pt x="10082" y="2881"/>
                </a:lnTo>
                <a:cubicBezTo>
                  <a:pt x="10240" y="2062"/>
                  <a:pt x="10996" y="1463"/>
                  <a:pt x="11815" y="1463"/>
                </a:cubicBezTo>
                <a:cubicBezTo>
                  <a:pt x="12035" y="1463"/>
                  <a:pt x="12193" y="1306"/>
                  <a:pt x="12193" y="1117"/>
                </a:cubicBezTo>
                <a:cubicBezTo>
                  <a:pt x="12193" y="896"/>
                  <a:pt x="12035" y="739"/>
                  <a:pt x="11815" y="739"/>
                </a:cubicBezTo>
                <a:cubicBezTo>
                  <a:pt x="10555" y="739"/>
                  <a:pt x="9547" y="1684"/>
                  <a:pt x="9358" y="2881"/>
                </a:cubicBezTo>
                <a:lnTo>
                  <a:pt x="5829" y="2881"/>
                </a:lnTo>
                <a:lnTo>
                  <a:pt x="4222" y="203"/>
                </a:lnTo>
                <a:lnTo>
                  <a:pt x="4222" y="172"/>
                </a:lnTo>
                <a:cubicBezTo>
                  <a:pt x="4150" y="57"/>
                  <a:pt x="4039" y="1"/>
                  <a:pt x="39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93" name="Google Shape;10693;p80"/>
          <p:cNvGrpSpPr/>
          <p:nvPr/>
        </p:nvGrpSpPr>
        <p:grpSpPr>
          <a:xfrm>
            <a:off x="2017527" y="2851506"/>
            <a:ext cx="479983" cy="472676"/>
            <a:chOff x="-20550425" y="2789350"/>
            <a:chExt cx="308750" cy="304050"/>
          </a:xfrm>
        </p:grpSpPr>
        <p:sp>
          <p:nvSpPr>
            <p:cNvPr id="10694" name="Google Shape;10694;p80"/>
            <p:cNvSpPr/>
            <p:nvPr/>
          </p:nvSpPr>
          <p:spPr>
            <a:xfrm>
              <a:off x="-20550425" y="2824800"/>
              <a:ext cx="308750" cy="268600"/>
            </a:xfrm>
            <a:custGeom>
              <a:avLst/>
              <a:gdLst/>
              <a:ahLst/>
              <a:cxnLst/>
              <a:rect l="l" t="t" r="r" b="b"/>
              <a:pathLst>
                <a:path w="12350" h="10744" extrusionOk="0">
                  <a:moveTo>
                    <a:pt x="2962" y="662"/>
                  </a:moveTo>
                  <a:cubicBezTo>
                    <a:pt x="3403" y="662"/>
                    <a:pt x="3718" y="1009"/>
                    <a:pt x="3686" y="1450"/>
                  </a:cubicBezTo>
                  <a:cubicBezTo>
                    <a:pt x="3529" y="1481"/>
                    <a:pt x="3403" y="1576"/>
                    <a:pt x="3277" y="1670"/>
                  </a:cubicBezTo>
                  <a:cubicBezTo>
                    <a:pt x="3119" y="1828"/>
                    <a:pt x="3119" y="2048"/>
                    <a:pt x="3277" y="2206"/>
                  </a:cubicBezTo>
                  <a:cubicBezTo>
                    <a:pt x="3355" y="2285"/>
                    <a:pt x="3442" y="2324"/>
                    <a:pt x="3529" y="2324"/>
                  </a:cubicBezTo>
                  <a:cubicBezTo>
                    <a:pt x="3615" y="2324"/>
                    <a:pt x="3702" y="2285"/>
                    <a:pt x="3781" y="2206"/>
                  </a:cubicBezTo>
                  <a:cubicBezTo>
                    <a:pt x="3844" y="2174"/>
                    <a:pt x="3907" y="2111"/>
                    <a:pt x="3938" y="2111"/>
                  </a:cubicBezTo>
                  <a:lnTo>
                    <a:pt x="4064" y="2111"/>
                  </a:lnTo>
                  <a:cubicBezTo>
                    <a:pt x="4190" y="2111"/>
                    <a:pt x="4316" y="2237"/>
                    <a:pt x="4379" y="2363"/>
                  </a:cubicBezTo>
                  <a:cubicBezTo>
                    <a:pt x="4474" y="2584"/>
                    <a:pt x="4316" y="2836"/>
                    <a:pt x="4064" y="2836"/>
                  </a:cubicBezTo>
                  <a:lnTo>
                    <a:pt x="1953" y="2836"/>
                  </a:lnTo>
                  <a:cubicBezTo>
                    <a:pt x="1544" y="2836"/>
                    <a:pt x="1386" y="2489"/>
                    <a:pt x="1607" y="2237"/>
                  </a:cubicBezTo>
                  <a:cubicBezTo>
                    <a:pt x="1701" y="2174"/>
                    <a:pt x="1764" y="2111"/>
                    <a:pt x="1859" y="2111"/>
                  </a:cubicBezTo>
                  <a:lnTo>
                    <a:pt x="1985" y="2111"/>
                  </a:lnTo>
                  <a:cubicBezTo>
                    <a:pt x="2048" y="2111"/>
                    <a:pt x="2111" y="2174"/>
                    <a:pt x="2142" y="2206"/>
                  </a:cubicBezTo>
                  <a:cubicBezTo>
                    <a:pt x="2221" y="2285"/>
                    <a:pt x="2308" y="2324"/>
                    <a:pt x="2394" y="2324"/>
                  </a:cubicBezTo>
                  <a:cubicBezTo>
                    <a:pt x="2481" y="2324"/>
                    <a:pt x="2568" y="2285"/>
                    <a:pt x="2646" y="2206"/>
                  </a:cubicBezTo>
                  <a:cubicBezTo>
                    <a:pt x="2804" y="2048"/>
                    <a:pt x="2804" y="1828"/>
                    <a:pt x="2646" y="1670"/>
                  </a:cubicBezTo>
                  <a:cubicBezTo>
                    <a:pt x="2520" y="1576"/>
                    <a:pt x="2426" y="1481"/>
                    <a:pt x="2268" y="1450"/>
                  </a:cubicBezTo>
                  <a:lnTo>
                    <a:pt x="2268" y="1387"/>
                  </a:lnTo>
                  <a:cubicBezTo>
                    <a:pt x="2268" y="977"/>
                    <a:pt x="2583" y="662"/>
                    <a:pt x="2962" y="662"/>
                  </a:cubicBezTo>
                  <a:close/>
                  <a:moveTo>
                    <a:pt x="5009" y="2899"/>
                  </a:moveTo>
                  <a:cubicBezTo>
                    <a:pt x="5198" y="2994"/>
                    <a:pt x="5324" y="3120"/>
                    <a:pt x="5387" y="3309"/>
                  </a:cubicBezTo>
                  <a:lnTo>
                    <a:pt x="6553" y="5860"/>
                  </a:lnTo>
                  <a:lnTo>
                    <a:pt x="6112" y="6302"/>
                  </a:lnTo>
                  <a:lnTo>
                    <a:pt x="4915" y="5104"/>
                  </a:lnTo>
                  <a:cubicBezTo>
                    <a:pt x="4836" y="5026"/>
                    <a:pt x="4749" y="4986"/>
                    <a:pt x="4663" y="4986"/>
                  </a:cubicBezTo>
                  <a:cubicBezTo>
                    <a:pt x="4576" y="4986"/>
                    <a:pt x="4490" y="5026"/>
                    <a:pt x="4411" y="5104"/>
                  </a:cubicBezTo>
                  <a:lnTo>
                    <a:pt x="3245" y="6302"/>
                  </a:lnTo>
                  <a:lnTo>
                    <a:pt x="2804" y="5860"/>
                  </a:lnTo>
                  <a:lnTo>
                    <a:pt x="3812" y="3592"/>
                  </a:lnTo>
                  <a:cubicBezTo>
                    <a:pt x="4033" y="3592"/>
                    <a:pt x="4411" y="3592"/>
                    <a:pt x="4757" y="3277"/>
                  </a:cubicBezTo>
                  <a:cubicBezTo>
                    <a:pt x="4883" y="3151"/>
                    <a:pt x="4978" y="3025"/>
                    <a:pt x="5009" y="2899"/>
                  </a:cubicBezTo>
                  <a:close/>
                  <a:moveTo>
                    <a:pt x="4694" y="5829"/>
                  </a:moveTo>
                  <a:lnTo>
                    <a:pt x="5860" y="6995"/>
                  </a:lnTo>
                  <a:cubicBezTo>
                    <a:pt x="5955" y="7073"/>
                    <a:pt x="6049" y="7113"/>
                    <a:pt x="6140" y="7113"/>
                  </a:cubicBezTo>
                  <a:cubicBezTo>
                    <a:pt x="6230" y="7113"/>
                    <a:pt x="6317" y="7073"/>
                    <a:pt x="6396" y="6995"/>
                  </a:cubicBezTo>
                  <a:lnTo>
                    <a:pt x="6868" y="6522"/>
                  </a:lnTo>
                  <a:lnTo>
                    <a:pt x="8443" y="9988"/>
                  </a:lnTo>
                  <a:lnTo>
                    <a:pt x="945" y="9988"/>
                  </a:lnTo>
                  <a:lnTo>
                    <a:pt x="2520" y="6522"/>
                  </a:lnTo>
                  <a:lnTo>
                    <a:pt x="2993" y="6995"/>
                  </a:lnTo>
                  <a:cubicBezTo>
                    <a:pt x="3072" y="7073"/>
                    <a:pt x="3158" y="7113"/>
                    <a:pt x="3245" y="7113"/>
                  </a:cubicBezTo>
                  <a:cubicBezTo>
                    <a:pt x="3332" y="7113"/>
                    <a:pt x="3418" y="7073"/>
                    <a:pt x="3497" y="6995"/>
                  </a:cubicBezTo>
                  <a:lnTo>
                    <a:pt x="4694" y="5829"/>
                  </a:lnTo>
                  <a:close/>
                  <a:moveTo>
                    <a:pt x="8270" y="4986"/>
                  </a:moveTo>
                  <a:cubicBezTo>
                    <a:pt x="8554" y="4986"/>
                    <a:pt x="8837" y="5120"/>
                    <a:pt x="8979" y="5388"/>
                  </a:cubicBezTo>
                  <a:lnTo>
                    <a:pt x="11310" y="9988"/>
                  </a:lnTo>
                  <a:lnTo>
                    <a:pt x="9231" y="9988"/>
                  </a:lnTo>
                  <a:lnTo>
                    <a:pt x="7341" y="5860"/>
                  </a:lnTo>
                  <a:lnTo>
                    <a:pt x="7561" y="5388"/>
                  </a:lnTo>
                  <a:cubicBezTo>
                    <a:pt x="7703" y="5120"/>
                    <a:pt x="7987" y="4986"/>
                    <a:pt x="8270" y="4986"/>
                  </a:cubicBezTo>
                  <a:close/>
                  <a:moveTo>
                    <a:pt x="2962" y="1"/>
                  </a:moveTo>
                  <a:cubicBezTo>
                    <a:pt x="2174" y="1"/>
                    <a:pt x="1512" y="662"/>
                    <a:pt x="1544" y="1481"/>
                  </a:cubicBezTo>
                  <a:cubicBezTo>
                    <a:pt x="1166" y="1639"/>
                    <a:pt x="851" y="2048"/>
                    <a:pt x="851" y="2521"/>
                  </a:cubicBezTo>
                  <a:cubicBezTo>
                    <a:pt x="851" y="3120"/>
                    <a:pt x="1323" y="3592"/>
                    <a:pt x="1890" y="3592"/>
                  </a:cubicBezTo>
                  <a:lnTo>
                    <a:pt x="3151" y="3592"/>
                  </a:lnTo>
                  <a:lnTo>
                    <a:pt x="126" y="10240"/>
                  </a:lnTo>
                  <a:cubicBezTo>
                    <a:pt x="0" y="10460"/>
                    <a:pt x="189" y="10744"/>
                    <a:pt x="441" y="10744"/>
                  </a:cubicBezTo>
                  <a:lnTo>
                    <a:pt x="11909" y="10744"/>
                  </a:lnTo>
                  <a:cubicBezTo>
                    <a:pt x="12161" y="10744"/>
                    <a:pt x="12350" y="10460"/>
                    <a:pt x="12224" y="10240"/>
                  </a:cubicBezTo>
                  <a:lnTo>
                    <a:pt x="9609" y="5073"/>
                  </a:lnTo>
                  <a:cubicBezTo>
                    <a:pt x="9339" y="4533"/>
                    <a:pt x="8814" y="4265"/>
                    <a:pt x="8290" y="4265"/>
                  </a:cubicBezTo>
                  <a:cubicBezTo>
                    <a:pt x="7774" y="4265"/>
                    <a:pt x="7260" y="4525"/>
                    <a:pt x="6994" y="5041"/>
                  </a:cubicBezTo>
                  <a:lnTo>
                    <a:pt x="6081" y="2994"/>
                  </a:lnTo>
                  <a:cubicBezTo>
                    <a:pt x="5860" y="2552"/>
                    <a:pt x="5482" y="2237"/>
                    <a:pt x="5041" y="2174"/>
                  </a:cubicBezTo>
                  <a:cubicBezTo>
                    <a:pt x="5009" y="2017"/>
                    <a:pt x="4883" y="1859"/>
                    <a:pt x="4789" y="1733"/>
                  </a:cubicBezTo>
                  <a:cubicBezTo>
                    <a:pt x="4663" y="1607"/>
                    <a:pt x="4537" y="1544"/>
                    <a:pt x="4379" y="1481"/>
                  </a:cubicBezTo>
                  <a:cubicBezTo>
                    <a:pt x="4411" y="662"/>
                    <a:pt x="3781" y="1"/>
                    <a:pt x="2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80"/>
            <p:cNvSpPr/>
            <p:nvPr/>
          </p:nvSpPr>
          <p:spPr>
            <a:xfrm>
              <a:off x="-20388175" y="2789350"/>
              <a:ext cx="144150" cy="106350"/>
            </a:xfrm>
            <a:custGeom>
              <a:avLst/>
              <a:gdLst/>
              <a:ahLst/>
              <a:cxnLst/>
              <a:rect l="l" t="t" r="r" b="b"/>
              <a:pathLst>
                <a:path w="5766" h="4254" extrusionOk="0">
                  <a:moveTo>
                    <a:pt x="3938" y="662"/>
                  </a:moveTo>
                  <a:cubicBezTo>
                    <a:pt x="4537" y="662"/>
                    <a:pt x="5009" y="1135"/>
                    <a:pt x="5009" y="1734"/>
                  </a:cubicBezTo>
                  <a:cubicBezTo>
                    <a:pt x="5009" y="2238"/>
                    <a:pt x="4694" y="2647"/>
                    <a:pt x="4222" y="2742"/>
                  </a:cubicBezTo>
                  <a:cubicBezTo>
                    <a:pt x="4190" y="2647"/>
                    <a:pt x="4096" y="2490"/>
                    <a:pt x="4001" y="2395"/>
                  </a:cubicBezTo>
                  <a:cubicBezTo>
                    <a:pt x="3875" y="2269"/>
                    <a:pt x="3749" y="2206"/>
                    <a:pt x="3592" y="2175"/>
                  </a:cubicBezTo>
                  <a:lnTo>
                    <a:pt x="3592" y="2080"/>
                  </a:lnTo>
                  <a:cubicBezTo>
                    <a:pt x="3592" y="1639"/>
                    <a:pt x="3403" y="1293"/>
                    <a:pt x="3119" y="1009"/>
                  </a:cubicBezTo>
                  <a:cubicBezTo>
                    <a:pt x="3371" y="820"/>
                    <a:pt x="3623" y="662"/>
                    <a:pt x="3938" y="662"/>
                  </a:cubicBezTo>
                  <a:close/>
                  <a:moveTo>
                    <a:pt x="2174" y="1387"/>
                  </a:moveTo>
                  <a:cubicBezTo>
                    <a:pt x="2584" y="1387"/>
                    <a:pt x="2899" y="1702"/>
                    <a:pt x="2899" y="2080"/>
                  </a:cubicBezTo>
                  <a:lnTo>
                    <a:pt x="2899" y="2175"/>
                  </a:lnTo>
                  <a:cubicBezTo>
                    <a:pt x="2741" y="2206"/>
                    <a:pt x="2615" y="2269"/>
                    <a:pt x="2489" y="2395"/>
                  </a:cubicBezTo>
                  <a:cubicBezTo>
                    <a:pt x="2331" y="2553"/>
                    <a:pt x="2331" y="2742"/>
                    <a:pt x="2489" y="2899"/>
                  </a:cubicBezTo>
                  <a:cubicBezTo>
                    <a:pt x="2568" y="2978"/>
                    <a:pt x="2662" y="3017"/>
                    <a:pt x="2757" y="3017"/>
                  </a:cubicBezTo>
                  <a:cubicBezTo>
                    <a:pt x="2851" y="3017"/>
                    <a:pt x="2946" y="2978"/>
                    <a:pt x="3025" y="2899"/>
                  </a:cubicBezTo>
                  <a:cubicBezTo>
                    <a:pt x="3056" y="2868"/>
                    <a:pt x="3119" y="2836"/>
                    <a:pt x="3182" y="2836"/>
                  </a:cubicBezTo>
                  <a:lnTo>
                    <a:pt x="3277" y="2836"/>
                  </a:lnTo>
                  <a:cubicBezTo>
                    <a:pt x="3371" y="2836"/>
                    <a:pt x="3434" y="2868"/>
                    <a:pt x="3529" y="2962"/>
                  </a:cubicBezTo>
                  <a:cubicBezTo>
                    <a:pt x="3749" y="3183"/>
                    <a:pt x="3592" y="3529"/>
                    <a:pt x="3277" y="3529"/>
                  </a:cubicBezTo>
                  <a:lnTo>
                    <a:pt x="1166" y="3529"/>
                  </a:lnTo>
                  <a:cubicBezTo>
                    <a:pt x="977" y="3529"/>
                    <a:pt x="756" y="3340"/>
                    <a:pt x="819" y="3151"/>
                  </a:cubicBezTo>
                  <a:lnTo>
                    <a:pt x="819" y="3120"/>
                  </a:lnTo>
                  <a:cubicBezTo>
                    <a:pt x="851" y="2962"/>
                    <a:pt x="977" y="2836"/>
                    <a:pt x="1134" y="2805"/>
                  </a:cubicBezTo>
                  <a:lnTo>
                    <a:pt x="1229" y="2805"/>
                  </a:lnTo>
                  <a:cubicBezTo>
                    <a:pt x="1323" y="2805"/>
                    <a:pt x="1355" y="2836"/>
                    <a:pt x="1386" y="2868"/>
                  </a:cubicBezTo>
                  <a:cubicBezTo>
                    <a:pt x="1465" y="2947"/>
                    <a:pt x="1560" y="2986"/>
                    <a:pt x="1654" y="2986"/>
                  </a:cubicBezTo>
                  <a:cubicBezTo>
                    <a:pt x="1749" y="2986"/>
                    <a:pt x="1843" y="2947"/>
                    <a:pt x="1922" y="2868"/>
                  </a:cubicBezTo>
                  <a:cubicBezTo>
                    <a:pt x="2079" y="2710"/>
                    <a:pt x="2079" y="2521"/>
                    <a:pt x="1922" y="2364"/>
                  </a:cubicBezTo>
                  <a:cubicBezTo>
                    <a:pt x="1796" y="2238"/>
                    <a:pt x="1670" y="2175"/>
                    <a:pt x="1512" y="2112"/>
                  </a:cubicBezTo>
                  <a:cubicBezTo>
                    <a:pt x="1418" y="1734"/>
                    <a:pt x="1733" y="1387"/>
                    <a:pt x="2174" y="1387"/>
                  </a:cubicBezTo>
                  <a:close/>
                  <a:moveTo>
                    <a:pt x="4001" y="1"/>
                  </a:moveTo>
                  <a:cubicBezTo>
                    <a:pt x="3403" y="1"/>
                    <a:pt x="2836" y="284"/>
                    <a:pt x="2520" y="757"/>
                  </a:cubicBezTo>
                  <a:cubicBezTo>
                    <a:pt x="2426" y="694"/>
                    <a:pt x="2331" y="694"/>
                    <a:pt x="2205" y="694"/>
                  </a:cubicBezTo>
                  <a:cubicBezTo>
                    <a:pt x="1386" y="694"/>
                    <a:pt x="756" y="1387"/>
                    <a:pt x="788" y="2206"/>
                  </a:cubicBezTo>
                  <a:cubicBezTo>
                    <a:pt x="378" y="2269"/>
                    <a:pt x="63" y="2679"/>
                    <a:pt x="63" y="3120"/>
                  </a:cubicBezTo>
                  <a:cubicBezTo>
                    <a:pt x="0" y="3687"/>
                    <a:pt x="473" y="4222"/>
                    <a:pt x="1071" y="4254"/>
                  </a:cubicBezTo>
                  <a:lnTo>
                    <a:pt x="3434" y="4254"/>
                  </a:lnTo>
                  <a:cubicBezTo>
                    <a:pt x="3844" y="4159"/>
                    <a:pt x="4159" y="3907"/>
                    <a:pt x="4253" y="3529"/>
                  </a:cubicBezTo>
                  <a:cubicBezTo>
                    <a:pt x="5104" y="3372"/>
                    <a:pt x="5766" y="2679"/>
                    <a:pt x="5766" y="1765"/>
                  </a:cubicBezTo>
                  <a:cubicBezTo>
                    <a:pt x="5766" y="788"/>
                    <a:pt x="4978" y="1"/>
                    <a:pt x="40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6" name="Google Shape;10696;p80"/>
          <p:cNvGrpSpPr/>
          <p:nvPr/>
        </p:nvGrpSpPr>
        <p:grpSpPr>
          <a:xfrm>
            <a:off x="4932894" y="1688158"/>
            <a:ext cx="473920" cy="474192"/>
            <a:chOff x="-18666450" y="2059825"/>
            <a:chExt cx="304850" cy="305025"/>
          </a:xfrm>
        </p:grpSpPr>
        <p:sp>
          <p:nvSpPr>
            <p:cNvPr id="10697" name="Google Shape;10697;p80"/>
            <p:cNvSpPr/>
            <p:nvPr/>
          </p:nvSpPr>
          <p:spPr>
            <a:xfrm>
              <a:off x="-18471100" y="2202575"/>
              <a:ext cx="18125" cy="70925"/>
            </a:xfrm>
            <a:custGeom>
              <a:avLst/>
              <a:gdLst/>
              <a:ahLst/>
              <a:cxnLst/>
              <a:rect l="l" t="t" r="r" b="b"/>
              <a:pathLst>
                <a:path w="725" h="2837" extrusionOk="0">
                  <a:moveTo>
                    <a:pt x="347" y="1"/>
                  </a:moveTo>
                  <a:cubicBezTo>
                    <a:pt x="158" y="1"/>
                    <a:pt x="0" y="158"/>
                    <a:pt x="0" y="347"/>
                  </a:cubicBezTo>
                  <a:lnTo>
                    <a:pt x="0" y="2490"/>
                  </a:lnTo>
                  <a:cubicBezTo>
                    <a:pt x="0" y="2679"/>
                    <a:pt x="158" y="2836"/>
                    <a:pt x="347" y="2836"/>
                  </a:cubicBezTo>
                  <a:cubicBezTo>
                    <a:pt x="567" y="2836"/>
                    <a:pt x="725" y="2679"/>
                    <a:pt x="725" y="2490"/>
                  </a:cubicBezTo>
                  <a:lnTo>
                    <a:pt x="725" y="347"/>
                  </a:lnTo>
                  <a:cubicBezTo>
                    <a:pt x="725" y="190"/>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80"/>
            <p:cNvSpPr/>
            <p:nvPr/>
          </p:nvSpPr>
          <p:spPr>
            <a:xfrm>
              <a:off x="-18666450" y="2059825"/>
              <a:ext cx="304850" cy="305025"/>
            </a:xfrm>
            <a:custGeom>
              <a:avLst/>
              <a:gdLst/>
              <a:ahLst/>
              <a:cxnLst/>
              <a:rect l="l" t="t" r="r" b="b"/>
              <a:pathLst>
                <a:path w="12194" h="12201" extrusionOk="0">
                  <a:moveTo>
                    <a:pt x="8539" y="859"/>
                  </a:moveTo>
                  <a:cubicBezTo>
                    <a:pt x="8728" y="1017"/>
                    <a:pt x="8948" y="1300"/>
                    <a:pt x="9106" y="1647"/>
                  </a:cubicBezTo>
                  <a:cubicBezTo>
                    <a:pt x="8759" y="2088"/>
                    <a:pt x="8539" y="2623"/>
                    <a:pt x="8539" y="3253"/>
                  </a:cubicBezTo>
                  <a:lnTo>
                    <a:pt x="8539" y="3505"/>
                  </a:lnTo>
                  <a:cubicBezTo>
                    <a:pt x="8255" y="3222"/>
                    <a:pt x="7814" y="2749"/>
                    <a:pt x="7814" y="2214"/>
                  </a:cubicBezTo>
                  <a:cubicBezTo>
                    <a:pt x="7814" y="1615"/>
                    <a:pt x="8255" y="1111"/>
                    <a:pt x="8539" y="859"/>
                  </a:cubicBezTo>
                  <a:close/>
                  <a:moveTo>
                    <a:pt x="2080" y="2151"/>
                  </a:moveTo>
                  <a:lnTo>
                    <a:pt x="2080" y="2529"/>
                  </a:lnTo>
                  <a:cubicBezTo>
                    <a:pt x="2080" y="3096"/>
                    <a:pt x="1608" y="3568"/>
                    <a:pt x="1009" y="3568"/>
                  </a:cubicBezTo>
                  <a:lnTo>
                    <a:pt x="663" y="3568"/>
                  </a:lnTo>
                  <a:lnTo>
                    <a:pt x="663" y="3222"/>
                  </a:lnTo>
                  <a:cubicBezTo>
                    <a:pt x="663" y="2623"/>
                    <a:pt x="1135" y="2151"/>
                    <a:pt x="1702" y="2151"/>
                  </a:cubicBezTo>
                  <a:close/>
                  <a:moveTo>
                    <a:pt x="11374" y="1458"/>
                  </a:moveTo>
                  <a:lnTo>
                    <a:pt x="11374" y="1804"/>
                  </a:lnTo>
                  <a:cubicBezTo>
                    <a:pt x="11374" y="2749"/>
                    <a:pt x="10650" y="3505"/>
                    <a:pt x="9736" y="3568"/>
                  </a:cubicBezTo>
                  <a:lnTo>
                    <a:pt x="10587" y="2749"/>
                  </a:lnTo>
                  <a:cubicBezTo>
                    <a:pt x="10744" y="2592"/>
                    <a:pt x="10744" y="2403"/>
                    <a:pt x="10587" y="2245"/>
                  </a:cubicBezTo>
                  <a:cubicBezTo>
                    <a:pt x="10508" y="2166"/>
                    <a:pt x="10413" y="2127"/>
                    <a:pt x="10319" y="2127"/>
                  </a:cubicBezTo>
                  <a:cubicBezTo>
                    <a:pt x="10224" y="2127"/>
                    <a:pt x="10130" y="2166"/>
                    <a:pt x="10051" y="2245"/>
                  </a:cubicBezTo>
                  <a:lnTo>
                    <a:pt x="9232" y="3064"/>
                  </a:lnTo>
                  <a:cubicBezTo>
                    <a:pt x="9326" y="2151"/>
                    <a:pt x="10051" y="1458"/>
                    <a:pt x="11028" y="1458"/>
                  </a:cubicBezTo>
                  <a:close/>
                  <a:moveTo>
                    <a:pt x="663" y="4356"/>
                  </a:moveTo>
                  <a:cubicBezTo>
                    <a:pt x="1072" y="4514"/>
                    <a:pt x="1356" y="4923"/>
                    <a:pt x="1356" y="5396"/>
                  </a:cubicBezTo>
                  <a:lnTo>
                    <a:pt x="1356" y="6089"/>
                  </a:lnTo>
                  <a:cubicBezTo>
                    <a:pt x="1356" y="7097"/>
                    <a:pt x="2143" y="7885"/>
                    <a:pt x="3120" y="7885"/>
                  </a:cubicBezTo>
                  <a:lnTo>
                    <a:pt x="4191" y="7885"/>
                  </a:lnTo>
                  <a:cubicBezTo>
                    <a:pt x="4601" y="7885"/>
                    <a:pt x="4916" y="8200"/>
                    <a:pt x="4916" y="8578"/>
                  </a:cubicBezTo>
                  <a:cubicBezTo>
                    <a:pt x="4916" y="8987"/>
                    <a:pt x="4601" y="9302"/>
                    <a:pt x="4191" y="9302"/>
                  </a:cubicBezTo>
                  <a:lnTo>
                    <a:pt x="3845" y="9302"/>
                  </a:lnTo>
                  <a:cubicBezTo>
                    <a:pt x="2080" y="9302"/>
                    <a:pt x="663" y="7822"/>
                    <a:pt x="663" y="6089"/>
                  </a:cubicBezTo>
                  <a:lnTo>
                    <a:pt x="663" y="4356"/>
                  </a:lnTo>
                  <a:close/>
                  <a:moveTo>
                    <a:pt x="9169" y="4293"/>
                  </a:moveTo>
                  <a:lnTo>
                    <a:pt x="9169" y="6057"/>
                  </a:lnTo>
                  <a:cubicBezTo>
                    <a:pt x="9169" y="6273"/>
                    <a:pt x="9334" y="6416"/>
                    <a:pt x="9510" y="6416"/>
                  </a:cubicBezTo>
                  <a:cubicBezTo>
                    <a:pt x="9564" y="6416"/>
                    <a:pt x="9620" y="6402"/>
                    <a:pt x="9673" y="6372"/>
                  </a:cubicBezTo>
                  <a:lnTo>
                    <a:pt x="10587" y="5900"/>
                  </a:lnTo>
                  <a:lnTo>
                    <a:pt x="10587" y="6656"/>
                  </a:lnTo>
                  <a:lnTo>
                    <a:pt x="10650" y="6656"/>
                  </a:lnTo>
                  <a:lnTo>
                    <a:pt x="9358" y="7948"/>
                  </a:lnTo>
                  <a:cubicBezTo>
                    <a:pt x="9263" y="8042"/>
                    <a:pt x="9232" y="8137"/>
                    <a:pt x="9232" y="8231"/>
                  </a:cubicBezTo>
                  <a:cubicBezTo>
                    <a:pt x="9358" y="9460"/>
                    <a:pt x="9862" y="10626"/>
                    <a:pt x="10744" y="11445"/>
                  </a:cubicBezTo>
                  <a:lnTo>
                    <a:pt x="7783" y="11445"/>
                  </a:lnTo>
                  <a:lnTo>
                    <a:pt x="7783" y="9649"/>
                  </a:lnTo>
                  <a:cubicBezTo>
                    <a:pt x="7783" y="9460"/>
                    <a:pt x="7625" y="9302"/>
                    <a:pt x="7436" y="9302"/>
                  </a:cubicBezTo>
                  <a:cubicBezTo>
                    <a:pt x="7216" y="9302"/>
                    <a:pt x="7058" y="9460"/>
                    <a:pt x="7058" y="9649"/>
                  </a:cubicBezTo>
                  <a:lnTo>
                    <a:pt x="7058" y="11445"/>
                  </a:lnTo>
                  <a:lnTo>
                    <a:pt x="4853" y="11445"/>
                  </a:lnTo>
                  <a:lnTo>
                    <a:pt x="4853" y="11098"/>
                  </a:lnTo>
                  <a:cubicBezTo>
                    <a:pt x="4853" y="10909"/>
                    <a:pt x="4695" y="10752"/>
                    <a:pt x="4506" y="10752"/>
                  </a:cubicBezTo>
                  <a:cubicBezTo>
                    <a:pt x="4317" y="10752"/>
                    <a:pt x="4160" y="10909"/>
                    <a:pt x="4160" y="11098"/>
                  </a:cubicBezTo>
                  <a:lnTo>
                    <a:pt x="4160" y="11445"/>
                  </a:lnTo>
                  <a:lnTo>
                    <a:pt x="1923" y="11445"/>
                  </a:lnTo>
                  <a:cubicBezTo>
                    <a:pt x="2332" y="11035"/>
                    <a:pt x="2710" y="10468"/>
                    <a:pt x="2962" y="9869"/>
                  </a:cubicBezTo>
                  <a:cubicBezTo>
                    <a:pt x="3246" y="9901"/>
                    <a:pt x="3530" y="9964"/>
                    <a:pt x="3813" y="9964"/>
                  </a:cubicBezTo>
                  <a:lnTo>
                    <a:pt x="4160" y="9964"/>
                  </a:lnTo>
                  <a:cubicBezTo>
                    <a:pt x="4947" y="9964"/>
                    <a:pt x="5577" y="9334"/>
                    <a:pt x="5577" y="8546"/>
                  </a:cubicBezTo>
                  <a:cubicBezTo>
                    <a:pt x="5577" y="7759"/>
                    <a:pt x="4947" y="7128"/>
                    <a:pt x="4160" y="7128"/>
                  </a:cubicBezTo>
                  <a:lnTo>
                    <a:pt x="3435" y="7128"/>
                  </a:lnTo>
                  <a:lnTo>
                    <a:pt x="3435" y="4293"/>
                  </a:lnTo>
                  <a:lnTo>
                    <a:pt x="4160" y="4293"/>
                  </a:lnTo>
                  <a:lnTo>
                    <a:pt x="4160" y="5364"/>
                  </a:lnTo>
                  <a:cubicBezTo>
                    <a:pt x="4160" y="5553"/>
                    <a:pt x="4317" y="5711"/>
                    <a:pt x="4506" y="5711"/>
                  </a:cubicBezTo>
                  <a:cubicBezTo>
                    <a:pt x="4695" y="5711"/>
                    <a:pt x="4853" y="5553"/>
                    <a:pt x="4853" y="5364"/>
                  </a:cubicBezTo>
                  <a:lnTo>
                    <a:pt x="4853" y="4293"/>
                  </a:lnTo>
                  <a:lnTo>
                    <a:pt x="6333" y="4293"/>
                  </a:lnTo>
                  <a:lnTo>
                    <a:pt x="6333" y="6782"/>
                  </a:lnTo>
                  <a:cubicBezTo>
                    <a:pt x="6333" y="6971"/>
                    <a:pt x="6491" y="7128"/>
                    <a:pt x="6680" y="7128"/>
                  </a:cubicBezTo>
                  <a:cubicBezTo>
                    <a:pt x="6869" y="7128"/>
                    <a:pt x="7027" y="6971"/>
                    <a:pt x="7027" y="6782"/>
                  </a:cubicBezTo>
                  <a:lnTo>
                    <a:pt x="7027" y="4293"/>
                  </a:lnTo>
                  <a:close/>
                  <a:moveTo>
                    <a:pt x="8539" y="1"/>
                  </a:moveTo>
                  <a:cubicBezTo>
                    <a:pt x="8460" y="1"/>
                    <a:pt x="8381" y="24"/>
                    <a:pt x="8318" y="71"/>
                  </a:cubicBezTo>
                  <a:cubicBezTo>
                    <a:pt x="8287" y="103"/>
                    <a:pt x="7121" y="985"/>
                    <a:pt x="7121" y="2151"/>
                  </a:cubicBezTo>
                  <a:cubicBezTo>
                    <a:pt x="7121" y="2718"/>
                    <a:pt x="7373" y="3222"/>
                    <a:pt x="7657" y="3568"/>
                  </a:cubicBezTo>
                  <a:lnTo>
                    <a:pt x="3151" y="3568"/>
                  </a:lnTo>
                  <a:cubicBezTo>
                    <a:pt x="2931" y="3568"/>
                    <a:pt x="2773" y="3726"/>
                    <a:pt x="2773" y="3946"/>
                  </a:cubicBezTo>
                  <a:lnTo>
                    <a:pt x="2773" y="7097"/>
                  </a:lnTo>
                  <a:cubicBezTo>
                    <a:pt x="2364" y="6939"/>
                    <a:pt x="2080" y="6530"/>
                    <a:pt x="2080" y="6057"/>
                  </a:cubicBezTo>
                  <a:lnTo>
                    <a:pt x="2080" y="5364"/>
                  </a:lnTo>
                  <a:cubicBezTo>
                    <a:pt x="2080" y="4892"/>
                    <a:pt x="1923" y="4482"/>
                    <a:pt x="1639" y="4167"/>
                  </a:cubicBezTo>
                  <a:cubicBezTo>
                    <a:pt x="2301" y="3946"/>
                    <a:pt x="2836" y="3253"/>
                    <a:pt x="2836" y="2529"/>
                  </a:cubicBezTo>
                  <a:lnTo>
                    <a:pt x="2836" y="1804"/>
                  </a:lnTo>
                  <a:cubicBezTo>
                    <a:pt x="2836" y="1615"/>
                    <a:pt x="2647" y="1458"/>
                    <a:pt x="2458" y="1458"/>
                  </a:cubicBezTo>
                  <a:lnTo>
                    <a:pt x="1765" y="1458"/>
                  </a:lnTo>
                  <a:cubicBezTo>
                    <a:pt x="789" y="1458"/>
                    <a:pt x="1" y="2245"/>
                    <a:pt x="1" y="3222"/>
                  </a:cubicBezTo>
                  <a:lnTo>
                    <a:pt x="1" y="3946"/>
                  </a:lnTo>
                  <a:lnTo>
                    <a:pt x="1" y="6057"/>
                  </a:lnTo>
                  <a:cubicBezTo>
                    <a:pt x="1" y="7664"/>
                    <a:pt x="978" y="9082"/>
                    <a:pt x="2395" y="9680"/>
                  </a:cubicBezTo>
                  <a:cubicBezTo>
                    <a:pt x="2017" y="10436"/>
                    <a:pt x="1482" y="11067"/>
                    <a:pt x="852" y="11539"/>
                  </a:cubicBezTo>
                  <a:cubicBezTo>
                    <a:pt x="568" y="11728"/>
                    <a:pt x="694" y="12201"/>
                    <a:pt x="1041" y="12201"/>
                  </a:cubicBezTo>
                  <a:lnTo>
                    <a:pt x="11784" y="12201"/>
                  </a:lnTo>
                  <a:cubicBezTo>
                    <a:pt x="11941" y="12201"/>
                    <a:pt x="12099" y="12075"/>
                    <a:pt x="12162" y="11949"/>
                  </a:cubicBezTo>
                  <a:cubicBezTo>
                    <a:pt x="12193" y="11791"/>
                    <a:pt x="12162" y="11634"/>
                    <a:pt x="12004" y="11571"/>
                  </a:cubicBezTo>
                  <a:cubicBezTo>
                    <a:pt x="10933" y="10846"/>
                    <a:pt x="10209" y="9680"/>
                    <a:pt x="10051" y="8389"/>
                  </a:cubicBezTo>
                  <a:lnTo>
                    <a:pt x="11374" y="7065"/>
                  </a:lnTo>
                  <a:cubicBezTo>
                    <a:pt x="11437" y="7002"/>
                    <a:pt x="11469" y="6908"/>
                    <a:pt x="11469" y="6845"/>
                  </a:cubicBezTo>
                  <a:lnTo>
                    <a:pt x="11469" y="5427"/>
                  </a:lnTo>
                  <a:cubicBezTo>
                    <a:pt x="11469" y="5301"/>
                    <a:pt x="11406" y="5175"/>
                    <a:pt x="11311" y="5112"/>
                  </a:cubicBezTo>
                  <a:cubicBezTo>
                    <a:pt x="11264" y="5065"/>
                    <a:pt x="11209" y="5041"/>
                    <a:pt x="11150" y="5041"/>
                  </a:cubicBezTo>
                  <a:cubicBezTo>
                    <a:pt x="11091" y="5041"/>
                    <a:pt x="11028" y="5065"/>
                    <a:pt x="10965" y="5112"/>
                  </a:cubicBezTo>
                  <a:lnTo>
                    <a:pt x="10051" y="5585"/>
                  </a:lnTo>
                  <a:lnTo>
                    <a:pt x="10051" y="4356"/>
                  </a:lnTo>
                  <a:cubicBezTo>
                    <a:pt x="11154" y="4104"/>
                    <a:pt x="12099" y="3064"/>
                    <a:pt x="12099" y="1804"/>
                  </a:cubicBezTo>
                  <a:lnTo>
                    <a:pt x="12099" y="1111"/>
                  </a:lnTo>
                  <a:cubicBezTo>
                    <a:pt x="12099" y="891"/>
                    <a:pt x="11941" y="733"/>
                    <a:pt x="11752" y="733"/>
                  </a:cubicBezTo>
                  <a:lnTo>
                    <a:pt x="11059" y="733"/>
                  </a:lnTo>
                  <a:cubicBezTo>
                    <a:pt x="10524" y="733"/>
                    <a:pt x="10051" y="891"/>
                    <a:pt x="9673" y="1143"/>
                  </a:cubicBezTo>
                  <a:cubicBezTo>
                    <a:pt x="9326" y="512"/>
                    <a:pt x="8759" y="103"/>
                    <a:pt x="8759" y="71"/>
                  </a:cubicBezTo>
                  <a:cubicBezTo>
                    <a:pt x="8696" y="24"/>
                    <a:pt x="8618" y="1"/>
                    <a:pt x="85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9" name="Google Shape;10699;p80"/>
          <p:cNvGrpSpPr/>
          <p:nvPr/>
        </p:nvGrpSpPr>
        <p:grpSpPr>
          <a:xfrm>
            <a:off x="4932292" y="2275584"/>
            <a:ext cx="475125" cy="471432"/>
            <a:chOff x="-18668025" y="2435725"/>
            <a:chExt cx="305625" cy="303250"/>
          </a:xfrm>
        </p:grpSpPr>
        <p:sp>
          <p:nvSpPr>
            <p:cNvPr id="10700" name="Google Shape;10700;p80"/>
            <p:cNvSpPr/>
            <p:nvPr/>
          </p:nvSpPr>
          <p:spPr>
            <a:xfrm>
              <a:off x="-18668025" y="2435725"/>
              <a:ext cx="305625" cy="303250"/>
            </a:xfrm>
            <a:custGeom>
              <a:avLst/>
              <a:gdLst/>
              <a:ahLst/>
              <a:cxnLst/>
              <a:rect l="l" t="t" r="r" b="b"/>
              <a:pathLst>
                <a:path w="12225" h="12130" extrusionOk="0">
                  <a:moveTo>
                    <a:pt x="2143" y="662"/>
                  </a:moveTo>
                  <a:cubicBezTo>
                    <a:pt x="2395" y="662"/>
                    <a:pt x="2679" y="756"/>
                    <a:pt x="2931" y="914"/>
                  </a:cubicBezTo>
                  <a:cubicBezTo>
                    <a:pt x="2679" y="977"/>
                    <a:pt x="2490" y="1103"/>
                    <a:pt x="2301" y="1260"/>
                  </a:cubicBezTo>
                  <a:cubicBezTo>
                    <a:pt x="1734" y="1670"/>
                    <a:pt x="1419" y="2206"/>
                    <a:pt x="1419" y="2804"/>
                  </a:cubicBezTo>
                  <a:lnTo>
                    <a:pt x="1419" y="3308"/>
                  </a:lnTo>
                  <a:cubicBezTo>
                    <a:pt x="978" y="3088"/>
                    <a:pt x="726" y="2647"/>
                    <a:pt x="726" y="2079"/>
                  </a:cubicBezTo>
                  <a:cubicBezTo>
                    <a:pt x="726" y="1292"/>
                    <a:pt x="1356" y="662"/>
                    <a:pt x="2143" y="662"/>
                  </a:cubicBezTo>
                  <a:close/>
                  <a:moveTo>
                    <a:pt x="10020" y="662"/>
                  </a:moveTo>
                  <a:cubicBezTo>
                    <a:pt x="10807" y="662"/>
                    <a:pt x="11437" y="1292"/>
                    <a:pt x="11437" y="2079"/>
                  </a:cubicBezTo>
                  <a:cubicBezTo>
                    <a:pt x="11437" y="2647"/>
                    <a:pt x="11122" y="3119"/>
                    <a:pt x="10681" y="3340"/>
                  </a:cubicBezTo>
                  <a:lnTo>
                    <a:pt x="10681" y="2804"/>
                  </a:lnTo>
                  <a:cubicBezTo>
                    <a:pt x="10681" y="2206"/>
                    <a:pt x="10366" y="1638"/>
                    <a:pt x="9799" y="1260"/>
                  </a:cubicBezTo>
                  <a:cubicBezTo>
                    <a:pt x="9610" y="1134"/>
                    <a:pt x="9421" y="1008"/>
                    <a:pt x="9169" y="945"/>
                  </a:cubicBezTo>
                  <a:cubicBezTo>
                    <a:pt x="9452" y="756"/>
                    <a:pt x="9736" y="662"/>
                    <a:pt x="10020" y="662"/>
                  </a:cubicBezTo>
                  <a:close/>
                  <a:moveTo>
                    <a:pt x="7909" y="1355"/>
                  </a:moveTo>
                  <a:cubicBezTo>
                    <a:pt x="8476" y="1355"/>
                    <a:pt x="9011" y="1512"/>
                    <a:pt x="9484" y="1827"/>
                  </a:cubicBezTo>
                  <a:cubicBezTo>
                    <a:pt x="9893" y="2079"/>
                    <a:pt x="10083" y="2458"/>
                    <a:pt x="10083" y="2804"/>
                  </a:cubicBezTo>
                  <a:lnTo>
                    <a:pt x="10083" y="3434"/>
                  </a:lnTo>
                  <a:cubicBezTo>
                    <a:pt x="10083" y="5072"/>
                    <a:pt x="10587" y="6774"/>
                    <a:pt x="11500" y="8223"/>
                  </a:cubicBezTo>
                  <a:cubicBezTo>
                    <a:pt x="10555" y="10176"/>
                    <a:pt x="8633" y="11436"/>
                    <a:pt x="6491" y="11436"/>
                  </a:cubicBezTo>
                  <a:lnTo>
                    <a:pt x="5640" y="11436"/>
                  </a:lnTo>
                  <a:cubicBezTo>
                    <a:pt x="3561" y="11436"/>
                    <a:pt x="1576" y="10176"/>
                    <a:pt x="757" y="8223"/>
                  </a:cubicBezTo>
                  <a:cubicBezTo>
                    <a:pt x="1671" y="6805"/>
                    <a:pt x="2143" y="5135"/>
                    <a:pt x="2143" y="3434"/>
                  </a:cubicBezTo>
                  <a:lnTo>
                    <a:pt x="2143" y="2804"/>
                  </a:lnTo>
                  <a:cubicBezTo>
                    <a:pt x="2143" y="2458"/>
                    <a:pt x="2332" y="2079"/>
                    <a:pt x="2710" y="1827"/>
                  </a:cubicBezTo>
                  <a:cubicBezTo>
                    <a:pt x="3120" y="1544"/>
                    <a:pt x="3719" y="1355"/>
                    <a:pt x="4286" y="1355"/>
                  </a:cubicBezTo>
                  <a:cubicBezTo>
                    <a:pt x="4884" y="1355"/>
                    <a:pt x="5483" y="1512"/>
                    <a:pt x="5924" y="1827"/>
                  </a:cubicBezTo>
                  <a:cubicBezTo>
                    <a:pt x="5971" y="1859"/>
                    <a:pt x="6034" y="1875"/>
                    <a:pt x="6105" y="1875"/>
                  </a:cubicBezTo>
                  <a:cubicBezTo>
                    <a:pt x="6176" y="1875"/>
                    <a:pt x="6255" y="1859"/>
                    <a:pt x="6333" y="1827"/>
                  </a:cubicBezTo>
                  <a:cubicBezTo>
                    <a:pt x="6743" y="1512"/>
                    <a:pt x="7342" y="1355"/>
                    <a:pt x="7909" y="1355"/>
                  </a:cubicBezTo>
                  <a:close/>
                  <a:moveTo>
                    <a:pt x="2143" y="0"/>
                  </a:moveTo>
                  <a:cubicBezTo>
                    <a:pt x="946" y="0"/>
                    <a:pt x="1" y="945"/>
                    <a:pt x="1" y="2143"/>
                  </a:cubicBezTo>
                  <a:cubicBezTo>
                    <a:pt x="1" y="3025"/>
                    <a:pt x="568" y="3812"/>
                    <a:pt x="1419" y="4127"/>
                  </a:cubicBezTo>
                  <a:cubicBezTo>
                    <a:pt x="1293" y="5514"/>
                    <a:pt x="820" y="6900"/>
                    <a:pt x="95" y="8034"/>
                  </a:cubicBezTo>
                  <a:cubicBezTo>
                    <a:pt x="1" y="8128"/>
                    <a:pt x="1" y="8286"/>
                    <a:pt x="32" y="8349"/>
                  </a:cubicBezTo>
                  <a:cubicBezTo>
                    <a:pt x="474" y="9483"/>
                    <a:pt x="1261" y="10428"/>
                    <a:pt x="2301" y="11121"/>
                  </a:cubicBezTo>
                  <a:cubicBezTo>
                    <a:pt x="3309" y="11783"/>
                    <a:pt x="4443" y="12130"/>
                    <a:pt x="5672" y="12130"/>
                  </a:cubicBezTo>
                  <a:lnTo>
                    <a:pt x="6554" y="12130"/>
                  </a:lnTo>
                  <a:cubicBezTo>
                    <a:pt x="7751" y="12130"/>
                    <a:pt x="8948" y="11783"/>
                    <a:pt x="9925" y="11121"/>
                  </a:cubicBezTo>
                  <a:cubicBezTo>
                    <a:pt x="10965" y="10428"/>
                    <a:pt x="11689" y="9483"/>
                    <a:pt x="12162" y="8349"/>
                  </a:cubicBezTo>
                  <a:cubicBezTo>
                    <a:pt x="12225" y="8223"/>
                    <a:pt x="12225" y="8128"/>
                    <a:pt x="12130" y="8034"/>
                  </a:cubicBezTo>
                  <a:cubicBezTo>
                    <a:pt x="11311" y="6868"/>
                    <a:pt x="10839" y="5514"/>
                    <a:pt x="10713" y="4127"/>
                  </a:cubicBezTo>
                  <a:cubicBezTo>
                    <a:pt x="11532" y="3812"/>
                    <a:pt x="12130" y="3025"/>
                    <a:pt x="12130" y="2143"/>
                  </a:cubicBezTo>
                  <a:cubicBezTo>
                    <a:pt x="12130" y="945"/>
                    <a:pt x="11185" y="0"/>
                    <a:pt x="10020" y="0"/>
                  </a:cubicBezTo>
                  <a:cubicBezTo>
                    <a:pt x="9389" y="0"/>
                    <a:pt x="8791" y="284"/>
                    <a:pt x="8381" y="756"/>
                  </a:cubicBezTo>
                  <a:cubicBezTo>
                    <a:pt x="8224" y="725"/>
                    <a:pt x="8035" y="725"/>
                    <a:pt x="7846" y="725"/>
                  </a:cubicBezTo>
                  <a:cubicBezTo>
                    <a:pt x="7184" y="725"/>
                    <a:pt x="6554" y="882"/>
                    <a:pt x="6081" y="1197"/>
                  </a:cubicBezTo>
                  <a:cubicBezTo>
                    <a:pt x="5546" y="851"/>
                    <a:pt x="4916" y="725"/>
                    <a:pt x="4254" y="725"/>
                  </a:cubicBezTo>
                  <a:cubicBezTo>
                    <a:pt x="4097" y="725"/>
                    <a:pt x="3908" y="725"/>
                    <a:pt x="3750" y="756"/>
                  </a:cubicBezTo>
                  <a:cubicBezTo>
                    <a:pt x="3340" y="284"/>
                    <a:pt x="2773"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1" name="Google Shape;10701;p80"/>
            <p:cNvSpPr/>
            <p:nvPr/>
          </p:nvSpPr>
          <p:spPr>
            <a:xfrm>
              <a:off x="-18596350" y="2524725"/>
              <a:ext cx="160700" cy="178800"/>
            </a:xfrm>
            <a:custGeom>
              <a:avLst/>
              <a:gdLst/>
              <a:ahLst/>
              <a:cxnLst/>
              <a:rect l="l" t="t" r="r" b="b"/>
              <a:pathLst>
                <a:path w="6428" h="7152" extrusionOk="0">
                  <a:moveTo>
                    <a:pt x="1072" y="693"/>
                  </a:moveTo>
                  <a:cubicBezTo>
                    <a:pt x="1261" y="693"/>
                    <a:pt x="1419" y="851"/>
                    <a:pt x="1419" y="1040"/>
                  </a:cubicBezTo>
                  <a:cubicBezTo>
                    <a:pt x="1419" y="1260"/>
                    <a:pt x="1261" y="1418"/>
                    <a:pt x="1072" y="1418"/>
                  </a:cubicBezTo>
                  <a:cubicBezTo>
                    <a:pt x="883" y="1418"/>
                    <a:pt x="726" y="1260"/>
                    <a:pt x="726" y="1040"/>
                  </a:cubicBezTo>
                  <a:cubicBezTo>
                    <a:pt x="726" y="851"/>
                    <a:pt x="883" y="693"/>
                    <a:pt x="1072" y="693"/>
                  </a:cubicBezTo>
                  <a:close/>
                  <a:moveTo>
                    <a:pt x="5325" y="693"/>
                  </a:moveTo>
                  <a:cubicBezTo>
                    <a:pt x="5514" y="693"/>
                    <a:pt x="5672" y="851"/>
                    <a:pt x="5672" y="1040"/>
                  </a:cubicBezTo>
                  <a:cubicBezTo>
                    <a:pt x="5672" y="1260"/>
                    <a:pt x="5514" y="1418"/>
                    <a:pt x="5325" y="1418"/>
                  </a:cubicBezTo>
                  <a:cubicBezTo>
                    <a:pt x="5136" y="1418"/>
                    <a:pt x="4979" y="1260"/>
                    <a:pt x="4979" y="1040"/>
                  </a:cubicBezTo>
                  <a:cubicBezTo>
                    <a:pt x="4979" y="851"/>
                    <a:pt x="5136" y="693"/>
                    <a:pt x="5325" y="693"/>
                  </a:cubicBezTo>
                  <a:close/>
                  <a:moveTo>
                    <a:pt x="3214" y="3781"/>
                  </a:moveTo>
                  <a:cubicBezTo>
                    <a:pt x="3372" y="3781"/>
                    <a:pt x="3529" y="3875"/>
                    <a:pt x="3561" y="4001"/>
                  </a:cubicBezTo>
                  <a:lnTo>
                    <a:pt x="3214" y="4442"/>
                  </a:lnTo>
                  <a:lnTo>
                    <a:pt x="2836" y="4001"/>
                  </a:lnTo>
                  <a:cubicBezTo>
                    <a:pt x="2899" y="3844"/>
                    <a:pt x="3057" y="3781"/>
                    <a:pt x="3214" y="3781"/>
                  </a:cubicBezTo>
                  <a:close/>
                  <a:moveTo>
                    <a:pt x="3214" y="1449"/>
                  </a:moveTo>
                  <a:cubicBezTo>
                    <a:pt x="3876" y="1449"/>
                    <a:pt x="4475" y="1922"/>
                    <a:pt x="4632" y="2552"/>
                  </a:cubicBezTo>
                  <a:lnTo>
                    <a:pt x="5136" y="4631"/>
                  </a:lnTo>
                  <a:cubicBezTo>
                    <a:pt x="5357" y="5545"/>
                    <a:pt x="4664" y="6459"/>
                    <a:pt x="3718" y="6459"/>
                  </a:cubicBezTo>
                  <a:lnTo>
                    <a:pt x="3561" y="6459"/>
                  </a:lnTo>
                  <a:lnTo>
                    <a:pt x="3561" y="5136"/>
                  </a:lnTo>
                  <a:lnTo>
                    <a:pt x="4191" y="4348"/>
                  </a:lnTo>
                  <a:cubicBezTo>
                    <a:pt x="4223" y="4285"/>
                    <a:pt x="4254" y="4190"/>
                    <a:pt x="4254" y="4127"/>
                  </a:cubicBezTo>
                  <a:cubicBezTo>
                    <a:pt x="4254" y="3529"/>
                    <a:pt x="3781" y="3056"/>
                    <a:pt x="3214" y="3056"/>
                  </a:cubicBezTo>
                  <a:cubicBezTo>
                    <a:pt x="2616" y="3056"/>
                    <a:pt x="2143" y="3529"/>
                    <a:pt x="2143" y="4127"/>
                  </a:cubicBezTo>
                  <a:cubicBezTo>
                    <a:pt x="2143" y="4190"/>
                    <a:pt x="2175" y="4285"/>
                    <a:pt x="2206" y="4348"/>
                  </a:cubicBezTo>
                  <a:lnTo>
                    <a:pt x="2836" y="5136"/>
                  </a:lnTo>
                  <a:lnTo>
                    <a:pt x="2836" y="6459"/>
                  </a:lnTo>
                  <a:lnTo>
                    <a:pt x="2679" y="6459"/>
                  </a:lnTo>
                  <a:cubicBezTo>
                    <a:pt x="1734" y="6459"/>
                    <a:pt x="1041" y="5545"/>
                    <a:pt x="1261" y="4631"/>
                  </a:cubicBezTo>
                  <a:lnTo>
                    <a:pt x="1797" y="2552"/>
                  </a:lnTo>
                  <a:cubicBezTo>
                    <a:pt x="1954" y="1891"/>
                    <a:pt x="2521" y="1449"/>
                    <a:pt x="3214" y="1449"/>
                  </a:cubicBezTo>
                  <a:close/>
                  <a:moveTo>
                    <a:pt x="1072" y="0"/>
                  </a:moveTo>
                  <a:cubicBezTo>
                    <a:pt x="473" y="0"/>
                    <a:pt x="1" y="441"/>
                    <a:pt x="1" y="1040"/>
                  </a:cubicBezTo>
                  <a:cubicBezTo>
                    <a:pt x="1" y="1638"/>
                    <a:pt x="473" y="2111"/>
                    <a:pt x="1072" y="2111"/>
                  </a:cubicBezTo>
                  <a:lnTo>
                    <a:pt x="1167" y="2111"/>
                  </a:lnTo>
                  <a:cubicBezTo>
                    <a:pt x="1104" y="2174"/>
                    <a:pt x="1104" y="2269"/>
                    <a:pt x="1072" y="2332"/>
                  </a:cubicBezTo>
                  <a:lnTo>
                    <a:pt x="568" y="4442"/>
                  </a:lnTo>
                  <a:cubicBezTo>
                    <a:pt x="221" y="5797"/>
                    <a:pt x="1261" y="7152"/>
                    <a:pt x="2679" y="7152"/>
                  </a:cubicBezTo>
                  <a:lnTo>
                    <a:pt x="3718" y="7152"/>
                  </a:lnTo>
                  <a:cubicBezTo>
                    <a:pt x="5136" y="7152"/>
                    <a:pt x="6207" y="5797"/>
                    <a:pt x="5829" y="4442"/>
                  </a:cubicBezTo>
                  <a:lnTo>
                    <a:pt x="5325" y="2332"/>
                  </a:lnTo>
                  <a:cubicBezTo>
                    <a:pt x="5294" y="2269"/>
                    <a:pt x="5294" y="2174"/>
                    <a:pt x="5262" y="2111"/>
                  </a:cubicBezTo>
                  <a:lnTo>
                    <a:pt x="5325" y="2111"/>
                  </a:lnTo>
                  <a:cubicBezTo>
                    <a:pt x="5924" y="2111"/>
                    <a:pt x="6396" y="1638"/>
                    <a:pt x="6396" y="1040"/>
                  </a:cubicBezTo>
                  <a:cubicBezTo>
                    <a:pt x="6428" y="473"/>
                    <a:pt x="5924" y="0"/>
                    <a:pt x="5325" y="0"/>
                  </a:cubicBezTo>
                  <a:cubicBezTo>
                    <a:pt x="4790" y="0"/>
                    <a:pt x="4317" y="410"/>
                    <a:pt x="4254" y="977"/>
                  </a:cubicBezTo>
                  <a:cubicBezTo>
                    <a:pt x="3939" y="788"/>
                    <a:pt x="3592" y="693"/>
                    <a:pt x="3214" y="693"/>
                  </a:cubicBezTo>
                  <a:cubicBezTo>
                    <a:pt x="2805" y="693"/>
                    <a:pt x="2458" y="819"/>
                    <a:pt x="2143" y="977"/>
                  </a:cubicBezTo>
                  <a:cubicBezTo>
                    <a:pt x="2112" y="410"/>
                    <a:pt x="1639"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2" name="Google Shape;10702;p80"/>
          <p:cNvGrpSpPr/>
          <p:nvPr/>
        </p:nvGrpSpPr>
        <p:grpSpPr>
          <a:xfrm>
            <a:off x="4931689" y="2850902"/>
            <a:ext cx="476329" cy="473881"/>
            <a:chOff x="-18668800" y="2807475"/>
            <a:chExt cx="306400" cy="304825"/>
          </a:xfrm>
        </p:grpSpPr>
        <p:sp>
          <p:nvSpPr>
            <p:cNvPr id="10703" name="Google Shape;10703;p80"/>
            <p:cNvSpPr/>
            <p:nvPr/>
          </p:nvSpPr>
          <p:spPr>
            <a:xfrm>
              <a:off x="-18632575" y="2951600"/>
              <a:ext cx="18150" cy="35475"/>
            </a:xfrm>
            <a:custGeom>
              <a:avLst/>
              <a:gdLst/>
              <a:ahLst/>
              <a:cxnLst/>
              <a:rect l="l" t="t" r="r" b="b"/>
              <a:pathLst>
                <a:path w="726" h="1419" extrusionOk="0">
                  <a:moveTo>
                    <a:pt x="347" y="1"/>
                  </a:moveTo>
                  <a:cubicBezTo>
                    <a:pt x="158" y="1"/>
                    <a:pt x="1" y="158"/>
                    <a:pt x="1" y="347"/>
                  </a:cubicBezTo>
                  <a:lnTo>
                    <a:pt x="1" y="1072"/>
                  </a:lnTo>
                  <a:cubicBezTo>
                    <a:pt x="1" y="1261"/>
                    <a:pt x="158" y="1419"/>
                    <a:pt x="347" y="1419"/>
                  </a:cubicBezTo>
                  <a:cubicBezTo>
                    <a:pt x="568" y="1419"/>
                    <a:pt x="725" y="1261"/>
                    <a:pt x="725" y="1072"/>
                  </a:cubicBezTo>
                  <a:lnTo>
                    <a:pt x="725" y="347"/>
                  </a:ln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80"/>
            <p:cNvSpPr/>
            <p:nvPr/>
          </p:nvSpPr>
          <p:spPr>
            <a:xfrm>
              <a:off x="-18597125" y="2916175"/>
              <a:ext cx="18125" cy="35450"/>
            </a:xfrm>
            <a:custGeom>
              <a:avLst/>
              <a:gdLst/>
              <a:ahLst/>
              <a:cxnLst/>
              <a:rect l="l" t="t" r="r" b="b"/>
              <a:pathLst>
                <a:path w="725" h="1418" extrusionOk="0">
                  <a:moveTo>
                    <a:pt x="347" y="0"/>
                  </a:moveTo>
                  <a:cubicBezTo>
                    <a:pt x="158" y="0"/>
                    <a:pt x="0" y="158"/>
                    <a:pt x="0" y="347"/>
                  </a:cubicBezTo>
                  <a:lnTo>
                    <a:pt x="0" y="1071"/>
                  </a:lnTo>
                  <a:cubicBezTo>
                    <a:pt x="0" y="1260"/>
                    <a:pt x="158" y="1418"/>
                    <a:pt x="347" y="1418"/>
                  </a:cubicBezTo>
                  <a:cubicBezTo>
                    <a:pt x="567" y="1418"/>
                    <a:pt x="725" y="1260"/>
                    <a:pt x="725" y="1071"/>
                  </a:cubicBezTo>
                  <a:lnTo>
                    <a:pt x="725" y="347"/>
                  </a:ln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80"/>
            <p:cNvSpPr/>
            <p:nvPr/>
          </p:nvSpPr>
          <p:spPr>
            <a:xfrm>
              <a:off x="-18668800" y="2807475"/>
              <a:ext cx="306400" cy="304825"/>
            </a:xfrm>
            <a:custGeom>
              <a:avLst/>
              <a:gdLst/>
              <a:ahLst/>
              <a:cxnLst/>
              <a:rect l="l" t="t" r="r" b="b"/>
              <a:pathLst>
                <a:path w="12256" h="12193" extrusionOk="0">
                  <a:moveTo>
                    <a:pt x="3970" y="946"/>
                  </a:moveTo>
                  <a:cubicBezTo>
                    <a:pt x="4128" y="1198"/>
                    <a:pt x="4348" y="1513"/>
                    <a:pt x="4348" y="1859"/>
                  </a:cubicBezTo>
                  <a:lnTo>
                    <a:pt x="4348" y="2017"/>
                  </a:lnTo>
                  <a:cubicBezTo>
                    <a:pt x="4299" y="2260"/>
                    <a:pt x="4476" y="2447"/>
                    <a:pt x="4690" y="2447"/>
                  </a:cubicBezTo>
                  <a:cubicBezTo>
                    <a:pt x="4753" y="2447"/>
                    <a:pt x="4819" y="2431"/>
                    <a:pt x="4884" y="2395"/>
                  </a:cubicBezTo>
                  <a:cubicBezTo>
                    <a:pt x="5041" y="2269"/>
                    <a:pt x="5230" y="2237"/>
                    <a:pt x="5451" y="2237"/>
                  </a:cubicBezTo>
                  <a:lnTo>
                    <a:pt x="5766" y="2237"/>
                  </a:lnTo>
                  <a:cubicBezTo>
                    <a:pt x="5608" y="2647"/>
                    <a:pt x="5199" y="2930"/>
                    <a:pt x="4726" y="2930"/>
                  </a:cubicBezTo>
                  <a:lnTo>
                    <a:pt x="3214" y="2930"/>
                  </a:lnTo>
                  <a:cubicBezTo>
                    <a:pt x="2741" y="2930"/>
                    <a:pt x="2363" y="2615"/>
                    <a:pt x="2206" y="2237"/>
                  </a:cubicBezTo>
                  <a:lnTo>
                    <a:pt x="2521" y="2237"/>
                  </a:lnTo>
                  <a:cubicBezTo>
                    <a:pt x="2710" y="2237"/>
                    <a:pt x="2899" y="2269"/>
                    <a:pt x="3056" y="2395"/>
                  </a:cubicBezTo>
                  <a:cubicBezTo>
                    <a:pt x="3117" y="2428"/>
                    <a:pt x="3179" y="2443"/>
                    <a:pt x="3238" y="2443"/>
                  </a:cubicBezTo>
                  <a:cubicBezTo>
                    <a:pt x="3459" y="2443"/>
                    <a:pt x="3648" y="2240"/>
                    <a:pt x="3624" y="2017"/>
                  </a:cubicBezTo>
                  <a:lnTo>
                    <a:pt x="3624" y="1859"/>
                  </a:lnTo>
                  <a:cubicBezTo>
                    <a:pt x="3624" y="1513"/>
                    <a:pt x="3813" y="1198"/>
                    <a:pt x="3970" y="946"/>
                  </a:cubicBezTo>
                  <a:close/>
                  <a:moveTo>
                    <a:pt x="8853" y="3718"/>
                  </a:moveTo>
                  <a:lnTo>
                    <a:pt x="9042" y="3907"/>
                  </a:lnTo>
                  <a:cubicBezTo>
                    <a:pt x="9168" y="4033"/>
                    <a:pt x="9294" y="4222"/>
                    <a:pt x="9326" y="4443"/>
                  </a:cubicBezTo>
                  <a:cubicBezTo>
                    <a:pt x="9382" y="4591"/>
                    <a:pt x="9536" y="4685"/>
                    <a:pt x="9686" y="4685"/>
                  </a:cubicBezTo>
                  <a:cubicBezTo>
                    <a:pt x="9790" y="4685"/>
                    <a:pt x="9892" y="4640"/>
                    <a:pt x="9956" y="4537"/>
                  </a:cubicBezTo>
                  <a:cubicBezTo>
                    <a:pt x="9988" y="4506"/>
                    <a:pt x="10051" y="4474"/>
                    <a:pt x="10051" y="4443"/>
                  </a:cubicBezTo>
                  <a:cubicBezTo>
                    <a:pt x="10271" y="4191"/>
                    <a:pt x="10681" y="4065"/>
                    <a:pt x="10901" y="4033"/>
                  </a:cubicBezTo>
                  <a:lnTo>
                    <a:pt x="10901" y="4033"/>
                  </a:lnTo>
                  <a:cubicBezTo>
                    <a:pt x="10870" y="4317"/>
                    <a:pt x="10775" y="4663"/>
                    <a:pt x="10523" y="4915"/>
                  </a:cubicBezTo>
                  <a:cubicBezTo>
                    <a:pt x="10460" y="4947"/>
                    <a:pt x="10429" y="4947"/>
                    <a:pt x="10397" y="4978"/>
                  </a:cubicBezTo>
                  <a:cubicBezTo>
                    <a:pt x="10145" y="5167"/>
                    <a:pt x="10240" y="5545"/>
                    <a:pt x="10523" y="5608"/>
                  </a:cubicBezTo>
                  <a:cubicBezTo>
                    <a:pt x="10712" y="5640"/>
                    <a:pt x="10870" y="5766"/>
                    <a:pt x="11027" y="5892"/>
                  </a:cubicBezTo>
                  <a:lnTo>
                    <a:pt x="11216" y="6081"/>
                  </a:lnTo>
                  <a:cubicBezTo>
                    <a:pt x="11059" y="6144"/>
                    <a:pt x="10901" y="6207"/>
                    <a:pt x="10744" y="6207"/>
                  </a:cubicBezTo>
                  <a:cubicBezTo>
                    <a:pt x="10460" y="6207"/>
                    <a:pt x="10208" y="6081"/>
                    <a:pt x="9988" y="5892"/>
                  </a:cubicBezTo>
                  <a:lnTo>
                    <a:pt x="8979" y="4852"/>
                  </a:lnTo>
                  <a:cubicBezTo>
                    <a:pt x="8727" y="4632"/>
                    <a:pt x="8664" y="4159"/>
                    <a:pt x="8853" y="3718"/>
                  </a:cubicBezTo>
                  <a:close/>
                  <a:moveTo>
                    <a:pt x="3970" y="3687"/>
                  </a:moveTo>
                  <a:cubicBezTo>
                    <a:pt x="4852" y="3687"/>
                    <a:pt x="5514" y="3750"/>
                    <a:pt x="6018" y="3939"/>
                  </a:cubicBezTo>
                  <a:cubicBezTo>
                    <a:pt x="5640" y="4096"/>
                    <a:pt x="5199" y="4348"/>
                    <a:pt x="4852" y="4726"/>
                  </a:cubicBezTo>
                  <a:cubicBezTo>
                    <a:pt x="4033" y="5577"/>
                    <a:pt x="3340" y="6837"/>
                    <a:pt x="3025" y="8129"/>
                  </a:cubicBezTo>
                  <a:cubicBezTo>
                    <a:pt x="2804" y="9042"/>
                    <a:pt x="2804" y="9830"/>
                    <a:pt x="2993" y="10492"/>
                  </a:cubicBezTo>
                  <a:cubicBezTo>
                    <a:pt x="2426" y="10113"/>
                    <a:pt x="2017" y="9578"/>
                    <a:pt x="1639" y="8948"/>
                  </a:cubicBezTo>
                  <a:cubicBezTo>
                    <a:pt x="1103" y="7971"/>
                    <a:pt x="757" y="6742"/>
                    <a:pt x="757" y="5797"/>
                  </a:cubicBezTo>
                  <a:cubicBezTo>
                    <a:pt x="757" y="4222"/>
                    <a:pt x="1576" y="3687"/>
                    <a:pt x="3970" y="3687"/>
                  </a:cubicBezTo>
                  <a:close/>
                  <a:moveTo>
                    <a:pt x="6672" y="4532"/>
                  </a:moveTo>
                  <a:cubicBezTo>
                    <a:pt x="7416" y="4532"/>
                    <a:pt x="8169" y="5082"/>
                    <a:pt x="9042" y="5955"/>
                  </a:cubicBezTo>
                  <a:cubicBezTo>
                    <a:pt x="10555" y="7467"/>
                    <a:pt x="11059" y="8538"/>
                    <a:pt x="9798" y="9735"/>
                  </a:cubicBezTo>
                  <a:cubicBezTo>
                    <a:pt x="9105" y="10460"/>
                    <a:pt x="7908" y="11090"/>
                    <a:pt x="6774" y="11374"/>
                  </a:cubicBezTo>
                  <a:cubicBezTo>
                    <a:pt x="6350" y="11482"/>
                    <a:pt x="5952" y="11535"/>
                    <a:pt x="5591" y="11535"/>
                  </a:cubicBezTo>
                  <a:cubicBezTo>
                    <a:pt x="4905" y="11535"/>
                    <a:pt x="4352" y="11346"/>
                    <a:pt x="4002" y="10996"/>
                  </a:cubicBezTo>
                  <a:cubicBezTo>
                    <a:pt x="3466" y="10460"/>
                    <a:pt x="3340" y="9452"/>
                    <a:pt x="3655" y="8255"/>
                  </a:cubicBezTo>
                  <a:cubicBezTo>
                    <a:pt x="3939" y="7089"/>
                    <a:pt x="4569" y="5923"/>
                    <a:pt x="5262" y="5230"/>
                  </a:cubicBezTo>
                  <a:cubicBezTo>
                    <a:pt x="5746" y="4746"/>
                    <a:pt x="6207" y="4532"/>
                    <a:pt x="6672" y="4532"/>
                  </a:cubicBezTo>
                  <a:close/>
                  <a:moveTo>
                    <a:pt x="3935" y="0"/>
                  </a:moveTo>
                  <a:cubicBezTo>
                    <a:pt x="3844" y="0"/>
                    <a:pt x="3750" y="32"/>
                    <a:pt x="3687" y="95"/>
                  </a:cubicBezTo>
                  <a:cubicBezTo>
                    <a:pt x="3655" y="126"/>
                    <a:pt x="3025" y="694"/>
                    <a:pt x="2899" y="1481"/>
                  </a:cubicBezTo>
                  <a:cubicBezTo>
                    <a:pt x="2804" y="1418"/>
                    <a:pt x="2647" y="1418"/>
                    <a:pt x="2521" y="1418"/>
                  </a:cubicBezTo>
                  <a:lnTo>
                    <a:pt x="1796" y="1418"/>
                  </a:lnTo>
                  <a:cubicBezTo>
                    <a:pt x="1607" y="1418"/>
                    <a:pt x="1450" y="1576"/>
                    <a:pt x="1450" y="1796"/>
                  </a:cubicBezTo>
                  <a:cubicBezTo>
                    <a:pt x="1450" y="2300"/>
                    <a:pt x="1639" y="2741"/>
                    <a:pt x="1954" y="3056"/>
                  </a:cubicBezTo>
                  <a:cubicBezTo>
                    <a:pt x="694" y="3371"/>
                    <a:pt x="0" y="4222"/>
                    <a:pt x="0" y="5671"/>
                  </a:cubicBezTo>
                  <a:cubicBezTo>
                    <a:pt x="0" y="6774"/>
                    <a:pt x="378" y="8097"/>
                    <a:pt x="1009" y="9200"/>
                  </a:cubicBezTo>
                  <a:cubicBezTo>
                    <a:pt x="1702" y="10397"/>
                    <a:pt x="2552" y="11153"/>
                    <a:pt x="3466" y="11405"/>
                  </a:cubicBezTo>
                  <a:cubicBezTo>
                    <a:pt x="4002" y="11941"/>
                    <a:pt x="4758" y="12193"/>
                    <a:pt x="5545" y="12193"/>
                  </a:cubicBezTo>
                  <a:cubicBezTo>
                    <a:pt x="5986" y="12193"/>
                    <a:pt x="6427" y="12098"/>
                    <a:pt x="6932" y="11972"/>
                  </a:cubicBezTo>
                  <a:cubicBezTo>
                    <a:pt x="8192" y="11657"/>
                    <a:pt x="9483" y="10964"/>
                    <a:pt x="10303" y="10177"/>
                  </a:cubicBezTo>
                  <a:cubicBezTo>
                    <a:pt x="11374" y="9105"/>
                    <a:pt x="11468" y="8034"/>
                    <a:pt x="10838" y="6900"/>
                  </a:cubicBezTo>
                  <a:lnTo>
                    <a:pt x="10838" y="6900"/>
                  </a:lnTo>
                  <a:cubicBezTo>
                    <a:pt x="10921" y="6917"/>
                    <a:pt x="11002" y="6924"/>
                    <a:pt x="11081" y="6924"/>
                  </a:cubicBezTo>
                  <a:cubicBezTo>
                    <a:pt x="11453" y="6924"/>
                    <a:pt x="11787" y="6750"/>
                    <a:pt x="12098" y="6490"/>
                  </a:cubicBezTo>
                  <a:cubicBezTo>
                    <a:pt x="12256" y="6333"/>
                    <a:pt x="12256" y="6112"/>
                    <a:pt x="12098" y="5955"/>
                  </a:cubicBezTo>
                  <a:lnTo>
                    <a:pt x="11563" y="5451"/>
                  </a:lnTo>
                  <a:cubicBezTo>
                    <a:pt x="11500" y="5388"/>
                    <a:pt x="11374" y="5293"/>
                    <a:pt x="11248" y="5230"/>
                  </a:cubicBezTo>
                  <a:cubicBezTo>
                    <a:pt x="11689" y="4537"/>
                    <a:pt x="11657" y="3718"/>
                    <a:pt x="11657" y="3687"/>
                  </a:cubicBezTo>
                  <a:cubicBezTo>
                    <a:pt x="11657" y="3497"/>
                    <a:pt x="11500" y="3371"/>
                    <a:pt x="11311" y="3308"/>
                  </a:cubicBezTo>
                  <a:cubicBezTo>
                    <a:pt x="11303" y="3308"/>
                    <a:pt x="11283" y="3308"/>
                    <a:pt x="11252" y="3308"/>
                  </a:cubicBezTo>
                  <a:cubicBezTo>
                    <a:pt x="11038" y="3308"/>
                    <a:pt x="10318" y="3332"/>
                    <a:pt x="9767" y="3718"/>
                  </a:cubicBezTo>
                  <a:cubicBezTo>
                    <a:pt x="9672" y="3592"/>
                    <a:pt x="9609" y="3529"/>
                    <a:pt x="9515" y="3403"/>
                  </a:cubicBezTo>
                  <a:lnTo>
                    <a:pt x="9011" y="2899"/>
                  </a:lnTo>
                  <a:cubicBezTo>
                    <a:pt x="8932" y="2820"/>
                    <a:pt x="8845" y="2781"/>
                    <a:pt x="8759" y="2781"/>
                  </a:cubicBezTo>
                  <a:cubicBezTo>
                    <a:pt x="8672" y="2781"/>
                    <a:pt x="8586" y="2820"/>
                    <a:pt x="8507" y="2899"/>
                  </a:cubicBezTo>
                  <a:cubicBezTo>
                    <a:pt x="8160" y="3245"/>
                    <a:pt x="8003" y="3718"/>
                    <a:pt x="8003" y="4159"/>
                  </a:cubicBezTo>
                  <a:cubicBezTo>
                    <a:pt x="7751" y="4033"/>
                    <a:pt x="7530" y="3907"/>
                    <a:pt x="7278" y="3844"/>
                  </a:cubicBezTo>
                  <a:cubicBezTo>
                    <a:pt x="7247" y="3844"/>
                    <a:pt x="7215" y="3844"/>
                    <a:pt x="7215" y="3781"/>
                  </a:cubicBezTo>
                  <a:cubicBezTo>
                    <a:pt x="6900" y="3466"/>
                    <a:pt x="6459" y="3214"/>
                    <a:pt x="5860" y="3088"/>
                  </a:cubicBezTo>
                  <a:cubicBezTo>
                    <a:pt x="6207" y="2773"/>
                    <a:pt x="6427" y="2300"/>
                    <a:pt x="6427" y="1796"/>
                  </a:cubicBezTo>
                  <a:cubicBezTo>
                    <a:pt x="6427" y="1576"/>
                    <a:pt x="6270" y="1418"/>
                    <a:pt x="6049" y="1418"/>
                  </a:cubicBezTo>
                  <a:lnTo>
                    <a:pt x="5356" y="1418"/>
                  </a:lnTo>
                  <a:cubicBezTo>
                    <a:pt x="5230" y="1418"/>
                    <a:pt x="5073" y="1418"/>
                    <a:pt x="4947" y="1481"/>
                  </a:cubicBezTo>
                  <a:cubicBezTo>
                    <a:pt x="4789" y="694"/>
                    <a:pt x="4159" y="126"/>
                    <a:pt x="4159" y="95"/>
                  </a:cubicBezTo>
                  <a:cubicBezTo>
                    <a:pt x="4112" y="32"/>
                    <a:pt x="4025" y="0"/>
                    <a:pt x="39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80"/>
            <p:cNvSpPr/>
            <p:nvPr/>
          </p:nvSpPr>
          <p:spPr>
            <a:xfrm>
              <a:off x="-18496300" y="2977800"/>
              <a:ext cx="33100" cy="31925"/>
            </a:xfrm>
            <a:custGeom>
              <a:avLst/>
              <a:gdLst/>
              <a:ahLst/>
              <a:cxnLst/>
              <a:rect l="l" t="t" r="r" b="b"/>
              <a:pathLst>
                <a:path w="1324" h="1277" extrusionOk="0">
                  <a:moveTo>
                    <a:pt x="914" y="0"/>
                  </a:moveTo>
                  <a:cubicBezTo>
                    <a:pt x="827" y="0"/>
                    <a:pt x="740" y="40"/>
                    <a:pt x="662" y="119"/>
                  </a:cubicBezTo>
                  <a:lnTo>
                    <a:pt x="158" y="654"/>
                  </a:lnTo>
                  <a:cubicBezTo>
                    <a:pt x="0" y="812"/>
                    <a:pt x="0" y="1001"/>
                    <a:pt x="158" y="1158"/>
                  </a:cubicBezTo>
                  <a:cubicBezTo>
                    <a:pt x="205" y="1237"/>
                    <a:pt x="291" y="1276"/>
                    <a:pt x="386" y="1276"/>
                  </a:cubicBezTo>
                  <a:cubicBezTo>
                    <a:pt x="480" y="1276"/>
                    <a:pt x="583" y="1237"/>
                    <a:pt x="662" y="1158"/>
                  </a:cubicBezTo>
                  <a:lnTo>
                    <a:pt x="1166" y="654"/>
                  </a:lnTo>
                  <a:cubicBezTo>
                    <a:pt x="1323" y="497"/>
                    <a:pt x="1323" y="276"/>
                    <a:pt x="1166" y="119"/>
                  </a:cubicBezTo>
                  <a:cubicBezTo>
                    <a:pt x="1087" y="40"/>
                    <a:pt x="1000" y="0"/>
                    <a:pt x="9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80"/>
            <p:cNvSpPr/>
            <p:nvPr/>
          </p:nvSpPr>
          <p:spPr>
            <a:xfrm>
              <a:off x="-18559325" y="3042375"/>
              <a:ext cx="33100" cy="31150"/>
            </a:xfrm>
            <a:custGeom>
              <a:avLst/>
              <a:gdLst/>
              <a:ahLst/>
              <a:cxnLst/>
              <a:rect l="l" t="t" r="r" b="b"/>
              <a:pathLst>
                <a:path w="1324" h="1246" extrusionOk="0">
                  <a:moveTo>
                    <a:pt x="902" y="1"/>
                  </a:moveTo>
                  <a:cubicBezTo>
                    <a:pt x="812" y="1"/>
                    <a:pt x="725" y="40"/>
                    <a:pt x="662" y="119"/>
                  </a:cubicBezTo>
                  <a:lnTo>
                    <a:pt x="158" y="623"/>
                  </a:lnTo>
                  <a:cubicBezTo>
                    <a:pt x="1" y="781"/>
                    <a:pt x="1" y="970"/>
                    <a:pt x="158" y="1127"/>
                  </a:cubicBezTo>
                  <a:cubicBezTo>
                    <a:pt x="237" y="1206"/>
                    <a:pt x="324" y="1245"/>
                    <a:pt x="410" y="1245"/>
                  </a:cubicBezTo>
                  <a:cubicBezTo>
                    <a:pt x="497" y="1245"/>
                    <a:pt x="583" y="1206"/>
                    <a:pt x="662" y="1127"/>
                  </a:cubicBezTo>
                  <a:lnTo>
                    <a:pt x="1166" y="623"/>
                  </a:lnTo>
                  <a:cubicBezTo>
                    <a:pt x="1324" y="465"/>
                    <a:pt x="1324" y="276"/>
                    <a:pt x="1166" y="119"/>
                  </a:cubicBezTo>
                  <a:cubicBezTo>
                    <a:pt x="1088" y="40"/>
                    <a:pt x="993" y="1"/>
                    <a:pt x="9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8" name="Google Shape;10708;p80"/>
            <p:cNvSpPr/>
            <p:nvPr/>
          </p:nvSpPr>
          <p:spPr>
            <a:xfrm>
              <a:off x="-18559325" y="2991175"/>
              <a:ext cx="33100" cy="31150"/>
            </a:xfrm>
            <a:custGeom>
              <a:avLst/>
              <a:gdLst/>
              <a:ahLst/>
              <a:cxnLst/>
              <a:rect l="l" t="t" r="r" b="b"/>
              <a:pathLst>
                <a:path w="1324" h="1246" extrusionOk="0">
                  <a:moveTo>
                    <a:pt x="914" y="1"/>
                  </a:moveTo>
                  <a:cubicBezTo>
                    <a:pt x="828" y="1"/>
                    <a:pt x="741" y="40"/>
                    <a:pt x="662" y="119"/>
                  </a:cubicBezTo>
                  <a:lnTo>
                    <a:pt x="158" y="623"/>
                  </a:lnTo>
                  <a:cubicBezTo>
                    <a:pt x="1" y="781"/>
                    <a:pt x="1" y="970"/>
                    <a:pt x="158" y="1127"/>
                  </a:cubicBezTo>
                  <a:cubicBezTo>
                    <a:pt x="205" y="1206"/>
                    <a:pt x="292" y="1245"/>
                    <a:pt x="387" y="1245"/>
                  </a:cubicBezTo>
                  <a:cubicBezTo>
                    <a:pt x="481" y="1245"/>
                    <a:pt x="583" y="1206"/>
                    <a:pt x="662" y="1127"/>
                  </a:cubicBezTo>
                  <a:lnTo>
                    <a:pt x="1166" y="623"/>
                  </a:lnTo>
                  <a:cubicBezTo>
                    <a:pt x="1324" y="466"/>
                    <a:pt x="1324" y="277"/>
                    <a:pt x="1166" y="119"/>
                  </a:cubicBezTo>
                  <a:cubicBezTo>
                    <a:pt x="1088" y="40"/>
                    <a:pt x="1001" y="1"/>
                    <a:pt x="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9" name="Google Shape;10709;p80"/>
            <p:cNvSpPr/>
            <p:nvPr/>
          </p:nvSpPr>
          <p:spPr>
            <a:xfrm>
              <a:off x="-18491575" y="3024275"/>
              <a:ext cx="33100" cy="31925"/>
            </a:xfrm>
            <a:custGeom>
              <a:avLst/>
              <a:gdLst/>
              <a:ahLst/>
              <a:cxnLst/>
              <a:rect l="l" t="t" r="r" b="b"/>
              <a:pathLst>
                <a:path w="1324" h="1277" extrusionOk="0">
                  <a:moveTo>
                    <a:pt x="902" y="0"/>
                  </a:moveTo>
                  <a:cubicBezTo>
                    <a:pt x="811" y="0"/>
                    <a:pt x="725" y="40"/>
                    <a:pt x="662" y="118"/>
                  </a:cubicBezTo>
                  <a:lnTo>
                    <a:pt x="158" y="654"/>
                  </a:lnTo>
                  <a:cubicBezTo>
                    <a:pt x="0" y="811"/>
                    <a:pt x="0" y="1000"/>
                    <a:pt x="158" y="1158"/>
                  </a:cubicBezTo>
                  <a:cubicBezTo>
                    <a:pt x="236" y="1237"/>
                    <a:pt x="323" y="1276"/>
                    <a:pt x="410" y="1276"/>
                  </a:cubicBezTo>
                  <a:cubicBezTo>
                    <a:pt x="496" y="1276"/>
                    <a:pt x="583" y="1237"/>
                    <a:pt x="662" y="1158"/>
                  </a:cubicBezTo>
                  <a:lnTo>
                    <a:pt x="1166" y="654"/>
                  </a:lnTo>
                  <a:cubicBezTo>
                    <a:pt x="1323" y="496"/>
                    <a:pt x="1323" y="276"/>
                    <a:pt x="1166" y="118"/>
                  </a:cubicBezTo>
                  <a:cubicBezTo>
                    <a:pt x="1087" y="40"/>
                    <a:pt x="992" y="0"/>
                    <a:pt x="9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80"/>
            <p:cNvSpPr/>
            <p:nvPr/>
          </p:nvSpPr>
          <p:spPr>
            <a:xfrm>
              <a:off x="-18522300" y="2928175"/>
              <a:ext cx="32300" cy="31125"/>
            </a:xfrm>
            <a:custGeom>
              <a:avLst/>
              <a:gdLst/>
              <a:ahLst/>
              <a:cxnLst/>
              <a:rect l="l" t="t" r="r" b="b"/>
              <a:pathLst>
                <a:path w="1292" h="1245" extrusionOk="0">
                  <a:moveTo>
                    <a:pt x="930" y="1"/>
                  </a:moveTo>
                  <a:cubicBezTo>
                    <a:pt x="835" y="1"/>
                    <a:pt x="741" y="40"/>
                    <a:pt x="662" y="119"/>
                  </a:cubicBezTo>
                  <a:lnTo>
                    <a:pt x="158" y="623"/>
                  </a:lnTo>
                  <a:cubicBezTo>
                    <a:pt x="0" y="780"/>
                    <a:pt x="0" y="969"/>
                    <a:pt x="158" y="1127"/>
                  </a:cubicBezTo>
                  <a:cubicBezTo>
                    <a:pt x="237" y="1206"/>
                    <a:pt x="331" y="1245"/>
                    <a:pt x="422" y="1245"/>
                  </a:cubicBezTo>
                  <a:cubicBezTo>
                    <a:pt x="512" y="1245"/>
                    <a:pt x="599" y="1206"/>
                    <a:pt x="662" y="1127"/>
                  </a:cubicBezTo>
                  <a:lnTo>
                    <a:pt x="1198" y="623"/>
                  </a:lnTo>
                  <a:cubicBezTo>
                    <a:pt x="1292" y="497"/>
                    <a:pt x="1292" y="276"/>
                    <a:pt x="1198" y="119"/>
                  </a:cubicBezTo>
                  <a:cubicBezTo>
                    <a:pt x="1119" y="40"/>
                    <a:pt x="1024" y="1"/>
                    <a:pt x="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80"/>
            <p:cNvSpPr/>
            <p:nvPr/>
          </p:nvSpPr>
          <p:spPr>
            <a:xfrm>
              <a:off x="-18446700" y="3004375"/>
              <a:ext cx="33900" cy="31325"/>
            </a:xfrm>
            <a:custGeom>
              <a:avLst/>
              <a:gdLst/>
              <a:ahLst/>
              <a:cxnLst/>
              <a:rect l="l" t="t" r="r" b="b"/>
              <a:pathLst>
                <a:path w="1356" h="1253" extrusionOk="0">
                  <a:moveTo>
                    <a:pt x="922" y="1"/>
                  </a:moveTo>
                  <a:cubicBezTo>
                    <a:pt x="828" y="1"/>
                    <a:pt x="741" y="32"/>
                    <a:pt x="694" y="95"/>
                  </a:cubicBezTo>
                  <a:lnTo>
                    <a:pt x="158" y="599"/>
                  </a:lnTo>
                  <a:cubicBezTo>
                    <a:pt x="1" y="757"/>
                    <a:pt x="1" y="977"/>
                    <a:pt x="158" y="1135"/>
                  </a:cubicBezTo>
                  <a:cubicBezTo>
                    <a:pt x="253" y="1214"/>
                    <a:pt x="347" y="1253"/>
                    <a:pt x="438" y="1253"/>
                  </a:cubicBezTo>
                  <a:cubicBezTo>
                    <a:pt x="529" y="1253"/>
                    <a:pt x="615" y="1214"/>
                    <a:pt x="694" y="1135"/>
                  </a:cubicBezTo>
                  <a:lnTo>
                    <a:pt x="1198" y="599"/>
                  </a:lnTo>
                  <a:cubicBezTo>
                    <a:pt x="1356" y="442"/>
                    <a:pt x="1356" y="253"/>
                    <a:pt x="1198" y="95"/>
                  </a:cubicBezTo>
                  <a:cubicBezTo>
                    <a:pt x="1119" y="32"/>
                    <a:pt x="1017" y="1"/>
                    <a:pt x="9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2" name="Google Shape;10712;p80"/>
          <p:cNvGrpSpPr/>
          <p:nvPr/>
        </p:nvGrpSpPr>
        <p:grpSpPr>
          <a:xfrm>
            <a:off x="7885658" y="1687693"/>
            <a:ext cx="416361" cy="475125"/>
            <a:chOff x="-16798200" y="2050575"/>
            <a:chExt cx="267825" cy="305625"/>
          </a:xfrm>
        </p:grpSpPr>
        <p:sp>
          <p:nvSpPr>
            <p:cNvPr id="10713" name="Google Shape;10713;p80"/>
            <p:cNvSpPr/>
            <p:nvPr/>
          </p:nvSpPr>
          <p:spPr>
            <a:xfrm>
              <a:off x="-16798200" y="2050575"/>
              <a:ext cx="267825" cy="305625"/>
            </a:xfrm>
            <a:custGeom>
              <a:avLst/>
              <a:gdLst/>
              <a:ahLst/>
              <a:cxnLst/>
              <a:rect l="l" t="t" r="r" b="b"/>
              <a:pathLst>
                <a:path w="10713" h="12225" extrusionOk="0">
                  <a:moveTo>
                    <a:pt x="5388" y="725"/>
                  </a:moveTo>
                  <a:cubicBezTo>
                    <a:pt x="7940" y="725"/>
                    <a:pt x="10051" y="2804"/>
                    <a:pt x="10051" y="5356"/>
                  </a:cubicBezTo>
                  <a:cubicBezTo>
                    <a:pt x="9988" y="5545"/>
                    <a:pt x="9830" y="5734"/>
                    <a:pt x="9641" y="5734"/>
                  </a:cubicBezTo>
                  <a:lnTo>
                    <a:pt x="1103" y="5734"/>
                  </a:lnTo>
                  <a:cubicBezTo>
                    <a:pt x="914" y="5734"/>
                    <a:pt x="757" y="5545"/>
                    <a:pt x="757" y="5356"/>
                  </a:cubicBezTo>
                  <a:cubicBezTo>
                    <a:pt x="757" y="2804"/>
                    <a:pt x="2836" y="725"/>
                    <a:pt x="5388" y="725"/>
                  </a:cubicBezTo>
                  <a:close/>
                  <a:moveTo>
                    <a:pt x="6050" y="6459"/>
                  </a:moveTo>
                  <a:cubicBezTo>
                    <a:pt x="6113" y="7561"/>
                    <a:pt x="6428" y="8664"/>
                    <a:pt x="6743" y="9609"/>
                  </a:cubicBezTo>
                  <a:cubicBezTo>
                    <a:pt x="6774" y="9767"/>
                    <a:pt x="6806" y="9893"/>
                    <a:pt x="6806" y="10050"/>
                  </a:cubicBezTo>
                  <a:cubicBezTo>
                    <a:pt x="6806" y="10491"/>
                    <a:pt x="6617" y="10901"/>
                    <a:pt x="6270" y="11185"/>
                  </a:cubicBezTo>
                  <a:cubicBezTo>
                    <a:pt x="6004" y="11387"/>
                    <a:pt x="5692" y="11481"/>
                    <a:pt x="5383" y="11481"/>
                  </a:cubicBezTo>
                  <a:cubicBezTo>
                    <a:pt x="4778" y="11481"/>
                    <a:pt x="4190" y="11118"/>
                    <a:pt x="4002" y="10491"/>
                  </a:cubicBezTo>
                  <a:cubicBezTo>
                    <a:pt x="3939" y="10176"/>
                    <a:pt x="3939" y="9861"/>
                    <a:pt x="4065" y="9546"/>
                  </a:cubicBezTo>
                  <a:cubicBezTo>
                    <a:pt x="4443" y="8601"/>
                    <a:pt x="4632" y="7530"/>
                    <a:pt x="4632" y="6459"/>
                  </a:cubicBezTo>
                  <a:close/>
                  <a:moveTo>
                    <a:pt x="5357" y="0"/>
                  </a:moveTo>
                  <a:cubicBezTo>
                    <a:pt x="2395" y="0"/>
                    <a:pt x="1" y="2395"/>
                    <a:pt x="1" y="5356"/>
                  </a:cubicBezTo>
                  <a:cubicBezTo>
                    <a:pt x="1" y="5955"/>
                    <a:pt x="473" y="6427"/>
                    <a:pt x="1072" y="6427"/>
                  </a:cubicBezTo>
                  <a:lnTo>
                    <a:pt x="3907" y="6427"/>
                  </a:lnTo>
                  <a:cubicBezTo>
                    <a:pt x="3907" y="7404"/>
                    <a:pt x="3718" y="8381"/>
                    <a:pt x="3340" y="9263"/>
                  </a:cubicBezTo>
                  <a:cubicBezTo>
                    <a:pt x="3151" y="9704"/>
                    <a:pt x="3151" y="10208"/>
                    <a:pt x="3277" y="10680"/>
                  </a:cubicBezTo>
                  <a:cubicBezTo>
                    <a:pt x="3498" y="11500"/>
                    <a:pt x="4285" y="12224"/>
                    <a:pt x="5325" y="12224"/>
                  </a:cubicBezTo>
                  <a:cubicBezTo>
                    <a:pt x="6491" y="12224"/>
                    <a:pt x="7436" y="11279"/>
                    <a:pt x="7436" y="10082"/>
                  </a:cubicBezTo>
                  <a:cubicBezTo>
                    <a:pt x="7436" y="9861"/>
                    <a:pt x="7404" y="9641"/>
                    <a:pt x="7341" y="9420"/>
                  </a:cubicBezTo>
                  <a:cubicBezTo>
                    <a:pt x="7058" y="8538"/>
                    <a:pt x="6743" y="7498"/>
                    <a:pt x="6743" y="6459"/>
                  </a:cubicBezTo>
                  <a:lnTo>
                    <a:pt x="9578" y="6459"/>
                  </a:lnTo>
                  <a:cubicBezTo>
                    <a:pt x="10177" y="6459"/>
                    <a:pt x="10649" y="5986"/>
                    <a:pt x="10649" y="5388"/>
                  </a:cubicBezTo>
                  <a:cubicBezTo>
                    <a:pt x="10712" y="2395"/>
                    <a:pt x="8350"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80"/>
            <p:cNvSpPr/>
            <p:nvPr/>
          </p:nvSpPr>
          <p:spPr>
            <a:xfrm>
              <a:off x="-16743850" y="2123025"/>
              <a:ext cx="52800" cy="52800"/>
            </a:xfrm>
            <a:custGeom>
              <a:avLst/>
              <a:gdLst/>
              <a:ahLst/>
              <a:cxnLst/>
              <a:rect l="l" t="t" r="r" b="b"/>
              <a:pathLst>
                <a:path w="2112" h="2112" extrusionOk="0">
                  <a:moveTo>
                    <a:pt x="1040" y="694"/>
                  </a:moveTo>
                  <a:cubicBezTo>
                    <a:pt x="1261" y="694"/>
                    <a:pt x="1418" y="851"/>
                    <a:pt x="1418" y="1040"/>
                  </a:cubicBezTo>
                  <a:cubicBezTo>
                    <a:pt x="1418" y="1261"/>
                    <a:pt x="1261" y="1418"/>
                    <a:pt x="1040" y="1418"/>
                  </a:cubicBezTo>
                  <a:cubicBezTo>
                    <a:pt x="851" y="1418"/>
                    <a:pt x="694" y="1261"/>
                    <a:pt x="694" y="1040"/>
                  </a:cubicBezTo>
                  <a:cubicBezTo>
                    <a:pt x="694" y="851"/>
                    <a:pt x="851" y="694"/>
                    <a:pt x="1040" y="694"/>
                  </a:cubicBezTo>
                  <a:close/>
                  <a:moveTo>
                    <a:pt x="1040" y="1"/>
                  </a:moveTo>
                  <a:cubicBezTo>
                    <a:pt x="473" y="1"/>
                    <a:pt x="1" y="473"/>
                    <a:pt x="1" y="1040"/>
                  </a:cubicBezTo>
                  <a:cubicBezTo>
                    <a:pt x="1" y="1639"/>
                    <a:pt x="473" y="2112"/>
                    <a:pt x="1040" y="2112"/>
                  </a:cubicBezTo>
                  <a:cubicBezTo>
                    <a:pt x="1639" y="2112"/>
                    <a:pt x="2111" y="1639"/>
                    <a:pt x="2111" y="1040"/>
                  </a:cubicBezTo>
                  <a:cubicBezTo>
                    <a:pt x="2111" y="473"/>
                    <a:pt x="163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80"/>
            <p:cNvSpPr/>
            <p:nvPr/>
          </p:nvSpPr>
          <p:spPr>
            <a:xfrm>
              <a:off x="-16691075" y="2087600"/>
              <a:ext cx="35475" cy="35450"/>
            </a:xfrm>
            <a:custGeom>
              <a:avLst/>
              <a:gdLst/>
              <a:ahLst/>
              <a:cxnLst/>
              <a:rect l="l" t="t" r="r" b="b"/>
              <a:pathLst>
                <a:path w="1419" h="1418" extrusionOk="0">
                  <a:moveTo>
                    <a:pt x="725" y="0"/>
                  </a:moveTo>
                  <a:cubicBezTo>
                    <a:pt x="315" y="0"/>
                    <a:pt x="0" y="315"/>
                    <a:pt x="0" y="693"/>
                  </a:cubicBezTo>
                  <a:cubicBezTo>
                    <a:pt x="0" y="1103"/>
                    <a:pt x="315" y="1418"/>
                    <a:pt x="725" y="1418"/>
                  </a:cubicBezTo>
                  <a:cubicBezTo>
                    <a:pt x="1103" y="1418"/>
                    <a:pt x="1418" y="1103"/>
                    <a:pt x="1418" y="693"/>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6" name="Google Shape;10716;p80"/>
          <p:cNvGrpSpPr/>
          <p:nvPr/>
        </p:nvGrpSpPr>
        <p:grpSpPr>
          <a:xfrm>
            <a:off x="7856276" y="2852127"/>
            <a:ext cx="475125" cy="471432"/>
            <a:chOff x="-16817100" y="2801175"/>
            <a:chExt cx="305625" cy="303250"/>
          </a:xfrm>
        </p:grpSpPr>
        <p:sp>
          <p:nvSpPr>
            <p:cNvPr id="10717" name="Google Shape;10717;p80"/>
            <p:cNvSpPr/>
            <p:nvPr/>
          </p:nvSpPr>
          <p:spPr>
            <a:xfrm>
              <a:off x="-16817100" y="2801175"/>
              <a:ext cx="305625" cy="232375"/>
            </a:xfrm>
            <a:custGeom>
              <a:avLst/>
              <a:gdLst/>
              <a:ahLst/>
              <a:cxnLst/>
              <a:rect l="l" t="t" r="r" b="b"/>
              <a:pathLst>
                <a:path w="12225" h="9295" extrusionOk="0">
                  <a:moveTo>
                    <a:pt x="8633" y="1418"/>
                  </a:moveTo>
                  <a:lnTo>
                    <a:pt x="8633" y="7152"/>
                  </a:lnTo>
                  <a:cubicBezTo>
                    <a:pt x="8507" y="7152"/>
                    <a:pt x="8381" y="7120"/>
                    <a:pt x="8286" y="7120"/>
                  </a:cubicBezTo>
                  <a:cubicBezTo>
                    <a:pt x="8034" y="7120"/>
                    <a:pt x="7845" y="7152"/>
                    <a:pt x="7656" y="7247"/>
                  </a:cubicBezTo>
                  <a:cubicBezTo>
                    <a:pt x="7373" y="6837"/>
                    <a:pt x="6963" y="6522"/>
                    <a:pt x="6491" y="6459"/>
                  </a:cubicBezTo>
                  <a:lnTo>
                    <a:pt x="6491" y="4600"/>
                  </a:lnTo>
                  <a:cubicBezTo>
                    <a:pt x="6491" y="4411"/>
                    <a:pt x="6333" y="4254"/>
                    <a:pt x="6144" y="4254"/>
                  </a:cubicBezTo>
                  <a:cubicBezTo>
                    <a:pt x="5955" y="4254"/>
                    <a:pt x="5798" y="4411"/>
                    <a:pt x="5798" y="4600"/>
                  </a:cubicBezTo>
                  <a:lnTo>
                    <a:pt x="5798" y="6459"/>
                  </a:lnTo>
                  <a:cubicBezTo>
                    <a:pt x="5325" y="6522"/>
                    <a:pt x="4884" y="6837"/>
                    <a:pt x="4663" y="7247"/>
                  </a:cubicBezTo>
                  <a:cubicBezTo>
                    <a:pt x="4443" y="7152"/>
                    <a:pt x="4222" y="7120"/>
                    <a:pt x="4033" y="7120"/>
                  </a:cubicBezTo>
                  <a:cubicBezTo>
                    <a:pt x="3907" y="7120"/>
                    <a:pt x="3781" y="7120"/>
                    <a:pt x="3655" y="7152"/>
                  </a:cubicBezTo>
                  <a:lnTo>
                    <a:pt x="3655" y="1418"/>
                  </a:lnTo>
                  <a:lnTo>
                    <a:pt x="4380" y="1418"/>
                  </a:lnTo>
                  <a:lnTo>
                    <a:pt x="4380" y="2458"/>
                  </a:lnTo>
                  <a:cubicBezTo>
                    <a:pt x="4380" y="2678"/>
                    <a:pt x="4537" y="2836"/>
                    <a:pt x="4726" y="2836"/>
                  </a:cubicBezTo>
                  <a:cubicBezTo>
                    <a:pt x="4915" y="2836"/>
                    <a:pt x="5073" y="2678"/>
                    <a:pt x="5073" y="2458"/>
                  </a:cubicBezTo>
                  <a:lnTo>
                    <a:pt x="5073" y="1418"/>
                  </a:lnTo>
                  <a:lnTo>
                    <a:pt x="5798" y="1418"/>
                  </a:lnTo>
                  <a:lnTo>
                    <a:pt x="5798" y="3182"/>
                  </a:lnTo>
                  <a:cubicBezTo>
                    <a:pt x="5798" y="3371"/>
                    <a:pt x="5955" y="3529"/>
                    <a:pt x="6144" y="3529"/>
                  </a:cubicBezTo>
                  <a:cubicBezTo>
                    <a:pt x="6333" y="3529"/>
                    <a:pt x="6491" y="3371"/>
                    <a:pt x="6491" y="3182"/>
                  </a:cubicBezTo>
                  <a:lnTo>
                    <a:pt x="6491" y="1418"/>
                  </a:lnTo>
                  <a:lnTo>
                    <a:pt x="7215" y="1418"/>
                  </a:lnTo>
                  <a:lnTo>
                    <a:pt x="7215" y="2458"/>
                  </a:lnTo>
                  <a:cubicBezTo>
                    <a:pt x="7215" y="2678"/>
                    <a:pt x="7373" y="2836"/>
                    <a:pt x="7562" y="2836"/>
                  </a:cubicBezTo>
                  <a:cubicBezTo>
                    <a:pt x="7751" y="2836"/>
                    <a:pt x="7940" y="2678"/>
                    <a:pt x="7940" y="2458"/>
                  </a:cubicBezTo>
                  <a:lnTo>
                    <a:pt x="7940" y="1418"/>
                  </a:lnTo>
                  <a:close/>
                  <a:moveTo>
                    <a:pt x="6144" y="7120"/>
                  </a:moveTo>
                  <a:cubicBezTo>
                    <a:pt x="6585" y="7120"/>
                    <a:pt x="7026" y="7404"/>
                    <a:pt x="7184" y="7845"/>
                  </a:cubicBezTo>
                  <a:cubicBezTo>
                    <a:pt x="7227" y="7998"/>
                    <a:pt x="7378" y="8091"/>
                    <a:pt x="7528" y="8091"/>
                  </a:cubicBezTo>
                  <a:cubicBezTo>
                    <a:pt x="7595" y="8091"/>
                    <a:pt x="7662" y="8073"/>
                    <a:pt x="7719" y="8034"/>
                  </a:cubicBezTo>
                  <a:cubicBezTo>
                    <a:pt x="7877" y="7908"/>
                    <a:pt x="8129" y="7845"/>
                    <a:pt x="8318" y="7845"/>
                  </a:cubicBezTo>
                  <a:cubicBezTo>
                    <a:pt x="8790" y="7845"/>
                    <a:pt x="9169" y="8160"/>
                    <a:pt x="9326" y="8538"/>
                  </a:cubicBezTo>
                  <a:lnTo>
                    <a:pt x="3025" y="8538"/>
                  </a:lnTo>
                  <a:cubicBezTo>
                    <a:pt x="3120" y="8160"/>
                    <a:pt x="3498" y="7845"/>
                    <a:pt x="3970" y="7845"/>
                  </a:cubicBezTo>
                  <a:cubicBezTo>
                    <a:pt x="4191" y="7845"/>
                    <a:pt x="4411" y="7908"/>
                    <a:pt x="4569" y="8034"/>
                  </a:cubicBezTo>
                  <a:cubicBezTo>
                    <a:pt x="4624" y="8071"/>
                    <a:pt x="4680" y="8086"/>
                    <a:pt x="4741" y="8086"/>
                  </a:cubicBezTo>
                  <a:cubicBezTo>
                    <a:pt x="4785" y="8086"/>
                    <a:pt x="4832" y="8079"/>
                    <a:pt x="4884" y="8066"/>
                  </a:cubicBezTo>
                  <a:cubicBezTo>
                    <a:pt x="5010" y="8034"/>
                    <a:pt x="5073" y="7940"/>
                    <a:pt x="5136" y="7845"/>
                  </a:cubicBezTo>
                  <a:cubicBezTo>
                    <a:pt x="5293" y="7404"/>
                    <a:pt x="5671" y="7120"/>
                    <a:pt x="6144" y="7120"/>
                  </a:cubicBezTo>
                  <a:close/>
                  <a:moveTo>
                    <a:pt x="9704" y="694"/>
                  </a:moveTo>
                  <a:cubicBezTo>
                    <a:pt x="9893" y="694"/>
                    <a:pt x="10051" y="851"/>
                    <a:pt x="10051" y="1072"/>
                  </a:cubicBezTo>
                  <a:lnTo>
                    <a:pt x="10051" y="6049"/>
                  </a:lnTo>
                  <a:cubicBezTo>
                    <a:pt x="10051" y="6270"/>
                    <a:pt x="10208" y="6427"/>
                    <a:pt x="10397" y="6427"/>
                  </a:cubicBezTo>
                  <a:cubicBezTo>
                    <a:pt x="10618" y="6427"/>
                    <a:pt x="10775" y="6270"/>
                    <a:pt x="10775" y="6049"/>
                  </a:cubicBezTo>
                  <a:lnTo>
                    <a:pt x="10775" y="2111"/>
                  </a:lnTo>
                  <a:lnTo>
                    <a:pt x="11122" y="2111"/>
                  </a:lnTo>
                  <a:cubicBezTo>
                    <a:pt x="11311" y="2111"/>
                    <a:pt x="11500" y="2269"/>
                    <a:pt x="11500" y="2489"/>
                  </a:cubicBezTo>
                  <a:lnTo>
                    <a:pt x="11500" y="8538"/>
                  </a:lnTo>
                  <a:lnTo>
                    <a:pt x="10019" y="8538"/>
                  </a:lnTo>
                  <a:cubicBezTo>
                    <a:pt x="9925" y="8097"/>
                    <a:pt x="9641" y="7719"/>
                    <a:pt x="9326" y="7467"/>
                  </a:cubicBezTo>
                  <a:lnTo>
                    <a:pt x="9326" y="1072"/>
                  </a:lnTo>
                  <a:cubicBezTo>
                    <a:pt x="9326" y="851"/>
                    <a:pt x="9515" y="694"/>
                    <a:pt x="9704" y="694"/>
                  </a:cubicBezTo>
                  <a:close/>
                  <a:moveTo>
                    <a:pt x="2584" y="694"/>
                  </a:moveTo>
                  <a:cubicBezTo>
                    <a:pt x="2773" y="694"/>
                    <a:pt x="2931" y="851"/>
                    <a:pt x="2931" y="1072"/>
                  </a:cubicBezTo>
                  <a:lnTo>
                    <a:pt x="2931" y="7530"/>
                  </a:lnTo>
                  <a:cubicBezTo>
                    <a:pt x="2584" y="7782"/>
                    <a:pt x="2332" y="8160"/>
                    <a:pt x="2269" y="8570"/>
                  </a:cubicBezTo>
                  <a:lnTo>
                    <a:pt x="757" y="8570"/>
                  </a:lnTo>
                  <a:lnTo>
                    <a:pt x="757" y="2489"/>
                  </a:lnTo>
                  <a:cubicBezTo>
                    <a:pt x="757" y="2269"/>
                    <a:pt x="946" y="2111"/>
                    <a:pt x="1135" y="2111"/>
                  </a:cubicBezTo>
                  <a:lnTo>
                    <a:pt x="1513" y="2111"/>
                  </a:lnTo>
                  <a:lnTo>
                    <a:pt x="1513" y="6049"/>
                  </a:lnTo>
                  <a:cubicBezTo>
                    <a:pt x="1513" y="6270"/>
                    <a:pt x="1670" y="6427"/>
                    <a:pt x="1859" y="6427"/>
                  </a:cubicBezTo>
                  <a:cubicBezTo>
                    <a:pt x="2048" y="6427"/>
                    <a:pt x="2206" y="6270"/>
                    <a:pt x="2206" y="6049"/>
                  </a:cubicBezTo>
                  <a:lnTo>
                    <a:pt x="2206" y="1072"/>
                  </a:lnTo>
                  <a:cubicBezTo>
                    <a:pt x="2206" y="851"/>
                    <a:pt x="2363" y="694"/>
                    <a:pt x="2584" y="694"/>
                  </a:cubicBezTo>
                  <a:close/>
                  <a:moveTo>
                    <a:pt x="2521" y="0"/>
                  </a:moveTo>
                  <a:cubicBezTo>
                    <a:pt x="1922" y="0"/>
                    <a:pt x="1450" y="473"/>
                    <a:pt x="1450" y="1072"/>
                  </a:cubicBezTo>
                  <a:lnTo>
                    <a:pt x="1450" y="1418"/>
                  </a:lnTo>
                  <a:lnTo>
                    <a:pt x="1103" y="1418"/>
                  </a:lnTo>
                  <a:cubicBezTo>
                    <a:pt x="505" y="1418"/>
                    <a:pt x="1" y="1891"/>
                    <a:pt x="1" y="2489"/>
                  </a:cubicBezTo>
                  <a:lnTo>
                    <a:pt x="1" y="8948"/>
                  </a:lnTo>
                  <a:cubicBezTo>
                    <a:pt x="1" y="9137"/>
                    <a:pt x="158" y="9294"/>
                    <a:pt x="347" y="9294"/>
                  </a:cubicBezTo>
                  <a:lnTo>
                    <a:pt x="11815" y="9294"/>
                  </a:lnTo>
                  <a:cubicBezTo>
                    <a:pt x="12004" y="9294"/>
                    <a:pt x="12162" y="9137"/>
                    <a:pt x="12162" y="8948"/>
                  </a:cubicBezTo>
                  <a:lnTo>
                    <a:pt x="12162" y="2489"/>
                  </a:lnTo>
                  <a:cubicBezTo>
                    <a:pt x="12225" y="1891"/>
                    <a:pt x="11689" y="1418"/>
                    <a:pt x="11122" y="1418"/>
                  </a:cubicBezTo>
                  <a:lnTo>
                    <a:pt x="10744" y="1418"/>
                  </a:lnTo>
                  <a:lnTo>
                    <a:pt x="10744" y="1072"/>
                  </a:lnTo>
                  <a:cubicBezTo>
                    <a:pt x="10744" y="473"/>
                    <a:pt x="10271" y="0"/>
                    <a:pt x="9704" y="0"/>
                  </a:cubicBezTo>
                  <a:cubicBezTo>
                    <a:pt x="9232" y="0"/>
                    <a:pt x="8822" y="315"/>
                    <a:pt x="8664" y="694"/>
                  </a:cubicBezTo>
                  <a:lnTo>
                    <a:pt x="3561" y="694"/>
                  </a:lnTo>
                  <a:cubicBezTo>
                    <a:pt x="3403" y="284"/>
                    <a:pt x="2994"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8" name="Google Shape;10718;p80"/>
            <p:cNvSpPr/>
            <p:nvPr/>
          </p:nvSpPr>
          <p:spPr>
            <a:xfrm>
              <a:off x="-16636725" y="2889375"/>
              <a:ext cx="18125" cy="72500"/>
            </a:xfrm>
            <a:custGeom>
              <a:avLst/>
              <a:gdLst/>
              <a:ahLst/>
              <a:cxnLst/>
              <a:rect l="l" t="t" r="r" b="b"/>
              <a:pathLst>
                <a:path w="725" h="2900" extrusionOk="0">
                  <a:moveTo>
                    <a:pt x="347" y="1"/>
                  </a:moveTo>
                  <a:cubicBezTo>
                    <a:pt x="158" y="1"/>
                    <a:pt x="0" y="158"/>
                    <a:pt x="0" y="379"/>
                  </a:cubicBezTo>
                  <a:lnTo>
                    <a:pt x="0" y="2521"/>
                  </a:lnTo>
                  <a:cubicBezTo>
                    <a:pt x="0" y="2742"/>
                    <a:pt x="158" y="2899"/>
                    <a:pt x="347" y="2899"/>
                  </a:cubicBezTo>
                  <a:cubicBezTo>
                    <a:pt x="536" y="2899"/>
                    <a:pt x="725" y="2742"/>
                    <a:pt x="725" y="2521"/>
                  </a:cubicBezTo>
                  <a:lnTo>
                    <a:pt x="725" y="379"/>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9" name="Google Shape;10719;p80"/>
            <p:cNvSpPr/>
            <p:nvPr/>
          </p:nvSpPr>
          <p:spPr>
            <a:xfrm>
              <a:off x="-16708400" y="2889375"/>
              <a:ext cx="17350" cy="72500"/>
            </a:xfrm>
            <a:custGeom>
              <a:avLst/>
              <a:gdLst/>
              <a:ahLst/>
              <a:cxnLst/>
              <a:rect l="l" t="t" r="r" b="b"/>
              <a:pathLst>
                <a:path w="694" h="2900" extrusionOk="0">
                  <a:moveTo>
                    <a:pt x="347" y="1"/>
                  </a:moveTo>
                  <a:cubicBezTo>
                    <a:pt x="158" y="1"/>
                    <a:pt x="0" y="158"/>
                    <a:pt x="0" y="379"/>
                  </a:cubicBezTo>
                  <a:lnTo>
                    <a:pt x="0" y="2521"/>
                  </a:lnTo>
                  <a:cubicBezTo>
                    <a:pt x="0" y="2742"/>
                    <a:pt x="158" y="2899"/>
                    <a:pt x="347" y="2899"/>
                  </a:cubicBezTo>
                  <a:cubicBezTo>
                    <a:pt x="536" y="2899"/>
                    <a:pt x="693" y="2742"/>
                    <a:pt x="693" y="2521"/>
                  </a:cubicBezTo>
                  <a:lnTo>
                    <a:pt x="693" y="379"/>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80"/>
            <p:cNvSpPr/>
            <p:nvPr/>
          </p:nvSpPr>
          <p:spPr>
            <a:xfrm>
              <a:off x="-1681630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80"/>
            <p:cNvSpPr/>
            <p:nvPr/>
          </p:nvSpPr>
          <p:spPr>
            <a:xfrm>
              <a:off x="-16779300" y="3086300"/>
              <a:ext cx="88250" cy="18125"/>
            </a:xfrm>
            <a:custGeom>
              <a:avLst/>
              <a:gdLst/>
              <a:ahLst/>
              <a:cxnLst/>
              <a:rect l="l" t="t" r="r" b="b"/>
              <a:pathLst>
                <a:path w="3530" h="725" extrusionOk="0">
                  <a:moveTo>
                    <a:pt x="347" y="0"/>
                  </a:moveTo>
                  <a:cubicBezTo>
                    <a:pt x="158" y="0"/>
                    <a:pt x="1" y="158"/>
                    <a:pt x="1" y="378"/>
                  </a:cubicBezTo>
                  <a:cubicBezTo>
                    <a:pt x="1" y="567"/>
                    <a:pt x="158" y="725"/>
                    <a:pt x="347" y="725"/>
                  </a:cubicBezTo>
                  <a:lnTo>
                    <a:pt x="3183" y="725"/>
                  </a:lnTo>
                  <a:cubicBezTo>
                    <a:pt x="3372" y="725"/>
                    <a:pt x="3529" y="567"/>
                    <a:pt x="3529" y="378"/>
                  </a:cubicBezTo>
                  <a:cubicBezTo>
                    <a:pt x="3529" y="221"/>
                    <a:pt x="3372"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80"/>
            <p:cNvSpPr/>
            <p:nvPr/>
          </p:nvSpPr>
          <p:spPr>
            <a:xfrm>
              <a:off x="-16636725" y="3086300"/>
              <a:ext cx="88225" cy="18125"/>
            </a:xfrm>
            <a:custGeom>
              <a:avLst/>
              <a:gdLst/>
              <a:ahLst/>
              <a:cxnLst/>
              <a:rect l="l" t="t" r="r" b="b"/>
              <a:pathLst>
                <a:path w="3529" h="725" extrusionOk="0">
                  <a:moveTo>
                    <a:pt x="347" y="0"/>
                  </a:moveTo>
                  <a:cubicBezTo>
                    <a:pt x="158" y="0"/>
                    <a:pt x="0" y="158"/>
                    <a:pt x="0" y="378"/>
                  </a:cubicBezTo>
                  <a:cubicBezTo>
                    <a:pt x="0" y="567"/>
                    <a:pt x="158" y="725"/>
                    <a:pt x="347" y="725"/>
                  </a:cubicBezTo>
                  <a:lnTo>
                    <a:pt x="3182" y="725"/>
                  </a:lnTo>
                  <a:cubicBezTo>
                    <a:pt x="3371" y="725"/>
                    <a:pt x="3529" y="567"/>
                    <a:pt x="3529" y="378"/>
                  </a:cubicBezTo>
                  <a:cubicBezTo>
                    <a:pt x="3529" y="221"/>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80"/>
            <p:cNvSpPr/>
            <p:nvPr/>
          </p:nvSpPr>
          <p:spPr>
            <a:xfrm>
              <a:off x="-1658395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4" name="Google Shape;10724;p80"/>
            <p:cNvSpPr/>
            <p:nvPr/>
          </p:nvSpPr>
          <p:spPr>
            <a:xfrm>
              <a:off x="-16726525" y="3050850"/>
              <a:ext cx="125250" cy="18150"/>
            </a:xfrm>
            <a:custGeom>
              <a:avLst/>
              <a:gdLst/>
              <a:ahLst/>
              <a:cxnLst/>
              <a:rect l="l" t="t" r="r" b="b"/>
              <a:pathLst>
                <a:path w="5010" h="726" extrusionOk="0">
                  <a:moveTo>
                    <a:pt x="347" y="0"/>
                  </a:moveTo>
                  <a:cubicBezTo>
                    <a:pt x="158" y="0"/>
                    <a:pt x="1" y="158"/>
                    <a:pt x="1" y="378"/>
                  </a:cubicBezTo>
                  <a:cubicBezTo>
                    <a:pt x="1" y="568"/>
                    <a:pt x="158" y="725"/>
                    <a:pt x="347" y="725"/>
                  </a:cubicBezTo>
                  <a:lnTo>
                    <a:pt x="4663" y="725"/>
                  </a:lnTo>
                  <a:cubicBezTo>
                    <a:pt x="4852" y="725"/>
                    <a:pt x="5010" y="568"/>
                    <a:pt x="5010" y="378"/>
                  </a:cubicBezTo>
                  <a:cubicBezTo>
                    <a:pt x="5010" y="158"/>
                    <a:pt x="4852"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5" name="Google Shape;10725;p80"/>
          <p:cNvGrpSpPr/>
          <p:nvPr/>
        </p:nvGrpSpPr>
        <p:grpSpPr>
          <a:xfrm>
            <a:off x="7263396" y="3444614"/>
            <a:ext cx="476329" cy="475125"/>
            <a:chOff x="-15717575" y="2786200"/>
            <a:chExt cx="306400" cy="305625"/>
          </a:xfrm>
        </p:grpSpPr>
        <p:sp>
          <p:nvSpPr>
            <p:cNvPr id="10726" name="Google Shape;10726;p80"/>
            <p:cNvSpPr/>
            <p:nvPr/>
          </p:nvSpPr>
          <p:spPr>
            <a:xfrm>
              <a:off x="-15717575" y="2786200"/>
              <a:ext cx="306400" cy="305625"/>
            </a:xfrm>
            <a:custGeom>
              <a:avLst/>
              <a:gdLst/>
              <a:ahLst/>
              <a:cxnLst/>
              <a:rect l="l" t="t" r="r" b="b"/>
              <a:pathLst>
                <a:path w="12256" h="12225" extrusionOk="0">
                  <a:moveTo>
                    <a:pt x="1387" y="788"/>
                  </a:moveTo>
                  <a:cubicBezTo>
                    <a:pt x="1796" y="788"/>
                    <a:pt x="2111" y="1103"/>
                    <a:pt x="2111" y="1513"/>
                  </a:cubicBezTo>
                  <a:lnTo>
                    <a:pt x="2111" y="4727"/>
                  </a:lnTo>
                  <a:cubicBezTo>
                    <a:pt x="2111" y="5325"/>
                    <a:pt x="2584" y="5798"/>
                    <a:pt x="3151" y="5798"/>
                  </a:cubicBezTo>
                  <a:lnTo>
                    <a:pt x="3907" y="5798"/>
                  </a:lnTo>
                  <a:cubicBezTo>
                    <a:pt x="4096" y="5798"/>
                    <a:pt x="4254" y="5640"/>
                    <a:pt x="4254" y="5420"/>
                  </a:cubicBezTo>
                  <a:lnTo>
                    <a:pt x="4254" y="3309"/>
                  </a:lnTo>
                  <a:cubicBezTo>
                    <a:pt x="4254" y="2332"/>
                    <a:pt x="5041" y="1545"/>
                    <a:pt x="6049" y="1545"/>
                  </a:cubicBezTo>
                  <a:cubicBezTo>
                    <a:pt x="7026" y="1545"/>
                    <a:pt x="7814" y="2332"/>
                    <a:pt x="7814" y="3309"/>
                  </a:cubicBezTo>
                  <a:lnTo>
                    <a:pt x="7814" y="8318"/>
                  </a:lnTo>
                  <a:cubicBezTo>
                    <a:pt x="7814" y="8507"/>
                    <a:pt x="7971" y="8665"/>
                    <a:pt x="8160" y="8665"/>
                  </a:cubicBezTo>
                  <a:lnTo>
                    <a:pt x="8916" y="8665"/>
                  </a:lnTo>
                  <a:cubicBezTo>
                    <a:pt x="9515" y="8665"/>
                    <a:pt x="9988" y="8192"/>
                    <a:pt x="9988" y="7593"/>
                  </a:cubicBezTo>
                  <a:lnTo>
                    <a:pt x="9988" y="5105"/>
                  </a:lnTo>
                  <a:cubicBezTo>
                    <a:pt x="9988" y="4727"/>
                    <a:pt x="10303" y="4411"/>
                    <a:pt x="10681" y="4411"/>
                  </a:cubicBezTo>
                  <a:cubicBezTo>
                    <a:pt x="11090" y="4411"/>
                    <a:pt x="11405" y="4727"/>
                    <a:pt x="11405" y="5105"/>
                  </a:cubicBezTo>
                  <a:lnTo>
                    <a:pt x="11405" y="7562"/>
                  </a:lnTo>
                  <a:lnTo>
                    <a:pt x="11437" y="7562"/>
                  </a:lnTo>
                  <a:cubicBezTo>
                    <a:pt x="11437" y="8948"/>
                    <a:pt x="10334" y="10051"/>
                    <a:pt x="8948" y="10051"/>
                  </a:cubicBezTo>
                  <a:lnTo>
                    <a:pt x="8192" y="10051"/>
                  </a:lnTo>
                  <a:cubicBezTo>
                    <a:pt x="8003" y="10051"/>
                    <a:pt x="7845" y="10208"/>
                    <a:pt x="7845" y="10397"/>
                  </a:cubicBezTo>
                  <a:lnTo>
                    <a:pt x="7845" y="11500"/>
                  </a:lnTo>
                  <a:lnTo>
                    <a:pt x="4254" y="11500"/>
                  </a:lnTo>
                  <a:lnTo>
                    <a:pt x="4254" y="7562"/>
                  </a:lnTo>
                  <a:cubicBezTo>
                    <a:pt x="4254" y="7373"/>
                    <a:pt x="4096" y="7215"/>
                    <a:pt x="3907" y="7215"/>
                  </a:cubicBezTo>
                  <a:lnTo>
                    <a:pt x="3151" y="7215"/>
                  </a:lnTo>
                  <a:cubicBezTo>
                    <a:pt x="1796" y="7215"/>
                    <a:pt x="694" y="6113"/>
                    <a:pt x="694" y="4727"/>
                  </a:cubicBezTo>
                  <a:lnTo>
                    <a:pt x="694" y="1513"/>
                  </a:lnTo>
                  <a:cubicBezTo>
                    <a:pt x="694" y="1103"/>
                    <a:pt x="1009" y="788"/>
                    <a:pt x="1387" y="788"/>
                  </a:cubicBezTo>
                  <a:close/>
                  <a:moveTo>
                    <a:pt x="1418" y="1"/>
                  </a:moveTo>
                  <a:cubicBezTo>
                    <a:pt x="631" y="1"/>
                    <a:pt x="1" y="631"/>
                    <a:pt x="1" y="1419"/>
                  </a:cubicBezTo>
                  <a:lnTo>
                    <a:pt x="1" y="4664"/>
                  </a:lnTo>
                  <a:cubicBezTo>
                    <a:pt x="1" y="6428"/>
                    <a:pt x="1481" y="7877"/>
                    <a:pt x="3246" y="7877"/>
                  </a:cubicBezTo>
                  <a:lnTo>
                    <a:pt x="3624" y="7877"/>
                  </a:lnTo>
                  <a:lnTo>
                    <a:pt x="3624" y="11500"/>
                  </a:lnTo>
                  <a:lnTo>
                    <a:pt x="2584" y="11500"/>
                  </a:lnTo>
                  <a:cubicBezTo>
                    <a:pt x="2363" y="11500"/>
                    <a:pt x="2206" y="11658"/>
                    <a:pt x="2206" y="11847"/>
                  </a:cubicBezTo>
                  <a:cubicBezTo>
                    <a:pt x="2206" y="12036"/>
                    <a:pt x="2363" y="12225"/>
                    <a:pt x="2584" y="12225"/>
                  </a:cubicBezTo>
                  <a:lnTo>
                    <a:pt x="9704" y="12225"/>
                  </a:lnTo>
                  <a:cubicBezTo>
                    <a:pt x="9893" y="12225"/>
                    <a:pt x="10051" y="12036"/>
                    <a:pt x="10051" y="11847"/>
                  </a:cubicBezTo>
                  <a:cubicBezTo>
                    <a:pt x="10051" y="11658"/>
                    <a:pt x="9893" y="11500"/>
                    <a:pt x="9704" y="11500"/>
                  </a:cubicBezTo>
                  <a:lnTo>
                    <a:pt x="8633" y="11500"/>
                  </a:lnTo>
                  <a:lnTo>
                    <a:pt x="8633" y="10744"/>
                  </a:lnTo>
                  <a:lnTo>
                    <a:pt x="9042" y="10744"/>
                  </a:lnTo>
                  <a:cubicBezTo>
                    <a:pt x="10807" y="10744"/>
                    <a:pt x="12256" y="9295"/>
                    <a:pt x="12256" y="7530"/>
                  </a:cubicBezTo>
                  <a:lnTo>
                    <a:pt x="12256" y="5042"/>
                  </a:lnTo>
                  <a:cubicBezTo>
                    <a:pt x="12130" y="4285"/>
                    <a:pt x="11500" y="3624"/>
                    <a:pt x="10712" y="3624"/>
                  </a:cubicBezTo>
                  <a:cubicBezTo>
                    <a:pt x="9925" y="3624"/>
                    <a:pt x="9294" y="4254"/>
                    <a:pt x="9294" y="5042"/>
                  </a:cubicBezTo>
                  <a:lnTo>
                    <a:pt x="9294" y="7530"/>
                  </a:lnTo>
                  <a:cubicBezTo>
                    <a:pt x="9294" y="7719"/>
                    <a:pt x="9137" y="7877"/>
                    <a:pt x="8948" y="7877"/>
                  </a:cubicBezTo>
                  <a:lnTo>
                    <a:pt x="8570" y="7877"/>
                  </a:lnTo>
                  <a:lnTo>
                    <a:pt x="8570" y="3246"/>
                  </a:lnTo>
                  <a:cubicBezTo>
                    <a:pt x="8570" y="1860"/>
                    <a:pt x="7467" y="757"/>
                    <a:pt x="6081" y="757"/>
                  </a:cubicBezTo>
                  <a:cubicBezTo>
                    <a:pt x="4695" y="757"/>
                    <a:pt x="3592" y="1860"/>
                    <a:pt x="3592" y="3246"/>
                  </a:cubicBezTo>
                  <a:lnTo>
                    <a:pt x="3592" y="5010"/>
                  </a:lnTo>
                  <a:lnTo>
                    <a:pt x="3214" y="5010"/>
                  </a:lnTo>
                  <a:cubicBezTo>
                    <a:pt x="2993" y="5010"/>
                    <a:pt x="2836" y="4853"/>
                    <a:pt x="2836" y="4664"/>
                  </a:cubicBezTo>
                  <a:lnTo>
                    <a:pt x="2836" y="1419"/>
                  </a:ln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80"/>
            <p:cNvSpPr/>
            <p:nvPr/>
          </p:nvSpPr>
          <p:spPr>
            <a:xfrm>
              <a:off x="-15593125" y="2859450"/>
              <a:ext cx="18125" cy="35475"/>
            </a:xfrm>
            <a:custGeom>
              <a:avLst/>
              <a:gdLst/>
              <a:ahLst/>
              <a:cxnLst/>
              <a:rect l="l" t="t" r="r" b="b"/>
              <a:pathLst>
                <a:path w="725" h="1419" extrusionOk="0">
                  <a:moveTo>
                    <a:pt x="347" y="1"/>
                  </a:moveTo>
                  <a:cubicBezTo>
                    <a:pt x="158" y="1"/>
                    <a:pt x="0" y="158"/>
                    <a:pt x="0" y="347"/>
                  </a:cubicBezTo>
                  <a:lnTo>
                    <a:pt x="0" y="1040"/>
                  </a:lnTo>
                  <a:cubicBezTo>
                    <a:pt x="0" y="1261"/>
                    <a:pt x="158" y="1418"/>
                    <a:pt x="347" y="1418"/>
                  </a:cubicBezTo>
                  <a:cubicBezTo>
                    <a:pt x="536" y="1418"/>
                    <a:pt x="725" y="1261"/>
                    <a:pt x="725" y="1040"/>
                  </a:cubicBezTo>
                  <a:lnTo>
                    <a:pt x="725" y="347"/>
                  </a:ln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80"/>
            <p:cNvSpPr/>
            <p:nvPr/>
          </p:nvSpPr>
          <p:spPr>
            <a:xfrm>
              <a:off x="-1559312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80"/>
            <p:cNvSpPr/>
            <p:nvPr/>
          </p:nvSpPr>
          <p:spPr>
            <a:xfrm>
              <a:off x="-15557675" y="2859450"/>
              <a:ext cx="17350" cy="35475"/>
            </a:xfrm>
            <a:custGeom>
              <a:avLst/>
              <a:gdLst/>
              <a:ahLst/>
              <a:cxnLst/>
              <a:rect l="l" t="t" r="r" b="b"/>
              <a:pathLst>
                <a:path w="694" h="1419" extrusionOk="0">
                  <a:moveTo>
                    <a:pt x="347" y="1"/>
                  </a:moveTo>
                  <a:cubicBezTo>
                    <a:pt x="158" y="1"/>
                    <a:pt x="0" y="158"/>
                    <a:pt x="0" y="347"/>
                  </a:cubicBezTo>
                  <a:lnTo>
                    <a:pt x="0" y="1040"/>
                  </a:lnTo>
                  <a:cubicBezTo>
                    <a:pt x="0" y="1261"/>
                    <a:pt x="158" y="1418"/>
                    <a:pt x="347" y="1418"/>
                  </a:cubicBezTo>
                  <a:cubicBezTo>
                    <a:pt x="536" y="1418"/>
                    <a:pt x="693" y="1261"/>
                    <a:pt x="693" y="1040"/>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80"/>
            <p:cNvSpPr/>
            <p:nvPr/>
          </p:nvSpPr>
          <p:spPr>
            <a:xfrm>
              <a:off x="-1555767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80"/>
            <p:cNvSpPr/>
            <p:nvPr/>
          </p:nvSpPr>
          <p:spPr>
            <a:xfrm>
              <a:off x="-15575800" y="2913025"/>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80"/>
            <p:cNvSpPr/>
            <p:nvPr/>
          </p:nvSpPr>
          <p:spPr>
            <a:xfrm>
              <a:off x="-15575800" y="3019350"/>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33" name="Google Shape;10733;p80"/>
          <p:cNvGrpSpPr/>
          <p:nvPr/>
        </p:nvGrpSpPr>
        <p:grpSpPr>
          <a:xfrm>
            <a:off x="2600969" y="1688296"/>
            <a:ext cx="475125" cy="473920"/>
            <a:chOff x="-20173175" y="2038750"/>
            <a:chExt cx="305625" cy="304850"/>
          </a:xfrm>
        </p:grpSpPr>
        <p:sp>
          <p:nvSpPr>
            <p:cNvPr id="10734" name="Google Shape;10734;p80"/>
            <p:cNvSpPr/>
            <p:nvPr/>
          </p:nvSpPr>
          <p:spPr>
            <a:xfrm>
              <a:off x="-20173175" y="2038750"/>
              <a:ext cx="197725" cy="303275"/>
            </a:xfrm>
            <a:custGeom>
              <a:avLst/>
              <a:gdLst/>
              <a:ahLst/>
              <a:cxnLst/>
              <a:rect l="l" t="t" r="r" b="b"/>
              <a:pathLst>
                <a:path w="7909" h="12131" extrusionOk="0">
                  <a:moveTo>
                    <a:pt x="2175" y="3624"/>
                  </a:moveTo>
                  <a:cubicBezTo>
                    <a:pt x="3120" y="3781"/>
                    <a:pt x="3908" y="4506"/>
                    <a:pt x="4160" y="5451"/>
                  </a:cubicBezTo>
                  <a:cubicBezTo>
                    <a:pt x="3845" y="5294"/>
                    <a:pt x="3372" y="5136"/>
                    <a:pt x="2931" y="5042"/>
                  </a:cubicBezTo>
                  <a:cubicBezTo>
                    <a:pt x="2521" y="4663"/>
                    <a:pt x="2238" y="4191"/>
                    <a:pt x="2175" y="3624"/>
                  </a:cubicBezTo>
                  <a:close/>
                  <a:moveTo>
                    <a:pt x="6932" y="725"/>
                  </a:moveTo>
                  <a:cubicBezTo>
                    <a:pt x="6302" y="2332"/>
                    <a:pt x="6302" y="4159"/>
                    <a:pt x="6932" y="5766"/>
                  </a:cubicBezTo>
                  <a:lnTo>
                    <a:pt x="5168" y="5766"/>
                  </a:lnTo>
                  <a:cubicBezTo>
                    <a:pt x="5798" y="4159"/>
                    <a:pt x="5798" y="2332"/>
                    <a:pt x="5168" y="725"/>
                  </a:cubicBezTo>
                  <a:close/>
                  <a:moveTo>
                    <a:pt x="2490" y="5766"/>
                  </a:moveTo>
                  <a:cubicBezTo>
                    <a:pt x="3025" y="5766"/>
                    <a:pt x="3530" y="5955"/>
                    <a:pt x="3908" y="6113"/>
                  </a:cubicBezTo>
                  <a:cubicBezTo>
                    <a:pt x="3530" y="6270"/>
                    <a:pt x="3025" y="6459"/>
                    <a:pt x="2490" y="6459"/>
                  </a:cubicBezTo>
                  <a:cubicBezTo>
                    <a:pt x="1923" y="6459"/>
                    <a:pt x="1419" y="6270"/>
                    <a:pt x="1009" y="6113"/>
                  </a:cubicBezTo>
                  <a:cubicBezTo>
                    <a:pt x="1387" y="5924"/>
                    <a:pt x="1891" y="5766"/>
                    <a:pt x="2490" y="5766"/>
                  </a:cubicBezTo>
                  <a:close/>
                  <a:moveTo>
                    <a:pt x="4128" y="6743"/>
                  </a:moveTo>
                  <a:lnTo>
                    <a:pt x="4128" y="6743"/>
                  </a:lnTo>
                  <a:cubicBezTo>
                    <a:pt x="3908" y="7688"/>
                    <a:pt x="3120" y="8444"/>
                    <a:pt x="2112" y="8570"/>
                  </a:cubicBezTo>
                  <a:cubicBezTo>
                    <a:pt x="2206" y="8003"/>
                    <a:pt x="2490" y="7530"/>
                    <a:pt x="2868" y="7152"/>
                  </a:cubicBezTo>
                  <a:cubicBezTo>
                    <a:pt x="3372" y="7058"/>
                    <a:pt x="3813" y="6900"/>
                    <a:pt x="4128" y="6743"/>
                  </a:cubicBezTo>
                  <a:close/>
                  <a:moveTo>
                    <a:pt x="6932" y="6428"/>
                  </a:moveTo>
                  <a:cubicBezTo>
                    <a:pt x="6270" y="8034"/>
                    <a:pt x="6270" y="9893"/>
                    <a:pt x="6932" y="11469"/>
                  </a:cubicBezTo>
                  <a:lnTo>
                    <a:pt x="5168" y="11469"/>
                  </a:lnTo>
                  <a:cubicBezTo>
                    <a:pt x="5798" y="9862"/>
                    <a:pt x="5798" y="8034"/>
                    <a:pt x="5168" y="6428"/>
                  </a:cubicBezTo>
                  <a:close/>
                  <a:moveTo>
                    <a:pt x="4664" y="1"/>
                  </a:moveTo>
                  <a:cubicBezTo>
                    <a:pt x="4380" y="1"/>
                    <a:pt x="4223" y="284"/>
                    <a:pt x="4349" y="536"/>
                  </a:cubicBezTo>
                  <a:cubicBezTo>
                    <a:pt x="5010" y="1860"/>
                    <a:pt x="5168" y="3403"/>
                    <a:pt x="4758" y="4853"/>
                  </a:cubicBezTo>
                  <a:cubicBezTo>
                    <a:pt x="4286" y="3718"/>
                    <a:pt x="3151" y="2868"/>
                    <a:pt x="1797" y="2868"/>
                  </a:cubicBezTo>
                  <a:cubicBezTo>
                    <a:pt x="1608" y="2868"/>
                    <a:pt x="1450" y="3057"/>
                    <a:pt x="1450" y="3246"/>
                  </a:cubicBezTo>
                  <a:cubicBezTo>
                    <a:pt x="1450" y="3907"/>
                    <a:pt x="1639" y="4537"/>
                    <a:pt x="2017" y="5042"/>
                  </a:cubicBezTo>
                  <a:cubicBezTo>
                    <a:pt x="978" y="5199"/>
                    <a:pt x="158" y="5766"/>
                    <a:pt x="158" y="5798"/>
                  </a:cubicBezTo>
                  <a:cubicBezTo>
                    <a:pt x="95" y="5861"/>
                    <a:pt x="1" y="5955"/>
                    <a:pt x="1" y="6081"/>
                  </a:cubicBezTo>
                  <a:cubicBezTo>
                    <a:pt x="1" y="6207"/>
                    <a:pt x="32" y="6302"/>
                    <a:pt x="158" y="6333"/>
                  </a:cubicBezTo>
                  <a:cubicBezTo>
                    <a:pt x="190" y="6396"/>
                    <a:pt x="978" y="6932"/>
                    <a:pt x="2017" y="7089"/>
                  </a:cubicBezTo>
                  <a:cubicBezTo>
                    <a:pt x="1639" y="7593"/>
                    <a:pt x="1450" y="8287"/>
                    <a:pt x="1450" y="8917"/>
                  </a:cubicBezTo>
                  <a:cubicBezTo>
                    <a:pt x="1450" y="9106"/>
                    <a:pt x="1608" y="9263"/>
                    <a:pt x="1797" y="9263"/>
                  </a:cubicBezTo>
                  <a:cubicBezTo>
                    <a:pt x="3151" y="9263"/>
                    <a:pt x="4286" y="8476"/>
                    <a:pt x="4758" y="7278"/>
                  </a:cubicBezTo>
                  <a:lnTo>
                    <a:pt x="4758" y="7278"/>
                  </a:lnTo>
                  <a:cubicBezTo>
                    <a:pt x="5168" y="8696"/>
                    <a:pt x="5010" y="10271"/>
                    <a:pt x="4349" y="11626"/>
                  </a:cubicBezTo>
                  <a:cubicBezTo>
                    <a:pt x="4223" y="11847"/>
                    <a:pt x="4380" y="12130"/>
                    <a:pt x="4664" y="12130"/>
                  </a:cubicBezTo>
                  <a:lnTo>
                    <a:pt x="7499" y="12130"/>
                  </a:lnTo>
                  <a:cubicBezTo>
                    <a:pt x="7751" y="12130"/>
                    <a:pt x="7909" y="11878"/>
                    <a:pt x="7814" y="11626"/>
                  </a:cubicBezTo>
                  <a:cubicBezTo>
                    <a:pt x="6932" y="9925"/>
                    <a:pt x="6932" y="7908"/>
                    <a:pt x="7814" y="6239"/>
                  </a:cubicBezTo>
                  <a:cubicBezTo>
                    <a:pt x="7846" y="6144"/>
                    <a:pt x="7846" y="6018"/>
                    <a:pt x="7814" y="5924"/>
                  </a:cubicBezTo>
                  <a:cubicBezTo>
                    <a:pt x="6932" y="4222"/>
                    <a:pt x="6932" y="2206"/>
                    <a:pt x="7814" y="505"/>
                  </a:cubicBezTo>
                  <a:cubicBezTo>
                    <a:pt x="7909" y="284"/>
                    <a:pt x="7720" y="1"/>
                    <a:pt x="74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80"/>
            <p:cNvSpPr/>
            <p:nvPr/>
          </p:nvSpPr>
          <p:spPr>
            <a:xfrm>
              <a:off x="-19962875" y="2110425"/>
              <a:ext cx="95325" cy="233175"/>
            </a:xfrm>
            <a:custGeom>
              <a:avLst/>
              <a:gdLst/>
              <a:ahLst/>
              <a:cxnLst/>
              <a:rect l="l" t="t" r="r" b="b"/>
              <a:pathLst>
                <a:path w="3813" h="9327" extrusionOk="0">
                  <a:moveTo>
                    <a:pt x="2773" y="725"/>
                  </a:moveTo>
                  <a:cubicBezTo>
                    <a:pt x="2269" y="1859"/>
                    <a:pt x="2269" y="3151"/>
                    <a:pt x="2773" y="4317"/>
                  </a:cubicBezTo>
                  <a:lnTo>
                    <a:pt x="1103" y="4317"/>
                  </a:lnTo>
                  <a:cubicBezTo>
                    <a:pt x="1639" y="3151"/>
                    <a:pt x="1639" y="1859"/>
                    <a:pt x="1103" y="725"/>
                  </a:cubicBezTo>
                  <a:close/>
                  <a:moveTo>
                    <a:pt x="2742" y="4978"/>
                  </a:moveTo>
                  <a:cubicBezTo>
                    <a:pt x="2458" y="5546"/>
                    <a:pt x="2332" y="6176"/>
                    <a:pt x="2332" y="6806"/>
                  </a:cubicBezTo>
                  <a:cubicBezTo>
                    <a:pt x="2332" y="7467"/>
                    <a:pt x="2490" y="8066"/>
                    <a:pt x="2742" y="8602"/>
                  </a:cubicBezTo>
                  <a:lnTo>
                    <a:pt x="1072" y="8602"/>
                  </a:lnTo>
                  <a:cubicBezTo>
                    <a:pt x="1355" y="8066"/>
                    <a:pt x="1482" y="7436"/>
                    <a:pt x="1482" y="6806"/>
                  </a:cubicBezTo>
                  <a:cubicBezTo>
                    <a:pt x="1482" y="6176"/>
                    <a:pt x="1355" y="5546"/>
                    <a:pt x="1072" y="4978"/>
                  </a:cubicBezTo>
                  <a:close/>
                  <a:moveTo>
                    <a:pt x="473" y="1"/>
                  </a:moveTo>
                  <a:cubicBezTo>
                    <a:pt x="221" y="1"/>
                    <a:pt x="32" y="347"/>
                    <a:pt x="158" y="568"/>
                  </a:cubicBezTo>
                  <a:cubicBezTo>
                    <a:pt x="914" y="1670"/>
                    <a:pt x="1009" y="3151"/>
                    <a:pt x="158" y="4474"/>
                  </a:cubicBezTo>
                  <a:cubicBezTo>
                    <a:pt x="95" y="4600"/>
                    <a:pt x="95" y="4726"/>
                    <a:pt x="158" y="4852"/>
                  </a:cubicBezTo>
                  <a:cubicBezTo>
                    <a:pt x="946" y="6050"/>
                    <a:pt x="946" y="7625"/>
                    <a:pt x="158" y="8759"/>
                  </a:cubicBezTo>
                  <a:cubicBezTo>
                    <a:pt x="1" y="9011"/>
                    <a:pt x="158" y="9326"/>
                    <a:pt x="473" y="9326"/>
                  </a:cubicBezTo>
                  <a:lnTo>
                    <a:pt x="3309" y="9326"/>
                  </a:lnTo>
                  <a:cubicBezTo>
                    <a:pt x="3592" y="9326"/>
                    <a:pt x="3813" y="9011"/>
                    <a:pt x="3624" y="8759"/>
                  </a:cubicBezTo>
                  <a:cubicBezTo>
                    <a:pt x="2836" y="7593"/>
                    <a:pt x="2836" y="6018"/>
                    <a:pt x="3624" y="4852"/>
                  </a:cubicBezTo>
                  <a:cubicBezTo>
                    <a:pt x="3718" y="4726"/>
                    <a:pt x="3718" y="4600"/>
                    <a:pt x="3624" y="4474"/>
                  </a:cubicBezTo>
                  <a:cubicBezTo>
                    <a:pt x="2836" y="3277"/>
                    <a:pt x="2836" y="1765"/>
                    <a:pt x="3624" y="568"/>
                  </a:cubicBezTo>
                  <a:cubicBezTo>
                    <a:pt x="3813" y="347"/>
                    <a:pt x="3624"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36" name="Google Shape;10736;p80"/>
          <p:cNvSpPr/>
          <p:nvPr/>
        </p:nvSpPr>
        <p:spPr>
          <a:xfrm>
            <a:off x="2600972" y="2275467"/>
            <a:ext cx="472676" cy="472054"/>
          </a:xfrm>
          <a:custGeom>
            <a:avLst/>
            <a:gdLst/>
            <a:ahLst/>
            <a:cxnLst/>
            <a:rect l="l" t="t" r="r" b="b"/>
            <a:pathLst>
              <a:path w="12162" h="12146" extrusionOk="0">
                <a:moveTo>
                  <a:pt x="8979" y="686"/>
                </a:moveTo>
                <a:lnTo>
                  <a:pt x="11437" y="1946"/>
                </a:lnTo>
                <a:lnTo>
                  <a:pt x="11437" y="5096"/>
                </a:lnTo>
                <a:lnTo>
                  <a:pt x="8979" y="6357"/>
                </a:lnTo>
                <a:lnTo>
                  <a:pt x="8444" y="6073"/>
                </a:lnTo>
                <a:cubicBezTo>
                  <a:pt x="8444" y="5821"/>
                  <a:pt x="8381" y="5569"/>
                  <a:pt x="8286" y="5285"/>
                </a:cubicBezTo>
                <a:lnTo>
                  <a:pt x="9767" y="4939"/>
                </a:lnTo>
                <a:cubicBezTo>
                  <a:pt x="9956" y="4907"/>
                  <a:pt x="10082" y="4718"/>
                  <a:pt x="10019" y="4498"/>
                </a:cubicBezTo>
                <a:cubicBezTo>
                  <a:pt x="9993" y="4342"/>
                  <a:pt x="9861" y="4229"/>
                  <a:pt x="9709" y="4229"/>
                </a:cubicBezTo>
                <a:cubicBezTo>
                  <a:pt x="9676" y="4229"/>
                  <a:pt x="9643" y="4235"/>
                  <a:pt x="9609" y="4246"/>
                </a:cubicBezTo>
                <a:lnTo>
                  <a:pt x="7940" y="4655"/>
                </a:lnTo>
                <a:cubicBezTo>
                  <a:pt x="7877" y="4592"/>
                  <a:pt x="7814" y="4498"/>
                  <a:pt x="7751" y="4435"/>
                </a:cubicBezTo>
                <a:lnTo>
                  <a:pt x="8570" y="2986"/>
                </a:lnTo>
                <a:cubicBezTo>
                  <a:pt x="8664" y="2828"/>
                  <a:pt x="8601" y="2576"/>
                  <a:pt x="8444" y="2513"/>
                </a:cubicBezTo>
                <a:cubicBezTo>
                  <a:pt x="8385" y="2477"/>
                  <a:pt x="8317" y="2460"/>
                  <a:pt x="8250" y="2460"/>
                </a:cubicBezTo>
                <a:cubicBezTo>
                  <a:pt x="8139" y="2460"/>
                  <a:pt x="8030" y="2509"/>
                  <a:pt x="7971" y="2607"/>
                </a:cubicBezTo>
                <a:lnTo>
                  <a:pt x="7184" y="3994"/>
                </a:lnTo>
                <a:cubicBezTo>
                  <a:pt x="6963" y="3868"/>
                  <a:pt x="6774" y="3805"/>
                  <a:pt x="6490" y="3710"/>
                </a:cubicBezTo>
                <a:lnTo>
                  <a:pt x="6490" y="1946"/>
                </a:lnTo>
                <a:lnTo>
                  <a:pt x="8979" y="686"/>
                </a:lnTo>
                <a:close/>
                <a:moveTo>
                  <a:pt x="2438" y="3498"/>
                </a:moveTo>
                <a:cubicBezTo>
                  <a:pt x="2782" y="3498"/>
                  <a:pt x="3112" y="3707"/>
                  <a:pt x="3245" y="4088"/>
                </a:cubicBezTo>
                <a:lnTo>
                  <a:pt x="4191" y="6451"/>
                </a:lnTo>
                <a:cubicBezTo>
                  <a:pt x="3876" y="6231"/>
                  <a:pt x="2363" y="5380"/>
                  <a:pt x="2017" y="5191"/>
                </a:cubicBezTo>
                <a:cubicBezTo>
                  <a:pt x="1481" y="4907"/>
                  <a:pt x="1387" y="4183"/>
                  <a:pt x="1796" y="3773"/>
                </a:cubicBezTo>
                <a:cubicBezTo>
                  <a:pt x="1983" y="3587"/>
                  <a:pt x="2213" y="3498"/>
                  <a:pt x="2438" y="3498"/>
                </a:cubicBezTo>
                <a:close/>
                <a:moveTo>
                  <a:pt x="5970" y="4409"/>
                </a:moveTo>
                <a:cubicBezTo>
                  <a:pt x="6417" y="4409"/>
                  <a:pt x="6857" y="4584"/>
                  <a:pt x="7184" y="4939"/>
                </a:cubicBezTo>
                <a:cubicBezTo>
                  <a:pt x="7940" y="5695"/>
                  <a:pt x="7877" y="6987"/>
                  <a:pt x="6995" y="7648"/>
                </a:cubicBezTo>
                <a:lnTo>
                  <a:pt x="5230" y="6955"/>
                </a:lnTo>
                <a:lnTo>
                  <a:pt x="4506" y="5191"/>
                </a:lnTo>
                <a:cubicBezTo>
                  <a:pt x="4870" y="4671"/>
                  <a:pt x="5424" y="4409"/>
                  <a:pt x="5970" y="4409"/>
                </a:cubicBezTo>
                <a:close/>
                <a:moveTo>
                  <a:pt x="3025" y="6609"/>
                </a:moveTo>
                <a:lnTo>
                  <a:pt x="4632" y="7491"/>
                </a:lnTo>
                <a:lnTo>
                  <a:pt x="5545" y="9129"/>
                </a:lnTo>
                <a:lnTo>
                  <a:pt x="5419" y="9223"/>
                </a:lnTo>
                <a:lnTo>
                  <a:pt x="2899" y="6703"/>
                </a:lnTo>
                <a:lnTo>
                  <a:pt x="3025" y="6609"/>
                </a:lnTo>
                <a:close/>
                <a:moveTo>
                  <a:pt x="2395" y="7207"/>
                </a:moveTo>
                <a:lnTo>
                  <a:pt x="4915" y="9759"/>
                </a:lnTo>
                <a:lnTo>
                  <a:pt x="4758" y="9917"/>
                </a:lnTo>
                <a:cubicBezTo>
                  <a:pt x="4632" y="10011"/>
                  <a:pt x="4537" y="10106"/>
                  <a:pt x="4411" y="10232"/>
                </a:cubicBezTo>
                <a:lnTo>
                  <a:pt x="1922" y="7743"/>
                </a:lnTo>
                <a:cubicBezTo>
                  <a:pt x="1985" y="7617"/>
                  <a:pt x="2111" y="7491"/>
                  <a:pt x="2237" y="7396"/>
                </a:cubicBezTo>
                <a:lnTo>
                  <a:pt x="2395" y="7207"/>
                </a:lnTo>
                <a:close/>
                <a:moveTo>
                  <a:pt x="5734" y="7900"/>
                </a:moveTo>
                <a:cubicBezTo>
                  <a:pt x="6018" y="8026"/>
                  <a:pt x="7782" y="8719"/>
                  <a:pt x="8066" y="8845"/>
                </a:cubicBezTo>
                <a:cubicBezTo>
                  <a:pt x="8664" y="9066"/>
                  <a:pt x="8822" y="9854"/>
                  <a:pt x="8381" y="10295"/>
                </a:cubicBezTo>
                <a:cubicBezTo>
                  <a:pt x="8196" y="10479"/>
                  <a:pt x="7968" y="10564"/>
                  <a:pt x="7744" y="10564"/>
                </a:cubicBezTo>
                <a:cubicBezTo>
                  <a:pt x="7432" y="10564"/>
                  <a:pt x="7128" y="10399"/>
                  <a:pt x="6963" y="10106"/>
                </a:cubicBezTo>
                <a:cubicBezTo>
                  <a:pt x="6837" y="9854"/>
                  <a:pt x="5860" y="8089"/>
                  <a:pt x="5734" y="7900"/>
                </a:cubicBezTo>
                <a:close/>
                <a:moveTo>
                  <a:pt x="1576" y="8404"/>
                </a:moveTo>
                <a:lnTo>
                  <a:pt x="3750" y="10578"/>
                </a:lnTo>
                <a:cubicBezTo>
                  <a:pt x="3447" y="10661"/>
                  <a:pt x="3132" y="10707"/>
                  <a:pt x="2819" y="10707"/>
                </a:cubicBezTo>
                <a:cubicBezTo>
                  <a:pt x="2414" y="10707"/>
                  <a:pt x="2012" y="10630"/>
                  <a:pt x="1639" y="10452"/>
                </a:cubicBezTo>
                <a:cubicBezTo>
                  <a:pt x="1324" y="9791"/>
                  <a:pt x="1324" y="9034"/>
                  <a:pt x="1576" y="8404"/>
                </a:cubicBezTo>
                <a:close/>
                <a:moveTo>
                  <a:pt x="8956" y="0"/>
                </a:moveTo>
                <a:cubicBezTo>
                  <a:pt x="8901" y="0"/>
                  <a:pt x="8853" y="8"/>
                  <a:pt x="8822" y="24"/>
                </a:cubicBezTo>
                <a:lnTo>
                  <a:pt x="5986" y="1442"/>
                </a:lnTo>
                <a:cubicBezTo>
                  <a:pt x="5860" y="1505"/>
                  <a:pt x="5766" y="1631"/>
                  <a:pt x="5766" y="1757"/>
                </a:cubicBezTo>
                <a:lnTo>
                  <a:pt x="5766" y="3710"/>
                </a:lnTo>
                <a:cubicBezTo>
                  <a:pt x="5199" y="3773"/>
                  <a:pt x="4632" y="4025"/>
                  <a:pt x="4254" y="4435"/>
                </a:cubicBezTo>
                <a:lnTo>
                  <a:pt x="4002" y="3805"/>
                </a:lnTo>
                <a:cubicBezTo>
                  <a:pt x="3751" y="3149"/>
                  <a:pt x="3134" y="2788"/>
                  <a:pt x="2505" y="2788"/>
                </a:cubicBezTo>
                <a:cubicBezTo>
                  <a:pt x="2107" y="2788"/>
                  <a:pt x="1704" y="2932"/>
                  <a:pt x="1387" y="3238"/>
                </a:cubicBezTo>
                <a:cubicBezTo>
                  <a:pt x="631" y="3994"/>
                  <a:pt x="788" y="5285"/>
                  <a:pt x="1733" y="5821"/>
                </a:cubicBezTo>
                <a:lnTo>
                  <a:pt x="2426" y="6199"/>
                </a:lnTo>
                <a:lnTo>
                  <a:pt x="1765" y="6861"/>
                </a:lnTo>
                <a:cubicBezTo>
                  <a:pt x="788" y="7869"/>
                  <a:pt x="473" y="9349"/>
                  <a:pt x="1009" y="10641"/>
                </a:cubicBezTo>
                <a:lnTo>
                  <a:pt x="158" y="11523"/>
                </a:lnTo>
                <a:cubicBezTo>
                  <a:pt x="0" y="11681"/>
                  <a:pt x="0" y="11870"/>
                  <a:pt x="158" y="12027"/>
                </a:cubicBezTo>
                <a:cubicBezTo>
                  <a:pt x="237" y="12106"/>
                  <a:pt x="323" y="12146"/>
                  <a:pt x="410" y="12146"/>
                </a:cubicBezTo>
                <a:cubicBezTo>
                  <a:pt x="497" y="12146"/>
                  <a:pt x="583" y="12106"/>
                  <a:pt x="662" y="12027"/>
                </a:cubicBezTo>
                <a:lnTo>
                  <a:pt x="1544" y="11177"/>
                </a:lnTo>
                <a:cubicBezTo>
                  <a:pt x="1966" y="11341"/>
                  <a:pt x="2408" y="11422"/>
                  <a:pt x="2846" y="11422"/>
                </a:cubicBezTo>
                <a:cubicBezTo>
                  <a:pt x="3752" y="11422"/>
                  <a:pt x="4646" y="11079"/>
                  <a:pt x="5325" y="10421"/>
                </a:cubicBezTo>
                <a:lnTo>
                  <a:pt x="5986" y="9759"/>
                </a:lnTo>
                <a:lnTo>
                  <a:pt x="6364" y="10452"/>
                </a:lnTo>
                <a:cubicBezTo>
                  <a:pt x="6672" y="10994"/>
                  <a:pt x="7217" y="11277"/>
                  <a:pt x="7776" y="11277"/>
                </a:cubicBezTo>
                <a:cubicBezTo>
                  <a:pt x="8190" y="11277"/>
                  <a:pt x="8612" y="11121"/>
                  <a:pt x="8948" y="10799"/>
                </a:cubicBezTo>
                <a:cubicBezTo>
                  <a:pt x="9767" y="9980"/>
                  <a:pt x="9483" y="8593"/>
                  <a:pt x="8381" y="8184"/>
                </a:cubicBezTo>
                <a:lnTo>
                  <a:pt x="7751" y="7932"/>
                </a:lnTo>
                <a:cubicBezTo>
                  <a:pt x="8066" y="7617"/>
                  <a:pt x="8255" y="7270"/>
                  <a:pt x="8381" y="6829"/>
                </a:cubicBezTo>
                <a:lnTo>
                  <a:pt x="8822" y="7081"/>
                </a:lnTo>
                <a:cubicBezTo>
                  <a:pt x="8885" y="7097"/>
                  <a:pt x="8940" y="7105"/>
                  <a:pt x="8991" y="7105"/>
                </a:cubicBezTo>
                <a:cubicBezTo>
                  <a:pt x="9042" y="7105"/>
                  <a:pt x="9090" y="7097"/>
                  <a:pt x="9137" y="7081"/>
                </a:cubicBezTo>
                <a:lnTo>
                  <a:pt x="11972" y="5663"/>
                </a:lnTo>
                <a:cubicBezTo>
                  <a:pt x="12098" y="5569"/>
                  <a:pt x="12161" y="5443"/>
                  <a:pt x="12161" y="5348"/>
                </a:cubicBezTo>
                <a:lnTo>
                  <a:pt x="12161" y="1757"/>
                </a:lnTo>
                <a:cubicBezTo>
                  <a:pt x="12161" y="1631"/>
                  <a:pt x="12067" y="1473"/>
                  <a:pt x="11972" y="1442"/>
                </a:cubicBezTo>
                <a:lnTo>
                  <a:pt x="9137" y="24"/>
                </a:lnTo>
                <a:cubicBezTo>
                  <a:pt x="9074" y="8"/>
                  <a:pt x="9011" y="0"/>
                  <a:pt x="89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37" name="Google Shape;10737;p80"/>
          <p:cNvGrpSpPr/>
          <p:nvPr/>
        </p:nvGrpSpPr>
        <p:grpSpPr>
          <a:xfrm>
            <a:off x="2602193" y="2850282"/>
            <a:ext cx="472676" cy="475125"/>
            <a:chOff x="-20173175" y="2787775"/>
            <a:chExt cx="304050" cy="305625"/>
          </a:xfrm>
        </p:grpSpPr>
        <p:sp>
          <p:nvSpPr>
            <p:cNvPr id="10738" name="Google Shape;10738;p80"/>
            <p:cNvSpPr/>
            <p:nvPr/>
          </p:nvSpPr>
          <p:spPr>
            <a:xfrm>
              <a:off x="-19959725" y="2896475"/>
              <a:ext cx="18150" cy="18150"/>
            </a:xfrm>
            <a:custGeom>
              <a:avLst/>
              <a:gdLst/>
              <a:ahLst/>
              <a:cxnLst/>
              <a:rect l="l" t="t" r="r" b="b"/>
              <a:pathLst>
                <a:path w="726" h="726" extrusionOk="0">
                  <a:moveTo>
                    <a:pt x="347" y="0"/>
                  </a:moveTo>
                  <a:cubicBezTo>
                    <a:pt x="158" y="0"/>
                    <a:pt x="1" y="158"/>
                    <a:pt x="1" y="347"/>
                  </a:cubicBezTo>
                  <a:cubicBezTo>
                    <a:pt x="1" y="505"/>
                    <a:pt x="158" y="725"/>
                    <a:pt x="347" y="725"/>
                  </a:cubicBezTo>
                  <a:cubicBezTo>
                    <a:pt x="568" y="725"/>
                    <a:pt x="725" y="568"/>
                    <a:pt x="725" y="347"/>
                  </a:cubicBezTo>
                  <a:cubicBezTo>
                    <a:pt x="725"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80"/>
            <p:cNvSpPr/>
            <p:nvPr/>
          </p:nvSpPr>
          <p:spPr>
            <a:xfrm>
              <a:off x="-19941600" y="28602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80"/>
            <p:cNvSpPr/>
            <p:nvPr/>
          </p:nvSpPr>
          <p:spPr>
            <a:xfrm>
              <a:off x="-20102275" y="2895675"/>
              <a:ext cx="18125" cy="17375"/>
            </a:xfrm>
            <a:custGeom>
              <a:avLst/>
              <a:gdLst/>
              <a:ahLst/>
              <a:cxnLst/>
              <a:rect l="l" t="t" r="r" b="b"/>
              <a:pathLst>
                <a:path w="725" h="695" extrusionOk="0">
                  <a:moveTo>
                    <a:pt x="347" y="1"/>
                  </a:moveTo>
                  <a:cubicBezTo>
                    <a:pt x="158" y="1"/>
                    <a:pt x="0" y="159"/>
                    <a:pt x="0" y="348"/>
                  </a:cubicBezTo>
                  <a:cubicBezTo>
                    <a:pt x="0" y="537"/>
                    <a:pt x="158" y="694"/>
                    <a:pt x="347" y="694"/>
                  </a:cubicBezTo>
                  <a:cubicBezTo>
                    <a:pt x="536" y="694"/>
                    <a:pt x="725" y="537"/>
                    <a:pt x="725" y="348"/>
                  </a:cubicBezTo>
                  <a:cubicBezTo>
                    <a:pt x="725"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80"/>
            <p:cNvSpPr/>
            <p:nvPr/>
          </p:nvSpPr>
          <p:spPr>
            <a:xfrm>
              <a:off x="-20120400" y="286025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2" name="Google Shape;10742;p80"/>
            <p:cNvSpPr/>
            <p:nvPr/>
          </p:nvSpPr>
          <p:spPr>
            <a:xfrm>
              <a:off x="-20173175" y="2787775"/>
              <a:ext cx="304050" cy="305625"/>
            </a:xfrm>
            <a:custGeom>
              <a:avLst/>
              <a:gdLst/>
              <a:ahLst/>
              <a:cxnLst/>
              <a:rect l="l" t="t" r="r" b="b"/>
              <a:pathLst>
                <a:path w="12162" h="12225" extrusionOk="0">
                  <a:moveTo>
                    <a:pt x="11437" y="1482"/>
                  </a:moveTo>
                  <a:lnTo>
                    <a:pt x="11437" y="3246"/>
                  </a:lnTo>
                  <a:lnTo>
                    <a:pt x="11406" y="3246"/>
                  </a:lnTo>
                  <a:cubicBezTo>
                    <a:pt x="11406" y="3844"/>
                    <a:pt x="10902" y="4317"/>
                    <a:pt x="10303" y="4317"/>
                  </a:cubicBezTo>
                  <a:cubicBezTo>
                    <a:pt x="10114" y="4317"/>
                    <a:pt x="9957" y="4475"/>
                    <a:pt x="9957" y="4664"/>
                  </a:cubicBezTo>
                  <a:cubicBezTo>
                    <a:pt x="9957" y="5262"/>
                    <a:pt x="9484" y="5735"/>
                    <a:pt x="8885" y="5735"/>
                  </a:cubicBezTo>
                  <a:lnTo>
                    <a:pt x="7121" y="5735"/>
                  </a:lnTo>
                  <a:cubicBezTo>
                    <a:pt x="7279" y="3435"/>
                    <a:pt x="9137" y="1639"/>
                    <a:pt x="11437" y="1482"/>
                  </a:cubicBezTo>
                  <a:close/>
                  <a:moveTo>
                    <a:pt x="663" y="1513"/>
                  </a:moveTo>
                  <a:cubicBezTo>
                    <a:pt x="2962" y="1671"/>
                    <a:pt x="4790" y="3529"/>
                    <a:pt x="4947" y="5766"/>
                  </a:cubicBezTo>
                  <a:lnTo>
                    <a:pt x="3183" y="5766"/>
                  </a:lnTo>
                  <a:cubicBezTo>
                    <a:pt x="2584" y="5766"/>
                    <a:pt x="2143" y="5294"/>
                    <a:pt x="2143" y="4695"/>
                  </a:cubicBezTo>
                  <a:cubicBezTo>
                    <a:pt x="2143" y="4506"/>
                    <a:pt x="1986" y="4348"/>
                    <a:pt x="1765" y="4348"/>
                  </a:cubicBezTo>
                  <a:cubicBezTo>
                    <a:pt x="1198" y="4348"/>
                    <a:pt x="663" y="3876"/>
                    <a:pt x="663" y="3277"/>
                  </a:cubicBezTo>
                  <a:lnTo>
                    <a:pt x="663" y="1513"/>
                  </a:lnTo>
                  <a:close/>
                  <a:moveTo>
                    <a:pt x="6018" y="4317"/>
                  </a:moveTo>
                  <a:cubicBezTo>
                    <a:pt x="6207" y="4317"/>
                    <a:pt x="6365" y="4475"/>
                    <a:pt x="6365" y="4664"/>
                  </a:cubicBezTo>
                  <a:lnTo>
                    <a:pt x="6365" y="8948"/>
                  </a:lnTo>
                  <a:cubicBezTo>
                    <a:pt x="6365" y="9169"/>
                    <a:pt x="6207" y="9326"/>
                    <a:pt x="6018" y="9326"/>
                  </a:cubicBezTo>
                  <a:cubicBezTo>
                    <a:pt x="5829" y="9326"/>
                    <a:pt x="5672" y="9169"/>
                    <a:pt x="5672" y="8948"/>
                  </a:cubicBezTo>
                  <a:lnTo>
                    <a:pt x="5672" y="4664"/>
                  </a:lnTo>
                  <a:cubicBezTo>
                    <a:pt x="5672" y="4475"/>
                    <a:pt x="5829" y="4317"/>
                    <a:pt x="6018" y="4317"/>
                  </a:cubicBezTo>
                  <a:close/>
                  <a:moveTo>
                    <a:pt x="4947" y="6459"/>
                  </a:moveTo>
                  <a:lnTo>
                    <a:pt x="4947" y="8948"/>
                  </a:lnTo>
                  <a:lnTo>
                    <a:pt x="4947" y="11122"/>
                  </a:lnTo>
                  <a:cubicBezTo>
                    <a:pt x="4947" y="11311"/>
                    <a:pt x="4790" y="11469"/>
                    <a:pt x="4601" y="11469"/>
                  </a:cubicBezTo>
                  <a:cubicBezTo>
                    <a:pt x="4412" y="11469"/>
                    <a:pt x="4254" y="11311"/>
                    <a:pt x="4254" y="11122"/>
                  </a:cubicBezTo>
                  <a:cubicBezTo>
                    <a:pt x="4254" y="10838"/>
                    <a:pt x="4128" y="10586"/>
                    <a:pt x="3939" y="10366"/>
                  </a:cubicBezTo>
                  <a:cubicBezTo>
                    <a:pt x="3750" y="10177"/>
                    <a:pt x="3467" y="10051"/>
                    <a:pt x="3183" y="10051"/>
                  </a:cubicBezTo>
                  <a:cubicBezTo>
                    <a:pt x="2175" y="10051"/>
                    <a:pt x="1324" y="9200"/>
                    <a:pt x="1419" y="8161"/>
                  </a:cubicBezTo>
                  <a:cubicBezTo>
                    <a:pt x="1450" y="7215"/>
                    <a:pt x="2332" y="6459"/>
                    <a:pt x="3309" y="6459"/>
                  </a:cubicBezTo>
                  <a:close/>
                  <a:moveTo>
                    <a:pt x="8791" y="6491"/>
                  </a:moveTo>
                  <a:cubicBezTo>
                    <a:pt x="9767" y="6491"/>
                    <a:pt x="10618" y="7215"/>
                    <a:pt x="10681" y="8161"/>
                  </a:cubicBezTo>
                  <a:cubicBezTo>
                    <a:pt x="10713" y="9200"/>
                    <a:pt x="9925" y="10051"/>
                    <a:pt x="8885" y="10051"/>
                  </a:cubicBezTo>
                  <a:cubicBezTo>
                    <a:pt x="8633" y="10051"/>
                    <a:pt x="8350" y="10177"/>
                    <a:pt x="8161" y="10366"/>
                  </a:cubicBezTo>
                  <a:cubicBezTo>
                    <a:pt x="7940" y="10586"/>
                    <a:pt x="7846" y="10838"/>
                    <a:pt x="7846" y="11122"/>
                  </a:cubicBezTo>
                  <a:cubicBezTo>
                    <a:pt x="7846" y="11311"/>
                    <a:pt x="7688" y="11469"/>
                    <a:pt x="7468" y="11469"/>
                  </a:cubicBezTo>
                  <a:cubicBezTo>
                    <a:pt x="7279" y="11469"/>
                    <a:pt x="7121" y="11311"/>
                    <a:pt x="7121" y="11122"/>
                  </a:cubicBezTo>
                  <a:lnTo>
                    <a:pt x="7121" y="8948"/>
                  </a:lnTo>
                  <a:lnTo>
                    <a:pt x="7121" y="6491"/>
                  </a:lnTo>
                  <a:close/>
                  <a:moveTo>
                    <a:pt x="4632" y="1"/>
                  </a:moveTo>
                  <a:cubicBezTo>
                    <a:pt x="4443" y="1"/>
                    <a:pt x="4286" y="158"/>
                    <a:pt x="4286" y="379"/>
                  </a:cubicBezTo>
                  <a:cubicBezTo>
                    <a:pt x="4286" y="568"/>
                    <a:pt x="4443" y="725"/>
                    <a:pt x="4632" y="725"/>
                  </a:cubicBezTo>
                  <a:cubicBezTo>
                    <a:pt x="5231" y="725"/>
                    <a:pt x="5703" y="1230"/>
                    <a:pt x="5703" y="1828"/>
                  </a:cubicBezTo>
                  <a:lnTo>
                    <a:pt x="5703" y="3687"/>
                  </a:lnTo>
                  <a:cubicBezTo>
                    <a:pt x="5546" y="3750"/>
                    <a:pt x="5388" y="3844"/>
                    <a:pt x="5262" y="4002"/>
                  </a:cubicBezTo>
                  <a:cubicBezTo>
                    <a:pt x="4443" y="2112"/>
                    <a:pt x="2553" y="757"/>
                    <a:pt x="348" y="757"/>
                  </a:cubicBezTo>
                  <a:cubicBezTo>
                    <a:pt x="158" y="757"/>
                    <a:pt x="1" y="914"/>
                    <a:pt x="1" y="1135"/>
                  </a:cubicBezTo>
                  <a:lnTo>
                    <a:pt x="1" y="3246"/>
                  </a:lnTo>
                  <a:cubicBezTo>
                    <a:pt x="1" y="4159"/>
                    <a:pt x="663" y="4853"/>
                    <a:pt x="1482" y="5010"/>
                  </a:cubicBezTo>
                  <a:cubicBezTo>
                    <a:pt x="1576" y="5451"/>
                    <a:pt x="1797" y="5798"/>
                    <a:pt x="2112" y="6081"/>
                  </a:cubicBezTo>
                  <a:cubicBezTo>
                    <a:pt x="1324" y="6491"/>
                    <a:pt x="820" y="7215"/>
                    <a:pt x="757" y="8129"/>
                  </a:cubicBezTo>
                  <a:cubicBezTo>
                    <a:pt x="663" y="9547"/>
                    <a:pt x="1797" y="10775"/>
                    <a:pt x="3214" y="10775"/>
                  </a:cubicBezTo>
                  <a:cubicBezTo>
                    <a:pt x="3435" y="10775"/>
                    <a:pt x="3593" y="10965"/>
                    <a:pt x="3593" y="11154"/>
                  </a:cubicBezTo>
                  <a:cubicBezTo>
                    <a:pt x="3593" y="11752"/>
                    <a:pt x="4065" y="12225"/>
                    <a:pt x="4632" y="12225"/>
                  </a:cubicBezTo>
                  <a:cubicBezTo>
                    <a:pt x="5231" y="12225"/>
                    <a:pt x="5703" y="11752"/>
                    <a:pt x="5703" y="11154"/>
                  </a:cubicBezTo>
                  <a:lnTo>
                    <a:pt x="5703" y="10019"/>
                  </a:lnTo>
                  <a:cubicBezTo>
                    <a:pt x="5829" y="10051"/>
                    <a:pt x="5955" y="10082"/>
                    <a:pt x="6050" y="10082"/>
                  </a:cubicBezTo>
                  <a:cubicBezTo>
                    <a:pt x="6176" y="10082"/>
                    <a:pt x="6302" y="10051"/>
                    <a:pt x="6428" y="10019"/>
                  </a:cubicBezTo>
                  <a:lnTo>
                    <a:pt x="6428" y="11154"/>
                  </a:lnTo>
                  <a:cubicBezTo>
                    <a:pt x="6428" y="11752"/>
                    <a:pt x="6901" y="12225"/>
                    <a:pt x="7468" y="12225"/>
                  </a:cubicBezTo>
                  <a:cubicBezTo>
                    <a:pt x="8066" y="12225"/>
                    <a:pt x="8539" y="11752"/>
                    <a:pt x="8539" y="11154"/>
                  </a:cubicBezTo>
                  <a:cubicBezTo>
                    <a:pt x="8539" y="10965"/>
                    <a:pt x="8696" y="10775"/>
                    <a:pt x="8885" y="10775"/>
                  </a:cubicBezTo>
                  <a:cubicBezTo>
                    <a:pt x="10303" y="10775"/>
                    <a:pt x="11469" y="9578"/>
                    <a:pt x="11374" y="8129"/>
                  </a:cubicBezTo>
                  <a:cubicBezTo>
                    <a:pt x="11343" y="7499"/>
                    <a:pt x="11059" y="6869"/>
                    <a:pt x="10555" y="6428"/>
                  </a:cubicBezTo>
                  <a:cubicBezTo>
                    <a:pt x="10398" y="6270"/>
                    <a:pt x="10209" y="6176"/>
                    <a:pt x="10051" y="6081"/>
                  </a:cubicBezTo>
                  <a:cubicBezTo>
                    <a:pt x="10366" y="5798"/>
                    <a:pt x="10587" y="5451"/>
                    <a:pt x="10681" y="5010"/>
                  </a:cubicBezTo>
                  <a:cubicBezTo>
                    <a:pt x="11500" y="4853"/>
                    <a:pt x="12162" y="4159"/>
                    <a:pt x="12162" y="3246"/>
                  </a:cubicBezTo>
                  <a:lnTo>
                    <a:pt x="12162" y="1135"/>
                  </a:lnTo>
                  <a:cubicBezTo>
                    <a:pt x="12130" y="914"/>
                    <a:pt x="11973" y="757"/>
                    <a:pt x="11784" y="757"/>
                  </a:cubicBezTo>
                  <a:cubicBezTo>
                    <a:pt x="9578" y="757"/>
                    <a:pt x="7688" y="2112"/>
                    <a:pt x="6838" y="4002"/>
                  </a:cubicBezTo>
                  <a:cubicBezTo>
                    <a:pt x="6743" y="3876"/>
                    <a:pt x="6585" y="3750"/>
                    <a:pt x="6428" y="3687"/>
                  </a:cubicBezTo>
                  <a:lnTo>
                    <a:pt x="6428" y="1828"/>
                  </a:lnTo>
                  <a:cubicBezTo>
                    <a:pt x="6428" y="1230"/>
                    <a:pt x="6901" y="725"/>
                    <a:pt x="7468" y="725"/>
                  </a:cubicBezTo>
                  <a:cubicBezTo>
                    <a:pt x="7688" y="725"/>
                    <a:pt x="7846" y="568"/>
                    <a:pt x="7846" y="379"/>
                  </a:cubicBezTo>
                  <a:cubicBezTo>
                    <a:pt x="7846" y="158"/>
                    <a:pt x="7688" y="1"/>
                    <a:pt x="7468" y="1"/>
                  </a:cubicBezTo>
                  <a:cubicBezTo>
                    <a:pt x="6995" y="1"/>
                    <a:pt x="6522" y="221"/>
                    <a:pt x="6207" y="568"/>
                  </a:cubicBezTo>
                  <a:cubicBezTo>
                    <a:pt x="6144" y="631"/>
                    <a:pt x="6113" y="694"/>
                    <a:pt x="6050" y="757"/>
                  </a:cubicBezTo>
                  <a:cubicBezTo>
                    <a:pt x="6018" y="694"/>
                    <a:pt x="5955" y="631"/>
                    <a:pt x="5892" y="568"/>
                  </a:cubicBezTo>
                  <a:cubicBezTo>
                    <a:pt x="5546" y="221"/>
                    <a:pt x="5105"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3" name="Google Shape;10743;p80"/>
            <p:cNvSpPr/>
            <p:nvPr/>
          </p:nvSpPr>
          <p:spPr>
            <a:xfrm>
              <a:off x="-19977050" y="2967350"/>
              <a:ext cx="52800" cy="53600"/>
            </a:xfrm>
            <a:custGeom>
              <a:avLst/>
              <a:gdLst/>
              <a:ahLst/>
              <a:cxnLst/>
              <a:rect l="l" t="t" r="r" b="b"/>
              <a:pathLst>
                <a:path w="2112" h="2144" extrusionOk="0">
                  <a:moveTo>
                    <a:pt x="1040" y="726"/>
                  </a:moveTo>
                  <a:cubicBezTo>
                    <a:pt x="1261" y="726"/>
                    <a:pt x="1418" y="883"/>
                    <a:pt x="1418" y="1072"/>
                  </a:cubicBezTo>
                  <a:cubicBezTo>
                    <a:pt x="1418" y="1261"/>
                    <a:pt x="1261" y="1419"/>
                    <a:pt x="1040" y="1419"/>
                  </a:cubicBezTo>
                  <a:cubicBezTo>
                    <a:pt x="851" y="1419"/>
                    <a:pt x="694" y="1261"/>
                    <a:pt x="694" y="1072"/>
                  </a:cubicBezTo>
                  <a:cubicBezTo>
                    <a:pt x="694" y="883"/>
                    <a:pt x="851" y="726"/>
                    <a:pt x="1040" y="726"/>
                  </a:cubicBezTo>
                  <a:close/>
                  <a:moveTo>
                    <a:pt x="1040" y="1"/>
                  </a:moveTo>
                  <a:cubicBezTo>
                    <a:pt x="473" y="1"/>
                    <a:pt x="1" y="473"/>
                    <a:pt x="1" y="1072"/>
                  </a:cubicBezTo>
                  <a:cubicBezTo>
                    <a:pt x="1" y="1671"/>
                    <a:pt x="473" y="2143"/>
                    <a:pt x="1040" y="2143"/>
                  </a:cubicBezTo>
                  <a:cubicBezTo>
                    <a:pt x="1639" y="2143"/>
                    <a:pt x="2112" y="1671"/>
                    <a:pt x="2112" y="1072"/>
                  </a:cubicBezTo>
                  <a:cubicBezTo>
                    <a:pt x="2112" y="473"/>
                    <a:pt x="163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80"/>
            <p:cNvSpPr/>
            <p:nvPr/>
          </p:nvSpPr>
          <p:spPr>
            <a:xfrm>
              <a:off x="-20119600" y="2967350"/>
              <a:ext cx="52800" cy="52800"/>
            </a:xfrm>
            <a:custGeom>
              <a:avLst/>
              <a:gdLst/>
              <a:ahLst/>
              <a:cxnLst/>
              <a:rect l="l" t="t" r="r" b="b"/>
              <a:pathLst>
                <a:path w="2112" h="2112" extrusionOk="0">
                  <a:moveTo>
                    <a:pt x="1040" y="726"/>
                  </a:moveTo>
                  <a:cubicBezTo>
                    <a:pt x="1229" y="726"/>
                    <a:pt x="1418" y="883"/>
                    <a:pt x="1418" y="1072"/>
                  </a:cubicBezTo>
                  <a:cubicBezTo>
                    <a:pt x="1418" y="1261"/>
                    <a:pt x="1229" y="1419"/>
                    <a:pt x="1040" y="1419"/>
                  </a:cubicBezTo>
                  <a:cubicBezTo>
                    <a:pt x="851" y="1419"/>
                    <a:pt x="693" y="1261"/>
                    <a:pt x="693" y="1072"/>
                  </a:cubicBezTo>
                  <a:cubicBezTo>
                    <a:pt x="693" y="883"/>
                    <a:pt x="851" y="726"/>
                    <a:pt x="1040" y="726"/>
                  </a:cubicBezTo>
                  <a:close/>
                  <a:moveTo>
                    <a:pt x="1040" y="1"/>
                  </a:moveTo>
                  <a:cubicBezTo>
                    <a:pt x="441" y="1"/>
                    <a:pt x="0" y="473"/>
                    <a:pt x="0" y="1072"/>
                  </a:cubicBezTo>
                  <a:cubicBezTo>
                    <a:pt x="0" y="1639"/>
                    <a:pt x="441" y="2112"/>
                    <a:pt x="1040" y="2112"/>
                  </a:cubicBezTo>
                  <a:cubicBezTo>
                    <a:pt x="1639" y="2112"/>
                    <a:pt x="2111" y="1639"/>
                    <a:pt x="2111" y="1072"/>
                  </a:cubicBezTo>
                  <a:cubicBezTo>
                    <a:pt x="2111" y="473"/>
                    <a:pt x="163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5" name="Google Shape;10745;p80"/>
          <p:cNvGrpSpPr/>
          <p:nvPr/>
        </p:nvGrpSpPr>
        <p:grpSpPr>
          <a:xfrm>
            <a:off x="5527177" y="2275564"/>
            <a:ext cx="473881" cy="471471"/>
            <a:chOff x="-18294675" y="2434925"/>
            <a:chExt cx="304825" cy="303275"/>
          </a:xfrm>
        </p:grpSpPr>
        <p:sp>
          <p:nvSpPr>
            <p:cNvPr id="10746" name="Google Shape;10746;p80"/>
            <p:cNvSpPr/>
            <p:nvPr/>
          </p:nvSpPr>
          <p:spPr>
            <a:xfrm>
              <a:off x="-18294675" y="2434925"/>
              <a:ext cx="304825" cy="303275"/>
            </a:xfrm>
            <a:custGeom>
              <a:avLst/>
              <a:gdLst/>
              <a:ahLst/>
              <a:cxnLst/>
              <a:rect l="l" t="t" r="r" b="b"/>
              <a:pathLst>
                <a:path w="12193" h="12131" extrusionOk="0">
                  <a:moveTo>
                    <a:pt x="1103" y="694"/>
                  </a:moveTo>
                  <a:cubicBezTo>
                    <a:pt x="2363" y="694"/>
                    <a:pt x="3497" y="1450"/>
                    <a:pt x="4033" y="2584"/>
                  </a:cubicBezTo>
                  <a:cubicBezTo>
                    <a:pt x="3434" y="2836"/>
                    <a:pt x="2867" y="3214"/>
                    <a:pt x="2363" y="3687"/>
                  </a:cubicBezTo>
                  <a:lnTo>
                    <a:pt x="2237" y="3813"/>
                  </a:lnTo>
                  <a:cubicBezTo>
                    <a:pt x="1323" y="3214"/>
                    <a:pt x="756" y="2175"/>
                    <a:pt x="756" y="1072"/>
                  </a:cubicBezTo>
                  <a:lnTo>
                    <a:pt x="756" y="694"/>
                  </a:lnTo>
                  <a:close/>
                  <a:moveTo>
                    <a:pt x="11500" y="694"/>
                  </a:moveTo>
                  <a:lnTo>
                    <a:pt x="11500" y="1072"/>
                  </a:lnTo>
                  <a:cubicBezTo>
                    <a:pt x="11500" y="2175"/>
                    <a:pt x="10901" y="3214"/>
                    <a:pt x="9924" y="3813"/>
                  </a:cubicBezTo>
                  <a:cubicBezTo>
                    <a:pt x="9420" y="3277"/>
                    <a:pt x="8822" y="2868"/>
                    <a:pt x="8192" y="2584"/>
                  </a:cubicBezTo>
                  <a:cubicBezTo>
                    <a:pt x="8696" y="1450"/>
                    <a:pt x="9893" y="694"/>
                    <a:pt x="11153" y="694"/>
                  </a:cubicBezTo>
                  <a:close/>
                  <a:moveTo>
                    <a:pt x="2806" y="7389"/>
                  </a:moveTo>
                  <a:cubicBezTo>
                    <a:pt x="2924" y="7389"/>
                    <a:pt x="3043" y="7413"/>
                    <a:pt x="3151" y="7467"/>
                  </a:cubicBezTo>
                  <a:cubicBezTo>
                    <a:pt x="3434" y="7625"/>
                    <a:pt x="3623" y="7908"/>
                    <a:pt x="3623" y="8223"/>
                  </a:cubicBezTo>
                  <a:lnTo>
                    <a:pt x="3623" y="9011"/>
                  </a:lnTo>
                  <a:cubicBezTo>
                    <a:pt x="3182" y="8507"/>
                    <a:pt x="2552" y="8160"/>
                    <a:pt x="1891" y="7940"/>
                  </a:cubicBezTo>
                  <a:lnTo>
                    <a:pt x="2206" y="7625"/>
                  </a:lnTo>
                  <a:cubicBezTo>
                    <a:pt x="2351" y="7480"/>
                    <a:pt x="2578" y="7389"/>
                    <a:pt x="2806" y="7389"/>
                  </a:cubicBezTo>
                  <a:close/>
                  <a:moveTo>
                    <a:pt x="9468" y="7444"/>
                  </a:moveTo>
                  <a:cubicBezTo>
                    <a:pt x="9681" y="7444"/>
                    <a:pt x="9891" y="7528"/>
                    <a:pt x="10050" y="7688"/>
                  </a:cubicBezTo>
                  <a:lnTo>
                    <a:pt x="10365" y="8003"/>
                  </a:lnTo>
                  <a:cubicBezTo>
                    <a:pt x="9672" y="8160"/>
                    <a:pt x="9042" y="8507"/>
                    <a:pt x="8633" y="9043"/>
                  </a:cubicBezTo>
                  <a:lnTo>
                    <a:pt x="8633" y="8255"/>
                  </a:lnTo>
                  <a:cubicBezTo>
                    <a:pt x="8633" y="7940"/>
                    <a:pt x="8790" y="7688"/>
                    <a:pt x="9105" y="7530"/>
                  </a:cubicBezTo>
                  <a:cubicBezTo>
                    <a:pt x="9221" y="7473"/>
                    <a:pt x="9345" y="7444"/>
                    <a:pt x="9468" y="7444"/>
                  </a:cubicBezTo>
                  <a:close/>
                  <a:moveTo>
                    <a:pt x="6112" y="9484"/>
                  </a:moveTo>
                  <a:cubicBezTo>
                    <a:pt x="6270" y="9484"/>
                    <a:pt x="6427" y="9610"/>
                    <a:pt x="6459" y="9736"/>
                  </a:cubicBezTo>
                  <a:lnTo>
                    <a:pt x="6112" y="10145"/>
                  </a:lnTo>
                  <a:lnTo>
                    <a:pt x="5734" y="9736"/>
                  </a:lnTo>
                  <a:cubicBezTo>
                    <a:pt x="5797" y="9578"/>
                    <a:pt x="5955" y="9484"/>
                    <a:pt x="6112" y="9484"/>
                  </a:cubicBezTo>
                  <a:close/>
                  <a:moveTo>
                    <a:pt x="6270" y="2836"/>
                  </a:moveTo>
                  <a:cubicBezTo>
                    <a:pt x="8633" y="2899"/>
                    <a:pt x="10554" y="4884"/>
                    <a:pt x="10743" y="7310"/>
                  </a:cubicBezTo>
                  <a:lnTo>
                    <a:pt x="10554" y="7121"/>
                  </a:lnTo>
                  <a:cubicBezTo>
                    <a:pt x="10258" y="6824"/>
                    <a:pt x="9861" y="6664"/>
                    <a:pt x="9467" y="6664"/>
                  </a:cubicBezTo>
                  <a:cubicBezTo>
                    <a:pt x="9234" y="6664"/>
                    <a:pt x="9001" y="6720"/>
                    <a:pt x="8790" y="6837"/>
                  </a:cubicBezTo>
                  <a:cubicBezTo>
                    <a:pt x="8255" y="7121"/>
                    <a:pt x="7908" y="7625"/>
                    <a:pt x="7908" y="8223"/>
                  </a:cubicBezTo>
                  <a:lnTo>
                    <a:pt x="7908" y="9043"/>
                  </a:lnTo>
                  <a:cubicBezTo>
                    <a:pt x="7908" y="9641"/>
                    <a:pt x="7719" y="10240"/>
                    <a:pt x="7372" y="10744"/>
                  </a:cubicBezTo>
                  <a:cubicBezTo>
                    <a:pt x="7278" y="10870"/>
                    <a:pt x="7215" y="10933"/>
                    <a:pt x="7120" y="11027"/>
                  </a:cubicBezTo>
                  <a:cubicBezTo>
                    <a:pt x="6931" y="11216"/>
                    <a:pt x="6679" y="11342"/>
                    <a:pt x="6490" y="11374"/>
                  </a:cubicBezTo>
                  <a:lnTo>
                    <a:pt x="6490" y="10838"/>
                  </a:lnTo>
                  <a:lnTo>
                    <a:pt x="7120" y="10051"/>
                  </a:lnTo>
                  <a:cubicBezTo>
                    <a:pt x="7152" y="9956"/>
                    <a:pt x="7215" y="9893"/>
                    <a:pt x="7215" y="9799"/>
                  </a:cubicBezTo>
                  <a:cubicBezTo>
                    <a:pt x="7215" y="9200"/>
                    <a:pt x="6742" y="8728"/>
                    <a:pt x="6144" y="8728"/>
                  </a:cubicBezTo>
                  <a:cubicBezTo>
                    <a:pt x="5545" y="8728"/>
                    <a:pt x="5073" y="9200"/>
                    <a:pt x="5073" y="9799"/>
                  </a:cubicBezTo>
                  <a:cubicBezTo>
                    <a:pt x="5073" y="9893"/>
                    <a:pt x="5104" y="9956"/>
                    <a:pt x="5167" y="10051"/>
                  </a:cubicBezTo>
                  <a:lnTo>
                    <a:pt x="5797" y="10838"/>
                  </a:lnTo>
                  <a:lnTo>
                    <a:pt x="5797" y="11374"/>
                  </a:lnTo>
                  <a:cubicBezTo>
                    <a:pt x="5545" y="11311"/>
                    <a:pt x="5356" y="11185"/>
                    <a:pt x="5199" y="11027"/>
                  </a:cubicBezTo>
                  <a:cubicBezTo>
                    <a:pt x="5104" y="10933"/>
                    <a:pt x="5041" y="10838"/>
                    <a:pt x="4947" y="10744"/>
                  </a:cubicBezTo>
                  <a:cubicBezTo>
                    <a:pt x="4600" y="10271"/>
                    <a:pt x="4411" y="9673"/>
                    <a:pt x="4411" y="9043"/>
                  </a:cubicBezTo>
                  <a:lnTo>
                    <a:pt x="4411" y="8223"/>
                  </a:lnTo>
                  <a:cubicBezTo>
                    <a:pt x="4411" y="7625"/>
                    <a:pt x="4096" y="7121"/>
                    <a:pt x="3529" y="6837"/>
                  </a:cubicBezTo>
                  <a:cubicBezTo>
                    <a:pt x="3318" y="6720"/>
                    <a:pt x="3085" y="6664"/>
                    <a:pt x="2852" y="6664"/>
                  </a:cubicBezTo>
                  <a:cubicBezTo>
                    <a:pt x="2458" y="6664"/>
                    <a:pt x="2061" y="6824"/>
                    <a:pt x="1765" y="7121"/>
                  </a:cubicBezTo>
                  <a:lnTo>
                    <a:pt x="1576" y="7310"/>
                  </a:lnTo>
                  <a:cubicBezTo>
                    <a:pt x="1607" y="6270"/>
                    <a:pt x="2017" y="5230"/>
                    <a:pt x="2678" y="4443"/>
                  </a:cubicBezTo>
                  <a:cubicBezTo>
                    <a:pt x="2741" y="4317"/>
                    <a:pt x="2867" y="4254"/>
                    <a:pt x="2962" y="4128"/>
                  </a:cubicBezTo>
                  <a:cubicBezTo>
                    <a:pt x="3466" y="3655"/>
                    <a:pt x="4001" y="3309"/>
                    <a:pt x="4632" y="3057"/>
                  </a:cubicBezTo>
                  <a:cubicBezTo>
                    <a:pt x="5167" y="2899"/>
                    <a:pt x="5703" y="2836"/>
                    <a:pt x="6270" y="2836"/>
                  </a:cubicBezTo>
                  <a:close/>
                  <a:moveTo>
                    <a:pt x="11153" y="1"/>
                  </a:moveTo>
                  <a:cubicBezTo>
                    <a:pt x="10334" y="1"/>
                    <a:pt x="9483" y="253"/>
                    <a:pt x="8822" y="757"/>
                  </a:cubicBezTo>
                  <a:cubicBezTo>
                    <a:pt x="8255" y="1135"/>
                    <a:pt x="7782" y="1733"/>
                    <a:pt x="7530" y="2364"/>
                  </a:cubicBezTo>
                  <a:cubicBezTo>
                    <a:pt x="7120" y="2238"/>
                    <a:pt x="6679" y="2175"/>
                    <a:pt x="6270" y="2175"/>
                  </a:cubicBezTo>
                  <a:cubicBezTo>
                    <a:pt x="5703" y="2175"/>
                    <a:pt x="5199" y="2206"/>
                    <a:pt x="4695" y="2364"/>
                  </a:cubicBezTo>
                  <a:cubicBezTo>
                    <a:pt x="4411" y="1733"/>
                    <a:pt x="3938" y="1166"/>
                    <a:pt x="3371" y="788"/>
                  </a:cubicBezTo>
                  <a:cubicBezTo>
                    <a:pt x="2710" y="253"/>
                    <a:pt x="1891" y="32"/>
                    <a:pt x="1071" y="32"/>
                  </a:cubicBezTo>
                  <a:lnTo>
                    <a:pt x="347" y="32"/>
                  </a:lnTo>
                  <a:cubicBezTo>
                    <a:pt x="158" y="32"/>
                    <a:pt x="0" y="190"/>
                    <a:pt x="0" y="379"/>
                  </a:cubicBezTo>
                  <a:lnTo>
                    <a:pt x="0" y="1103"/>
                  </a:lnTo>
                  <a:cubicBezTo>
                    <a:pt x="0" y="1859"/>
                    <a:pt x="189" y="2553"/>
                    <a:pt x="599" y="3183"/>
                  </a:cubicBezTo>
                  <a:cubicBezTo>
                    <a:pt x="914" y="3655"/>
                    <a:pt x="1292" y="4096"/>
                    <a:pt x="1765" y="4411"/>
                  </a:cubicBezTo>
                  <a:cubicBezTo>
                    <a:pt x="1544" y="4726"/>
                    <a:pt x="1323" y="5073"/>
                    <a:pt x="1166" y="5420"/>
                  </a:cubicBezTo>
                  <a:cubicBezTo>
                    <a:pt x="914" y="6113"/>
                    <a:pt x="756" y="6806"/>
                    <a:pt x="756" y="7562"/>
                  </a:cubicBezTo>
                  <a:lnTo>
                    <a:pt x="756" y="8255"/>
                  </a:lnTo>
                  <a:cubicBezTo>
                    <a:pt x="756" y="8475"/>
                    <a:pt x="914" y="8633"/>
                    <a:pt x="1103" y="8633"/>
                  </a:cubicBezTo>
                  <a:cubicBezTo>
                    <a:pt x="1891" y="8633"/>
                    <a:pt x="2647" y="8980"/>
                    <a:pt x="3119" y="9610"/>
                  </a:cubicBezTo>
                  <a:lnTo>
                    <a:pt x="4316" y="11185"/>
                  </a:lnTo>
                  <a:cubicBezTo>
                    <a:pt x="4411" y="11311"/>
                    <a:pt x="4537" y="11405"/>
                    <a:pt x="4632" y="11531"/>
                  </a:cubicBezTo>
                  <a:cubicBezTo>
                    <a:pt x="5041" y="11941"/>
                    <a:pt x="5545" y="12130"/>
                    <a:pt x="6112" y="12130"/>
                  </a:cubicBezTo>
                  <a:cubicBezTo>
                    <a:pt x="6648" y="12130"/>
                    <a:pt x="7152" y="11941"/>
                    <a:pt x="7561" y="11531"/>
                  </a:cubicBezTo>
                  <a:cubicBezTo>
                    <a:pt x="7687" y="11405"/>
                    <a:pt x="7782" y="11311"/>
                    <a:pt x="7877" y="11185"/>
                  </a:cubicBezTo>
                  <a:lnTo>
                    <a:pt x="9105" y="9610"/>
                  </a:lnTo>
                  <a:cubicBezTo>
                    <a:pt x="9578" y="8980"/>
                    <a:pt x="10302" y="8633"/>
                    <a:pt x="11090" y="8633"/>
                  </a:cubicBezTo>
                  <a:cubicBezTo>
                    <a:pt x="11311" y="8633"/>
                    <a:pt x="11468" y="8475"/>
                    <a:pt x="11468" y="8255"/>
                  </a:cubicBezTo>
                  <a:lnTo>
                    <a:pt x="11468" y="7751"/>
                  </a:lnTo>
                  <a:cubicBezTo>
                    <a:pt x="11468" y="6522"/>
                    <a:pt x="11059" y="5388"/>
                    <a:pt x="10397" y="4411"/>
                  </a:cubicBezTo>
                  <a:cubicBezTo>
                    <a:pt x="10870" y="4096"/>
                    <a:pt x="11311" y="3655"/>
                    <a:pt x="11626" y="3151"/>
                  </a:cubicBezTo>
                  <a:cubicBezTo>
                    <a:pt x="12004" y="2521"/>
                    <a:pt x="12193" y="1796"/>
                    <a:pt x="12193" y="1072"/>
                  </a:cubicBezTo>
                  <a:lnTo>
                    <a:pt x="12193" y="347"/>
                  </a:lnTo>
                  <a:cubicBezTo>
                    <a:pt x="12193" y="158"/>
                    <a:pt x="12035" y="1"/>
                    <a:pt x="118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80"/>
            <p:cNvSpPr/>
            <p:nvPr/>
          </p:nvSpPr>
          <p:spPr>
            <a:xfrm>
              <a:off x="-18223800" y="2559575"/>
              <a:ext cx="37050" cy="36850"/>
            </a:xfrm>
            <a:custGeom>
              <a:avLst/>
              <a:gdLst/>
              <a:ahLst/>
              <a:cxnLst/>
              <a:rect l="l" t="t" r="r" b="b"/>
              <a:pathLst>
                <a:path w="1482" h="1474" extrusionOk="0">
                  <a:moveTo>
                    <a:pt x="410" y="0"/>
                  </a:moveTo>
                  <a:cubicBezTo>
                    <a:pt x="324" y="0"/>
                    <a:pt x="237" y="40"/>
                    <a:pt x="158" y="118"/>
                  </a:cubicBezTo>
                  <a:cubicBezTo>
                    <a:pt x="1" y="276"/>
                    <a:pt x="1" y="497"/>
                    <a:pt x="158" y="654"/>
                  </a:cubicBezTo>
                  <a:lnTo>
                    <a:pt x="851" y="1347"/>
                  </a:lnTo>
                  <a:cubicBezTo>
                    <a:pt x="946" y="1442"/>
                    <a:pt x="1009" y="1473"/>
                    <a:pt x="1103" y="1473"/>
                  </a:cubicBezTo>
                  <a:cubicBezTo>
                    <a:pt x="1166" y="1473"/>
                    <a:pt x="1292" y="1442"/>
                    <a:pt x="1324" y="1347"/>
                  </a:cubicBezTo>
                  <a:cubicBezTo>
                    <a:pt x="1481" y="1190"/>
                    <a:pt x="1481" y="1001"/>
                    <a:pt x="1324" y="843"/>
                  </a:cubicBezTo>
                  <a:lnTo>
                    <a:pt x="662" y="118"/>
                  </a:lnTo>
                  <a:cubicBezTo>
                    <a:pt x="584" y="40"/>
                    <a:pt x="497"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8" name="Google Shape;10748;p80"/>
            <p:cNvSpPr/>
            <p:nvPr/>
          </p:nvSpPr>
          <p:spPr>
            <a:xfrm>
              <a:off x="-18098550" y="2559575"/>
              <a:ext cx="37825" cy="36850"/>
            </a:xfrm>
            <a:custGeom>
              <a:avLst/>
              <a:gdLst/>
              <a:ahLst/>
              <a:cxnLst/>
              <a:rect l="l" t="t" r="r" b="b"/>
              <a:pathLst>
                <a:path w="1513" h="1474" extrusionOk="0">
                  <a:moveTo>
                    <a:pt x="1103" y="0"/>
                  </a:moveTo>
                  <a:cubicBezTo>
                    <a:pt x="1016" y="0"/>
                    <a:pt x="929" y="40"/>
                    <a:pt x="851" y="118"/>
                  </a:cubicBezTo>
                  <a:lnTo>
                    <a:pt x="158" y="843"/>
                  </a:lnTo>
                  <a:cubicBezTo>
                    <a:pt x="0" y="1001"/>
                    <a:pt x="0" y="1190"/>
                    <a:pt x="158" y="1347"/>
                  </a:cubicBezTo>
                  <a:cubicBezTo>
                    <a:pt x="221" y="1442"/>
                    <a:pt x="315" y="1473"/>
                    <a:pt x="410" y="1473"/>
                  </a:cubicBezTo>
                  <a:cubicBezTo>
                    <a:pt x="504" y="1473"/>
                    <a:pt x="630" y="1442"/>
                    <a:pt x="662" y="1347"/>
                  </a:cubicBezTo>
                  <a:lnTo>
                    <a:pt x="1355" y="623"/>
                  </a:lnTo>
                  <a:cubicBezTo>
                    <a:pt x="1512" y="465"/>
                    <a:pt x="1512" y="276"/>
                    <a:pt x="1355" y="118"/>
                  </a:cubicBezTo>
                  <a:cubicBezTo>
                    <a:pt x="1276" y="40"/>
                    <a:pt x="1189"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9" name="Google Shape;10749;p80"/>
          <p:cNvGrpSpPr/>
          <p:nvPr/>
        </p:nvGrpSpPr>
        <p:grpSpPr>
          <a:xfrm>
            <a:off x="5583492" y="2852107"/>
            <a:ext cx="361250" cy="471471"/>
            <a:chOff x="-18258450" y="2809825"/>
            <a:chExt cx="232375" cy="303275"/>
          </a:xfrm>
        </p:grpSpPr>
        <p:sp>
          <p:nvSpPr>
            <p:cNvPr id="10750" name="Google Shape;10750;p80"/>
            <p:cNvSpPr/>
            <p:nvPr/>
          </p:nvSpPr>
          <p:spPr>
            <a:xfrm>
              <a:off x="-18177325" y="29083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80"/>
            <p:cNvSpPr/>
            <p:nvPr/>
          </p:nvSpPr>
          <p:spPr>
            <a:xfrm>
              <a:off x="-18123775" y="290830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80"/>
            <p:cNvSpPr/>
            <p:nvPr/>
          </p:nvSpPr>
          <p:spPr>
            <a:xfrm>
              <a:off x="-18258450" y="2809825"/>
              <a:ext cx="232375" cy="303275"/>
            </a:xfrm>
            <a:custGeom>
              <a:avLst/>
              <a:gdLst/>
              <a:ahLst/>
              <a:cxnLst/>
              <a:rect l="l" t="t" r="r" b="b"/>
              <a:pathLst>
                <a:path w="9295" h="12131" extrusionOk="0">
                  <a:moveTo>
                    <a:pt x="4663" y="726"/>
                  </a:moveTo>
                  <a:cubicBezTo>
                    <a:pt x="5640" y="726"/>
                    <a:pt x="6617" y="1387"/>
                    <a:pt x="7373" y="2553"/>
                  </a:cubicBezTo>
                  <a:cubicBezTo>
                    <a:pt x="7121" y="2490"/>
                    <a:pt x="6459" y="2238"/>
                    <a:pt x="6175" y="2175"/>
                  </a:cubicBezTo>
                  <a:cubicBezTo>
                    <a:pt x="6144" y="2159"/>
                    <a:pt x="6097" y="2151"/>
                    <a:pt x="6049" y="2151"/>
                  </a:cubicBezTo>
                  <a:cubicBezTo>
                    <a:pt x="6002" y="2151"/>
                    <a:pt x="5955" y="2159"/>
                    <a:pt x="5923" y="2175"/>
                  </a:cubicBezTo>
                  <a:lnTo>
                    <a:pt x="4663" y="2805"/>
                  </a:lnTo>
                  <a:lnTo>
                    <a:pt x="3403" y="2175"/>
                  </a:lnTo>
                  <a:cubicBezTo>
                    <a:pt x="3356" y="2159"/>
                    <a:pt x="3301" y="2151"/>
                    <a:pt x="3249" y="2151"/>
                  </a:cubicBezTo>
                  <a:cubicBezTo>
                    <a:pt x="3198" y="2151"/>
                    <a:pt x="3151" y="2159"/>
                    <a:pt x="3120" y="2175"/>
                  </a:cubicBezTo>
                  <a:lnTo>
                    <a:pt x="1922" y="2553"/>
                  </a:lnTo>
                  <a:cubicBezTo>
                    <a:pt x="2710" y="1387"/>
                    <a:pt x="3718" y="726"/>
                    <a:pt x="4663" y="726"/>
                  </a:cubicBezTo>
                  <a:close/>
                  <a:moveTo>
                    <a:pt x="6144" y="2868"/>
                  </a:moveTo>
                  <a:lnTo>
                    <a:pt x="6617" y="3025"/>
                  </a:lnTo>
                  <a:cubicBezTo>
                    <a:pt x="7341" y="3908"/>
                    <a:pt x="7404" y="5168"/>
                    <a:pt x="6743" y="6081"/>
                  </a:cubicBezTo>
                  <a:lnTo>
                    <a:pt x="6112" y="6396"/>
                  </a:lnTo>
                  <a:lnTo>
                    <a:pt x="5041" y="5829"/>
                  </a:lnTo>
                  <a:lnTo>
                    <a:pt x="5041" y="5325"/>
                  </a:lnTo>
                  <a:cubicBezTo>
                    <a:pt x="5041" y="5136"/>
                    <a:pt x="4884" y="4979"/>
                    <a:pt x="4695" y="4979"/>
                  </a:cubicBezTo>
                  <a:cubicBezTo>
                    <a:pt x="4506" y="4979"/>
                    <a:pt x="4348" y="5136"/>
                    <a:pt x="4348" y="5325"/>
                  </a:cubicBezTo>
                  <a:lnTo>
                    <a:pt x="4348" y="5829"/>
                  </a:lnTo>
                  <a:lnTo>
                    <a:pt x="3277" y="6396"/>
                  </a:lnTo>
                  <a:lnTo>
                    <a:pt x="2647" y="6081"/>
                  </a:lnTo>
                  <a:cubicBezTo>
                    <a:pt x="1985" y="5136"/>
                    <a:pt x="2048" y="3908"/>
                    <a:pt x="2773" y="3025"/>
                  </a:cubicBezTo>
                  <a:lnTo>
                    <a:pt x="3246" y="2868"/>
                  </a:lnTo>
                  <a:lnTo>
                    <a:pt x="4537" y="3498"/>
                  </a:lnTo>
                  <a:cubicBezTo>
                    <a:pt x="4600" y="3530"/>
                    <a:pt x="4655" y="3545"/>
                    <a:pt x="4707" y="3545"/>
                  </a:cubicBezTo>
                  <a:cubicBezTo>
                    <a:pt x="4758" y="3545"/>
                    <a:pt x="4805" y="3530"/>
                    <a:pt x="4852" y="3498"/>
                  </a:cubicBezTo>
                  <a:lnTo>
                    <a:pt x="6144" y="2868"/>
                  </a:lnTo>
                  <a:close/>
                  <a:moveTo>
                    <a:pt x="7530" y="6459"/>
                  </a:moveTo>
                  <a:lnTo>
                    <a:pt x="8601" y="7027"/>
                  </a:lnTo>
                  <a:cubicBezTo>
                    <a:pt x="8507" y="9641"/>
                    <a:pt x="6932" y="11469"/>
                    <a:pt x="4663" y="11469"/>
                  </a:cubicBezTo>
                  <a:cubicBezTo>
                    <a:pt x="2363" y="11469"/>
                    <a:pt x="788" y="9704"/>
                    <a:pt x="725" y="7027"/>
                  </a:cubicBezTo>
                  <a:lnTo>
                    <a:pt x="1765" y="6459"/>
                  </a:lnTo>
                  <a:lnTo>
                    <a:pt x="2206" y="6648"/>
                  </a:lnTo>
                  <a:lnTo>
                    <a:pt x="3088" y="7090"/>
                  </a:lnTo>
                  <a:cubicBezTo>
                    <a:pt x="3135" y="7105"/>
                    <a:pt x="3190" y="7113"/>
                    <a:pt x="3246" y="7113"/>
                  </a:cubicBezTo>
                  <a:cubicBezTo>
                    <a:pt x="3301" y="7113"/>
                    <a:pt x="3356" y="7105"/>
                    <a:pt x="3403" y="7090"/>
                  </a:cubicBezTo>
                  <a:lnTo>
                    <a:pt x="4663" y="6459"/>
                  </a:lnTo>
                  <a:lnTo>
                    <a:pt x="5923" y="7090"/>
                  </a:lnTo>
                  <a:cubicBezTo>
                    <a:pt x="5971" y="7105"/>
                    <a:pt x="6026" y="7113"/>
                    <a:pt x="6081" y="7113"/>
                  </a:cubicBezTo>
                  <a:cubicBezTo>
                    <a:pt x="6136" y="7113"/>
                    <a:pt x="6191" y="7105"/>
                    <a:pt x="6238" y="7090"/>
                  </a:cubicBezTo>
                  <a:lnTo>
                    <a:pt x="7089" y="6648"/>
                  </a:lnTo>
                  <a:lnTo>
                    <a:pt x="7530" y="6459"/>
                  </a:lnTo>
                  <a:close/>
                  <a:moveTo>
                    <a:pt x="4663" y="1"/>
                  </a:moveTo>
                  <a:cubicBezTo>
                    <a:pt x="3214" y="1"/>
                    <a:pt x="1796" y="1135"/>
                    <a:pt x="883" y="3025"/>
                  </a:cubicBezTo>
                  <a:cubicBezTo>
                    <a:pt x="776" y="3265"/>
                    <a:pt x="939" y="3527"/>
                    <a:pt x="1163" y="3527"/>
                  </a:cubicBezTo>
                  <a:cubicBezTo>
                    <a:pt x="1205" y="3527"/>
                    <a:pt x="1248" y="3518"/>
                    <a:pt x="1292" y="3498"/>
                  </a:cubicBezTo>
                  <a:lnTo>
                    <a:pt x="1702" y="3403"/>
                  </a:lnTo>
                  <a:lnTo>
                    <a:pt x="1702" y="3403"/>
                  </a:lnTo>
                  <a:cubicBezTo>
                    <a:pt x="1387" y="4128"/>
                    <a:pt x="1355" y="4979"/>
                    <a:pt x="1607" y="5766"/>
                  </a:cubicBezTo>
                  <a:lnTo>
                    <a:pt x="221" y="6459"/>
                  </a:lnTo>
                  <a:cubicBezTo>
                    <a:pt x="95" y="6554"/>
                    <a:pt x="1" y="6648"/>
                    <a:pt x="1" y="6774"/>
                  </a:cubicBezTo>
                  <a:cubicBezTo>
                    <a:pt x="1" y="10209"/>
                    <a:pt x="2143" y="12130"/>
                    <a:pt x="4663" y="12130"/>
                  </a:cubicBezTo>
                  <a:cubicBezTo>
                    <a:pt x="7184" y="12130"/>
                    <a:pt x="9294" y="10177"/>
                    <a:pt x="9294" y="6774"/>
                  </a:cubicBezTo>
                  <a:cubicBezTo>
                    <a:pt x="9294" y="6648"/>
                    <a:pt x="9231" y="6554"/>
                    <a:pt x="9105" y="6459"/>
                  </a:cubicBezTo>
                  <a:lnTo>
                    <a:pt x="7688" y="5766"/>
                  </a:lnTo>
                  <a:cubicBezTo>
                    <a:pt x="7971" y="5010"/>
                    <a:pt x="7971" y="4191"/>
                    <a:pt x="7593" y="3403"/>
                  </a:cubicBezTo>
                  <a:lnTo>
                    <a:pt x="7593" y="3403"/>
                  </a:lnTo>
                  <a:lnTo>
                    <a:pt x="8003" y="3498"/>
                  </a:lnTo>
                  <a:cubicBezTo>
                    <a:pt x="8052" y="3518"/>
                    <a:pt x="8099" y="3527"/>
                    <a:pt x="8144" y="3527"/>
                  </a:cubicBezTo>
                  <a:cubicBezTo>
                    <a:pt x="8387" y="3527"/>
                    <a:pt x="8550" y="3265"/>
                    <a:pt x="8444" y="3025"/>
                  </a:cubicBezTo>
                  <a:cubicBezTo>
                    <a:pt x="7530" y="1135"/>
                    <a:pt x="6112" y="1"/>
                    <a:pt x="4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53" name="Google Shape;10753;p80"/>
          <p:cNvSpPr/>
          <p:nvPr/>
        </p:nvSpPr>
        <p:spPr>
          <a:xfrm>
            <a:off x="1456589" y="3444743"/>
            <a:ext cx="471471" cy="475125"/>
          </a:xfrm>
          <a:custGeom>
            <a:avLst/>
            <a:gdLst/>
            <a:ahLst/>
            <a:cxnLst/>
            <a:rect l="l" t="t" r="r" b="b"/>
            <a:pathLst>
              <a:path w="12131" h="12225" extrusionOk="0">
                <a:moveTo>
                  <a:pt x="6050" y="756"/>
                </a:moveTo>
                <a:cubicBezTo>
                  <a:pt x="6239" y="756"/>
                  <a:pt x="6396" y="914"/>
                  <a:pt x="6396" y="1103"/>
                </a:cubicBezTo>
                <a:cubicBezTo>
                  <a:pt x="6396" y="1324"/>
                  <a:pt x="6239" y="1481"/>
                  <a:pt x="6050" y="1481"/>
                </a:cubicBezTo>
                <a:cubicBezTo>
                  <a:pt x="5861" y="1481"/>
                  <a:pt x="5703" y="1324"/>
                  <a:pt x="5703" y="1103"/>
                </a:cubicBezTo>
                <a:cubicBezTo>
                  <a:pt x="5703" y="914"/>
                  <a:pt x="5861" y="756"/>
                  <a:pt x="6050" y="756"/>
                </a:cubicBezTo>
                <a:close/>
                <a:moveTo>
                  <a:pt x="3183" y="2174"/>
                </a:moveTo>
                <a:cubicBezTo>
                  <a:pt x="3372" y="2174"/>
                  <a:pt x="3530" y="2332"/>
                  <a:pt x="3530" y="2521"/>
                </a:cubicBezTo>
                <a:cubicBezTo>
                  <a:pt x="3530" y="2741"/>
                  <a:pt x="3372" y="2899"/>
                  <a:pt x="3183" y="2899"/>
                </a:cubicBezTo>
                <a:cubicBezTo>
                  <a:pt x="2994" y="2899"/>
                  <a:pt x="2836" y="2741"/>
                  <a:pt x="2836" y="2521"/>
                </a:cubicBezTo>
                <a:cubicBezTo>
                  <a:pt x="2836" y="2332"/>
                  <a:pt x="2994" y="2174"/>
                  <a:pt x="3183" y="2174"/>
                </a:cubicBezTo>
                <a:close/>
                <a:moveTo>
                  <a:pt x="8885" y="2174"/>
                </a:moveTo>
                <a:cubicBezTo>
                  <a:pt x="9074" y="2174"/>
                  <a:pt x="9232" y="2332"/>
                  <a:pt x="9232" y="2521"/>
                </a:cubicBezTo>
                <a:cubicBezTo>
                  <a:pt x="9232" y="2741"/>
                  <a:pt x="9074" y="2899"/>
                  <a:pt x="8885" y="2899"/>
                </a:cubicBezTo>
                <a:cubicBezTo>
                  <a:pt x="8696" y="2899"/>
                  <a:pt x="8539" y="2741"/>
                  <a:pt x="8539" y="2521"/>
                </a:cubicBezTo>
                <a:cubicBezTo>
                  <a:pt x="8539" y="2332"/>
                  <a:pt x="8696" y="2174"/>
                  <a:pt x="8885" y="2174"/>
                </a:cubicBezTo>
                <a:close/>
                <a:moveTo>
                  <a:pt x="6050" y="3718"/>
                </a:moveTo>
                <a:cubicBezTo>
                  <a:pt x="6396" y="4033"/>
                  <a:pt x="7153" y="4726"/>
                  <a:pt x="7562" y="5640"/>
                </a:cubicBezTo>
                <a:cubicBezTo>
                  <a:pt x="6869" y="6238"/>
                  <a:pt x="6365" y="6931"/>
                  <a:pt x="6050" y="7814"/>
                </a:cubicBezTo>
                <a:cubicBezTo>
                  <a:pt x="5735" y="6994"/>
                  <a:pt x="5199" y="6238"/>
                  <a:pt x="4569" y="5640"/>
                </a:cubicBezTo>
                <a:cubicBezTo>
                  <a:pt x="4947" y="4726"/>
                  <a:pt x="5703" y="4033"/>
                  <a:pt x="6050" y="3718"/>
                </a:cubicBezTo>
                <a:close/>
                <a:moveTo>
                  <a:pt x="1009" y="5010"/>
                </a:moveTo>
                <a:cubicBezTo>
                  <a:pt x="3561" y="5010"/>
                  <a:pt x="5672" y="7089"/>
                  <a:pt x="5672" y="9704"/>
                </a:cubicBezTo>
                <a:lnTo>
                  <a:pt x="5672" y="10050"/>
                </a:lnTo>
                <a:lnTo>
                  <a:pt x="5294" y="10050"/>
                </a:lnTo>
                <a:cubicBezTo>
                  <a:pt x="2773" y="10050"/>
                  <a:pt x="663" y="7971"/>
                  <a:pt x="663" y="5356"/>
                </a:cubicBezTo>
                <a:lnTo>
                  <a:pt x="663" y="5010"/>
                </a:lnTo>
                <a:close/>
                <a:moveTo>
                  <a:pt x="11406" y="5010"/>
                </a:moveTo>
                <a:lnTo>
                  <a:pt x="11406" y="5356"/>
                </a:lnTo>
                <a:cubicBezTo>
                  <a:pt x="11406" y="7971"/>
                  <a:pt x="9326" y="10050"/>
                  <a:pt x="6775" y="10050"/>
                </a:cubicBezTo>
                <a:lnTo>
                  <a:pt x="6396" y="10050"/>
                </a:lnTo>
                <a:lnTo>
                  <a:pt x="6396" y="9704"/>
                </a:lnTo>
                <a:cubicBezTo>
                  <a:pt x="6396" y="7089"/>
                  <a:pt x="8507" y="5010"/>
                  <a:pt x="11059" y="5010"/>
                </a:cubicBezTo>
                <a:close/>
                <a:moveTo>
                  <a:pt x="7814" y="10649"/>
                </a:moveTo>
                <a:lnTo>
                  <a:pt x="7814" y="10775"/>
                </a:lnTo>
                <a:cubicBezTo>
                  <a:pt x="7814" y="11153"/>
                  <a:pt x="7499" y="11468"/>
                  <a:pt x="7121" y="11468"/>
                </a:cubicBezTo>
                <a:cubicBezTo>
                  <a:pt x="6712" y="11468"/>
                  <a:pt x="6396" y="11153"/>
                  <a:pt x="6396" y="10775"/>
                </a:cubicBezTo>
                <a:cubicBezTo>
                  <a:pt x="6838" y="10775"/>
                  <a:pt x="7247" y="10775"/>
                  <a:pt x="7814" y="10649"/>
                </a:cubicBezTo>
                <a:close/>
                <a:moveTo>
                  <a:pt x="4286" y="10680"/>
                </a:moveTo>
                <a:cubicBezTo>
                  <a:pt x="4884" y="10806"/>
                  <a:pt x="5262" y="10806"/>
                  <a:pt x="5703" y="10806"/>
                </a:cubicBezTo>
                <a:cubicBezTo>
                  <a:pt x="5703" y="11153"/>
                  <a:pt x="5388" y="11500"/>
                  <a:pt x="4979" y="11500"/>
                </a:cubicBezTo>
                <a:cubicBezTo>
                  <a:pt x="4601" y="11500"/>
                  <a:pt x="4286" y="11185"/>
                  <a:pt x="4286" y="10806"/>
                </a:cubicBezTo>
                <a:lnTo>
                  <a:pt x="4286" y="10680"/>
                </a:lnTo>
                <a:close/>
                <a:moveTo>
                  <a:pt x="6050" y="0"/>
                </a:moveTo>
                <a:cubicBezTo>
                  <a:pt x="5451" y="0"/>
                  <a:pt x="4979" y="473"/>
                  <a:pt x="4979" y="1071"/>
                </a:cubicBezTo>
                <a:cubicBezTo>
                  <a:pt x="4979" y="1544"/>
                  <a:pt x="5294" y="1922"/>
                  <a:pt x="5703" y="2080"/>
                </a:cubicBezTo>
                <a:lnTo>
                  <a:pt x="5703" y="3025"/>
                </a:lnTo>
                <a:cubicBezTo>
                  <a:pt x="5357" y="3308"/>
                  <a:pt x="4475" y="4096"/>
                  <a:pt x="3971" y="5167"/>
                </a:cubicBezTo>
                <a:cubicBezTo>
                  <a:pt x="3845" y="5104"/>
                  <a:pt x="3687" y="5010"/>
                  <a:pt x="3561" y="4947"/>
                </a:cubicBezTo>
                <a:lnTo>
                  <a:pt x="3561" y="3529"/>
                </a:lnTo>
                <a:cubicBezTo>
                  <a:pt x="4002" y="3371"/>
                  <a:pt x="4286" y="2962"/>
                  <a:pt x="4286" y="2489"/>
                </a:cubicBezTo>
                <a:cubicBezTo>
                  <a:pt x="4286" y="1891"/>
                  <a:pt x="3813" y="1418"/>
                  <a:pt x="3214" y="1418"/>
                </a:cubicBezTo>
                <a:cubicBezTo>
                  <a:pt x="2616" y="1418"/>
                  <a:pt x="2143" y="1891"/>
                  <a:pt x="2143" y="2489"/>
                </a:cubicBezTo>
                <a:cubicBezTo>
                  <a:pt x="2143" y="2962"/>
                  <a:pt x="2458" y="3371"/>
                  <a:pt x="2868" y="3529"/>
                </a:cubicBezTo>
                <a:lnTo>
                  <a:pt x="2868" y="4632"/>
                </a:lnTo>
                <a:cubicBezTo>
                  <a:pt x="2269" y="4411"/>
                  <a:pt x="1671" y="4316"/>
                  <a:pt x="1041" y="4316"/>
                </a:cubicBezTo>
                <a:lnTo>
                  <a:pt x="348" y="4316"/>
                </a:lnTo>
                <a:cubicBezTo>
                  <a:pt x="158" y="4316"/>
                  <a:pt x="1" y="4474"/>
                  <a:pt x="1" y="4663"/>
                </a:cubicBezTo>
                <a:lnTo>
                  <a:pt x="1" y="5356"/>
                </a:lnTo>
                <a:cubicBezTo>
                  <a:pt x="1" y="6774"/>
                  <a:pt x="537" y="8160"/>
                  <a:pt x="1576" y="9200"/>
                </a:cubicBezTo>
                <a:cubicBezTo>
                  <a:pt x="2143" y="9767"/>
                  <a:pt x="2836" y="10208"/>
                  <a:pt x="3561" y="10491"/>
                </a:cubicBezTo>
                <a:lnTo>
                  <a:pt x="3561" y="10806"/>
                </a:lnTo>
                <a:cubicBezTo>
                  <a:pt x="3561" y="11594"/>
                  <a:pt x="4191" y="12224"/>
                  <a:pt x="4979" y="12224"/>
                </a:cubicBezTo>
                <a:cubicBezTo>
                  <a:pt x="5420" y="12224"/>
                  <a:pt x="5829" y="12035"/>
                  <a:pt x="6050" y="11752"/>
                </a:cubicBezTo>
                <a:cubicBezTo>
                  <a:pt x="6333" y="12067"/>
                  <a:pt x="6680" y="12224"/>
                  <a:pt x="7121" y="12224"/>
                </a:cubicBezTo>
                <a:cubicBezTo>
                  <a:pt x="7909" y="12224"/>
                  <a:pt x="8539" y="11594"/>
                  <a:pt x="8539" y="10806"/>
                </a:cubicBezTo>
                <a:lnTo>
                  <a:pt x="8539" y="10491"/>
                </a:lnTo>
                <a:cubicBezTo>
                  <a:pt x="9295" y="10208"/>
                  <a:pt x="9957" y="9767"/>
                  <a:pt x="10555" y="9200"/>
                </a:cubicBezTo>
                <a:cubicBezTo>
                  <a:pt x="11563" y="8160"/>
                  <a:pt x="12130" y="6837"/>
                  <a:pt x="12130" y="5356"/>
                </a:cubicBezTo>
                <a:lnTo>
                  <a:pt x="12130" y="4663"/>
                </a:lnTo>
                <a:cubicBezTo>
                  <a:pt x="12130" y="4474"/>
                  <a:pt x="11973" y="4316"/>
                  <a:pt x="11752" y="4316"/>
                </a:cubicBezTo>
                <a:lnTo>
                  <a:pt x="11059" y="4316"/>
                </a:lnTo>
                <a:cubicBezTo>
                  <a:pt x="10429" y="4316"/>
                  <a:pt x="9831" y="4411"/>
                  <a:pt x="9232" y="4632"/>
                </a:cubicBezTo>
                <a:lnTo>
                  <a:pt x="9232" y="3529"/>
                </a:lnTo>
                <a:cubicBezTo>
                  <a:pt x="9673" y="3371"/>
                  <a:pt x="9957" y="2962"/>
                  <a:pt x="9957" y="2489"/>
                </a:cubicBezTo>
                <a:cubicBezTo>
                  <a:pt x="9957" y="1891"/>
                  <a:pt x="9484" y="1418"/>
                  <a:pt x="8885" y="1418"/>
                </a:cubicBezTo>
                <a:cubicBezTo>
                  <a:pt x="8287" y="1418"/>
                  <a:pt x="7814" y="1891"/>
                  <a:pt x="7814" y="2489"/>
                </a:cubicBezTo>
                <a:cubicBezTo>
                  <a:pt x="7814" y="2962"/>
                  <a:pt x="8129" y="3371"/>
                  <a:pt x="8539" y="3529"/>
                </a:cubicBezTo>
                <a:lnTo>
                  <a:pt x="8539" y="4947"/>
                </a:lnTo>
                <a:cubicBezTo>
                  <a:pt x="8381" y="5010"/>
                  <a:pt x="8255" y="5104"/>
                  <a:pt x="8129" y="5167"/>
                </a:cubicBezTo>
                <a:cubicBezTo>
                  <a:pt x="7625" y="4096"/>
                  <a:pt x="6775" y="3308"/>
                  <a:pt x="6396" y="3025"/>
                </a:cubicBezTo>
                <a:lnTo>
                  <a:pt x="6396" y="2080"/>
                </a:lnTo>
                <a:cubicBezTo>
                  <a:pt x="6838" y="1922"/>
                  <a:pt x="7121" y="1544"/>
                  <a:pt x="7121" y="1071"/>
                </a:cubicBezTo>
                <a:cubicBezTo>
                  <a:pt x="7121" y="473"/>
                  <a:pt x="6649" y="0"/>
                  <a:pt x="60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54" name="Google Shape;10754;p80"/>
          <p:cNvGrpSpPr/>
          <p:nvPr/>
        </p:nvGrpSpPr>
        <p:grpSpPr>
          <a:xfrm>
            <a:off x="3793692" y="3445233"/>
            <a:ext cx="415117" cy="473920"/>
            <a:chOff x="-16422500" y="2425450"/>
            <a:chExt cx="267025" cy="304850"/>
          </a:xfrm>
        </p:grpSpPr>
        <p:sp>
          <p:nvSpPr>
            <p:cNvPr id="10755" name="Google Shape;10755;p80"/>
            <p:cNvSpPr/>
            <p:nvPr/>
          </p:nvSpPr>
          <p:spPr>
            <a:xfrm>
              <a:off x="-16350825" y="25152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80"/>
            <p:cNvSpPr/>
            <p:nvPr/>
          </p:nvSpPr>
          <p:spPr>
            <a:xfrm>
              <a:off x="-16245275" y="2515275"/>
              <a:ext cx="18125" cy="18125"/>
            </a:xfrm>
            <a:custGeom>
              <a:avLst/>
              <a:gdLst/>
              <a:ahLst/>
              <a:cxnLst/>
              <a:rect l="l" t="t" r="r" b="b"/>
              <a:pathLst>
                <a:path w="725" h="725" extrusionOk="0">
                  <a:moveTo>
                    <a:pt x="378" y="0"/>
                  </a:moveTo>
                  <a:cubicBezTo>
                    <a:pt x="158" y="0"/>
                    <a:pt x="0" y="158"/>
                    <a:pt x="0" y="378"/>
                  </a:cubicBezTo>
                  <a:cubicBezTo>
                    <a:pt x="0" y="567"/>
                    <a:pt x="158" y="725"/>
                    <a:pt x="378" y="725"/>
                  </a:cubicBezTo>
                  <a:cubicBezTo>
                    <a:pt x="567" y="725"/>
                    <a:pt x="725" y="567"/>
                    <a:pt x="725" y="378"/>
                  </a:cubicBezTo>
                  <a:cubicBezTo>
                    <a:pt x="725"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80"/>
            <p:cNvSpPr/>
            <p:nvPr/>
          </p:nvSpPr>
          <p:spPr>
            <a:xfrm>
              <a:off x="-16422500" y="2425450"/>
              <a:ext cx="267025" cy="304850"/>
            </a:xfrm>
            <a:custGeom>
              <a:avLst/>
              <a:gdLst/>
              <a:ahLst/>
              <a:cxnLst/>
              <a:rect l="l" t="t" r="r" b="b"/>
              <a:pathLst>
                <a:path w="10681" h="12194" extrusionOk="0">
                  <a:moveTo>
                    <a:pt x="5325" y="5925"/>
                  </a:moveTo>
                  <a:cubicBezTo>
                    <a:pt x="5482" y="5925"/>
                    <a:pt x="5640" y="6051"/>
                    <a:pt x="5703" y="6177"/>
                  </a:cubicBezTo>
                  <a:lnTo>
                    <a:pt x="5325" y="6586"/>
                  </a:lnTo>
                  <a:lnTo>
                    <a:pt x="4978" y="6177"/>
                  </a:lnTo>
                  <a:cubicBezTo>
                    <a:pt x="5010" y="6019"/>
                    <a:pt x="5167" y="5925"/>
                    <a:pt x="5325" y="5925"/>
                  </a:cubicBezTo>
                  <a:close/>
                  <a:moveTo>
                    <a:pt x="4411" y="5767"/>
                  </a:moveTo>
                  <a:cubicBezTo>
                    <a:pt x="4348" y="5925"/>
                    <a:pt x="4254" y="6114"/>
                    <a:pt x="4254" y="6334"/>
                  </a:cubicBezTo>
                  <a:cubicBezTo>
                    <a:pt x="4254" y="6366"/>
                    <a:pt x="4254" y="6429"/>
                    <a:pt x="4348" y="6523"/>
                  </a:cubicBezTo>
                  <a:lnTo>
                    <a:pt x="4978" y="7311"/>
                  </a:lnTo>
                  <a:cubicBezTo>
                    <a:pt x="4884" y="8004"/>
                    <a:pt x="4317" y="8602"/>
                    <a:pt x="3561" y="8602"/>
                  </a:cubicBezTo>
                  <a:cubicBezTo>
                    <a:pt x="2773" y="8602"/>
                    <a:pt x="2143" y="7972"/>
                    <a:pt x="2143" y="7185"/>
                  </a:cubicBezTo>
                  <a:cubicBezTo>
                    <a:pt x="2143" y="6397"/>
                    <a:pt x="2773" y="5767"/>
                    <a:pt x="3561" y="5767"/>
                  </a:cubicBezTo>
                  <a:close/>
                  <a:moveTo>
                    <a:pt x="7089" y="5735"/>
                  </a:moveTo>
                  <a:cubicBezTo>
                    <a:pt x="7877" y="5735"/>
                    <a:pt x="8507" y="6366"/>
                    <a:pt x="8507" y="7153"/>
                  </a:cubicBezTo>
                  <a:cubicBezTo>
                    <a:pt x="8507" y="7972"/>
                    <a:pt x="7877" y="8602"/>
                    <a:pt x="7089" y="8602"/>
                  </a:cubicBezTo>
                  <a:cubicBezTo>
                    <a:pt x="6365" y="8602"/>
                    <a:pt x="5734" y="8004"/>
                    <a:pt x="5671" y="7311"/>
                  </a:cubicBezTo>
                  <a:lnTo>
                    <a:pt x="6302" y="6523"/>
                  </a:lnTo>
                  <a:cubicBezTo>
                    <a:pt x="6365" y="6429"/>
                    <a:pt x="6396" y="6366"/>
                    <a:pt x="6396" y="6271"/>
                  </a:cubicBezTo>
                  <a:cubicBezTo>
                    <a:pt x="6396" y="6082"/>
                    <a:pt x="6365" y="5893"/>
                    <a:pt x="6239" y="5735"/>
                  </a:cubicBezTo>
                  <a:close/>
                  <a:moveTo>
                    <a:pt x="5317" y="725"/>
                  </a:moveTo>
                  <a:cubicBezTo>
                    <a:pt x="6534" y="725"/>
                    <a:pt x="7685" y="1194"/>
                    <a:pt x="8570" y="2018"/>
                  </a:cubicBezTo>
                  <a:cubicBezTo>
                    <a:pt x="9452" y="2932"/>
                    <a:pt x="9988" y="4129"/>
                    <a:pt x="9988" y="5389"/>
                  </a:cubicBezTo>
                  <a:lnTo>
                    <a:pt x="9988" y="8256"/>
                  </a:lnTo>
                  <a:cubicBezTo>
                    <a:pt x="9988" y="8854"/>
                    <a:pt x="9515" y="9327"/>
                    <a:pt x="8916" y="9327"/>
                  </a:cubicBezTo>
                  <a:lnTo>
                    <a:pt x="8570" y="9327"/>
                  </a:lnTo>
                  <a:lnTo>
                    <a:pt x="8570" y="8760"/>
                  </a:lnTo>
                  <a:cubicBezTo>
                    <a:pt x="9043" y="8350"/>
                    <a:pt x="9263" y="7783"/>
                    <a:pt x="9263" y="7153"/>
                  </a:cubicBezTo>
                  <a:cubicBezTo>
                    <a:pt x="9263" y="5956"/>
                    <a:pt x="8318" y="5011"/>
                    <a:pt x="7152" y="5011"/>
                  </a:cubicBezTo>
                  <a:lnTo>
                    <a:pt x="3561" y="5011"/>
                  </a:lnTo>
                  <a:cubicBezTo>
                    <a:pt x="2363" y="5011"/>
                    <a:pt x="1418" y="5956"/>
                    <a:pt x="1418" y="7153"/>
                  </a:cubicBezTo>
                  <a:cubicBezTo>
                    <a:pt x="1418" y="7783"/>
                    <a:pt x="1702" y="8319"/>
                    <a:pt x="2143" y="8760"/>
                  </a:cubicBezTo>
                  <a:lnTo>
                    <a:pt x="2143" y="9327"/>
                  </a:lnTo>
                  <a:lnTo>
                    <a:pt x="1796" y="9327"/>
                  </a:lnTo>
                  <a:cubicBezTo>
                    <a:pt x="1198" y="9327"/>
                    <a:pt x="725" y="8854"/>
                    <a:pt x="725" y="8256"/>
                  </a:cubicBezTo>
                  <a:lnTo>
                    <a:pt x="725" y="5609"/>
                  </a:lnTo>
                  <a:cubicBezTo>
                    <a:pt x="725" y="3026"/>
                    <a:pt x="2742" y="821"/>
                    <a:pt x="5199" y="726"/>
                  </a:cubicBezTo>
                  <a:cubicBezTo>
                    <a:pt x="5238" y="725"/>
                    <a:pt x="5278" y="725"/>
                    <a:pt x="5317" y="725"/>
                  </a:cubicBezTo>
                  <a:close/>
                  <a:moveTo>
                    <a:pt x="5325" y="8382"/>
                  </a:moveTo>
                  <a:cubicBezTo>
                    <a:pt x="5577" y="8760"/>
                    <a:pt x="5955" y="9043"/>
                    <a:pt x="6396" y="9201"/>
                  </a:cubicBezTo>
                  <a:lnTo>
                    <a:pt x="6396" y="9674"/>
                  </a:lnTo>
                  <a:cubicBezTo>
                    <a:pt x="6081" y="9894"/>
                    <a:pt x="5734" y="10020"/>
                    <a:pt x="5325" y="10020"/>
                  </a:cubicBezTo>
                  <a:cubicBezTo>
                    <a:pt x="4947" y="10020"/>
                    <a:pt x="4569" y="9894"/>
                    <a:pt x="4254" y="9674"/>
                  </a:cubicBezTo>
                  <a:lnTo>
                    <a:pt x="4254" y="9201"/>
                  </a:lnTo>
                  <a:cubicBezTo>
                    <a:pt x="4695" y="9043"/>
                    <a:pt x="5104" y="8728"/>
                    <a:pt x="5325" y="8382"/>
                  </a:cubicBezTo>
                  <a:close/>
                  <a:moveTo>
                    <a:pt x="2836" y="9201"/>
                  </a:moveTo>
                  <a:cubicBezTo>
                    <a:pt x="3088" y="9264"/>
                    <a:pt x="3309" y="9327"/>
                    <a:pt x="3561" y="9327"/>
                  </a:cubicBezTo>
                  <a:lnTo>
                    <a:pt x="3561" y="11406"/>
                  </a:lnTo>
                  <a:cubicBezTo>
                    <a:pt x="3151" y="11249"/>
                    <a:pt x="2836" y="10839"/>
                    <a:pt x="2836" y="10367"/>
                  </a:cubicBezTo>
                  <a:lnTo>
                    <a:pt x="2836" y="9201"/>
                  </a:lnTo>
                  <a:close/>
                  <a:moveTo>
                    <a:pt x="7814" y="9201"/>
                  </a:moveTo>
                  <a:lnTo>
                    <a:pt x="7814" y="10367"/>
                  </a:lnTo>
                  <a:cubicBezTo>
                    <a:pt x="7814" y="10839"/>
                    <a:pt x="7499" y="11249"/>
                    <a:pt x="7089" y="11406"/>
                  </a:cubicBezTo>
                  <a:lnTo>
                    <a:pt x="7089" y="9327"/>
                  </a:lnTo>
                  <a:cubicBezTo>
                    <a:pt x="7341" y="9327"/>
                    <a:pt x="7562" y="9264"/>
                    <a:pt x="7814" y="9201"/>
                  </a:cubicBezTo>
                  <a:close/>
                  <a:moveTo>
                    <a:pt x="5317" y="0"/>
                  </a:moveTo>
                  <a:cubicBezTo>
                    <a:pt x="5278" y="0"/>
                    <a:pt x="5238" y="1"/>
                    <a:pt x="5199" y="2"/>
                  </a:cubicBezTo>
                  <a:cubicBezTo>
                    <a:pt x="3781" y="65"/>
                    <a:pt x="2489" y="695"/>
                    <a:pt x="1513" y="1766"/>
                  </a:cubicBezTo>
                  <a:cubicBezTo>
                    <a:pt x="568" y="2806"/>
                    <a:pt x="1" y="4160"/>
                    <a:pt x="1" y="5609"/>
                  </a:cubicBezTo>
                  <a:lnTo>
                    <a:pt x="1" y="8256"/>
                  </a:lnTo>
                  <a:cubicBezTo>
                    <a:pt x="1" y="9233"/>
                    <a:pt x="788" y="10020"/>
                    <a:pt x="1796" y="10020"/>
                  </a:cubicBezTo>
                  <a:lnTo>
                    <a:pt x="2143" y="10020"/>
                  </a:lnTo>
                  <a:lnTo>
                    <a:pt x="2143" y="10367"/>
                  </a:lnTo>
                  <a:cubicBezTo>
                    <a:pt x="2143" y="10839"/>
                    <a:pt x="2332" y="11312"/>
                    <a:pt x="2647" y="11627"/>
                  </a:cubicBezTo>
                  <a:cubicBezTo>
                    <a:pt x="2994" y="12005"/>
                    <a:pt x="3435" y="12194"/>
                    <a:pt x="3907" y="12194"/>
                  </a:cubicBezTo>
                  <a:cubicBezTo>
                    <a:pt x="4096" y="12194"/>
                    <a:pt x="4254" y="12036"/>
                    <a:pt x="4254" y="11847"/>
                  </a:cubicBezTo>
                  <a:lnTo>
                    <a:pt x="4254" y="10493"/>
                  </a:lnTo>
                  <a:cubicBezTo>
                    <a:pt x="4569" y="10650"/>
                    <a:pt x="4978" y="10713"/>
                    <a:pt x="5325" y="10713"/>
                  </a:cubicBezTo>
                  <a:cubicBezTo>
                    <a:pt x="5703" y="10713"/>
                    <a:pt x="6081" y="10650"/>
                    <a:pt x="6396" y="10493"/>
                  </a:cubicBezTo>
                  <a:lnTo>
                    <a:pt x="6396" y="11847"/>
                  </a:lnTo>
                  <a:cubicBezTo>
                    <a:pt x="6396" y="12036"/>
                    <a:pt x="6554" y="12194"/>
                    <a:pt x="6743" y="12194"/>
                  </a:cubicBezTo>
                  <a:cubicBezTo>
                    <a:pt x="7215" y="12194"/>
                    <a:pt x="7656" y="12005"/>
                    <a:pt x="8003" y="11627"/>
                  </a:cubicBezTo>
                  <a:cubicBezTo>
                    <a:pt x="8381" y="11280"/>
                    <a:pt x="8538" y="10839"/>
                    <a:pt x="8538" y="10367"/>
                  </a:cubicBezTo>
                  <a:lnTo>
                    <a:pt x="8538" y="10020"/>
                  </a:lnTo>
                  <a:lnTo>
                    <a:pt x="8885" y="10020"/>
                  </a:lnTo>
                  <a:cubicBezTo>
                    <a:pt x="9862" y="10020"/>
                    <a:pt x="10649" y="9233"/>
                    <a:pt x="10649" y="8256"/>
                  </a:cubicBezTo>
                  <a:lnTo>
                    <a:pt x="10649" y="5420"/>
                  </a:lnTo>
                  <a:cubicBezTo>
                    <a:pt x="10681" y="4664"/>
                    <a:pt x="10523" y="3908"/>
                    <a:pt x="10240" y="3247"/>
                  </a:cubicBezTo>
                  <a:cubicBezTo>
                    <a:pt x="9988" y="2585"/>
                    <a:pt x="9578" y="2018"/>
                    <a:pt x="9074" y="1514"/>
                  </a:cubicBezTo>
                  <a:cubicBezTo>
                    <a:pt x="8033" y="534"/>
                    <a:pt x="6694" y="0"/>
                    <a:pt x="53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80"/>
          <p:cNvGrpSpPr/>
          <p:nvPr/>
        </p:nvGrpSpPr>
        <p:grpSpPr>
          <a:xfrm>
            <a:off x="6096453" y="3445838"/>
            <a:ext cx="473920" cy="472676"/>
            <a:chOff x="-16442200" y="2801175"/>
            <a:chExt cx="304850" cy="304050"/>
          </a:xfrm>
        </p:grpSpPr>
        <p:sp>
          <p:nvSpPr>
            <p:cNvPr id="10759" name="Google Shape;10759;p80"/>
            <p:cNvSpPr/>
            <p:nvPr/>
          </p:nvSpPr>
          <p:spPr>
            <a:xfrm>
              <a:off x="-16369725" y="29429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80"/>
            <p:cNvSpPr/>
            <p:nvPr/>
          </p:nvSpPr>
          <p:spPr>
            <a:xfrm>
              <a:off x="-16442200" y="2801175"/>
              <a:ext cx="304850" cy="304050"/>
            </a:xfrm>
            <a:custGeom>
              <a:avLst/>
              <a:gdLst/>
              <a:ahLst/>
              <a:cxnLst/>
              <a:rect l="l" t="t" r="r" b="b"/>
              <a:pathLst>
                <a:path w="12194" h="12162" extrusionOk="0">
                  <a:moveTo>
                    <a:pt x="7940" y="694"/>
                  </a:moveTo>
                  <a:cubicBezTo>
                    <a:pt x="8255" y="694"/>
                    <a:pt x="8539" y="914"/>
                    <a:pt x="8602" y="1229"/>
                  </a:cubicBezTo>
                  <a:cubicBezTo>
                    <a:pt x="8633" y="1324"/>
                    <a:pt x="8728" y="1418"/>
                    <a:pt x="8854" y="1450"/>
                  </a:cubicBezTo>
                  <a:cubicBezTo>
                    <a:pt x="9169" y="1544"/>
                    <a:pt x="9358" y="1796"/>
                    <a:pt x="9358" y="2111"/>
                  </a:cubicBezTo>
                  <a:cubicBezTo>
                    <a:pt x="9358" y="2426"/>
                    <a:pt x="9169" y="2710"/>
                    <a:pt x="8854" y="2804"/>
                  </a:cubicBezTo>
                  <a:cubicBezTo>
                    <a:pt x="8728" y="2836"/>
                    <a:pt x="8633" y="2899"/>
                    <a:pt x="8602" y="3025"/>
                  </a:cubicBezTo>
                  <a:cubicBezTo>
                    <a:pt x="8539" y="3340"/>
                    <a:pt x="8255" y="3529"/>
                    <a:pt x="7940" y="3529"/>
                  </a:cubicBezTo>
                  <a:cubicBezTo>
                    <a:pt x="7625" y="3529"/>
                    <a:pt x="7373" y="3340"/>
                    <a:pt x="7279" y="3056"/>
                  </a:cubicBezTo>
                  <a:cubicBezTo>
                    <a:pt x="7216" y="2899"/>
                    <a:pt x="7058" y="2836"/>
                    <a:pt x="6901" y="2836"/>
                  </a:cubicBezTo>
                  <a:lnTo>
                    <a:pt x="6806" y="2836"/>
                  </a:lnTo>
                  <a:cubicBezTo>
                    <a:pt x="6649" y="2836"/>
                    <a:pt x="6522" y="2899"/>
                    <a:pt x="6428" y="3056"/>
                  </a:cubicBezTo>
                  <a:cubicBezTo>
                    <a:pt x="6333" y="3340"/>
                    <a:pt x="6081" y="3529"/>
                    <a:pt x="5766" y="3529"/>
                  </a:cubicBezTo>
                  <a:cubicBezTo>
                    <a:pt x="5451" y="3529"/>
                    <a:pt x="5231" y="3340"/>
                    <a:pt x="5105" y="3056"/>
                  </a:cubicBezTo>
                  <a:cubicBezTo>
                    <a:pt x="5073" y="2899"/>
                    <a:pt x="4916" y="2836"/>
                    <a:pt x="4758" y="2836"/>
                  </a:cubicBezTo>
                  <a:lnTo>
                    <a:pt x="4632" y="2836"/>
                  </a:lnTo>
                  <a:cubicBezTo>
                    <a:pt x="4475" y="2836"/>
                    <a:pt x="4349" y="2899"/>
                    <a:pt x="4254" y="3056"/>
                  </a:cubicBezTo>
                  <a:cubicBezTo>
                    <a:pt x="4191" y="3340"/>
                    <a:pt x="3908" y="3529"/>
                    <a:pt x="3593" y="3529"/>
                  </a:cubicBezTo>
                  <a:cubicBezTo>
                    <a:pt x="3277" y="3529"/>
                    <a:pt x="2994" y="3340"/>
                    <a:pt x="2931" y="3025"/>
                  </a:cubicBezTo>
                  <a:cubicBezTo>
                    <a:pt x="2899" y="2899"/>
                    <a:pt x="2805" y="2836"/>
                    <a:pt x="2679" y="2804"/>
                  </a:cubicBezTo>
                  <a:cubicBezTo>
                    <a:pt x="2395" y="2710"/>
                    <a:pt x="2175" y="2426"/>
                    <a:pt x="2175" y="2111"/>
                  </a:cubicBezTo>
                  <a:cubicBezTo>
                    <a:pt x="2175" y="1796"/>
                    <a:pt x="2395" y="1544"/>
                    <a:pt x="2679" y="1450"/>
                  </a:cubicBezTo>
                  <a:cubicBezTo>
                    <a:pt x="2805" y="1418"/>
                    <a:pt x="2899" y="1324"/>
                    <a:pt x="2931" y="1229"/>
                  </a:cubicBezTo>
                  <a:cubicBezTo>
                    <a:pt x="2994" y="914"/>
                    <a:pt x="3277" y="694"/>
                    <a:pt x="3593" y="694"/>
                  </a:cubicBezTo>
                  <a:cubicBezTo>
                    <a:pt x="3908" y="694"/>
                    <a:pt x="4160" y="914"/>
                    <a:pt x="4254" y="1166"/>
                  </a:cubicBezTo>
                  <a:cubicBezTo>
                    <a:pt x="4317" y="1324"/>
                    <a:pt x="4475" y="1418"/>
                    <a:pt x="4632" y="1418"/>
                  </a:cubicBezTo>
                  <a:lnTo>
                    <a:pt x="4758" y="1418"/>
                  </a:lnTo>
                  <a:cubicBezTo>
                    <a:pt x="4916" y="1418"/>
                    <a:pt x="5010" y="1324"/>
                    <a:pt x="5105" y="1166"/>
                  </a:cubicBezTo>
                  <a:cubicBezTo>
                    <a:pt x="5231" y="914"/>
                    <a:pt x="5451" y="694"/>
                    <a:pt x="5766" y="694"/>
                  </a:cubicBezTo>
                  <a:cubicBezTo>
                    <a:pt x="6081" y="694"/>
                    <a:pt x="6333" y="914"/>
                    <a:pt x="6428" y="1166"/>
                  </a:cubicBezTo>
                  <a:cubicBezTo>
                    <a:pt x="6491" y="1324"/>
                    <a:pt x="6649" y="1418"/>
                    <a:pt x="6806" y="1418"/>
                  </a:cubicBezTo>
                  <a:lnTo>
                    <a:pt x="6901" y="1418"/>
                  </a:lnTo>
                  <a:cubicBezTo>
                    <a:pt x="7058" y="1418"/>
                    <a:pt x="7184" y="1324"/>
                    <a:pt x="7279" y="1166"/>
                  </a:cubicBezTo>
                  <a:cubicBezTo>
                    <a:pt x="7373" y="914"/>
                    <a:pt x="7625" y="694"/>
                    <a:pt x="7940" y="694"/>
                  </a:cubicBezTo>
                  <a:close/>
                  <a:moveTo>
                    <a:pt x="6459" y="4065"/>
                  </a:moveTo>
                  <a:cubicBezTo>
                    <a:pt x="6522" y="4128"/>
                    <a:pt x="7184" y="4632"/>
                    <a:pt x="7184" y="5671"/>
                  </a:cubicBezTo>
                  <a:cubicBezTo>
                    <a:pt x="7184" y="6207"/>
                    <a:pt x="6995" y="6711"/>
                    <a:pt x="6585" y="7120"/>
                  </a:cubicBezTo>
                  <a:cubicBezTo>
                    <a:pt x="6428" y="7120"/>
                    <a:pt x="6270" y="7089"/>
                    <a:pt x="6081" y="7089"/>
                  </a:cubicBezTo>
                  <a:cubicBezTo>
                    <a:pt x="5798" y="7089"/>
                    <a:pt x="5514" y="7120"/>
                    <a:pt x="5294" y="7152"/>
                  </a:cubicBezTo>
                  <a:cubicBezTo>
                    <a:pt x="5577" y="6711"/>
                    <a:pt x="5735" y="6175"/>
                    <a:pt x="5735" y="5608"/>
                  </a:cubicBezTo>
                  <a:cubicBezTo>
                    <a:pt x="5735" y="5104"/>
                    <a:pt x="5577" y="4569"/>
                    <a:pt x="5294" y="4128"/>
                  </a:cubicBezTo>
                  <a:lnTo>
                    <a:pt x="5294" y="4128"/>
                  </a:lnTo>
                  <a:cubicBezTo>
                    <a:pt x="5420" y="4159"/>
                    <a:pt x="5577" y="4191"/>
                    <a:pt x="5735" y="4191"/>
                  </a:cubicBezTo>
                  <a:cubicBezTo>
                    <a:pt x="5792" y="4205"/>
                    <a:pt x="5848" y="4211"/>
                    <a:pt x="5905" y="4211"/>
                  </a:cubicBezTo>
                  <a:cubicBezTo>
                    <a:pt x="6099" y="4211"/>
                    <a:pt x="6289" y="4138"/>
                    <a:pt x="6459" y="4065"/>
                  </a:cubicBezTo>
                  <a:close/>
                  <a:moveTo>
                    <a:pt x="8602" y="4065"/>
                  </a:moveTo>
                  <a:cubicBezTo>
                    <a:pt x="8633" y="4128"/>
                    <a:pt x="9295" y="4632"/>
                    <a:pt x="9295" y="5671"/>
                  </a:cubicBezTo>
                  <a:cubicBezTo>
                    <a:pt x="9295" y="6459"/>
                    <a:pt x="9043" y="7404"/>
                    <a:pt x="8287" y="7751"/>
                  </a:cubicBezTo>
                  <a:cubicBezTo>
                    <a:pt x="8003" y="7562"/>
                    <a:pt x="7688" y="7404"/>
                    <a:pt x="7373" y="7310"/>
                  </a:cubicBezTo>
                  <a:cubicBezTo>
                    <a:pt x="7751" y="6837"/>
                    <a:pt x="7909" y="6270"/>
                    <a:pt x="7909" y="5671"/>
                  </a:cubicBezTo>
                  <a:cubicBezTo>
                    <a:pt x="7877" y="5167"/>
                    <a:pt x="7720" y="4632"/>
                    <a:pt x="7468" y="4159"/>
                  </a:cubicBezTo>
                  <a:lnTo>
                    <a:pt x="7468" y="4159"/>
                  </a:lnTo>
                  <a:cubicBezTo>
                    <a:pt x="7619" y="4209"/>
                    <a:pt x="7775" y="4235"/>
                    <a:pt x="7930" y="4235"/>
                  </a:cubicBezTo>
                  <a:cubicBezTo>
                    <a:pt x="8163" y="4235"/>
                    <a:pt x="8394" y="4178"/>
                    <a:pt x="8602" y="4065"/>
                  </a:cubicBezTo>
                  <a:close/>
                  <a:moveTo>
                    <a:pt x="9894" y="2710"/>
                  </a:moveTo>
                  <a:cubicBezTo>
                    <a:pt x="10870" y="3371"/>
                    <a:pt x="11469" y="4474"/>
                    <a:pt x="11469" y="5671"/>
                  </a:cubicBezTo>
                  <a:cubicBezTo>
                    <a:pt x="11469" y="7367"/>
                    <a:pt x="9957" y="9278"/>
                    <a:pt x="8454" y="9278"/>
                  </a:cubicBezTo>
                  <a:cubicBezTo>
                    <a:pt x="8141" y="9278"/>
                    <a:pt x="7829" y="9195"/>
                    <a:pt x="7531" y="9011"/>
                  </a:cubicBezTo>
                  <a:lnTo>
                    <a:pt x="7405" y="8948"/>
                  </a:lnTo>
                  <a:cubicBezTo>
                    <a:pt x="7011" y="8648"/>
                    <a:pt x="6562" y="8499"/>
                    <a:pt x="6117" y="8499"/>
                  </a:cubicBezTo>
                  <a:cubicBezTo>
                    <a:pt x="5672" y="8499"/>
                    <a:pt x="5231" y="8648"/>
                    <a:pt x="4853" y="8948"/>
                  </a:cubicBezTo>
                  <a:cubicBezTo>
                    <a:pt x="4601" y="9137"/>
                    <a:pt x="4309" y="9231"/>
                    <a:pt x="4018" y="9231"/>
                  </a:cubicBezTo>
                  <a:cubicBezTo>
                    <a:pt x="3726" y="9231"/>
                    <a:pt x="3435" y="9137"/>
                    <a:pt x="3183" y="8948"/>
                  </a:cubicBezTo>
                  <a:cubicBezTo>
                    <a:pt x="2789" y="8622"/>
                    <a:pt x="2329" y="8464"/>
                    <a:pt x="1870" y="8464"/>
                  </a:cubicBezTo>
                  <a:cubicBezTo>
                    <a:pt x="1486" y="8464"/>
                    <a:pt x="1102" y="8575"/>
                    <a:pt x="757" y="8790"/>
                  </a:cubicBezTo>
                  <a:lnTo>
                    <a:pt x="757" y="7940"/>
                  </a:lnTo>
                  <a:cubicBezTo>
                    <a:pt x="1080" y="7815"/>
                    <a:pt x="1423" y="7752"/>
                    <a:pt x="1769" y="7752"/>
                  </a:cubicBezTo>
                  <a:cubicBezTo>
                    <a:pt x="2469" y="7752"/>
                    <a:pt x="3180" y="8011"/>
                    <a:pt x="3750" y="8538"/>
                  </a:cubicBezTo>
                  <a:cubicBezTo>
                    <a:pt x="3813" y="8601"/>
                    <a:pt x="3900" y="8633"/>
                    <a:pt x="3986" y="8633"/>
                  </a:cubicBezTo>
                  <a:cubicBezTo>
                    <a:pt x="4073" y="8633"/>
                    <a:pt x="4160" y="8601"/>
                    <a:pt x="4223" y="8538"/>
                  </a:cubicBezTo>
                  <a:cubicBezTo>
                    <a:pt x="4724" y="8069"/>
                    <a:pt x="5416" y="7833"/>
                    <a:pt x="6124" y="7833"/>
                  </a:cubicBezTo>
                  <a:cubicBezTo>
                    <a:pt x="6796" y="7833"/>
                    <a:pt x="7483" y="8046"/>
                    <a:pt x="8035" y="8475"/>
                  </a:cubicBezTo>
                  <a:cubicBezTo>
                    <a:pt x="8090" y="8512"/>
                    <a:pt x="8167" y="8527"/>
                    <a:pt x="8234" y="8527"/>
                  </a:cubicBezTo>
                  <a:cubicBezTo>
                    <a:pt x="8281" y="8527"/>
                    <a:pt x="8324" y="8520"/>
                    <a:pt x="8350" y="8507"/>
                  </a:cubicBezTo>
                  <a:cubicBezTo>
                    <a:pt x="8917" y="8318"/>
                    <a:pt x="9358" y="7908"/>
                    <a:pt x="9673" y="7373"/>
                  </a:cubicBezTo>
                  <a:cubicBezTo>
                    <a:pt x="9894" y="6900"/>
                    <a:pt x="10051" y="6301"/>
                    <a:pt x="10051" y="5671"/>
                  </a:cubicBezTo>
                  <a:cubicBezTo>
                    <a:pt x="10051" y="4884"/>
                    <a:pt x="9736" y="4128"/>
                    <a:pt x="9137" y="3560"/>
                  </a:cubicBezTo>
                  <a:lnTo>
                    <a:pt x="9106" y="3529"/>
                  </a:lnTo>
                  <a:cubicBezTo>
                    <a:pt x="9137" y="3497"/>
                    <a:pt x="9200" y="3403"/>
                    <a:pt x="9200" y="3371"/>
                  </a:cubicBezTo>
                  <a:cubicBezTo>
                    <a:pt x="9515" y="3214"/>
                    <a:pt x="9736" y="2993"/>
                    <a:pt x="9894" y="2710"/>
                  </a:cubicBezTo>
                  <a:close/>
                  <a:moveTo>
                    <a:pt x="11500" y="8034"/>
                  </a:moveTo>
                  <a:lnTo>
                    <a:pt x="11500" y="11468"/>
                  </a:lnTo>
                  <a:lnTo>
                    <a:pt x="726" y="11468"/>
                  </a:lnTo>
                  <a:lnTo>
                    <a:pt x="726" y="11405"/>
                  </a:lnTo>
                  <a:lnTo>
                    <a:pt x="726" y="9672"/>
                  </a:lnTo>
                  <a:cubicBezTo>
                    <a:pt x="789" y="9641"/>
                    <a:pt x="883" y="9578"/>
                    <a:pt x="946" y="9515"/>
                  </a:cubicBezTo>
                  <a:cubicBezTo>
                    <a:pt x="1214" y="9326"/>
                    <a:pt x="1521" y="9231"/>
                    <a:pt x="1824" y="9231"/>
                  </a:cubicBezTo>
                  <a:cubicBezTo>
                    <a:pt x="2128" y="9231"/>
                    <a:pt x="2427" y="9326"/>
                    <a:pt x="2679" y="9515"/>
                  </a:cubicBezTo>
                  <a:cubicBezTo>
                    <a:pt x="3073" y="9830"/>
                    <a:pt x="3530" y="9987"/>
                    <a:pt x="3986" y="9987"/>
                  </a:cubicBezTo>
                  <a:cubicBezTo>
                    <a:pt x="4443" y="9987"/>
                    <a:pt x="4900" y="9830"/>
                    <a:pt x="5294" y="9515"/>
                  </a:cubicBezTo>
                  <a:cubicBezTo>
                    <a:pt x="5546" y="9326"/>
                    <a:pt x="5837" y="9231"/>
                    <a:pt x="6133" y="9231"/>
                  </a:cubicBezTo>
                  <a:cubicBezTo>
                    <a:pt x="6428" y="9231"/>
                    <a:pt x="6727" y="9326"/>
                    <a:pt x="6995" y="9515"/>
                  </a:cubicBezTo>
                  <a:cubicBezTo>
                    <a:pt x="7027" y="9515"/>
                    <a:pt x="7027" y="9578"/>
                    <a:pt x="7184" y="9641"/>
                  </a:cubicBezTo>
                  <a:cubicBezTo>
                    <a:pt x="7562" y="9893"/>
                    <a:pt x="8003" y="9987"/>
                    <a:pt x="8476" y="9987"/>
                  </a:cubicBezTo>
                  <a:cubicBezTo>
                    <a:pt x="9704" y="9987"/>
                    <a:pt x="10839" y="9105"/>
                    <a:pt x="11500" y="8034"/>
                  </a:cubicBezTo>
                  <a:close/>
                  <a:moveTo>
                    <a:pt x="3624" y="0"/>
                  </a:moveTo>
                  <a:cubicBezTo>
                    <a:pt x="3088" y="0"/>
                    <a:pt x="2584" y="315"/>
                    <a:pt x="2332" y="820"/>
                  </a:cubicBezTo>
                  <a:cubicBezTo>
                    <a:pt x="1828" y="1040"/>
                    <a:pt x="1513" y="1544"/>
                    <a:pt x="1513" y="2111"/>
                  </a:cubicBezTo>
                  <a:cubicBezTo>
                    <a:pt x="1513" y="2678"/>
                    <a:pt x="1828" y="3182"/>
                    <a:pt x="2332" y="3434"/>
                  </a:cubicBezTo>
                  <a:cubicBezTo>
                    <a:pt x="2584" y="3939"/>
                    <a:pt x="3057" y="4254"/>
                    <a:pt x="3624" y="4254"/>
                  </a:cubicBezTo>
                  <a:cubicBezTo>
                    <a:pt x="3876" y="4254"/>
                    <a:pt x="4160" y="4159"/>
                    <a:pt x="4349" y="4065"/>
                  </a:cubicBezTo>
                  <a:cubicBezTo>
                    <a:pt x="4380" y="4128"/>
                    <a:pt x="5042" y="4632"/>
                    <a:pt x="5042" y="5671"/>
                  </a:cubicBezTo>
                  <a:cubicBezTo>
                    <a:pt x="5042" y="6522"/>
                    <a:pt x="4538" y="7278"/>
                    <a:pt x="3750" y="7625"/>
                  </a:cubicBezTo>
                  <a:cubicBezTo>
                    <a:pt x="3164" y="7245"/>
                    <a:pt x="2502" y="7045"/>
                    <a:pt x="1837" y="7045"/>
                  </a:cubicBezTo>
                  <a:cubicBezTo>
                    <a:pt x="1287" y="7045"/>
                    <a:pt x="735" y="7182"/>
                    <a:pt x="221" y="7467"/>
                  </a:cubicBezTo>
                  <a:cubicBezTo>
                    <a:pt x="95" y="7562"/>
                    <a:pt x="1" y="7688"/>
                    <a:pt x="1" y="7782"/>
                  </a:cubicBezTo>
                  <a:lnTo>
                    <a:pt x="1" y="11815"/>
                  </a:lnTo>
                  <a:cubicBezTo>
                    <a:pt x="1" y="12004"/>
                    <a:pt x="158" y="12161"/>
                    <a:pt x="379" y="12161"/>
                  </a:cubicBezTo>
                  <a:lnTo>
                    <a:pt x="11815" y="12161"/>
                  </a:lnTo>
                  <a:cubicBezTo>
                    <a:pt x="12036" y="12161"/>
                    <a:pt x="12193" y="12004"/>
                    <a:pt x="12193" y="11815"/>
                  </a:cubicBezTo>
                  <a:lnTo>
                    <a:pt x="12193" y="5671"/>
                  </a:lnTo>
                  <a:cubicBezTo>
                    <a:pt x="12193" y="4128"/>
                    <a:pt x="11343" y="2710"/>
                    <a:pt x="10020" y="1954"/>
                  </a:cubicBezTo>
                  <a:cubicBezTo>
                    <a:pt x="9988" y="1450"/>
                    <a:pt x="9673" y="1009"/>
                    <a:pt x="9200" y="820"/>
                  </a:cubicBezTo>
                  <a:cubicBezTo>
                    <a:pt x="8948" y="315"/>
                    <a:pt x="8476" y="0"/>
                    <a:pt x="7909" y="0"/>
                  </a:cubicBezTo>
                  <a:cubicBezTo>
                    <a:pt x="7468" y="0"/>
                    <a:pt x="7121" y="189"/>
                    <a:pt x="6838" y="473"/>
                  </a:cubicBezTo>
                  <a:cubicBezTo>
                    <a:pt x="6554" y="158"/>
                    <a:pt x="6144" y="0"/>
                    <a:pt x="5766" y="0"/>
                  </a:cubicBezTo>
                  <a:cubicBezTo>
                    <a:pt x="5357" y="0"/>
                    <a:pt x="4979" y="189"/>
                    <a:pt x="4695" y="473"/>
                  </a:cubicBezTo>
                  <a:cubicBezTo>
                    <a:pt x="4412" y="158"/>
                    <a:pt x="4034" y="0"/>
                    <a:pt x="362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80"/>
            <p:cNvSpPr/>
            <p:nvPr/>
          </p:nvSpPr>
          <p:spPr>
            <a:xfrm>
              <a:off x="-16423275" y="2907500"/>
              <a:ext cx="35450" cy="35475"/>
            </a:xfrm>
            <a:custGeom>
              <a:avLst/>
              <a:gdLst/>
              <a:ahLst/>
              <a:cxnLst/>
              <a:rect l="l" t="t" r="r" b="b"/>
              <a:pathLst>
                <a:path w="1418" h="1419" extrusionOk="0">
                  <a:moveTo>
                    <a:pt x="725" y="1"/>
                  </a:moveTo>
                  <a:cubicBezTo>
                    <a:pt x="315" y="1"/>
                    <a:pt x="0" y="316"/>
                    <a:pt x="0" y="694"/>
                  </a:cubicBezTo>
                  <a:cubicBezTo>
                    <a:pt x="0"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62" name="Google Shape;10762;p80"/>
          <p:cNvSpPr/>
          <p:nvPr/>
        </p:nvSpPr>
        <p:spPr>
          <a:xfrm>
            <a:off x="3207661" y="3447191"/>
            <a:ext cx="471432" cy="470228"/>
          </a:xfrm>
          <a:custGeom>
            <a:avLst/>
            <a:gdLst/>
            <a:ahLst/>
            <a:cxnLst/>
            <a:rect l="l" t="t" r="r" b="b"/>
            <a:pathLst>
              <a:path w="12130" h="12099" extrusionOk="0">
                <a:moveTo>
                  <a:pt x="6018" y="1072"/>
                </a:moveTo>
                <a:cubicBezTo>
                  <a:pt x="6396" y="1923"/>
                  <a:pt x="7089" y="3624"/>
                  <a:pt x="7089" y="5577"/>
                </a:cubicBezTo>
                <a:cubicBezTo>
                  <a:pt x="6869" y="6018"/>
                  <a:pt x="6680" y="6459"/>
                  <a:pt x="6522" y="6932"/>
                </a:cubicBezTo>
                <a:cubicBezTo>
                  <a:pt x="6333" y="7467"/>
                  <a:pt x="6176" y="8035"/>
                  <a:pt x="6018" y="8633"/>
                </a:cubicBezTo>
                <a:cubicBezTo>
                  <a:pt x="5892" y="8035"/>
                  <a:pt x="5703" y="7467"/>
                  <a:pt x="5514" y="6932"/>
                </a:cubicBezTo>
                <a:cubicBezTo>
                  <a:pt x="5356" y="6459"/>
                  <a:pt x="5136" y="6018"/>
                  <a:pt x="4947" y="5577"/>
                </a:cubicBezTo>
                <a:cubicBezTo>
                  <a:pt x="4978" y="3655"/>
                  <a:pt x="5608" y="1923"/>
                  <a:pt x="6018" y="1072"/>
                </a:cubicBezTo>
                <a:close/>
                <a:moveTo>
                  <a:pt x="2552" y="3183"/>
                </a:moveTo>
                <a:cubicBezTo>
                  <a:pt x="4285" y="5199"/>
                  <a:pt x="5356" y="7720"/>
                  <a:pt x="5608" y="10366"/>
                </a:cubicBezTo>
                <a:cubicBezTo>
                  <a:pt x="4947" y="9452"/>
                  <a:pt x="4411" y="9043"/>
                  <a:pt x="3529" y="8381"/>
                </a:cubicBezTo>
                <a:cubicBezTo>
                  <a:pt x="3529" y="7152"/>
                  <a:pt x="3340" y="5955"/>
                  <a:pt x="3025" y="4790"/>
                </a:cubicBezTo>
                <a:lnTo>
                  <a:pt x="2552" y="3183"/>
                </a:lnTo>
                <a:close/>
                <a:moveTo>
                  <a:pt x="9515" y="3183"/>
                </a:moveTo>
                <a:lnTo>
                  <a:pt x="9043" y="4790"/>
                </a:lnTo>
                <a:cubicBezTo>
                  <a:pt x="8727" y="5987"/>
                  <a:pt x="8538" y="7152"/>
                  <a:pt x="8538" y="8381"/>
                </a:cubicBezTo>
                <a:cubicBezTo>
                  <a:pt x="7719" y="9043"/>
                  <a:pt x="7152" y="9452"/>
                  <a:pt x="6459" y="10366"/>
                </a:cubicBezTo>
                <a:cubicBezTo>
                  <a:pt x="6711" y="7720"/>
                  <a:pt x="7782" y="5199"/>
                  <a:pt x="9515" y="3183"/>
                </a:cubicBezTo>
                <a:close/>
                <a:moveTo>
                  <a:pt x="662" y="5703"/>
                </a:moveTo>
                <a:cubicBezTo>
                  <a:pt x="1166" y="6995"/>
                  <a:pt x="2017" y="8066"/>
                  <a:pt x="3025" y="8885"/>
                </a:cubicBezTo>
                <a:cubicBezTo>
                  <a:pt x="3970" y="9641"/>
                  <a:pt x="4663" y="10145"/>
                  <a:pt x="5419" y="11374"/>
                </a:cubicBezTo>
                <a:cubicBezTo>
                  <a:pt x="2584" y="11374"/>
                  <a:pt x="662" y="9169"/>
                  <a:pt x="662" y="6680"/>
                </a:cubicBezTo>
                <a:lnTo>
                  <a:pt x="662" y="5703"/>
                </a:lnTo>
                <a:close/>
                <a:moveTo>
                  <a:pt x="11405" y="5703"/>
                </a:moveTo>
                <a:lnTo>
                  <a:pt x="11405" y="6680"/>
                </a:lnTo>
                <a:cubicBezTo>
                  <a:pt x="11405" y="9169"/>
                  <a:pt x="9484" y="11374"/>
                  <a:pt x="6648" y="11374"/>
                </a:cubicBezTo>
                <a:cubicBezTo>
                  <a:pt x="7436" y="10051"/>
                  <a:pt x="8192" y="9578"/>
                  <a:pt x="9137" y="8822"/>
                </a:cubicBezTo>
                <a:cubicBezTo>
                  <a:pt x="10145" y="8003"/>
                  <a:pt x="10901" y="6963"/>
                  <a:pt x="11405" y="5703"/>
                </a:cubicBezTo>
                <a:close/>
                <a:moveTo>
                  <a:pt x="6050" y="1"/>
                </a:moveTo>
                <a:cubicBezTo>
                  <a:pt x="5924" y="1"/>
                  <a:pt x="5829" y="64"/>
                  <a:pt x="5734" y="158"/>
                </a:cubicBezTo>
                <a:cubicBezTo>
                  <a:pt x="5734" y="190"/>
                  <a:pt x="5356" y="788"/>
                  <a:pt x="4978" y="1765"/>
                </a:cubicBezTo>
                <a:cubicBezTo>
                  <a:pt x="4758" y="2427"/>
                  <a:pt x="4474" y="3372"/>
                  <a:pt x="4317" y="4443"/>
                </a:cubicBezTo>
                <a:cubicBezTo>
                  <a:pt x="3939" y="3813"/>
                  <a:pt x="3529" y="3277"/>
                  <a:pt x="3057" y="2710"/>
                </a:cubicBezTo>
                <a:lnTo>
                  <a:pt x="2048" y="1482"/>
                </a:lnTo>
                <a:cubicBezTo>
                  <a:pt x="1966" y="1420"/>
                  <a:pt x="1871" y="1372"/>
                  <a:pt x="1771" y="1372"/>
                </a:cubicBezTo>
                <a:cubicBezTo>
                  <a:pt x="1717" y="1372"/>
                  <a:pt x="1662" y="1386"/>
                  <a:pt x="1607" y="1419"/>
                </a:cubicBezTo>
                <a:cubicBezTo>
                  <a:pt x="1450" y="1482"/>
                  <a:pt x="1355" y="1639"/>
                  <a:pt x="1450" y="1797"/>
                </a:cubicBezTo>
                <a:lnTo>
                  <a:pt x="2363" y="5010"/>
                </a:lnTo>
                <a:cubicBezTo>
                  <a:pt x="2584" y="5892"/>
                  <a:pt x="2773" y="6806"/>
                  <a:pt x="2836" y="7720"/>
                </a:cubicBezTo>
                <a:cubicBezTo>
                  <a:pt x="2206" y="7089"/>
                  <a:pt x="1733" y="6302"/>
                  <a:pt x="1355" y="5514"/>
                </a:cubicBezTo>
                <a:lnTo>
                  <a:pt x="662" y="3750"/>
                </a:lnTo>
                <a:cubicBezTo>
                  <a:pt x="568" y="3592"/>
                  <a:pt x="410" y="3498"/>
                  <a:pt x="253" y="3498"/>
                </a:cubicBezTo>
                <a:cubicBezTo>
                  <a:pt x="95" y="3529"/>
                  <a:pt x="1" y="3687"/>
                  <a:pt x="1" y="3844"/>
                </a:cubicBezTo>
                <a:lnTo>
                  <a:pt x="1" y="6680"/>
                </a:lnTo>
                <a:cubicBezTo>
                  <a:pt x="1" y="8098"/>
                  <a:pt x="536" y="9484"/>
                  <a:pt x="1576" y="10523"/>
                </a:cubicBezTo>
                <a:cubicBezTo>
                  <a:pt x="2584" y="11532"/>
                  <a:pt x="3939" y="12099"/>
                  <a:pt x="5356" y="12099"/>
                </a:cubicBezTo>
                <a:lnTo>
                  <a:pt x="6774" y="12099"/>
                </a:lnTo>
                <a:cubicBezTo>
                  <a:pt x="8192" y="12099"/>
                  <a:pt x="9547" y="11532"/>
                  <a:pt x="10555" y="10523"/>
                </a:cubicBezTo>
                <a:cubicBezTo>
                  <a:pt x="11563" y="9484"/>
                  <a:pt x="12130" y="8161"/>
                  <a:pt x="12130" y="6680"/>
                </a:cubicBezTo>
                <a:lnTo>
                  <a:pt x="12130" y="3844"/>
                </a:lnTo>
                <a:cubicBezTo>
                  <a:pt x="12130" y="3687"/>
                  <a:pt x="12004" y="3529"/>
                  <a:pt x="11846" y="3498"/>
                </a:cubicBezTo>
                <a:cubicBezTo>
                  <a:pt x="11821" y="3493"/>
                  <a:pt x="11794" y="3490"/>
                  <a:pt x="11768" y="3490"/>
                </a:cubicBezTo>
                <a:cubicBezTo>
                  <a:pt x="11631" y="3490"/>
                  <a:pt x="11490" y="3560"/>
                  <a:pt x="11437" y="3718"/>
                </a:cubicBezTo>
                <a:lnTo>
                  <a:pt x="10744" y="5514"/>
                </a:lnTo>
                <a:cubicBezTo>
                  <a:pt x="10429" y="6333"/>
                  <a:pt x="9925" y="7089"/>
                  <a:pt x="9295" y="7720"/>
                </a:cubicBezTo>
                <a:cubicBezTo>
                  <a:pt x="9358" y="6806"/>
                  <a:pt x="9515" y="5861"/>
                  <a:pt x="9767" y="4979"/>
                </a:cubicBezTo>
                <a:lnTo>
                  <a:pt x="10649" y="1797"/>
                </a:lnTo>
                <a:cubicBezTo>
                  <a:pt x="10712" y="1639"/>
                  <a:pt x="10618" y="1482"/>
                  <a:pt x="10492" y="1419"/>
                </a:cubicBezTo>
                <a:cubicBezTo>
                  <a:pt x="10454" y="1381"/>
                  <a:pt x="10398" y="1364"/>
                  <a:pt x="10337" y="1364"/>
                </a:cubicBezTo>
                <a:cubicBezTo>
                  <a:pt x="10243" y="1364"/>
                  <a:pt x="10139" y="1405"/>
                  <a:pt x="10082" y="1482"/>
                </a:cubicBezTo>
                <a:lnTo>
                  <a:pt x="9043" y="2710"/>
                </a:lnTo>
                <a:cubicBezTo>
                  <a:pt x="8570" y="3277"/>
                  <a:pt x="8129" y="3844"/>
                  <a:pt x="7782" y="4443"/>
                </a:cubicBezTo>
                <a:cubicBezTo>
                  <a:pt x="7656" y="3372"/>
                  <a:pt x="7404" y="2427"/>
                  <a:pt x="7121" y="1765"/>
                </a:cubicBezTo>
                <a:cubicBezTo>
                  <a:pt x="6774" y="788"/>
                  <a:pt x="6396" y="158"/>
                  <a:pt x="6365" y="158"/>
                </a:cubicBezTo>
                <a:cubicBezTo>
                  <a:pt x="6302" y="32"/>
                  <a:pt x="6176" y="1"/>
                  <a:pt x="60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3" name="Google Shape;10763;p80"/>
          <p:cNvSpPr/>
          <p:nvPr/>
        </p:nvSpPr>
        <p:spPr>
          <a:xfrm>
            <a:off x="3174039" y="1706376"/>
            <a:ext cx="475125" cy="438086"/>
          </a:xfrm>
          <a:custGeom>
            <a:avLst/>
            <a:gdLst/>
            <a:ahLst/>
            <a:cxnLst/>
            <a:rect l="l" t="t" r="r" b="b"/>
            <a:pathLst>
              <a:path w="12225" h="11272" extrusionOk="0">
                <a:moveTo>
                  <a:pt x="2490" y="1190"/>
                </a:moveTo>
                <a:lnTo>
                  <a:pt x="4065" y="4372"/>
                </a:lnTo>
                <a:lnTo>
                  <a:pt x="4159" y="4624"/>
                </a:lnTo>
                <a:lnTo>
                  <a:pt x="3183" y="6577"/>
                </a:lnTo>
                <a:cubicBezTo>
                  <a:pt x="3151" y="6671"/>
                  <a:pt x="3120" y="6766"/>
                  <a:pt x="3057" y="6892"/>
                </a:cubicBezTo>
                <a:cubicBezTo>
                  <a:pt x="2868" y="6923"/>
                  <a:pt x="2679" y="6986"/>
                  <a:pt x="2490" y="6986"/>
                </a:cubicBezTo>
                <a:cubicBezTo>
                  <a:pt x="1482" y="6986"/>
                  <a:pt x="662" y="6199"/>
                  <a:pt x="662" y="5191"/>
                </a:cubicBezTo>
                <a:cubicBezTo>
                  <a:pt x="662" y="4939"/>
                  <a:pt x="757" y="4655"/>
                  <a:pt x="851" y="4372"/>
                </a:cubicBezTo>
                <a:cubicBezTo>
                  <a:pt x="851" y="4372"/>
                  <a:pt x="2269" y="1568"/>
                  <a:pt x="2490" y="1190"/>
                </a:cubicBezTo>
                <a:close/>
                <a:moveTo>
                  <a:pt x="9610" y="1190"/>
                </a:moveTo>
                <a:lnTo>
                  <a:pt x="11217" y="4372"/>
                </a:lnTo>
                <a:cubicBezTo>
                  <a:pt x="11343" y="4655"/>
                  <a:pt x="11406" y="4876"/>
                  <a:pt x="11406" y="5191"/>
                </a:cubicBezTo>
                <a:cubicBezTo>
                  <a:pt x="11406" y="6136"/>
                  <a:pt x="10618" y="6986"/>
                  <a:pt x="9610" y="6986"/>
                </a:cubicBezTo>
                <a:cubicBezTo>
                  <a:pt x="9421" y="6986"/>
                  <a:pt x="9200" y="6923"/>
                  <a:pt x="9011" y="6892"/>
                </a:cubicBezTo>
                <a:cubicBezTo>
                  <a:pt x="8980" y="6766"/>
                  <a:pt x="8948" y="6703"/>
                  <a:pt x="8885" y="6577"/>
                </a:cubicBezTo>
                <a:lnTo>
                  <a:pt x="7909" y="4624"/>
                </a:lnTo>
                <a:lnTo>
                  <a:pt x="8035" y="4372"/>
                </a:lnTo>
                <a:cubicBezTo>
                  <a:pt x="8035" y="4372"/>
                  <a:pt x="9452" y="1536"/>
                  <a:pt x="9610" y="1190"/>
                </a:cubicBezTo>
                <a:close/>
                <a:moveTo>
                  <a:pt x="6050" y="2387"/>
                </a:moveTo>
                <a:lnTo>
                  <a:pt x="8255" y="6892"/>
                </a:lnTo>
                <a:cubicBezTo>
                  <a:pt x="8476" y="7238"/>
                  <a:pt x="8539" y="7648"/>
                  <a:pt x="8539" y="8026"/>
                </a:cubicBezTo>
                <a:cubicBezTo>
                  <a:pt x="8539" y="9412"/>
                  <a:pt x="7436" y="10515"/>
                  <a:pt x="6050" y="10515"/>
                </a:cubicBezTo>
                <a:cubicBezTo>
                  <a:pt x="4695" y="10515"/>
                  <a:pt x="3592" y="9412"/>
                  <a:pt x="3592" y="8026"/>
                </a:cubicBezTo>
                <a:cubicBezTo>
                  <a:pt x="3592" y="7648"/>
                  <a:pt x="3655" y="7238"/>
                  <a:pt x="3844" y="6892"/>
                </a:cubicBezTo>
                <a:lnTo>
                  <a:pt x="6050" y="2387"/>
                </a:lnTo>
                <a:close/>
                <a:moveTo>
                  <a:pt x="2521" y="0"/>
                </a:moveTo>
                <a:cubicBezTo>
                  <a:pt x="2395" y="0"/>
                  <a:pt x="2269" y="71"/>
                  <a:pt x="2206" y="213"/>
                </a:cubicBezTo>
                <a:cubicBezTo>
                  <a:pt x="2112" y="307"/>
                  <a:pt x="284" y="4025"/>
                  <a:pt x="284" y="4025"/>
                </a:cubicBezTo>
                <a:cubicBezTo>
                  <a:pt x="64" y="4372"/>
                  <a:pt x="1" y="4781"/>
                  <a:pt x="1" y="5159"/>
                </a:cubicBezTo>
                <a:cubicBezTo>
                  <a:pt x="1" y="5821"/>
                  <a:pt x="284" y="6451"/>
                  <a:pt x="757" y="6923"/>
                </a:cubicBezTo>
                <a:cubicBezTo>
                  <a:pt x="1230" y="7396"/>
                  <a:pt x="1860" y="7680"/>
                  <a:pt x="2521" y="7680"/>
                </a:cubicBezTo>
                <a:cubicBezTo>
                  <a:pt x="2647" y="7680"/>
                  <a:pt x="2742" y="7680"/>
                  <a:pt x="2899" y="7648"/>
                </a:cubicBezTo>
                <a:lnTo>
                  <a:pt x="2899" y="7648"/>
                </a:lnTo>
                <a:cubicBezTo>
                  <a:pt x="2899" y="7774"/>
                  <a:pt x="2868" y="7932"/>
                  <a:pt x="2868" y="8026"/>
                </a:cubicBezTo>
                <a:cubicBezTo>
                  <a:pt x="2868" y="9822"/>
                  <a:pt x="4348" y="11271"/>
                  <a:pt x="6113" y="11271"/>
                </a:cubicBezTo>
                <a:cubicBezTo>
                  <a:pt x="7877" y="11271"/>
                  <a:pt x="9326" y="9822"/>
                  <a:pt x="9326" y="8026"/>
                </a:cubicBezTo>
                <a:cubicBezTo>
                  <a:pt x="9326" y="7932"/>
                  <a:pt x="9326" y="7774"/>
                  <a:pt x="9295" y="7648"/>
                </a:cubicBezTo>
                <a:cubicBezTo>
                  <a:pt x="9421" y="7648"/>
                  <a:pt x="9547" y="7680"/>
                  <a:pt x="9704" y="7680"/>
                </a:cubicBezTo>
                <a:cubicBezTo>
                  <a:pt x="11059" y="7680"/>
                  <a:pt x="12225" y="6577"/>
                  <a:pt x="12225" y="5191"/>
                </a:cubicBezTo>
                <a:cubicBezTo>
                  <a:pt x="12130" y="4750"/>
                  <a:pt x="12036" y="4372"/>
                  <a:pt x="11847" y="4025"/>
                </a:cubicBezTo>
                <a:lnTo>
                  <a:pt x="9925" y="213"/>
                </a:lnTo>
                <a:cubicBezTo>
                  <a:pt x="9862" y="71"/>
                  <a:pt x="9736" y="0"/>
                  <a:pt x="9610" y="0"/>
                </a:cubicBezTo>
                <a:cubicBezTo>
                  <a:pt x="9484" y="0"/>
                  <a:pt x="9358" y="71"/>
                  <a:pt x="9295" y="213"/>
                </a:cubicBezTo>
                <a:cubicBezTo>
                  <a:pt x="8948" y="906"/>
                  <a:pt x="7530" y="3773"/>
                  <a:pt x="7530" y="3773"/>
                </a:cubicBezTo>
                <a:lnTo>
                  <a:pt x="6365" y="1473"/>
                </a:lnTo>
                <a:cubicBezTo>
                  <a:pt x="6318" y="1331"/>
                  <a:pt x="6192" y="1260"/>
                  <a:pt x="6062" y="1260"/>
                </a:cubicBezTo>
                <a:cubicBezTo>
                  <a:pt x="5932" y="1260"/>
                  <a:pt x="5798" y="1331"/>
                  <a:pt x="5735" y="1473"/>
                </a:cubicBezTo>
                <a:lnTo>
                  <a:pt x="4601" y="3773"/>
                </a:lnTo>
                <a:lnTo>
                  <a:pt x="2836" y="213"/>
                </a:lnTo>
                <a:cubicBezTo>
                  <a:pt x="2773" y="71"/>
                  <a:pt x="2647"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64" name="Google Shape;10764;p80"/>
          <p:cNvGrpSpPr/>
          <p:nvPr/>
        </p:nvGrpSpPr>
        <p:grpSpPr>
          <a:xfrm>
            <a:off x="3172167" y="2276343"/>
            <a:ext cx="481265" cy="469917"/>
            <a:chOff x="-19802200" y="2416025"/>
            <a:chExt cx="309575" cy="302275"/>
          </a:xfrm>
        </p:grpSpPr>
        <p:sp>
          <p:nvSpPr>
            <p:cNvPr id="10765" name="Google Shape;10765;p80"/>
            <p:cNvSpPr/>
            <p:nvPr/>
          </p:nvSpPr>
          <p:spPr>
            <a:xfrm>
              <a:off x="-19602925" y="25751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80"/>
            <p:cNvSpPr/>
            <p:nvPr/>
          </p:nvSpPr>
          <p:spPr>
            <a:xfrm>
              <a:off x="-19710825" y="2575925"/>
              <a:ext cx="18925" cy="17350"/>
            </a:xfrm>
            <a:custGeom>
              <a:avLst/>
              <a:gdLst/>
              <a:ahLst/>
              <a:cxnLst/>
              <a:rect l="l" t="t" r="r" b="b"/>
              <a:pathLst>
                <a:path w="757" h="694" extrusionOk="0">
                  <a:moveTo>
                    <a:pt x="378" y="0"/>
                  </a:moveTo>
                  <a:cubicBezTo>
                    <a:pt x="158" y="0"/>
                    <a:pt x="0" y="158"/>
                    <a:pt x="0" y="347"/>
                  </a:cubicBezTo>
                  <a:cubicBezTo>
                    <a:pt x="0" y="536"/>
                    <a:pt x="158" y="693"/>
                    <a:pt x="378" y="693"/>
                  </a:cubicBezTo>
                  <a:cubicBezTo>
                    <a:pt x="567" y="693"/>
                    <a:pt x="725" y="536"/>
                    <a:pt x="725" y="347"/>
                  </a:cubicBezTo>
                  <a:cubicBezTo>
                    <a:pt x="756"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80"/>
            <p:cNvSpPr/>
            <p:nvPr/>
          </p:nvSpPr>
          <p:spPr>
            <a:xfrm>
              <a:off x="-19602925" y="261135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80"/>
            <p:cNvSpPr/>
            <p:nvPr/>
          </p:nvSpPr>
          <p:spPr>
            <a:xfrm>
              <a:off x="-19728150" y="2611350"/>
              <a:ext cx="35450" cy="35475"/>
            </a:xfrm>
            <a:custGeom>
              <a:avLst/>
              <a:gdLst/>
              <a:ahLst/>
              <a:cxnLst/>
              <a:rect l="l" t="t" r="r" b="b"/>
              <a:pathLst>
                <a:path w="1418" h="1419" extrusionOk="0">
                  <a:moveTo>
                    <a:pt x="725" y="1"/>
                  </a:moveTo>
                  <a:cubicBezTo>
                    <a:pt x="315" y="1"/>
                    <a:pt x="0" y="316"/>
                    <a:pt x="0" y="694"/>
                  </a:cubicBezTo>
                  <a:cubicBezTo>
                    <a:pt x="0" y="1072"/>
                    <a:pt x="315" y="1418"/>
                    <a:pt x="725" y="1418"/>
                  </a:cubicBezTo>
                  <a:cubicBezTo>
                    <a:pt x="1103" y="1418"/>
                    <a:pt x="1418" y="1072"/>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80"/>
            <p:cNvSpPr/>
            <p:nvPr/>
          </p:nvSpPr>
          <p:spPr>
            <a:xfrm>
              <a:off x="-19802200" y="2416025"/>
              <a:ext cx="309575" cy="302275"/>
            </a:xfrm>
            <a:custGeom>
              <a:avLst/>
              <a:gdLst/>
              <a:ahLst/>
              <a:cxnLst/>
              <a:rect l="l" t="t" r="r" b="b"/>
              <a:pathLst>
                <a:path w="12383" h="12091" extrusionOk="0">
                  <a:moveTo>
                    <a:pt x="6176" y="2080"/>
                  </a:moveTo>
                  <a:cubicBezTo>
                    <a:pt x="6711" y="2080"/>
                    <a:pt x="7121" y="2458"/>
                    <a:pt x="7215" y="2931"/>
                  </a:cubicBezTo>
                  <a:cubicBezTo>
                    <a:pt x="6869" y="2836"/>
                    <a:pt x="6554" y="2804"/>
                    <a:pt x="6176" y="2804"/>
                  </a:cubicBezTo>
                  <a:cubicBezTo>
                    <a:pt x="5829" y="2804"/>
                    <a:pt x="5483" y="2836"/>
                    <a:pt x="5168" y="2931"/>
                  </a:cubicBezTo>
                  <a:cubicBezTo>
                    <a:pt x="5231" y="2458"/>
                    <a:pt x="5672" y="2080"/>
                    <a:pt x="6176" y="2080"/>
                  </a:cubicBezTo>
                  <a:close/>
                  <a:moveTo>
                    <a:pt x="6176" y="3561"/>
                  </a:moveTo>
                  <a:cubicBezTo>
                    <a:pt x="6900" y="3561"/>
                    <a:pt x="7562" y="3750"/>
                    <a:pt x="8129" y="4065"/>
                  </a:cubicBezTo>
                  <a:cubicBezTo>
                    <a:pt x="7656" y="4600"/>
                    <a:pt x="6932" y="4978"/>
                    <a:pt x="6176" y="4978"/>
                  </a:cubicBezTo>
                  <a:cubicBezTo>
                    <a:pt x="5451" y="4978"/>
                    <a:pt x="4727" y="4600"/>
                    <a:pt x="4254" y="4065"/>
                  </a:cubicBezTo>
                  <a:cubicBezTo>
                    <a:pt x="4853" y="3750"/>
                    <a:pt x="5483" y="3561"/>
                    <a:pt x="6176" y="3561"/>
                  </a:cubicBezTo>
                  <a:close/>
                  <a:moveTo>
                    <a:pt x="6176" y="6932"/>
                  </a:moveTo>
                  <a:lnTo>
                    <a:pt x="7026" y="10555"/>
                  </a:lnTo>
                  <a:cubicBezTo>
                    <a:pt x="6743" y="10649"/>
                    <a:pt x="6459" y="10681"/>
                    <a:pt x="6176" y="10681"/>
                  </a:cubicBezTo>
                  <a:cubicBezTo>
                    <a:pt x="5924" y="10681"/>
                    <a:pt x="5640" y="10649"/>
                    <a:pt x="5357" y="10555"/>
                  </a:cubicBezTo>
                  <a:lnTo>
                    <a:pt x="6176" y="6932"/>
                  </a:lnTo>
                  <a:close/>
                  <a:moveTo>
                    <a:pt x="3655" y="4443"/>
                  </a:moveTo>
                  <a:cubicBezTo>
                    <a:pt x="4191" y="5073"/>
                    <a:pt x="4884" y="5514"/>
                    <a:pt x="5766" y="5640"/>
                  </a:cubicBezTo>
                  <a:lnTo>
                    <a:pt x="4538" y="11027"/>
                  </a:lnTo>
                  <a:cubicBezTo>
                    <a:pt x="3151" y="10366"/>
                    <a:pt x="2238" y="8979"/>
                    <a:pt x="2238" y="7436"/>
                  </a:cubicBezTo>
                  <a:cubicBezTo>
                    <a:pt x="2238" y="6239"/>
                    <a:pt x="2805" y="5167"/>
                    <a:pt x="3655" y="4443"/>
                  </a:cubicBezTo>
                  <a:close/>
                  <a:moveTo>
                    <a:pt x="8696" y="4443"/>
                  </a:moveTo>
                  <a:cubicBezTo>
                    <a:pt x="9578" y="5167"/>
                    <a:pt x="10114" y="6270"/>
                    <a:pt x="10114" y="7436"/>
                  </a:cubicBezTo>
                  <a:cubicBezTo>
                    <a:pt x="10082" y="8979"/>
                    <a:pt x="9232" y="10366"/>
                    <a:pt x="7846" y="11027"/>
                  </a:cubicBezTo>
                  <a:lnTo>
                    <a:pt x="6617" y="5640"/>
                  </a:lnTo>
                  <a:cubicBezTo>
                    <a:pt x="7499" y="5514"/>
                    <a:pt x="8192" y="5073"/>
                    <a:pt x="8696" y="4443"/>
                  </a:cubicBezTo>
                  <a:close/>
                  <a:moveTo>
                    <a:pt x="4727" y="1"/>
                  </a:moveTo>
                  <a:cubicBezTo>
                    <a:pt x="4538" y="1"/>
                    <a:pt x="4380" y="158"/>
                    <a:pt x="4380" y="347"/>
                  </a:cubicBezTo>
                  <a:cubicBezTo>
                    <a:pt x="4380" y="946"/>
                    <a:pt x="4664" y="1513"/>
                    <a:pt x="5073" y="1828"/>
                  </a:cubicBezTo>
                  <a:cubicBezTo>
                    <a:pt x="4664" y="2143"/>
                    <a:pt x="4380" y="2678"/>
                    <a:pt x="4380" y="3246"/>
                  </a:cubicBezTo>
                  <a:cubicBezTo>
                    <a:pt x="3592" y="3561"/>
                    <a:pt x="2931" y="4096"/>
                    <a:pt x="2395" y="4758"/>
                  </a:cubicBezTo>
                  <a:lnTo>
                    <a:pt x="1387" y="4380"/>
                  </a:lnTo>
                  <a:lnTo>
                    <a:pt x="725" y="3088"/>
                  </a:lnTo>
                  <a:cubicBezTo>
                    <a:pt x="657" y="2974"/>
                    <a:pt x="522" y="2893"/>
                    <a:pt x="393" y="2893"/>
                  </a:cubicBezTo>
                  <a:cubicBezTo>
                    <a:pt x="344" y="2893"/>
                    <a:pt x="296" y="2904"/>
                    <a:pt x="253" y="2931"/>
                  </a:cubicBezTo>
                  <a:cubicBezTo>
                    <a:pt x="95" y="2994"/>
                    <a:pt x="1" y="3246"/>
                    <a:pt x="95" y="3403"/>
                  </a:cubicBezTo>
                  <a:lnTo>
                    <a:pt x="788" y="4789"/>
                  </a:lnTo>
                  <a:cubicBezTo>
                    <a:pt x="820" y="4884"/>
                    <a:pt x="914" y="4978"/>
                    <a:pt x="977" y="4978"/>
                  </a:cubicBezTo>
                  <a:lnTo>
                    <a:pt x="2017" y="5356"/>
                  </a:lnTo>
                  <a:cubicBezTo>
                    <a:pt x="1734" y="5923"/>
                    <a:pt x="1545" y="6491"/>
                    <a:pt x="1513" y="7121"/>
                  </a:cubicBezTo>
                  <a:lnTo>
                    <a:pt x="410" y="7121"/>
                  </a:lnTo>
                  <a:cubicBezTo>
                    <a:pt x="190" y="7121"/>
                    <a:pt x="32" y="7278"/>
                    <a:pt x="32" y="7499"/>
                  </a:cubicBezTo>
                  <a:cubicBezTo>
                    <a:pt x="32" y="7688"/>
                    <a:pt x="190" y="7845"/>
                    <a:pt x="410" y="7845"/>
                  </a:cubicBezTo>
                  <a:lnTo>
                    <a:pt x="1513" y="7845"/>
                  </a:lnTo>
                  <a:cubicBezTo>
                    <a:pt x="1545" y="8475"/>
                    <a:pt x="1734" y="9074"/>
                    <a:pt x="2017" y="9610"/>
                  </a:cubicBezTo>
                  <a:lnTo>
                    <a:pt x="977" y="10019"/>
                  </a:lnTo>
                  <a:cubicBezTo>
                    <a:pt x="914" y="10051"/>
                    <a:pt x="820" y="10082"/>
                    <a:pt x="788" y="10177"/>
                  </a:cubicBezTo>
                  <a:lnTo>
                    <a:pt x="95" y="11594"/>
                  </a:lnTo>
                  <a:cubicBezTo>
                    <a:pt x="1" y="11752"/>
                    <a:pt x="95" y="11972"/>
                    <a:pt x="253" y="12067"/>
                  </a:cubicBezTo>
                  <a:cubicBezTo>
                    <a:pt x="292" y="12083"/>
                    <a:pt x="336" y="12091"/>
                    <a:pt x="380" y="12091"/>
                  </a:cubicBezTo>
                  <a:cubicBezTo>
                    <a:pt x="513" y="12091"/>
                    <a:pt x="655" y="12020"/>
                    <a:pt x="725" y="11878"/>
                  </a:cubicBezTo>
                  <a:lnTo>
                    <a:pt x="1387" y="10586"/>
                  </a:lnTo>
                  <a:lnTo>
                    <a:pt x="2395" y="10208"/>
                  </a:lnTo>
                  <a:cubicBezTo>
                    <a:pt x="2962" y="10933"/>
                    <a:pt x="3718" y="11531"/>
                    <a:pt x="4664" y="11846"/>
                  </a:cubicBezTo>
                  <a:cubicBezTo>
                    <a:pt x="4706" y="11868"/>
                    <a:pt x="4750" y="11878"/>
                    <a:pt x="4794" y="11878"/>
                  </a:cubicBezTo>
                  <a:cubicBezTo>
                    <a:pt x="4944" y="11878"/>
                    <a:pt x="5087" y="11758"/>
                    <a:pt x="5136" y="11563"/>
                  </a:cubicBezTo>
                  <a:lnTo>
                    <a:pt x="5199" y="11248"/>
                  </a:lnTo>
                  <a:cubicBezTo>
                    <a:pt x="5514" y="11342"/>
                    <a:pt x="5829" y="11374"/>
                    <a:pt x="6176" y="11374"/>
                  </a:cubicBezTo>
                  <a:cubicBezTo>
                    <a:pt x="6491" y="11374"/>
                    <a:pt x="6869" y="11342"/>
                    <a:pt x="7184" y="11248"/>
                  </a:cubicBezTo>
                  <a:lnTo>
                    <a:pt x="7247" y="11563"/>
                  </a:lnTo>
                  <a:cubicBezTo>
                    <a:pt x="7275" y="11756"/>
                    <a:pt x="7471" y="11852"/>
                    <a:pt x="7646" y="11852"/>
                  </a:cubicBezTo>
                  <a:cubicBezTo>
                    <a:pt x="7671" y="11852"/>
                    <a:pt x="7696" y="11850"/>
                    <a:pt x="7720" y="11846"/>
                  </a:cubicBezTo>
                  <a:cubicBezTo>
                    <a:pt x="8633" y="11531"/>
                    <a:pt x="9421" y="10933"/>
                    <a:pt x="9956" y="10208"/>
                  </a:cubicBezTo>
                  <a:lnTo>
                    <a:pt x="10996" y="10586"/>
                  </a:lnTo>
                  <a:lnTo>
                    <a:pt x="11658" y="11878"/>
                  </a:lnTo>
                  <a:cubicBezTo>
                    <a:pt x="11729" y="12020"/>
                    <a:pt x="11870" y="12091"/>
                    <a:pt x="12003" y="12091"/>
                  </a:cubicBezTo>
                  <a:cubicBezTo>
                    <a:pt x="12048" y="12091"/>
                    <a:pt x="12091" y="12083"/>
                    <a:pt x="12130" y="12067"/>
                  </a:cubicBezTo>
                  <a:cubicBezTo>
                    <a:pt x="12288" y="11972"/>
                    <a:pt x="12382" y="11720"/>
                    <a:pt x="12288" y="11594"/>
                  </a:cubicBezTo>
                  <a:lnTo>
                    <a:pt x="11500" y="10177"/>
                  </a:lnTo>
                  <a:cubicBezTo>
                    <a:pt x="11469" y="10082"/>
                    <a:pt x="11374" y="10019"/>
                    <a:pt x="11311" y="10019"/>
                  </a:cubicBezTo>
                  <a:lnTo>
                    <a:pt x="10271" y="9610"/>
                  </a:lnTo>
                  <a:cubicBezTo>
                    <a:pt x="10555" y="9074"/>
                    <a:pt x="10712" y="8475"/>
                    <a:pt x="10807" y="7845"/>
                  </a:cubicBezTo>
                  <a:lnTo>
                    <a:pt x="11910" y="7845"/>
                  </a:lnTo>
                  <a:cubicBezTo>
                    <a:pt x="12099" y="7845"/>
                    <a:pt x="12256" y="7688"/>
                    <a:pt x="12256" y="7499"/>
                  </a:cubicBezTo>
                  <a:cubicBezTo>
                    <a:pt x="12256" y="7278"/>
                    <a:pt x="12099" y="7121"/>
                    <a:pt x="11910" y="7121"/>
                  </a:cubicBezTo>
                  <a:lnTo>
                    <a:pt x="10807" y="7121"/>
                  </a:lnTo>
                  <a:cubicBezTo>
                    <a:pt x="10775" y="6491"/>
                    <a:pt x="10555" y="5923"/>
                    <a:pt x="10271" y="5356"/>
                  </a:cubicBezTo>
                  <a:lnTo>
                    <a:pt x="11311" y="4978"/>
                  </a:lnTo>
                  <a:cubicBezTo>
                    <a:pt x="11374" y="4915"/>
                    <a:pt x="11469" y="4884"/>
                    <a:pt x="11500" y="4789"/>
                  </a:cubicBezTo>
                  <a:lnTo>
                    <a:pt x="12225" y="3403"/>
                  </a:lnTo>
                  <a:cubicBezTo>
                    <a:pt x="12288" y="3214"/>
                    <a:pt x="12225" y="2994"/>
                    <a:pt x="12067" y="2931"/>
                  </a:cubicBezTo>
                  <a:cubicBezTo>
                    <a:pt x="12024" y="2904"/>
                    <a:pt x="11973" y="2893"/>
                    <a:pt x="11922" y="2893"/>
                  </a:cubicBezTo>
                  <a:cubicBezTo>
                    <a:pt x="11785" y="2893"/>
                    <a:pt x="11640" y="2974"/>
                    <a:pt x="11595" y="3088"/>
                  </a:cubicBezTo>
                  <a:lnTo>
                    <a:pt x="10902" y="4380"/>
                  </a:lnTo>
                  <a:lnTo>
                    <a:pt x="9893" y="4758"/>
                  </a:lnTo>
                  <a:cubicBezTo>
                    <a:pt x="9389" y="4096"/>
                    <a:pt x="8696" y="3561"/>
                    <a:pt x="7909" y="3246"/>
                  </a:cubicBezTo>
                  <a:cubicBezTo>
                    <a:pt x="7909" y="2647"/>
                    <a:pt x="7656" y="2143"/>
                    <a:pt x="7215" y="1828"/>
                  </a:cubicBezTo>
                  <a:cubicBezTo>
                    <a:pt x="7656" y="1450"/>
                    <a:pt x="7909" y="946"/>
                    <a:pt x="7909" y="347"/>
                  </a:cubicBezTo>
                  <a:cubicBezTo>
                    <a:pt x="7909" y="158"/>
                    <a:pt x="7751" y="1"/>
                    <a:pt x="7562" y="1"/>
                  </a:cubicBezTo>
                  <a:cubicBezTo>
                    <a:pt x="7373" y="1"/>
                    <a:pt x="7215" y="158"/>
                    <a:pt x="7215" y="347"/>
                  </a:cubicBezTo>
                  <a:cubicBezTo>
                    <a:pt x="7215" y="946"/>
                    <a:pt x="6743" y="1450"/>
                    <a:pt x="6144" y="1450"/>
                  </a:cubicBezTo>
                  <a:cubicBezTo>
                    <a:pt x="5546" y="1450"/>
                    <a:pt x="5073" y="946"/>
                    <a:pt x="5073" y="347"/>
                  </a:cubicBezTo>
                  <a:cubicBezTo>
                    <a:pt x="5073" y="158"/>
                    <a:pt x="4916" y="1"/>
                    <a:pt x="4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70" name="Google Shape;10770;p80"/>
          <p:cNvGrpSpPr/>
          <p:nvPr/>
        </p:nvGrpSpPr>
        <p:grpSpPr>
          <a:xfrm>
            <a:off x="3175238" y="2851506"/>
            <a:ext cx="475125" cy="472676"/>
            <a:chOff x="-19801400" y="2788575"/>
            <a:chExt cx="305625" cy="304050"/>
          </a:xfrm>
        </p:grpSpPr>
        <p:sp>
          <p:nvSpPr>
            <p:cNvPr id="10771" name="Google Shape;10771;p80"/>
            <p:cNvSpPr/>
            <p:nvPr/>
          </p:nvSpPr>
          <p:spPr>
            <a:xfrm>
              <a:off x="-19744700"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22" y="725"/>
                    <a:pt x="2111" y="567"/>
                    <a:pt x="2111" y="347"/>
                  </a:cubicBezTo>
                  <a:cubicBezTo>
                    <a:pt x="2111"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80"/>
            <p:cNvSpPr/>
            <p:nvPr/>
          </p:nvSpPr>
          <p:spPr>
            <a:xfrm>
              <a:off x="-19709250" y="2967350"/>
              <a:ext cx="52800" cy="18150"/>
            </a:xfrm>
            <a:custGeom>
              <a:avLst/>
              <a:gdLst/>
              <a:ahLst/>
              <a:cxnLst/>
              <a:rect l="l" t="t" r="r" b="b"/>
              <a:pathLst>
                <a:path w="2112" h="726" extrusionOk="0">
                  <a:moveTo>
                    <a:pt x="347" y="1"/>
                  </a:moveTo>
                  <a:cubicBezTo>
                    <a:pt x="158" y="1"/>
                    <a:pt x="0" y="158"/>
                    <a:pt x="0" y="347"/>
                  </a:cubicBezTo>
                  <a:cubicBezTo>
                    <a:pt x="0" y="568"/>
                    <a:pt x="158" y="726"/>
                    <a:pt x="347" y="726"/>
                  </a:cubicBezTo>
                  <a:lnTo>
                    <a:pt x="1765" y="726"/>
                  </a:lnTo>
                  <a:cubicBezTo>
                    <a:pt x="1954" y="726"/>
                    <a:pt x="2111" y="568"/>
                    <a:pt x="2111" y="347"/>
                  </a:cubicBezTo>
                  <a:cubicBezTo>
                    <a:pt x="2111" y="190"/>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80"/>
            <p:cNvSpPr/>
            <p:nvPr/>
          </p:nvSpPr>
          <p:spPr>
            <a:xfrm>
              <a:off x="-19638375" y="2968150"/>
              <a:ext cx="52800" cy="18150"/>
            </a:xfrm>
            <a:custGeom>
              <a:avLst/>
              <a:gdLst/>
              <a:ahLst/>
              <a:cxnLst/>
              <a:rect l="l" t="t" r="r" b="b"/>
              <a:pathLst>
                <a:path w="2112" h="726" extrusionOk="0">
                  <a:moveTo>
                    <a:pt x="347" y="0"/>
                  </a:moveTo>
                  <a:cubicBezTo>
                    <a:pt x="158" y="0"/>
                    <a:pt x="1" y="158"/>
                    <a:pt x="1" y="378"/>
                  </a:cubicBezTo>
                  <a:cubicBezTo>
                    <a:pt x="1" y="568"/>
                    <a:pt x="158" y="725"/>
                    <a:pt x="347" y="725"/>
                  </a:cubicBezTo>
                  <a:lnTo>
                    <a:pt x="1765" y="725"/>
                  </a:lnTo>
                  <a:cubicBezTo>
                    <a:pt x="1954" y="725"/>
                    <a:pt x="2112" y="568"/>
                    <a:pt x="2112" y="378"/>
                  </a:cubicBezTo>
                  <a:cubicBezTo>
                    <a:pt x="2112"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80"/>
            <p:cNvSpPr/>
            <p:nvPr/>
          </p:nvSpPr>
          <p:spPr>
            <a:xfrm>
              <a:off x="-19673800" y="2931925"/>
              <a:ext cx="52775" cy="18125"/>
            </a:xfrm>
            <a:custGeom>
              <a:avLst/>
              <a:gdLst/>
              <a:ahLst/>
              <a:cxnLst/>
              <a:rect l="l" t="t" r="r" b="b"/>
              <a:pathLst>
                <a:path w="2111" h="725" extrusionOk="0">
                  <a:moveTo>
                    <a:pt x="347" y="0"/>
                  </a:moveTo>
                  <a:cubicBezTo>
                    <a:pt x="158" y="0"/>
                    <a:pt x="0" y="158"/>
                    <a:pt x="0" y="347"/>
                  </a:cubicBezTo>
                  <a:cubicBezTo>
                    <a:pt x="0" y="567"/>
                    <a:pt x="158" y="725"/>
                    <a:pt x="347" y="725"/>
                  </a:cubicBezTo>
                  <a:lnTo>
                    <a:pt x="1764" y="725"/>
                  </a:lnTo>
                  <a:cubicBezTo>
                    <a:pt x="1953" y="725"/>
                    <a:pt x="2111" y="567"/>
                    <a:pt x="2111" y="347"/>
                  </a:cubicBezTo>
                  <a:cubicBezTo>
                    <a:pt x="2111" y="158"/>
                    <a:pt x="1953"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80"/>
            <p:cNvSpPr/>
            <p:nvPr/>
          </p:nvSpPr>
          <p:spPr>
            <a:xfrm>
              <a:off x="-19602925"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54" y="725"/>
                    <a:pt x="2111" y="567"/>
                    <a:pt x="2111" y="347"/>
                  </a:cubicBezTo>
                  <a:cubicBezTo>
                    <a:pt x="2111"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80"/>
            <p:cNvSpPr/>
            <p:nvPr/>
          </p:nvSpPr>
          <p:spPr>
            <a:xfrm>
              <a:off x="-19801400" y="2788575"/>
              <a:ext cx="305625" cy="304050"/>
            </a:xfrm>
            <a:custGeom>
              <a:avLst/>
              <a:gdLst/>
              <a:ahLst/>
              <a:cxnLst/>
              <a:rect l="l" t="t" r="r" b="b"/>
              <a:pathLst>
                <a:path w="12225" h="12162" extrusionOk="0">
                  <a:moveTo>
                    <a:pt x="6144" y="693"/>
                  </a:moveTo>
                  <a:cubicBezTo>
                    <a:pt x="7026" y="693"/>
                    <a:pt x="7940" y="2584"/>
                    <a:pt x="7940" y="4316"/>
                  </a:cubicBezTo>
                  <a:lnTo>
                    <a:pt x="4348" y="4316"/>
                  </a:lnTo>
                  <a:cubicBezTo>
                    <a:pt x="4348" y="2584"/>
                    <a:pt x="5293" y="693"/>
                    <a:pt x="6144" y="693"/>
                  </a:cubicBezTo>
                  <a:close/>
                  <a:moveTo>
                    <a:pt x="9677" y="1496"/>
                  </a:moveTo>
                  <a:cubicBezTo>
                    <a:pt x="9731" y="1496"/>
                    <a:pt x="9781" y="1501"/>
                    <a:pt x="9830" y="1513"/>
                  </a:cubicBezTo>
                  <a:cubicBezTo>
                    <a:pt x="10145" y="1607"/>
                    <a:pt x="10397" y="1985"/>
                    <a:pt x="10617" y="2552"/>
                  </a:cubicBezTo>
                  <a:cubicBezTo>
                    <a:pt x="10775" y="3056"/>
                    <a:pt x="10838" y="3686"/>
                    <a:pt x="10806" y="4316"/>
                  </a:cubicBezTo>
                  <a:lnTo>
                    <a:pt x="8633" y="4316"/>
                  </a:lnTo>
                  <a:cubicBezTo>
                    <a:pt x="8633" y="3686"/>
                    <a:pt x="8507" y="2993"/>
                    <a:pt x="8318" y="2300"/>
                  </a:cubicBezTo>
                  <a:cubicBezTo>
                    <a:pt x="8762" y="1800"/>
                    <a:pt x="9280" y="1496"/>
                    <a:pt x="9677" y="1496"/>
                  </a:cubicBezTo>
                  <a:close/>
                  <a:moveTo>
                    <a:pt x="2638" y="1496"/>
                  </a:moveTo>
                  <a:cubicBezTo>
                    <a:pt x="3024" y="1496"/>
                    <a:pt x="3501" y="1807"/>
                    <a:pt x="4001" y="2363"/>
                  </a:cubicBezTo>
                  <a:cubicBezTo>
                    <a:pt x="3781" y="2993"/>
                    <a:pt x="3686" y="3686"/>
                    <a:pt x="3686" y="4348"/>
                  </a:cubicBezTo>
                  <a:lnTo>
                    <a:pt x="1513" y="4348"/>
                  </a:lnTo>
                  <a:cubicBezTo>
                    <a:pt x="1481" y="3686"/>
                    <a:pt x="1544" y="3056"/>
                    <a:pt x="1702" y="2552"/>
                  </a:cubicBezTo>
                  <a:cubicBezTo>
                    <a:pt x="1891" y="1954"/>
                    <a:pt x="2174" y="1607"/>
                    <a:pt x="2489" y="1513"/>
                  </a:cubicBezTo>
                  <a:cubicBezTo>
                    <a:pt x="2537" y="1502"/>
                    <a:pt x="2587" y="1496"/>
                    <a:pt x="2638" y="1496"/>
                  </a:cubicBezTo>
                  <a:close/>
                  <a:moveTo>
                    <a:pt x="11153" y="5041"/>
                  </a:moveTo>
                  <a:cubicBezTo>
                    <a:pt x="11342" y="5041"/>
                    <a:pt x="11500" y="5199"/>
                    <a:pt x="11500" y="5388"/>
                  </a:cubicBezTo>
                  <a:cubicBezTo>
                    <a:pt x="11500" y="7152"/>
                    <a:pt x="10050" y="8601"/>
                    <a:pt x="8286" y="8601"/>
                  </a:cubicBezTo>
                  <a:lnTo>
                    <a:pt x="4001" y="8601"/>
                  </a:lnTo>
                  <a:cubicBezTo>
                    <a:pt x="2206" y="8601"/>
                    <a:pt x="756" y="7152"/>
                    <a:pt x="756" y="5388"/>
                  </a:cubicBezTo>
                  <a:cubicBezTo>
                    <a:pt x="756" y="5199"/>
                    <a:pt x="914" y="5041"/>
                    <a:pt x="1103" y="5041"/>
                  </a:cubicBezTo>
                  <a:close/>
                  <a:moveTo>
                    <a:pt x="9357" y="9326"/>
                  </a:moveTo>
                  <a:lnTo>
                    <a:pt x="9357" y="9672"/>
                  </a:lnTo>
                  <a:cubicBezTo>
                    <a:pt x="9357" y="10271"/>
                    <a:pt x="8885" y="10743"/>
                    <a:pt x="8286" y="10743"/>
                  </a:cubicBezTo>
                  <a:lnTo>
                    <a:pt x="7940" y="10743"/>
                  </a:lnTo>
                  <a:lnTo>
                    <a:pt x="7940" y="10397"/>
                  </a:lnTo>
                  <a:cubicBezTo>
                    <a:pt x="7940" y="9798"/>
                    <a:pt x="8412" y="9326"/>
                    <a:pt x="8979" y="9326"/>
                  </a:cubicBezTo>
                  <a:close/>
                  <a:moveTo>
                    <a:pt x="10050" y="9357"/>
                  </a:moveTo>
                  <a:cubicBezTo>
                    <a:pt x="10870" y="9515"/>
                    <a:pt x="11500" y="10208"/>
                    <a:pt x="11500" y="11090"/>
                  </a:cubicBezTo>
                  <a:lnTo>
                    <a:pt x="11500" y="11437"/>
                  </a:lnTo>
                  <a:lnTo>
                    <a:pt x="11153" y="11437"/>
                  </a:lnTo>
                  <a:cubicBezTo>
                    <a:pt x="10617" y="11437"/>
                    <a:pt x="10050" y="11185"/>
                    <a:pt x="9704" y="10743"/>
                  </a:cubicBezTo>
                  <a:cubicBezTo>
                    <a:pt x="9924" y="10428"/>
                    <a:pt x="10050" y="10082"/>
                    <a:pt x="10050" y="9672"/>
                  </a:cubicBezTo>
                  <a:lnTo>
                    <a:pt x="10050" y="9357"/>
                  </a:lnTo>
                  <a:close/>
                  <a:moveTo>
                    <a:pt x="6112" y="0"/>
                  </a:moveTo>
                  <a:cubicBezTo>
                    <a:pt x="5419" y="0"/>
                    <a:pt x="4789" y="536"/>
                    <a:pt x="4253" y="1513"/>
                  </a:cubicBezTo>
                  <a:cubicBezTo>
                    <a:pt x="4253" y="1576"/>
                    <a:pt x="4222" y="1576"/>
                    <a:pt x="4222" y="1607"/>
                  </a:cubicBezTo>
                  <a:cubicBezTo>
                    <a:pt x="3680" y="1065"/>
                    <a:pt x="3096" y="777"/>
                    <a:pt x="2591" y="777"/>
                  </a:cubicBezTo>
                  <a:cubicBezTo>
                    <a:pt x="2479" y="777"/>
                    <a:pt x="2371" y="791"/>
                    <a:pt x="2269" y="819"/>
                  </a:cubicBezTo>
                  <a:cubicBezTo>
                    <a:pt x="1166" y="1135"/>
                    <a:pt x="630" y="2836"/>
                    <a:pt x="725" y="4348"/>
                  </a:cubicBezTo>
                  <a:cubicBezTo>
                    <a:pt x="284" y="4506"/>
                    <a:pt x="0" y="4915"/>
                    <a:pt x="0" y="5388"/>
                  </a:cubicBezTo>
                  <a:cubicBezTo>
                    <a:pt x="0" y="7561"/>
                    <a:pt x="1796" y="9326"/>
                    <a:pt x="3938" y="9326"/>
                  </a:cubicBezTo>
                  <a:lnTo>
                    <a:pt x="7530" y="9326"/>
                  </a:lnTo>
                  <a:cubicBezTo>
                    <a:pt x="7309" y="9641"/>
                    <a:pt x="7183" y="9987"/>
                    <a:pt x="7183" y="10365"/>
                  </a:cubicBezTo>
                  <a:lnTo>
                    <a:pt x="7183" y="11090"/>
                  </a:lnTo>
                  <a:cubicBezTo>
                    <a:pt x="7183" y="11279"/>
                    <a:pt x="7341" y="11437"/>
                    <a:pt x="7530" y="11437"/>
                  </a:cubicBezTo>
                  <a:lnTo>
                    <a:pt x="8255" y="11437"/>
                  </a:lnTo>
                  <a:cubicBezTo>
                    <a:pt x="8570" y="11437"/>
                    <a:pt x="8885" y="11374"/>
                    <a:pt x="9137" y="11216"/>
                  </a:cubicBezTo>
                  <a:cubicBezTo>
                    <a:pt x="9609" y="11815"/>
                    <a:pt x="10365" y="12161"/>
                    <a:pt x="11122" y="12161"/>
                  </a:cubicBezTo>
                  <a:lnTo>
                    <a:pt x="11815" y="12161"/>
                  </a:lnTo>
                  <a:cubicBezTo>
                    <a:pt x="12035" y="12161"/>
                    <a:pt x="12193" y="12004"/>
                    <a:pt x="12193" y="11815"/>
                  </a:cubicBezTo>
                  <a:lnTo>
                    <a:pt x="12193" y="11090"/>
                  </a:lnTo>
                  <a:cubicBezTo>
                    <a:pt x="12224" y="9956"/>
                    <a:pt x="11468" y="9011"/>
                    <a:pt x="10397" y="8696"/>
                  </a:cubicBezTo>
                  <a:cubicBezTo>
                    <a:pt x="11500" y="7971"/>
                    <a:pt x="12224" y="6774"/>
                    <a:pt x="12224" y="5388"/>
                  </a:cubicBezTo>
                  <a:cubicBezTo>
                    <a:pt x="12224" y="4915"/>
                    <a:pt x="11909" y="4506"/>
                    <a:pt x="11500" y="4348"/>
                  </a:cubicBezTo>
                  <a:cubicBezTo>
                    <a:pt x="11594" y="2773"/>
                    <a:pt x="11122" y="1103"/>
                    <a:pt x="9987" y="819"/>
                  </a:cubicBezTo>
                  <a:cubicBezTo>
                    <a:pt x="9879" y="791"/>
                    <a:pt x="9767" y="777"/>
                    <a:pt x="9651" y="777"/>
                  </a:cubicBezTo>
                  <a:cubicBezTo>
                    <a:pt x="9129" y="777"/>
                    <a:pt x="8544" y="1065"/>
                    <a:pt x="8003" y="1607"/>
                  </a:cubicBezTo>
                  <a:cubicBezTo>
                    <a:pt x="8003" y="1576"/>
                    <a:pt x="7971" y="1576"/>
                    <a:pt x="7971" y="1513"/>
                  </a:cubicBezTo>
                  <a:cubicBezTo>
                    <a:pt x="7498" y="536"/>
                    <a:pt x="6837"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77" name="Google Shape;10777;p80"/>
          <p:cNvGrpSpPr/>
          <p:nvPr/>
        </p:nvGrpSpPr>
        <p:grpSpPr>
          <a:xfrm>
            <a:off x="6130314" y="1688916"/>
            <a:ext cx="422463" cy="472676"/>
            <a:chOff x="-17903225" y="2060800"/>
            <a:chExt cx="271750" cy="304050"/>
          </a:xfrm>
        </p:grpSpPr>
        <p:sp>
          <p:nvSpPr>
            <p:cNvPr id="10778" name="Google Shape;10778;p80"/>
            <p:cNvSpPr/>
            <p:nvPr/>
          </p:nvSpPr>
          <p:spPr>
            <a:xfrm>
              <a:off x="-17722875"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6" y="568"/>
                    <a:pt x="726" y="379"/>
                  </a:cubicBezTo>
                  <a:cubicBezTo>
                    <a:pt x="726"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80"/>
            <p:cNvSpPr/>
            <p:nvPr/>
          </p:nvSpPr>
          <p:spPr>
            <a:xfrm>
              <a:off x="-17829200"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5" y="568"/>
                    <a:pt x="725" y="379"/>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80"/>
            <p:cNvSpPr/>
            <p:nvPr/>
          </p:nvSpPr>
          <p:spPr>
            <a:xfrm>
              <a:off x="-17903225" y="2060800"/>
              <a:ext cx="271750" cy="304050"/>
            </a:xfrm>
            <a:custGeom>
              <a:avLst/>
              <a:gdLst/>
              <a:ahLst/>
              <a:cxnLst/>
              <a:rect l="l" t="t" r="r" b="b"/>
              <a:pathLst>
                <a:path w="10870" h="12162" extrusionOk="0">
                  <a:moveTo>
                    <a:pt x="1040" y="694"/>
                  </a:moveTo>
                  <a:cubicBezTo>
                    <a:pt x="1891" y="694"/>
                    <a:pt x="2615" y="1293"/>
                    <a:pt x="2773" y="2112"/>
                  </a:cubicBezTo>
                  <a:cubicBezTo>
                    <a:pt x="2552" y="2364"/>
                    <a:pt x="2332" y="2679"/>
                    <a:pt x="2143" y="2994"/>
                  </a:cubicBezTo>
                  <a:lnTo>
                    <a:pt x="1040" y="694"/>
                  </a:lnTo>
                  <a:close/>
                  <a:moveTo>
                    <a:pt x="9861" y="694"/>
                  </a:moveTo>
                  <a:lnTo>
                    <a:pt x="8727" y="2994"/>
                  </a:lnTo>
                  <a:cubicBezTo>
                    <a:pt x="8507" y="2679"/>
                    <a:pt x="8318" y="2395"/>
                    <a:pt x="8097" y="2112"/>
                  </a:cubicBezTo>
                  <a:cubicBezTo>
                    <a:pt x="8255" y="1293"/>
                    <a:pt x="8979" y="694"/>
                    <a:pt x="9830" y="694"/>
                  </a:cubicBezTo>
                  <a:close/>
                  <a:moveTo>
                    <a:pt x="5451" y="1419"/>
                  </a:moveTo>
                  <a:cubicBezTo>
                    <a:pt x="6144" y="1419"/>
                    <a:pt x="6900" y="1860"/>
                    <a:pt x="7561" y="2584"/>
                  </a:cubicBezTo>
                  <a:lnTo>
                    <a:pt x="6994" y="2994"/>
                  </a:lnTo>
                  <a:cubicBezTo>
                    <a:pt x="6270" y="3466"/>
                    <a:pt x="5829" y="4254"/>
                    <a:pt x="5829" y="5136"/>
                  </a:cubicBezTo>
                  <a:lnTo>
                    <a:pt x="5829" y="6522"/>
                  </a:lnTo>
                  <a:cubicBezTo>
                    <a:pt x="5734" y="6491"/>
                    <a:pt x="5608" y="6491"/>
                    <a:pt x="5482" y="6491"/>
                  </a:cubicBezTo>
                  <a:cubicBezTo>
                    <a:pt x="5356" y="6491"/>
                    <a:pt x="5199" y="6522"/>
                    <a:pt x="5104" y="6554"/>
                  </a:cubicBezTo>
                  <a:lnTo>
                    <a:pt x="5104" y="5199"/>
                  </a:lnTo>
                  <a:cubicBezTo>
                    <a:pt x="5104" y="4317"/>
                    <a:pt x="4663" y="3498"/>
                    <a:pt x="3938" y="3025"/>
                  </a:cubicBezTo>
                  <a:lnTo>
                    <a:pt x="3371" y="2616"/>
                  </a:lnTo>
                  <a:cubicBezTo>
                    <a:pt x="4001" y="1797"/>
                    <a:pt x="4726" y="1419"/>
                    <a:pt x="5451" y="1419"/>
                  </a:cubicBezTo>
                  <a:close/>
                  <a:moveTo>
                    <a:pt x="5451" y="7152"/>
                  </a:moveTo>
                  <a:cubicBezTo>
                    <a:pt x="5608" y="7152"/>
                    <a:pt x="5734" y="7279"/>
                    <a:pt x="5797" y="7405"/>
                  </a:cubicBezTo>
                  <a:lnTo>
                    <a:pt x="5797" y="7562"/>
                  </a:lnTo>
                  <a:cubicBezTo>
                    <a:pt x="5766" y="7625"/>
                    <a:pt x="5608" y="7751"/>
                    <a:pt x="5451" y="7846"/>
                  </a:cubicBezTo>
                  <a:cubicBezTo>
                    <a:pt x="5262" y="7720"/>
                    <a:pt x="5104" y="7594"/>
                    <a:pt x="5104" y="7499"/>
                  </a:cubicBezTo>
                  <a:cubicBezTo>
                    <a:pt x="5104" y="7310"/>
                    <a:pt x="5262" y="7152"/>
                    <a:pt x="5451" y="7152"/>
                  </a:cubicBezTo>
                  <a:close/>
                  <a:moveTo>
                    <a:pt x="2899" y="3151"/>
                  </a:moveTo>
                  <a:lnTo>
                    <a:pt x="3560" y="3561"/>
                  </a:lnTo>
                  <a:cubicBezTo>
                    <a:pt x="4064" y="3907"/>
                    <a:pt x="4379" y="4538"/>
                    <a:pt x="4379" y="5105"/>
                  </a:cubicBezTo>
                  <a:lnTo>
                    <a:pt x="4379" y="7499"/>
                  </a:lnTo>
                  <a:cubicBezTo>
                    <a:pt x="4379" y="7562"/>
                    <a:pt x="4379" y="7625"/>
                    <a:pt x="4411" y="7688"/>
                  </a:cubicBezTo>
                  <a:cubicBezTo>
                    <a:pt x="4505" y="8035"/>
                    <a:pt x="4852" y="8287"/>
                    <a:pt x="5104" y="8413"/>
                  </a:cubicBezTo>
                  <a:lnTo>
                    <a:pt x="5104" y="8948"/>
                  </a:lnTo>
                  <a:lnTo>
                    <a:pt x="5104" y="8980"/>
                  </a:lnTo>
                  <a:cubicBezTo>
                    <a:pt x="5059" y="9813"/>
                    <a:pt x="4353" y="10357"/>
                    <a:pt x="3575" y="10357"/>
                  </a:cubicBezTo>
                  <a:cubicBezTo>
                    <a:pt x="3264" y="10357"/>
                    <a:pt x="2943" y="10271"/>
                    <a:pt x="2647" y="10082"/>
                  </a:cubicBezTo>
                  <a:cubicBezTo>
                    <a:pt x="1859" y="9547"/>
                    <a:pt x="1512" y="8728"/>
                    <a:pt x="1512" y="7499"/>
                  </a:cubicBezTo>
                  <a:cubicBezTo>
                    <a:pt x="1512" y="6144"/>
                    <a:pt x="2017" y="4443"/>
                    <a:pt x="2899" y="3151"/>
                  </a:cubicBezTo>
                  <a:close/>
                  <a:moveTo>
                    <a:pt x="8066" y="3151"/>
                  </a:moveTo>
                  <a:cubicBezTo>
                    <a:pt x="8916" y="4412"/>
                    <a:pt x="9420" y="6144"/>
                    <a:pt x="9420" y="7499"/>
                  </a:cubicBezTo>
                  <a:cubicBezTo>
                    <a:pt x="9389" y="8696"/>
                    <a:pt x="8979" y="9578"/>
                    <a:pt x="8192" y="10082"/>
                  </a:cubicBezTo>
                  <a:cubicBezTo>
                    <a:pt x="7913" y="10271"/>
                    <a:pt x="7599" y="10357"/>
                    <a:pt x="7293" y="10357"/>
                  </a:cubicBezTo>
                  <a:cubicBezTo>
                    <a:pt x="6522" y="10357"/>
                    <a:pt x="5797" y="9813"/>
                    <a:pt x="5797" y="8980"/>
                  </a:cubicBezTo>
                  <a:lnTo>
                    <a:pt x="5797" y="8917"/>
                  </a:lnTo>
                  <a:lnTo>
                    <a:pt x="5797" y="8476"/>
                  </a:lnTo>
                  <a:cubicBezTo>
                    <a:pt x="6175" y="8255"/>
                    <a:pt x="6553" y="7940"/>
                    <a:pt x="6553" y="7499"/>
                  </a:cubicBezTo>
                  <a:lnTo>
                    <a:pt x="6553" y="7310"/>
                  </a:lnTo>
                  <a:lnTo>
                    <a:pt x="6553" y="5105"/>
                  </a:lnTo>
                  <a:cubicBezTo>
                    <a:pt x="6553" y="4475"/>
                    <a:pt x="6868" y="3907"/>
                    <a:pt x="7372" y="3561"/>
                  </a:cubicBezTo>
                  <a:lnTo>
                    <a:pt x="8066" y="3151"/>
                  </a:lnTo>
                  <a:close/>
                  <a:moveTo>
                    <a:pt x="5451" y="10145"/>
                  </a:moveTo>
                  <a:cubicBezTo>
                    <a:pt x="5577" y="10303"/>
                    <a:pt x="5671" y="10429"/>
                    <a:pt x="5797" y="10555"/>
                  </a:cubicBezTo>
                  <a:lnTo>
                    <a:pt x="5797" y="11437"/>
                  </a:lnTo>
                  <a:lnTo>
                    <a:pt x="5104" y="11437"/>
                  </a:lnTo>
                  <a:lnTo>
                    <a:pt x="5104" y="10555"/>
                  </a:lnTo>
                  <a:cubicBezTo>
                    <a:pt x="5199" y="10429"/>
                    <a:pt x="5356" y="10303"/>
                    <a:pt x="5451" y="10145"/>
                  </a:cubicBezTo>
                  <a:close/>
                  <a:moveTo>
                    <a:pt x="441" y="1"/>
                  </a:moveTo>
                  <a:cubicBezTo>
                    <a:pt x="158" y="1"/>
                    <a:pt x="0" y="284"/>
                    <a:pt x="126" y="505"/>
                  </a:cubicBezTo>
                  <a:lnTo>
                    <a:pt x="1733" y="3750"/>
                  </a:lnTo>
                  <a:cubicBezTo>
                    <a:pt x="1166" y="4947"/>
                    <a:pt x="788" y="6302"/>
                    <a:pt x="788" y="7499"/>
                  </a:cubicBezTo>
                  <a:cubicBezTo>
                    <a:pt x="788" y="8917"/>
                    <a:pt x="1260" y="9988"/>
                    <a:pt x="2269" y="10650"/>
                  </a:cubicBezTo>
                  <a:cubicBezTo>
                    <a:pt x="2670" y="10930"/>
                    <a:pt x="3134" y="11071"/>
                    <a:pt x="3598" y="11071"/>
                  </a:cubicBezTo>
                  <a:cubicBezTo>
                    <a:pt x="3863" y="11071"/>
                    <a:pt x="4127" y="11025"/>
                    <a:pt x="4379" y="10933"/>
                  </a:cubicBezTo>
                  <a:lnTo>
                    <a:pt x="4379" y="11815"/>
                  </a:lnTo>
                  <a:cubicBezTo>
                    <a:pt x="4379" y="12004"/>
                    <a:pt x="4537" y="12162"/>
                    <a:pt x="4726" y="12162"/>
                  </a:cubicBezTo>
                  <a:lnTo>
                    <a:pt x="6144" y="12162"/>
                  </a:lnTo>
                  <a:cubicBezTo>
                    <a:pt x="6364" y="12162"/>
                    <a:pt x="6522" y="12004"/>
                    <a:pt x="6522" y="11815"/>
                  </a:cubicBezTo>
                  <a:lnTo>
                    <a:pt x="6522" y="10933"/>
                  </a:lnTo>
                  <a:cubicBezTo>
                    <a:pt x="6774" y="11025"/>
                    <a:pt x="7038" y="11071"/>
                    <a:pt x="7303" y="11071"/>
                  </a:cubicBezTo>
                  <a:cubicBezTo>
                    <a:pt x="7767" y="11071"/>
                    <a:pt x="8232" y="10930"/>
                    <a:pt x="8633" y="10650"/>
                  </a:cubicBezTo>
                  <a:cubicBezTo>
                    <a:pt x="9641" y="9988"/>
                    <a:pt x="10113" y="8917"/>
                    <a:pt x="10113" y="7499"/>
                  </a:cubicBezTo>
                  <a:cubicBezTo>
                    <a:pt x="10113" y="6302"/>
                    <a:pt x="9735" y="4916"/>
                    <a:pt x="9137" y="3750"/>
                  </a:cubicBezTo>
                  <a:lnTo>
                    <a:pt x="10775" y="505"/>
                  </a:lnTo>
                  <a:cubicBezTo>
                    <a:pt x="10869" y="284"/>
                    <a:pt x="10680" y="1"/>
                    <a:pt x="10460" y="1"/>
                  </a:cubicBezTo>
                  <a:lnTo>
                    <a:pt x="9861" y="1"/>
                  </a:lnTo>
                  <a:cubicBezTo>
                    <a:pt x="8853" y="1"/>
                    <a:pt x="7940" y="631"/>
                    <a:pt x="7530" y="1576"/>
                  </a:cubicBezTo>
                  <a:cubicBezTo>
                    <a:pt x="7467" y="1545"/>
                    <a:pt x="7404" y="1450"/>
                    <a:pt x="7341" y="1419"/>
                  </a:cubicBezTo>
                  <a:cubicBezTo>
                    <a:pt x="6742" y="946"/>
                    <a:pt x="6112" y="694"/>
                    <a:pt x="5451" y="694"/>
                  </a:cubicBezTo>
                  <a:cubicBezTo>
                    <a:pt x="4663" y="694"/>
                    <a:pt x="3938" y="1072"/>
                    <a:pt x="3371" y="1576"/>
                  </a:cubicBezTo>
                  <a:cubicBezTo>
                    <a:pt x="2993" y="631"/>
                    <a:pt x="2111"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80"/>
          <p:cNvGrpSpPr/>
          <p:nvPr/>
        </p:nvGrpSpPr>
        <p:grpSpPr>
          <a:xfrm>
            <a:off x="6104605" y="2274962"/>
            <a:ext cx="473881" cy="472676"/>
            <a:chOff x="-17918975" y="2435725"/>
            <a:chExt cx="304825" cy="304050"/>
          </a:xfrm>
        </p:grpSpPr>
        <p:sp>
          <p:nvSpPr>
            <p:cNvPr id="10782" name="Google Shape;10782;p80"/>
            <p:cNvSpPr/>
            <p:nvPr/>
          </p:nvSpPr>
          <p:spPr>
            <a:xfrm>
              <a:off x="-17918975" y="2435725"/>
              <a:ext cx="304825" cy="304050"/>
            </a:xfrm>
            <a:custGeom>
              <a:avLst/>
              <a:gdLst/>
              <a:ahLst/>
              <a:cxnLst/>
              <a:rect l="l" t="t" r="r" b="b"/>
              <a:pathLst>
                <a:path w="12193" h="12162" extrusionOk="0">
                  <a:moveTo>
                    <a:pt x="1040" y="662"/>
                  </a:moveTo>
                  <a:cubicBezTo>
                    <a:pt x="1229" y="662"/>
                    <a:pt x="1386" y="819"/>
                    <a:pt x="1386" y="1040"/>
                  </a:cubicBezTo>
                  <a:cubicBezTo>
                    <a:pt x="1386" y="1229"/>
                    <a:pt x="1229" y="1386"/>
                    <a:pt x="1040" y="1386"/>
                  </a:cubicBezTo>
                  <a:cubicBezTo>
                    <a:pt x="851" y="1386"/>
                    <a:pt x="693" y="1229"/>
                    <a:pt x="693" y="1040"/>
                  </a:cubicBezTo>
                  <a:cubicBezTo>
                    <a:pt x="693" y="819"/>
                    <a:pt x="851" y="662"/>
                    <a:pt x="1040" y="662"/>
                  </a:cubicBezTo>
                  <a:close/>
                  <a:moveTo>
                    <a:pt x="3907" y="662"/>
                  </a:moveTo>
                  <a:cubicBezTo>
                    <a:pt x="4096" y="662"/>
                    <a:pt x="4253" y="819"/>
                    <a:pt x="4253" y="1040"/>
                  </a:cubicBezTo>
                  <a:cubicBezTo>
                    <a:pt x="4253" y="1229"/>
                    <a:pt x="4096" y="1386"/>
                    <a:pt x="3907" y="1386"/>
                  </a:cubicBezTo>
                  <a:cubicBezTo>
                    <a:pt x="3718" y="1386"/>
                    <a:pt x="3560" y="1229"/>
                    <a:pt x="3560" y="1040"/>
                  </a:cubicBezTo>
                  <a:cubicBezTo>
                    <a:pt x="3560" y="819"/>
                    <a:pt x="3718" y="662"/>
                    <a:pt x="3907" y="662"/>
                  </a:cubicBezTo>
                  <a:close/>
                  <a:moveTo>
                    <a:pt x="7828" y="2853"/>
                  </a:moveTo>
                  <a:cubicBezTo>
                    <a:pt x="9848" y="2853"/>
                    <a:pt x="11436" y="4484"/>
                    <a:pt x="11436" y="6427"/>
                  </a:cubicBezTo>
                  <a:lnTo>
                    <a:pt x="11436" y="6774"/>
                  </a:lnTo>
                  <a:cubicBezTo>
                    <a:pt x="11436" y="8538"/>
                    <a:pt x="9987" y="10019"/>
                    <a:pt x="8191" y="10019"/>
                  </a:cubicBezTo>
                  <a:cubicBezTo>
                    <a:pt x="6837" y="10019"/>
                    <a:pt x="5671" y="8916"/>
                    <a:pt x="5671" y="7530"/>
                  </a:cubicBezTo>
                  <a:lnTo>
                    <a:pt x="5671" y="6931"/>
                  </a:lnTo>
                  <a:cubicBezTo>
                    <a:pt x="5671" y="5955"/>
                    <a:pt x="6427" y="5072"/>
                    <a:pt x="7372" y="5041"/>
                  </a:cubicBezTo>
                  <a:cubicBezTo>
                    <a:pt x="7392" y="5040"/>
                    <a:pt x="7413" y="5040"/>
                    <a:pt x="7433" y="5040"/>
                  </a:cubicBezTo>
                  <a:cubicBezTo>
                    <a:pt x="8445" y="5040"/>
                    <a:pt x="9263" y="5817"/>
                    <a:pt x="9263" y="6805"/>
                  </a:cubicBezTo>
                  <a:lnTo>
                    <a:pt x="9263" y="7152"/>
                  </a:lnTo>
                  <a:cubicBezTo>
                    <a:pt x="9263" y="7561"/>
                    <a:pt x="8948" y="7876"/>
                    <a:pt x="8570" y="7876"/>
                  </a:cubicBezTo>
                  <a:cubicBezTo>
                    <a:pt x="8160" y="7876"/>
                    <a:pt x="7845" y="7561"/>
                    <a:pt x="7845" y="7152"/>
                  </a:cubicBezTo>
                  <a:lnTo>
                    <a:pt x="7845" y="6805"/>
                  </a:lnTo>
                  <a:cubicBezTo>
                    <a:pt x="7845" y="6616"/>
                    <a:pt x="7687" y="6459"/>
                    <a:pt x="7498" y="6459"/>
                  </a:cubicBezTo>
                  <a:cubicBezTo>
                    <a:pt x="7309" y="6459"/>
                    <a:pt x="7152" y="6616"/>
                    <a:pt x="7152" y="6805"/>
                  </a:cubicBezTo>
                  <a:lnTo>
                    <a:pt x="7152" y="7152"/>
                  </a:lnTo>
                  <a:cubicBezTo>
                    <a:pt x="7152" y="7939"/>
                    <a:pt x="7782" y="8569"/>
                    <a:pt x="8570" y="8569"/>
                  </a:cubicBezTo>
                  <a:cubicBezTo>
                    <a:pt x="9357" y="8569"/>
                    <a:pt x="9987" y="7939"/>
                    <a:pt x="9987" y="7152"/>
                  </a:cubicBezTo>
                  <a:lnTo>
                    <a:pt x="9987" y="6805"/>
                  </a:lnTo>
                  <a:cubicBezTo>
                    <a:pt x="9987" y="5425"/>
                    <a:pt x="8853" y="4314"/>
                    <a:pt x="7456" y="4314"/>
                  </a:cubicBezTo>
                  <a:cubicBezTo>
                    <a:pt x="7418" y="4314"/>
                    <a:pt x="7379" y="4315"/>
                    <a:pt x="7341" y="4316"/>
                  </a:cubicBezTo>
                  <a:cubicBezTo>
                    <a:pt x="5986" y="4411"/>
                    <a:pt x="4946" y="5577"/>
                    <a:pt x="4946" y="6931"/>
                  </a:cubicBezTo>
                  <a:lnTo>
                    <a:pt x="4946" y="7530"/>
                  </a:lnTo>
                  <a:cubicBezTo>
                    <a:pt x="4946" y="8191"/>
                    <a:pt x="5135" y="8790"/>
                    <a:pt x="5482" y="9294"/>
                  </a:cubicBezTo>
                  <a:lnTo>
                    <a:pt x="5293" y="9294"/>
                  </a:lnTo>
                  <a:cubicBezTo>
                    <a:pt x="4694" y="9294"/>
                    <a:pt x="4222" y="8822"/>
                    <a:pt x="4222" y="8223"/>
                  </a:cubicBezTo>
                  <a:lnTo>
                    <a:pt x="4222" y="6616"/>
                  </a:lnTo>
                  <a:cubicBezTo>
                    <a:pt x="4253" y="4663"/>
                    <a:pt x="5671" y="3025"/>
                    <a:pt x="7498" y="2867"/>
                  </a:cubicBezTo>
                  <a:cubicBezTo>
                    <a:pt x="7609" y="2857"/>
                    <a:pt x="7719" y="2853"/>
                    <a:pt x="7828" y="2853"/>
                  </a:cubicBezTo>
                  <a:close/>
                  <a:moveTo>
                    <a:pt x="2518" y="4236"/>
                  </a:moveTo>
                  <a:cubicBezTo>
                    <a:pt x="3101" y="4236"/>
                    <a:pt x="3592" y="4754"/>
                    <a:pt x="3592" y="5324"/>
                  </a:cubicBezTo>
                  <a:lnTo>
                    <a:pt x="3592" y="8160"/>
                  </a:lnTo>
                  <a:cubicBezTo>
                    <a:pt x="3592" y="9137"/>
                    <a:pt x="4379" y="9924"/>
                    <a:pt x="5356" y="9924"/>
                  </a:cubicBezTo>
                  <a:lnTo>
                    <a:pt x="6207" y="9924"/>
                  </a:lnTo>
                  <a:cubicBezTo>
                    <a:pt x="6742" y="10365"/>
                    <a:pt x="7467" y="10617"/>
                    <a:pt x="8254" y="10617"/>
                  </a:cubicBezTo>
                  <a:cubicBezTo>
                    <a:pt x="9011" y="10617"/>
                    <a:pt x="9704" y="10428"/>
                    <a:pt x="10334" y="10050"/>
                  </a:cubicBezTo>
                  <a:cubicBezTo>
                    <a:pt x="10838" y="10334"/>
                    <a:pt x="11279" y="10838"/>
                    <a:pt x="11405" y="11436"/>
                  </a:cubicBezTo>
                  <a:lnTo>
                    <a:pt x="3907" y="11436"/>
                  </a:lnTo>
                  <a:cubicBezTo>
                    <a:pt x="2521" y="11436"/>
                    <a:pt x="1418" y="10271"/>
                    <a:pt x="1418" y="8916"/>
                  </a:cubicBezTo>
                  <a:lnTo>
                    <a:pt x="1418" y="5388"/>
                  </a:lnTo>
                  <a:cubicBezTo>
                    <a:pt x="1418" y="4852"/>
                    <a:pt x="1827" y="4348"/>
                    <a:pt x="2332" y="4253"/>
                  </a:cubicBezTo>
                  <a:cubicBezTo>
                    <a:pt x="2394" y="4241"/>
                    <a:pt x="2457" y="4236"/>
                    <a:pt x="2518" y="4236"/>
                  </a:cubicBezTo>
                  <a:close/>
                  <a:moveTo>
                    <a:pt x="1071" y="0"/>
                  </a:moveTo>
                  <a:cubicBezTo>
                    <a:pt x="473" y="0"/>
                    <a:pt x="0" y="473"/>
                    <a:pt x="0" y="1071"/>
                  </a:cubicBezTo>
                  <a:cubicBezTo>
                    <a:pt x="0" y="1652"/>
                    <a:pt x="504" y="2144"/>
                    <a:pt x="1052" y="2144"/>
                  </a:cubicBezTo>
                  <a:cubicBezTo>
                    <a:pt x="1069" y="2144"/>
                    <a:pt x="1086" y="2143"/>
                    <a:pt x="1103" y="2143"/>
                  </a:cubicBezTo>
                  <a:lnTo>
                    <a:pt x="1733" y="3749"/>
                  </a:lnTo>
                  <a:cubicBezTo>
                    <a:pt x="1103" y="4001"/>
                    <a:pt x="725" y="4694"/>
                    <a:pt x="725" y="5451"/>
                  </a:cubicBezTo>
                  <a:lnTo>
                    <a:pt x="725" y="8948"/>
                  </a:lnTo>
                  <a:cubicBezTo>
                    <a:pt x="725" y="10712"/>
                    <a:pt x="2174" y="12161"/>
                    <a:pt x="3938" y="12161"/>
                  </a:cubicBezTo>
                  <a:lnTo>
                    <a:pt x="11815" y="12161"/>
                  </a:lnTo>
                  <a:cubicBezTo>
                    <a:pt x="12035" y="12161"/>
                    <a:pt x="12193" y="12004"/>
                    <a:pt x="12193" y="11814"/>
                  </a:cubicBezTo>
                  <a:cubicBezTo>
                    <a:pt x="12193" y="11279"/>
                    <a:pt x="11972" y="10712"/>
                    <a:pt x="11657" y="10271"/>
                  </a:cubicBezTo>
                  <a:cubicBezTo>
                    <a:pt x="11468" y="10019"/>
                    <a:pt x="11247" y="9798"/>
                    <a:pt x="10964" y="9641"/>
                  </a:cubicBezTo>
                  <a:cubicBezTo>
                    <a:pt x="11657" y="8916"/>
                    <a:pt x="12193" y="7876"/>
                    <a:pt x="12193" y="6774"/>
                  </a:cubicBezTo>
                  <a:lnTo>
                    <a:pt x="12193" y="6427"/>
                  </a:lnTo>
                  <a:cubicBezTo>
                    <a:pt x="12193" y="4080"/>
                    <a:pt x="10259" y="2153"/>
                    <a:pt x="7898" y="2153"/>
                  </a:cubicBezTo>
                  <a:cubicBezTo>
                    <a:pt x="7756" y="2153"/>
                    <a:pt x="7612" y="2160"/>
                    <a:pt x="7467" y="2174"/>
                  </a:cubicBezTo>
                  <a:cubicBezTo>
                    <a:pt x="5986" y="2332"/>
                    <a:pt x="4726" y="3214"/>
                    <a:pt x="4064" y="4537"/>
                  </a:cubicBezTo>
                  <a:cubicBezTo>
                    <a:pt x="3875" y="4190"/>
                    <a:pt x="3592" y="3907"/>
                    <a:pt x="3245" y="3749"/>
                  </a:cubicBezTo>
                  <a:lnTo>
                    <a:pt x="3875" y="2143"/>
                  </a:lnTo>
                  <a:lnTo>
                    <a:pt x="3907" y="2143"/>
                  </a:lnTo>
                  <a:cubicBezTo>
                    <a:pt x="4505" y="2143"/>
                    <a:pt x="4978" y="1670"/>
                    <a:pt x="4978" y="1071"/>
                  </a:cubicBezTo>
                  <a:cubicBezTo>
                    <a:pt x="4978" y="473"/>
                    <a:pt x="4505" y="0"/>
                    <a:pt x="3907" y="0"/>
                  </a:cubicBezTo>
                  <a:cubicBezTo>
                    <a:pt x="3308" y="0"/>
                    <a:pt x="2836" y="473"/>
                    <a:pt x="2836" y="1071"/>
                  </a:cubicBezTo>
                  <a:cubicBezTo>
                    <a:pt x="2836" y="1386"/>
                    <a:pt x="2993" y="1670"/>
                    <a:pt x="3214" y="1859"/>
                  </a:cubicBezTo>
                  <a:lnTo>
                    <a:pt x="2521" y="3592"/>
                  </a:lnTo>
                  <a:lnTo>
                    <a:pt x="2458" y="3592"/>
                  </a:lnTo>
                  <a:lnTo>
                    <a:pt x="1796" y="1859"/>
                  </a:lnTo>
                  <a:cubicBezTo>
                    <a:pt x="2016" y="1670"/>
                    <a:pt x="2142" y="1386"/>
                    <a:pt x="2142" y="1071"/>
                  </a:cubicBezTo>
                  <a:cubicBezTo>
                    <a:pt x="2142" y="473"/>
                    <a:pt x="167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80"/>
            <p:cNvSpPr/>
            <p:nvPr/>
          </p:nvSpPr>
          <p:spPr>
            <a:xfrm>
              <a:off x="-17865425" y="256015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4" y="537"/>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80"/>
          <p:cNvGrpSpPr/>
          <p:nvPr/>
        </p:nvGrpSpPr>
        <p:grpSpPr>
          <a:xfrm>
            <a:off x="6133365" y="2852729"/>
            <a:ext cx="416361" cy="470228"/>
            <a:chOff x="-17899300" y="2810625"/>
            <a:chExt cx="267825" cy="302475"/>
          </a:xfrm>
        </p:grpSpPr>
        <p:sp>
          <p:nvSpPr>
            <p:cNvPr id="10785" name="Google Shape;10785;p80"/>
            <p:cNvSpPr/>
            <p:nvPr/>
          </p:nvSpPr>
          <p:spPr>
            <a:xfrm>
              <a:off x="-17899300" y="2810625"/>
              <a:ext cx="267825" cy="302475"/>
            </a:xfrm>
            <a:custGeom>
              <a:avLst/>
              <a:gdLst/>
              <a:ahLst/>
              <a:cxnLst/>
              <a:rect l="l" t="t" r="r" b="b"/>
              <a:pathLst>
                <a:path w="10713" h="12099" extrusionOk="0">
                  <a:moveTo>
                    <a:pt x="1009" y="4978"/>
                  </a:moveTo>
                  <a:cubicBezTo>
                    <a:pt x="1482" y="4978"/>
                    <a:pt x="1860" y="5293"/>
                    <a:pt x="2017" y="5671"/>
                  </a:cubicBezTo>
                  <a:lnTo>
                    <a:pt x="1702" y="5671"/>
                  </a:lnTo>
                  <a:cubicBezTo>
                    <a:pt x="1229" y="5671"/>
                    <a:pt x="851" y="5356"/>
                    <a:pt x="694" y="4978"/>
                  </a:cubicBezTo>
                  <a:close/>
                  <a:moveTo>
                    <a:pt x="9862" y="4978"/>
                  </a:moveTo>
                  <a:cubicBezTo>
                    <a:pt x="9704" y="5356"/>
                    <a:pt x="9295" y="5671"/>
                    <a:pt x="8822" y="5671"/>
                  </a:cubicBezTo>
                  <a:lnTo>
                    <a:pt x="8507" y="5671"/>
                  </a:lnTo>
                  <a:cubicBezTo>
                    <a:pt x="8696" y="5262"/>
                    <a:pt x="9074" y="4978"/>
                    <a:pt x="9547" y="4978"/>
                  </a:cubicBezTo>
                  <a:close/>
                  <a:moveTo>
                    <a:pt x="5294" y="7845"/>
                  </a:moveTo>
                  <a:cubicBezTo>
                    <a:pt x="5451" y="7845"/>
                    <a:pt x="5609" y="7971"/>
                    <a:pt x="5640" y="8097"/>
                  </a:cubicBezTo>
                  <a:lnTo>
                    <a:pt x="5294" y="8507"/>
                  </a:lnTo>
                  <a:lnTo>
                    <a:pt x="4947" y="8097"/>
                  </a:lnTo>
                  <a:cubicBezTo>
                    <a:pt x="4979" y="7971"/>
                    <a:pt x="5136" y="7845"/>
                    <a:pt x="5294" y="7845"/>
                  </a:cubicBezTo>
                  <a:close/>
                  <a:moveTo>
                    <a:pt x="5294" y="4254"/>
                  </a:moveTo>
                  <a:cubicBezTo>
                    <a:pt x="6774" y="4254"/>
                    <a:pt x="7783" y="5104"/>
                    <a:pt x="7783" y="6742"/>
                  </a:cubicBezTo>
                  <a:cubicBezTo>
                    <a:pt x="7783" y="7467"/>
                    <a:pt x="7625" y="8192"/>
                    <a:pt x="7310" y="8885"/>
                  </a:cubicBezTo>
                  <a:lnTo>
                    <a:pt x="7310" y="8822"/>
                  </a:lnTo>
                  <a:cubicBezTo>
                    <a:pt x="7152" y="7845"/>
                    <a:pt x="6270" y="7152"/>
                    <a:pt x="5294" y="7152"/>
                  </a:cubicBezTo>
                  <a:cubicBezTo>
                    <a:pt x="4317" y="7152"/>
                    <a:pt x="3435" y="7845"/>
                    <a:pt x="3277" y="8822"/>
                  </a:cubicBezTo>
                  <a:lnTo>
                    <a:pt x="3277" y="8885"/>
                  </a:lnTo>
                  <a:cubicBezTo>
                    <a:pt x="2962" y="8192"/>
                    <a:pt x="2805" y="7467"/>
                    <a:pt x="2805" y="6742"/>
                  </a:cubicBezTo>
                  <a:cubicBezTo>
                    <a:pt x="2805" y="5104"/>
                    <a:pt x="3844" y="4254"/>
                    <a:pt x="5294" y="4254"/>
                  </a:cubicBezTo>
                  <a:close/>
                  <a:moveTo>
                    <a:pt x="4254" y="8412"/>
                  </a:moveTo>
                  <a:cubicBezTo>
                    <a:pt x="4317" y="8444"/>
                    <a:pt x="4254" y="8412"/>
                    <a:pt x="4947" y="9263"/>
                  </a:cubicBezTo>
                  <a:lnTo>
                    <a:pt x="4947" y="9546"/>
                  </a:lnTo>
                  <a:lnTo>
                    <a:pt x="4348" y="10114"/>
                  </a:lnTo>
                  <a:cubicBezTo>
                    <a:pt x="4191" y="10271"/>
                    <a:pt x="4191" y="10492"/>
                    <a:pt x="4348" y="10649"/>
                  </a:cubicBezTo>
                  <a:cubicBezTo>
                    <a:pt x="4427" y="10728"/>
                    <a:pt x="4514" y="10767"/>
                    <a:pt x="4601" y="10767"/>
                  </a:cubicBezTo>
                  <a:cubicBezTo>
                    <a:pt x="4687" y="10767"/>
                    <a:pt x="4774" y="10728"/>
                    <a:pt x="4853" y="10649"/>
                  </a:cubicBezTo>
                  <a:lnTo>
                    <a:pt x="5325" y="10177"/>
                  </a:lnTo>
                  <a:lnTo>
                    <a:pt x="5798" y="10649"/>
                  </a:lnTo>
                  <a:cubicBezTo>
                    <a:pt x="5876" y="10728"/>
                    <a:pt x="5971" y="10767"/>
                    <a:pt x="6065" y="10767"/>
                  </a:cubicBezTo>
                  <a:cubicBezTo>
                    <a:pt x="6160" y="10767"/>
                    <a:pt x="6255" y="10728"/>
                    <a:pt x="6333" y="10649"/>
                  </a:cubicBezTo>
                  <a:cubicBezTo>
                    <a:pt x="6491" y="10492"/>
                    <a:pt x="6491" y="10271"/>
                    <a:pt x="6333" y="10114"/>
                  </a:cubicBezTo>
                  <a:lnTo>
                    <a:pt x="5735" y="9546"/>
                  </a:lnTo>
                  <a:lnTo>
                    <a:pt x="5735" y="9263"/>
                  </a:lnTo>
                  <a:cubicBezTo>
                    <a:pt x="6428" y="8412"/>
                    <a:pt x="6396" y="8444"/>
                    <a:pt x="6396" y="8412"/>
                  </a:cubicBezTo>
                  <a:lnTo>
                    <a:pt x="6396" y="8412"/>
                  </a:lnTo>
                  <a:cubicBezTo>
                    <a:pt x="6522" y="8570"/>
                    <a:pt x="6617" y="8790"/>
                    <a:pt x="6680" y="8979"/>
                  </a:cubicBezTo>
                  <a:lnTo>
                    <a:pt x="6837" y="9893"/>
                  </a:lnTo>
                  <a:cubicBezTo>
                    <a:pt x="6869" y="10681"/>
                    <a:pt x="6270" y="11437"/>
                    <a:pt x="5451" y="11437"/>
                  </a:cubicBezTo>
                  <a:lnTo>
                    <a:pt x="5136" y="11437"/>
                  </a:lnTo>
                  <a:cubicBezTo>
                    <a:pt x="4317" y="11437"/>
                    <a:pt x="3687" y="10681"/>
                    <a:pt x="3844" y="9893"/>
                  </a:cubicBezTo>
                  <a:lnTo>
                    <a:pt x="4002" y="8979"/>
                  </a:lnTo>
                  <a:cubicBezTo>
                    <a:pt x="4033" y="8759"/>
                    <a:pt x="4096" y="8570"/>
                    <a:pt x="4254" y="8412"/>
                  </a:cubicBezTo>
                  <a:close/>
                  <a:moveTo>
                    <a:pt x="1040" y="0"/>
                  </a:moveTo>
                  <a:cubicBezTo>
                    <a:pt x="851" y="0"/>
                    <a:pt x="694" y="158"/>
                    <a:pt x="694" y="379"/>
                  </a:cubicBezTo>
                  <a:lnTo>
                    <a:pt x="694" y="1072"/>
                  </a:lnTo>
                  <a:cubicBezTo>
                    <a:pt x="694" y="1670"/>
                    <a:pt x="1166" y="2143"/>
                    <a:pt x="1734" y="2143"/>
                  </a:cubicBezTo>
                  <a:lnTo>
                    <a:pt x="2112" y="2143"/>
                  </a:lnTo>
                  <a:lnTo>
                    <a:pt x="2112" y="3529"/>
                  </a:lnTo>
                  <a:cubicBezTo>
                    <a:pt x="2112" y="3907"/>
                    <a:pt x="2332" y="4317"/>
                    <a:pt x="2679" y="4474"/>
                  </a:cubicBezTo>
                  <a:lnTo>
                    <a:pt x="2899" y="4537"/>
                  </a:lnTo>
                  <a:cubicBezTo>
                    <a:pt x="2742" y="4695"/>
                    <a:pt x="2616" y="4852"/>
                    <a:pt x="2521" y="5041"/>
                  </a:cubicBezTo>
                  <a:cubicBezTo>
                    <a:pt x="2206" y="4569"/>
                    <a:pt x="1671" y="4254"/>
                    <a:pt x="1072" y="4254"/>
                  </a:cubicBezTo>
                  <a:lnTo>
                    <a:pt x="379" y="4254"/>
                  </a:lnTo>
                  <a:cubicBezTo>
                    <a:pt x="158" y="4254"/>
                    <a:pt x="1" y="4411"/>
                    <a:pt x="1" y="4632"/>
                  </a:cubicBezTo>
                  <a:cubicBezTo>
                    <a:pt x="1" y="5608"/>
                    <a:pt x="788" y="6396"/>
                    <a:pt x="1797" y="6396"/>
                  </a:cubicBezTo>
                  <a:lnTo>
                    <a:pt x="2143" y="6396"/>
                  </a:lnTo>
                  <a:lnTo>
                    <a:pt x="2143" y="6742"/>
                  </a:lnTo>
                  <a:cubicBezTo>
                    <a:pt x="2143" y="7877"/>
                    <a:pt x="2521" y="9105"/>
                    <a:pt x="3151" y="10019"/>
                  </a:cubicBezTo>
                  <a:cubicBezTo>
                    <a:pt x="3120" y="11153"/>
                    <a:pt x="4065" y="12098"/>
                    <a:pt x="5199" y="12098"/>
                  </a:cubicBezTo>
                  <a:lnTo>
                    <a:pt x="5514" y="12098"/>
                  </a:lnTo>
                  <a:cubicBezTo>
                    <a:pt x="6680" y="12098"/>
                    <a:pt x="7625" y="11153"/>
                    <a:pt x="7562" y="10019"/>
                  </a:cubicBezTo>
                  <a:cubicBezTo>
                    <a:pt x="8192" y="9105"/>
                    <a:pt x="8602" y="7845"/>
                    <a:pt x="8602" y="6742"/>
                  </a:cubicBezTo>
                  <a:lnTo>
                    <a:pt x="8602" y="6396"/>
                  </a:lnTo>
                  <a:lnTo>
                    <a:pt x="8948" y="6396"/>
                  </a:lnTo>
                  <a:cubicBezTo>
                    <a:pt x="9925" y="6396"/>
                    <a:pt x="10712" y="5608"/>
                    <a:pt x="10712" y="4632"/>
                  </a:cubicBezTo>
                  <a:cubicBezTo>
                    <a:pt x="10649" y="4411"/>
                    <a:pt x="10492" y="4254"/>
                    <a:pt x="10303" y="4254"/>
                  </a:cubicBezTo>
                  <a:lnTo>
                    <a:pt x="9578" y="4254"/>
                  </a:lnTo>
                  <a:cubicBezTo>
                    <a:pt x="8980" y="4254"/>
                    <a:pt x="8444" y="4569"/>
                    <a:pt x="8129" y="5041"/>
                  </a:cubicBezTo>
                  <a:cubicBezTo>
                    <a:pt x="8003" y="4852"/>
                    <a:pt x="7909" y="4695"/>
                    <a:pt x="7783" y="4537"/>
                  </a:cubicBezTo>
                  <a:lnTo>
                    <a:pt x="7972" y="4474"/>
                  </a:lnTo>
                  <a:cubicBezTo>
                    <a:pt x="8318" y="4254"/>
                    <a:pt x="8570" y="3907"/>
                    <a:pt x="8570" y="3529"/>
                  </a:cubicBezTo>
                  <a:lnTo>
                    <a:pt x="8570" y="2143"/>
                  </a:lnTo>
                  <a:lnTo>
                    <a:pt x="8917" y="2143"/>
                  </a:lnTo>
                  <a:cubicBezTo>
                    <a:pt x="9515" y="2143"/>
                    <a:pt x="9988" y="1670"/>
                    <a:pt x="9988" y="1072"/>
                  </a:cubicBezTo>
                  <a:lnTo>
                    <a:pt x="9988" y="379"/>
                  </a:lnTo>
                  <a:cubicBezTo>
                    <a:pt x="9988" y="158"/>
                    <a:pt x="9830" y="0"/>
                    <a:pt x="9610" y="0"/>
                  </a:cubicBezTo>
                  <a:cubicBezTo>
                    <a:pt x="9421" y="0"/>
                    <a:pt x="9263" y="158"/>
                    <a:pt x="9263" y="379"/>
                  </a:cubicBezTo>
                  <a:lnTo>
                    <a:pt x="9263" y="1072"/>
                  </a:lnTo>
                  <a:cubicBezTo>
                    <a:pt x="9263" y="1261"/>
                    <a:pt x="9106" y="1418"/>
                    <a:pt x="8917" y="1418"/>
                  </a:cubicBezTo>
                  <a:lnTo>
                    <a:pt x="8570" y="1418"/>
                  </a:lnTo>
                  <a:lnTo>
                    <a:pt x="8570" y="1072"/>
                  </a:lnTo>
                  <a:cubicBezTo>
                    <a:pt x="8570" y="883"/>
                    <a:pt x="8413" y="725"/>
                    <a:pt x="8192" y="725"/>
                  </a:cubicBezTo>
                  <a:cubicBezTo>
                    <a:pt x="8003" y="725"/>
                    <a:pt x="7846" y="883"/>
                    <a:pt x="7846" y="1072"/>
                  </a:cubicBezTo>
                  <a:lnTo>
                    <a:pt x="7846" y="2143"/>
                  </a:lnTo>
                  <a:lnTo>
                    <a:pt x="7499" y="2143"/>
                  </a:lnTo>
                  <a:cubicBezTo>
                    <a:pt x="7310" y="2143"/>
                    <a:pt x="7152" y="1985"/>
                    <a:pt x="7152" y="1796"/>
                  </a:cubicBezTo>
                  <a:lnTo>
                    <a:pt x="7152" y="1072"/>
                  </a:lnTo>
                  <a:cubicBezTo>
                    <a:pt x="7152" y="883"/>
                    <a:pt x="6995" y="725"/>
                    <a:pt x="6774" y="725"/>
                  </a:cubicBezTo>
                  <a:cubicBezTo>
                    <a:pt x="6585" y="725"/>
                    <a:pt x="6428" y="883"/>
                    <a:pt x="6428" y="1072"/>
                  </a:cubicBezTo>
                  <a:lnTo>
                    <a:pt x="6428" y="1796"/>
                  </a:lnTo>
                  <a:cubicBezTo>
                    <a:pt x="6428" y="2363"/>
                    <a:pt x="6900" y="2836"/>
                    <a:pt x="7499" y="2836"/>
                  </a:cubicBezTo>
                  <a:lnTo>
                    <a:pt x="7846" y="2836"/>
                  </a:lnTo>
                  <a:lnTo>
                    <a:pt x="7846" y="3498"/>
                  </a:lnTo>
                  <a:cubicBezTo>
                    <a:pt x="7846" y="3624"/>
                    <a:pt x="7783" y="3781"/>
                    <a:pt x="7656" y="3813"/>
                  </a:cubicBezTo>
                  <a:lnTo>
                    <a:pt x="7184" y="4065"/>
                  </a:lnTo>
                  <a:cubicBezTo>
                    <a:pt x="6680" y="3750"/>
                    <a:pt x="6050" y="3592"/>
                    <a:pt x="5325" y="3592"/>
                  </a:cubicBezTo>
                  <a:cubicBezTo>
                    <a:pt x="4632" y="3592"/>
                    <a:pt x="4002" y="3750"/>
                    <a:pt x="3466" y="4065"/>
                  </a:cubicBezTo>
                  <a:lnTo>
                    <a:pt x="2994" y="3813"/>
                  </a:lnTo>
                  <a:cubicBezTo>
                    <a:pt x="2899" y="3750"/>
                    <a:pt x="2805" y="3624"/>
                    <a:pt x="2805" y="3498"/>
                  </a:cubicBezTo>
                  <a:lnTo>
                    <a:pt x="2805" y="2836"/>
                  </a:lnTo>
                  <a:lnTo>
                    <a:pt x="3151" y="2836"/>
                  </a:lnTo>
                  <a:cubicBezTo>
                    <a:pt x="3750" y="2836"/>
                    <a:pt x="4222" y="2363"/>
                    <a:pt x="4222" y="1796"/>
                  </a:cubicBezTo>
                  <a:lnTo>
                    <a:pt x="4222" y="1072"/>
                  </a:lnTo>
                  <a:cubicBezTo>
                    <a:pt x="4222" y="883"/>
                    <a:pt x="4065" y="725"/>
                    <a:pt x="3876" y="725"/>
                  </a:cubicBezTo>
                  <a:cubicBezTo>
                    <a:pt x="3687" y="725"/>
                    <a:pt x="3529" y="883"/>
                    <a:pt x="3529" y="1072"/>
                  </a:cubicBezTo>
                  <a:lnTo>
                    <a:pt x="3529" y="1796"/>
                  </a:lnTo>
                  <a:cubicBezTo>
                    <a:pt x="3529" y="1985"/>
                    <a:pt x="3372" y="2143"/>
                    <a:pt x="3151" y="2143"/>
                  </a:cubicBezTo>
                  <a:lnTo>
                    <a:pt x="2805" y="2143"/>
                  </a:lnTo>
                  <a:lnTo>
                    <a:pt x="2805" y="1072"/>
                  </a:lnTo>
                  <a:cubicBezTo>
                    <a:pt x="2805" y="883"/>
                    <a:pt x="2647" y="725"/>
                    <a:pt x="2458" y="725"/>
                  </a:cubicBezTo>
                  <a:cubicBezTo>
                    <a:pt x="2269" y="725"/>
                    <a:pt x="2112" y="883"/>
                    <a:pt x="2112" y="1072"/>
                  </a:cubicBezTo>
                  <a:lnTo>
                    <a:pt x="2112" y="1418"/>
                  </a:lnTo>
                  <a:lnTo>
                    <a:pt x="1734" y="1418"/>
                  </a:lnTo>
                  <a:cubicBezTo>
                    <a:pt x="1545" y="1418"/>
                    <a:pt x="1387" y="1261"/>
                    <a:pt x="1387" y="1072"/>
                  </a:cubicBezTo>
                  <a:lnTo>
                    <a:pt x="1387" y="379"/>
                  </a:lnTo>
                  <a:cubicBezTo>
                    <a:pt x="1387" y="158"/>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80"/>
            <p:cNvSpPr/>
            <p:nvPr/>
          </p:nvSpPr>
          <p:spPr>
            <a:xfrm>
              <a:off x="-17740200" y="2952400"/>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7" name="Google Shape;10787;p80"/>
            <p:cNvSpPr/>
            <p:nvPr/>
          </p:nvSpPr>
          <p:spPr>
            <a:xfrm>
              <a:off x="-17811075" y="295240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8" name="Google Shape;10788;p80"/>
          <p:cNvGrpSpPr/>
          <p:nvPr/>
        </p:nvGrpSpPr>
        <p:grpSpPr>
          <a:xfrm>
            <a:off x="2039218" y="3461166"/>
            <a:ext cx="472676" cy="442089"/>
            <a:chOff x="-16066500" y="2060800"/>
            <a:chExt cx="304050" cy="284375"/>
          </a:xfrm>
        </p:grpSpPr>
        <p:sp>
          <p:nvSpPr>
            <p:cNvPr id="10789" name="Google Shape;10789;p80"/>
            <p:cNvSpPr/>
            <p:nvPr/>
          </p:nvSpPr>
          <p:spPr>
            <a:xfrm>
              <a:off x="-15978275" y="2203375"/>
              <a:ext cx="18125" cy="18125"/>
            </a:xfrm>
            <a:custGeom>
              <a:avLst/>
              <a:gdLst/>
              <a:ahLst/>
              <a:cxnLst/>
              <a:rect l="l" t="t" r="r" b="b"/>
              <a:pathLst>
                <a:path w="725" h="725" extrusionOk="0">
                  <a:moveTo>
                    <a:pt x="347" y="0"/>
                  </a:moveTo>
                  <a:cubicBezTo>
                    <a:pt x="158" y="0"/>
                    <a:pt x="0" y="158"/>
                    <a:pt x="0" y="347"/>
                  </a:cubicBezTo>
                  <a:cubicBezTo>
                    <a:pt x="0" y="567"/>
                    <a:pt x="158" y="725"/>
                    <a:pt x="347" y="725"/>
                  </a:cubicBezTo>
                  <a:cubicBezTo>
                    <a:pt x="567" y="725"/>
                    <a:pt x="725" y="567"/>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80"/>
            <p:cNvSpPr/>
            <p:nvPr/>
          </p:nvSpPr>
          <p:spPr>
            <a:xfrm>
              <a:off x="-15869575" y="220337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80"/>
            <p:cNvSpPr/>
            <p:nvPr/>
          </p:nvSpPr>
          <p:spPr>
            <a:xfrm>
              <a:off x="-15954650" y="2186825"/>
              <a:ext cx="78775" cy="88250"/>
            </a:xfrm>
            <a:custGeom>
              <a:avLst/>
              <a:gdLst/>
              <a:ahLst/>
              <a:cxnLst/>
              <a:rect l="l" t="t" r="r" b="b"/>
              <a:pathLst>
                <a:path w="3151" h="3530" extrusionOk="0">
                  <a:moveTo>
                    <a:pt x="1607" y="662"/>
                  </a:moveTo>
                  <a:cubicBezTo>
                    <a:pt x="1891" y="662"/>
                    <a:pt x="2080" y="820"/>
                    <a:pt x="2174" y="1103"/>
                  </a:cubicBezTo>
                  <a:lnTo>
                    <a:pt x="2458" y="2111"/>
                  </a:lnTo>
                  <a:cubicBezTo>
                    <a:pt x="2489" y="2269"/>
                    <a:pt x="2458" y="2490"/>
                    <a:pt x="2332" y="2584"/>
                  </a:cubicBezTo>
                  <a:cubicBezTo>
                    <a:pt x="2206" y="2710"/>
                    <a:pt x="2048" y="2805"/>
                    <a:pt x="1891" y="2805"/>
                  </a:cubicBezTo>
                  <a:lnTo>
                    <a:pt x="1387" y="2805"/>
                  </a:lnTo>
                  <a:cubicBezTo>
                    <a:pt x="1229" y="2805"/>
                    <a:pt x="1072" y="2710"/>
                    <a:pt x="946" y="2584"/>
                  </a:cubicBezTo>
                  <a:cubicBezTo>
                    <a:pt x="788" y="2458"/>
                    <a:pt x="757" y="2269"/>
                    <a:pt x="788" y="2111"/>
                  </a:cubicBezTo>
                  <a:lnTo>
                    <a:pt x="1072" y="1103"/>
                  </a:lnTo>
                  <a:cubicBezTo>
                    <a:pt x="1135" y="851"/>
                    <a:pt x="1355" y="662"/>
                    <a:pt x="1607" y="662"/>
                  </a:cubicBezTo>
                  <a:close/>
                  <a:moveTo>
                    <a:pt x="1576" y="1"/>
                  </a:moveTo>
                  <a:cubicBezTo>
                    <a:pt x="977" y="1"/>
                    <a:pt x="473" y="379"/>
                    <a:pt x="347" y="946"/>
                  </a:cubicBezTo>
                  <a:lnTo>
                    <a:pt x="95" y="1954"/>
                  </a:lnTo>
                  <a:cubicBezTo>
                    <a:pt x="1" y="2364"/>
                    <a:pt x="95" y="2742"/>
                    <a:pt x="316" y="3057"/>
                  </a:cubicBezTo>
                  <a:cubicBezTo>
                    <a:pt x="599" y="3340"/>
                    <a:pt x="946" y="3529"/>
                    <a:pt x="1355" y="3529"/>
                  </a:cubicBezTo>
                  <a:lnTo>
                    <a:pt x="1859" y="3529"/>
                  </a:lnTo>
                  <a:cubicBezTo>
                    <a:pt x="2237" y="3529"/>
                    <a:pt x="2615" y="3340"/>
                    <a:pt x="2836" y="3057"/>
                  </a:cubicBezTo>
                  <a:cubicBezTo>
                    <a:pt x="3088" y="2742"/>
                    <a:pt x="3151" y="2364"/>
                    <a:pt x="3088" y="1954"/>
                  </a:cubicBezTo>
                  <a:lnTo>
                    <a:pt x="2804" y="946"/>
                  </a:lnTo>
                  <a:cubicBezTo>
                    <a:pt x="2647" y="379"/>
                    <a:pt x="2174" y="1"/>
                    <a:pt x="15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80"/>
            <p:cNvSpPr/>
            <p:nvPr/>
          </p:nvSpPr>
          <p:spPr>
            <a:xfrm>
              <a:off x="-16066500" y="2060800"/>
              <a:ext cx="304050" cy="284375"/>
            </a:xfrm>
            <a:custGeom>
              <a:avLst/>
              <a:gdLst/>
              <a:ahLst/>
              <a:cxnLst/>
              <a:rect l="l" t="t" r="r" b="b"/>
              <a:pathLst>
                <a:path w="12162" h="11375" extrusionOk="0">
                  <a:moveTo>
                    <a:pt x="9326" y="694"/>
                  </a:moveTo>
                  <a:cubicBezTo>
                    <a:pt x="10492" y="694"/>
                    <a:pt x="11437" y="1639"/>
                    <a:pt x="11437" y="2836"/>
                  </a:cubicBezTo>
                  <a:cubicBezTo>
                    <a:pt x="11437" y="2962"/>
                    <a:pt x="11437" y="3025"/>
                    <a:pt x="11406" y="3120"/>
                  </a:cubicBezTo>
                  <a:cubicBezTo>
                    <a:pt x="10996" y="2584"/>
                    <a:pt x="10334" y="2269"/>
                    <a:pt x="9673" y="2175"/>
                  </a:cubicBezTo>
                  <a:cubicBezTo>
                    <a:pt x="9649" y="2170"/>
                    <a:pt x="9625" y="2168"/>
                    <a:pt x="9602" y="2168"/>
                  </a:cubicBezTo>
                  <a:cubicBezTo>
                    <a:pt x="9302" y="2168"/>
                    <a:pt x="9153" y="2537"/>
                    <a:pt x="9358" y="2742"/>
                  </a:cubicBezTo>
                  <a:cubicBezTo>
                    <a:pt x="9767" y="3151"/>
                    <a:pt x="9988" y="3687"/>
                    <a:pt x="9988" y="4254"/>
                  </a:cubicBezTo>
                  <a:cubicBezTo>
                    <a:pt x="9988" y="4412"/>
                    <a:pt x="9988" y="4569"/>
                    <a:pt x="9956" y="4727"/>
                  </a:cubicBezTo>
                  <a:cubicBezTo>
                    <a:pt x="9484" y="3844"/>
                    <a:pt x="8759" y="3120"/>
                    <a:pt x="7909" y="2616"/>
                  </a:cubicBezTo>
                  <a:cubicBezTo>
                    <a:pt x="7657" y="2521"/>
                    <a:pt x="7468" y="2395"/>
                    <a:pt x="7247" y="2301"/>
                  </a:cubicBezTo>
                  <a:cubicBezTo>
                    <a:pt x="7468" y="1356"/>
                    <a:pt x="8287" y="694"/>
                    <a:pt x="9326" y="694"/>
                  </a:cubicBezTo>
                  <a:close/>
                  <a:moveTo>
                    <a:pt x="2836" y="757"/>
                  </a:moveTo>
                  <a:cubicBezTo>
                    <a:pt x="3813" y="757"/>
                    <a:pt x="4664" y="1419"/>
                    <a:pt x="4916" y="2364"/>
                  </a:cubicBezTo>
                  <a:cubicBezTo>
                    <a:pt x="3718" y="2742"/>
                    <a:pt x="2773" y="3687"/>
                    <a:pt x="2206" y="4758"/>
                  </a:cubicBezTo>
                  <a:cubicBezTo>
                    <a:pt x="2143" y="4601"/>
                    <a:pt x="2112" y="4443"/>
                    <a:pt x="2112" y="4286"/>
                  </a:cubicBezTo>
                  <a:cubicBezTo>
                    <a:pt x="2112" y="3750"/>
                    <a:pt x="2364" y="3183"/>
                    <a:pt x="2742" y="2773"/>
                  </a:cubicBezTo>
                  <a:cubicBezTo>
                    <a:pt x="2970" y="2574"/>
                    <a:pt x="2811" y="2193"/>
                    <a:pt x="2521" y="2193"/>
                  </a:cubicBezTo>
                  <a:cubicBezTo>
                    <a:pt x="2491" y="2193"/>
                    <a:pt x="2459" y="2197"/>
                    <a:pt x="2427" y="2206"/>
                  </a:cubicBezTo>
                  <a:cubicBezTo>
                    <a:pt x="1765" y="2269"/>
                    <a:pt x="1135" y="2616"/>
                    <a:pt x="694" y="3151"/>
                  </a:cubicBezTo>
                  <a:cubicBezTo>
                    <a:pt x="536" y="1891"/>
                    <a:pt x="1513" y="757"/>
                    <a:pt x="2836" y="757"/>
                  </a:cubicBezTo>
                  <a:close/>
                  <a:moveTo>
                    <a:pt x="6050" y="2836"/>
                  </a:moveTo>
                  <a:cubicBezTo>
                    <a:pt x="8224" y="2836"/>
                    <a:pt x="9988" y="5325"/>
                    <a:pt x="9988" y="7468"/>
                  </a:cubicBezTo>
                  <a:cubicBezTo>
                    <a:pt x="10019" y="9862"/>
                    <a:pt x="7909" y="10713"/>
                    <a:pt x="6050" y="10713"/>
                  </a:cubicBezTo>
                  <a:cubicBezTo>
                    <a:pt x="4254" y="10713"/>
                    <a:pt x="2112" y="9893"/>
                    <a:pt x="2112" y="7468"/>
                  </a:cubicBezTo>
                  <a:cubicBezTo>
                    <a:pt x="2112" y="5325"/>
                    <a:pt x="3876" y="2836"/>
                    <a:pt x="6050" y="2836"/>
                  </a:cubicBezTo>
                  <a:close/>
                  <a:moveTo>
                    <a:pt x="2836" y="1"/>
                  </a:moveTo>
                  <a:cubicBezTo>
                    <a:pt x="1261" y="1"/>
                    <a:pt x="1" y="1293"/>
                    <a:pt x="1" y="2836"/>
                  </a:cubicBezTo>
                  <a:cubicBezTo>
                    <a:pt x="1" y="3246"/>
                    <a:pt x="64" y="3655"/>
                    <a:pt x="253" y="4034"/>
                  </a:cubicBezTo>
                  <a:cubicBezTo>
                    <a:pt x="316" y="4175"/>
                    <a:pt x="450" y="4246"/>
                    <a:pt x="580" y="4246"/>
                  </a:cubicBezTo>
                  <a:cubicBezTo>
                    <a:pt x="710" y="4246"/>
                    <a:pt x="836" y="4175"/>
                    <a:pt x="883" y="4034"/>
                  </a:cubicBezTo>
                  <a:cubicBezTo>
                    <a:pt x="1040" y="3687"/>
                    <a:pt x="1293" y="3403"/>
                    <a:pt x="1608" y="3214"/>
                  </a:cubicBezTo>
                  <a:lnTo>
                    <a:pt x="1608" y="3214"/>
                  </a:lnTo>
                  <a:cubicBezTo>
                    <a:pt x="1482" y="3529"/>
                    <a:pt x="1419" y="3876"/>
                    <a:pt x="1419" y="4254"/>
                  </a:cubicBezTo>
                  <a:cubicBezTo>
                    <a:pt x="1419" y="4727"/>
                    <a:pt x="1513" y="5199"/>
                    <a:pt x="1765" y="5577"/>
                  </a:cubicBezTo>
                  <a:cubicBezTo>
                    <a:pt x="1513" y="6176"/>
                    <a:pt x="1419" y="6806"/>
                    <a:pt x="1419" y="7436"/>
                  </a:cubicBezTo>
                  <a:cubicBezTo>
                    <a:pt x="1419" y="9988"/>
                    <a:pt x="3498" y="11374"/>
                    <a:pt x="6050" y="11374"/>
                  </a:cubicBezTo>
                  <a:cubicBezTo>
                    <a:pt x="8665" y="11374"/>
                    <a:pt x="10713" y="9988"/>
                    <a:pt x="10713" y="7436"/>
                  </a:cubicBezTo>
                  <a:cubicBezTo>
                    <a:pt x="10713" y="6806"/>
                    <a:pt x="10586" y="6176"/>
                    <a:pt x="10334" y="5577"/>
                  </a:cubicBezTo>
                  <a:cubicBezTo>
                    <a:pt x="10586" y="5136"/>
                    <a:pt x="10713" y="4727"/>
                    <a:pt x="10713" y="4254"/>
                  </a:cubicBezTo>
                  <a:cubicBezTo>
                    <a:pt x="10713" y="3876"/>
                    <a:pt x="10618" y="3529"/>
                    <a:pt x="10492" y="3214"/>
                  </a:cubicBezTo>
                  <a:lnTo>
                    <a:pt x="10492" y="3214"/>
                  </a:lnTo>
                  <a:cubicBezTo>
                    <a:pt x="10776" y="3403"/>
                    <a:pt x="11028" y="3687"/>
                    <a:pt x="11217" y="4034"/>
                  </a:cubicBezTo>
                  <a:cubicBezTo>
                    <a:pt x="11280" y="4175"/>
                    <a:pt x="11406" y="4246"/>
                    <a:pt x="11532" y="4246"/>
                  </a:cubicBezTo>
                  <a:cubicBezTo>
                    <a:pt x="11658" y="4246"/>
                    <a:pt x="11784" y="4175"/>
                    <a:pt x="11847" y="4034"/>
                  </a:cubicBezTo>
                  <a:cubicBezTo>
                    <a:pt x="12036" y="3655"/>
                    <a:pt x="12130" y="3246"/>
                    <a:pt x="12130" y="2836"/>
                  </a:cubicBezTo>
                  <a:cubicBezTo>
                    <a:pt x="12162" y="1293"/>
                    <a:pt x="10870" y="1"/>
                    <a:pt x="9295" y="1"/>
                  </a:cubicBezTo>
                  <a:cubicBezTo>
                    <a:pt x="7940" y="1"/>
                    <a:pt x="6837" y="915"/>
                    <a:pt x="6522" y="2175"/>
                  </a:cubicBezTo>
                  <a:cubicBezTo>
                    <a:pt x="6365" y="2112"/>
                    <a:pt x="6207" y="2112"/>
                    <a:pt x="6050" y="2112"/>
                  </a:cubicBezTo>
                  <a:cubicBezTo>
                    <a:pt x="5892" y="2112"/>
                    <a:pt x="5735" y="2112"/>
                    <a:pt x="5577" y="2175"/>
                  </a:cubicBezTo>
                  <a:cubicBezTo>
                    <a:pt x="5262" y="915"/>
                    <a:pt x="4128"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3" name="Google Shape;10793;p80"/>
            <p:cNvSpPr/>
            <p:nvPr/>
          </p:nvSpPr>
          <p:spPr>
            <a:xfrm>
              <a:off x="-15960175" y="2287225"/>
              <a:ext cx="91400" cy="24075"/>
            </a:xfrm>
            <a:custGeom>
              <a:avLst/>
              <a:gdLst/>
              <a:ahLst/>
              <a:cxnLst/>
              <a:rect l="l" t="t" r="r" b="b"/>
              <a:pathLst>
                <a:path w="3656" h="963" extrusionOk="0">
                  <a:moveTo>
                    <a:pt x="437" y="1"/>
                  </a:moveTo>
                  <a:cubicBezTo>
                    <a:pt x="284" y="1"/>
                    <a:pt x="142" y="114"/>
                    <a:pt x="64" y="269"/>
                  </a:cubicBezTo>
                  <a:cubicBezTo>
                    <a:pt x="1" y="458"/>
                    <a:pt x="96" y="647"/>
                    <a:pt x="316" y="742"/>
                  </a:cubicBezTo>
                  <a:cubicBezTo>
                    <a:pt x="852" y="931"/>
                    <a:pt x="1450" y="962"/>
                    <a:pt x="1828" y="962"/>
                  </a:cubicBezTo>
                  <a:cubicBezTo>
                    <a:pt x="2238" y="962"/>
                    <a:pt x="2836" y="931"/>
                    <a:pt x="3372" y="742"/>
                  </a:cubicBezTo>
                  <a:cubicBezTo>
                    <a:pt x="3593" y="647"/>
                    <a:pt x="3656" y="458"/>
                    <a:pt x="3624" y="269"/>
                  </a:cubicBezTo>
                  <a:cubicBezTo>
                    <a:pt x="3546" y="114"/>
                    <a:pt x="3383" y="1"/>
                    <a:pt x="3240" y="1"/>
                  </a:cubicBezTo>
                  <a:cubicBezTo>
                    <a:pt x="3209" y="1"/>
                    <a:pt x="3179" y="6"/>
                    <a:pt x="3151" y="17"/>
                  </a:cubicBezTo>
                  <a:cubicBezTo>
                    <a:pt x="2679" y="206"/>
                    <a:pt x="2143" y="238"/>
                    <a:pt x="1828" y="238"/>
                  </a:cubicBezTo>
                  <a:cubicBezTo>
                    <a:pt x="1482" y="238"/>
                    <a:pt x="1009" y="206"/>
                    <a:pt x="537" y="17"/>
                  </a:cubicBezTo>
                  <a:cubicBezTo>
                    <a:pt x="503" y="6"/>
                    <a:pt x="470" y="1"/>
                    <a:pt x="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94" name="Google Shape;10794;p80"/>
          <p:cNvSpPr/>
          <p:nvPr/>
        </p:nvSpPr>
        <p:spPr>
          <a:xfrm>
            <a:off x="4344952" y="3444762"/>
            <a:ext cx="475125" cy="475086"/>
          </a:xfrm>
          <a:custGeom>
            <a:avLst/>
            <a:gdLst/>
            <a:ahLst/>
            <a:cxnLst/>
            <a:rect l="l" t="t" r="r" b="b"/>
            <a:pathLst>
              <a:path w="12225" h="12224" extrusionOk="0">
                <a:moveTo>
                  <a:pt x="6522" y="1638"/>
                </a:moveTo>
                <a:lnTo>
                  <a:pt x="9074" y="2678"/>
                </a:lnTo>
                <a:lnTo>
                  <a:pt x="8507" y="3245"/>
                </a:lnTo>
                <a:lnTo>
                  <a:pt x="6522" y="2426"/>
                </a:lnTo>
                <a:lnTo>
                  <a:pt x="6522" y="1638"/>
                </a:lnTo>
                <a:close/>
                <a:moveTo>
                  <a:pt x="5766" y="1670"/>
                </a:moveTo>
                <a:lnTo>
                  <a:pt x="5766" y="2457"/>
                </a:lnTo>
                <a:lnTo>
                  <a:pt x="3750" y="3277"/>
                </a:lnTo>
                <a:lnTo>
                  <a:pt x="3214" y="2741"/>
                </a:lnTo>
                <a:lnTo>
                  <a:pt x="5766" y="1670"/>
                </a:lnTo>
                <a:close/>
                <a:moveTo>
                  <a:pt x="5766" y="3214"/>
                </a:moveTo>
                <a:lnTo>
                  <a:pt x="5766" y="4001"/>
                </a:lnTo>
                <a:lnTo>
                  <a:pt x="4821" y="4348"/>
                </a:lnTo>
                <a:lnTo>
                  <a:pt x="4254" y="3781"/>
                </a:lnTo>
                <a:lnTo>
                  <a:pt x="5766" y="3214"/>
                </a:lnTo>
                <a:close/>
                <a:moveTo>
                  <a:pt x="6459" y="3214"/>
                </a:moveTo>
                <a:lnTo>
                  <a:pt x="7972" y="3781"/>
                </a:lnTo>
                <a:lnTo>
                  <a:pt x="7404" y="4348"/>
                </a:lnTo>
                <a:lnTo>
                  <a:pt x="6459" y="4001"/>
                </a:lnTo>
                <a:lnTo>
                  <a:pt x="6459" y="3214"/>
                </a:lnTo>
                <a:close/>
                <a:moveTo>
                  <a:pt x="5766" y="4726"/>
                </a:moveTo>
                <a:lnTo>
                  <a:pt x="5766" y="5293"/>
                </a:lnTo>
                <a:lnTo>
                  <a:pt x="5357" y="4883"/>
                </a:lnTo>
                <a:lnTo>
                  <a:pt x="5766" y="4726"/>
                </a:lnTo>
                <a:close/>
                <a:moveTo>
                  <a:pt x="6459" y="4726"/>
                </a:moveTo>
                <a:lnTo>
                  <a:pt x="6869" y="4883"/>
                </a:lnTo>
                <a:lnTo>
                  <a:pt x="6459" y="5293"/>
                </a:lnTo>
                <a:lnTo>
                  <a:pt x="6459" y="4726"/>
                </a:lnTo>
                <a:close/>
                <a:moveTo>
                  <a:pt x="2679" y="3214"/>
                </a:moveTo>
                <a:lnTo>
                  <a:pt x="3246" y="3749"/>
                </a:lnTo>
                <a:lnTo>
                  <a:pt x="2427" y="5765"/>
                </a:lnTo>
                <a:lnTo>
                  <a:pt x="1639" y="5765"/>
                </a:lnTo>
                <a:lnTo>
                  <a:pt x="2679" y="3214"/>
                </a:lnTo>
                <a:close/>
                <a:moveTo>
                  <a:pt x="4853" y="5356"/>
                </a:moveTo>
                <a:lnTo>
                  <a:pt x="5262" y="5765"/>
                </a:lnTo>
                <a:lnTo>
                  <a:pt x="4695" y="5765"/>
                </a:lnTo>
                <a:lnTo>
                  <a:pt x="4853" y="5356"/>
                </a:lnTo>
                <a:close/>
                <a:moveTo>
                  <a:pt x="7373" y="5356"/>
                </a:moveTo>
                <a:lnTo>
                  <a:pt x="7531" y="5765"/>
                </a:lnTo>
                <a:lnTo>
                  <a:pt x="6995" y="5765"/>
                </a:lnTo>
                <a:lnTo>
                  <a:pt x="7373" y="5356"/>
                </a:lnTo>
                <a:close/>
                <a:moveTo>
                  <a:pt x="8476" y="4253"/>
                </a:moveTo>
                <a:lnTo>
                  <a:pt x="9074" y="5765"/>
                </a:lnTo>
                <a:lnTo>
                  <a:pt x="8287" y="5765"/>
                </a:lnTo>
                <a:lnTo>
                  <a:pt x="7940" y="4820"/>
                </a:lnTo>
                <a:lnTo>
                  <a:pt x="8476" y="4253"/>
                </a:lnTo>
                <a:close/>
                <a:moveTo>
                  <a:pt x="9547" y="3214"/>
                </a:moveTo>
                <a:lnTo>
                  <a:pt x="10618" y="5765"/>
                </a:lnTo>
                <a:lnTo>
                  <a:pt x="9830" y="5765"/>
                </a:lnTo>
                <a:lnTo>
                  <a:pt x="8980" y="3749"/>
                </a:lnTo>
                <a:lnTo>
                  <a:pt x="9547" y="3214"/>
                </a:lnTo>
                <a:close/>
                <a:moveTo>
                  <a:pt x="3781" y="4316"/>
                </a:moveTo>
                <a:lnTo>
                  <a:pt x="4348" y="4852"/>
                </a:lnTo>
                <a:lnTo>
                  <a:pt x="4002" y="5797"/>
                </a:lnTo>
                <a:lnTo>
                  <a:pt x="3214" y="5797"/>
                </a:lnTo>
                <a:lnTo>
                  <a:pt x="3781" y="4316"/>
                </a:lnTo>
                <a:close/>
                <a:moveTo>
                  <a:pt x="5262" y="6522"/>
                </a:moveTo>
                <a:lnTo>
                  <a:pt x="4853" y="6900"/>
                </a:lnTo>
                <a:lnTo>
                  <a:pt x="4695" y="6522"/>
                </a:lnTo>
                <a:close/>
                <a:moveTo>
                  <a:pt x="7531" y="6522"/>
                </a:moveTo>
                <a:lnTo>
                  <a:pt x="7373" y="6900"/>
                </a:lnTo>
                <a:lnTo>
                  <a:pt x="6995" y="6522"/>
                </a:lnTo>
                <a:close/>
                <a:moveTo>
                  <a:pt x="5766" y="6994"/>
                </a:moveTo>
                <a:lnTo>
                  <a:pt x="5766" y="7530"/>
                </a:lnTo>
                <a:lnTo>
                  <a:pt x="5357" y="7372"/>
                </a:lnTo>
                <a:lnTo>
                  <a:pt x="5766" y="6994"/>
                </a:lnTo>
                <a:close/>
                <a:moveTo>
                  <a:pt x="6459" y="6994"/>
                </a:moveTo>
                <a:lnTo>
                  <a:pt x="6869" y="7372"/>
                </a:lnTo>
                <a:lnTo>
                  <a:pt x="6459" y="7530"/>
                </a:lnTo>
                <a:lnTo>
                  <a:pt x="6459" y="6994"/>
                </a:lnTo>
                <a:close/>
                <a:moveTo>
                  <a:pt x="9074" y="6459"/>
                </a:moveTo>
                <a:lnTo>
                  <a:pt x="8476" y="7971"/>
                </a:lnTo>
                <a:lnTo>
                  <a:pt x="7940" y="7404"/>
                </a:lnTo>
                <a:lnTo>
                  <a:pt x="8287" y="6459"/>
                </a:lnTo>
                <a:close/>
                <a:moveTo>
                  <a:pt x="3939" y="6522"/>
                </a:moveTo>
                <a:lnTo>
                  <a:pt x="4317" y="7467"/>
                </a:lnTo>
                <a:lnTo>
                  <a:pt x="3750" y="8002"/>
                </a:lnTo>
                <a:lnTo>
                  <a:pt x="3151" y="6522"/>
                </a:lnTo>
                <a:close/>
                <a:moveTo>
                  <a:pt x="2458" y="6522"/>
                </a:moveTo>
                <a:lnTo>
                  <a:pt x="3277" y="8506"/>
                </a:lnTo>
                <a:lnTo>
                  <a:pt x="2742" y="9073"/>
                </a:lnTo>
                <a:lnTo>
                  <a:pt x="1671" y="6522"/>
                </a:lnTo>
                <a:close/>
                <a:moveTo>
                  <a:pt x="4853" y="7939"/>
                </a:moveTo>
                <a:lnTo>
                  <a:pt x="5798" y="8286"/>
                </a:lnTo>
                <a:lnTo>
                  <a:pt x="5798" y="9073"/>
                </a:lnTo>
                <a:lnTo>
                  <a:pt x="4317" y="8475"/>
                </a:lnTo>
                <a:lnTo>
                  <a:pt x="4853" y="7939"/>
                </a:lnTo>
                <a:close/>
                <a:moveTo>
                  <a:pt x="7404" y="7939"/>
                </a:moveTo>
                <a:lnTo>
                  <a:pt x="7972" y="8475"/>
                </a:lnTo>
                <a:lnTo>
                  <a:pt x="6491" y="9073"/>
                </a:lnTo>
                <a:lnTo>
                  <a:pt x="6491" y="8286"/>
                </a:lnTo>
                <a:lnTo>
                  <a:pt x="6459" y="8286"/>
                </a:lnTo>
                <a:lnTo>
                  <a:pt x="7404" y="7939"/>
                </a:lnTo>
                <a:close/>
                <a:moveTo>
                  <a:pt x="10649" y="6522"/>
                </a:moveTo>
                <a:lnTo>
                  <a:pt x="9578" y="9073"/>
                </a:lnTo>
                <a:lnTo>
                  <a:pt x="9043" y="8506"/>
                </a:lnTo>
                <a:lnTo>
                  <a:pt x="9862" y="6522"/>
                </a:lnTo>
                <a:close/>
                <a:moveTo>
                  <a:pt x="8476" y="8979"/>
                </a:moveTo>
                <a:lnTo>
                  <a:pt x="9043" y="9546"/>
                </a:lnTo>
                <a:lnTo>
                  <a:pt x="6459" y="10617"/>
                </a:lnTo>
                <a:lnTo>
                  <a:pt x="6459" y="9830"/>
                </a:lnTo>
                <a:lnTo>
                  <a:pt x="8476" y="8979"/>
                </a:lnTo>
                <a:close/>
                <a:moveTo>
                  <a:pt x="3750" y="9042"/>
                </a:moveTo>
                <a:lnTo>
                  <a:pt x="5766" y="9861"/>
                </a:lnTo>
                <a:lnTo>
                  <a:pt x="5766" y="10649"/>
                </a:lnTo>
                <a:lnTo>
                  <a:pt x="3214" y="9578"/>
                </a:lnTo>
                <a:lnTo>
                  <a:pt x="3750" y="9042"/>
                </a:lnTo>
                <a:close/>
                <a:moveTo>
                  <a:pt x="6113" y="0"/>
                </a:moveTo>
                <a:cubicBezTo>
                  <a:pt x="5924" y="0"/>
                  <a:pt x="5766" y="158"/>
                  <a:pt x="5766" y="347"/>
                </a:cubicBezTo>
                <a:lnTo>
                  <a:pt x="5766" y="882"/>
                </a:lnTo>
                <a:lnTo>
                  <a:pt x="2647" y="2142"/>
                </a:lnTo>
                <a:lnTo>
                  <a:pt x="2332" y="1827"/>
                </a:lnTo>
                <a:cubicBezTo>
                  <a:pt x="2253" y="1749"/>
                  <a:pt x="2167" y="1709"/>
                  <a:pt x="2080" y="1709"/>
                </a:cubicBezTo>
                <a:cubicBezTo>
                  <a:pt x="1994" y="1709"/>
                  <a:pt x="1907" y="1749"/>
                  <a:pt x="1828" y="1827"/>
                </a:cubicBezTo>
                <a:cubicBezTo>
                  <a:pt x="1671" y="1985"/>
                  <a:pt x="1671" y="2174"/>
                  <a:pt x="1828" y="2331"/>
                </a:cubicBezTo>
                <a:lnTo>
                  <a:pt x="2143" y="2647"/>
                </a:lnTo>
                <a:lnTo>
                  <a:pt x="883" y="5765"/>
                </a:lnTo>
                <a:lnTo>
                  <a:pt x="379" y="5765"/>
                </a:lnTo>
                <a:cubicBezTo>
                  <a:pt x="158" y="5765"/>
                  <a:pt x="1" y="5923"/>
                  <a:pt x="1" y="6112"/>
                </a:cubicBezTo>
                <a:cubicBezTo>
                  <a:pt x="1" y="6301"/>
                  <a:pt x="158" y="6459"/>
                  <a:pt x="379" y="6459"/>
                </a:cubicBezTo>
                <a:lnTo>
                  <a:pt x="883" y="6459"/>
                </a:lnTo>
                <a:lnTo>
                  <a:pt x="2143" y="9578"/>
                </a:lnTo>
                <a:lnTo>
                  <a:pt x="1828" y="9893"/>
                </a:lnTo>
                <a:cubicBezTo>
                  <a:pt x="1671" y="10050"/>
                  <a:pt x="1671" y="10239"/>
                  <a:pt x="1828" y="10397"/>
                </a:cubicBezTo>
                <a:cubicBezTo>
                  <a:pt x="1907" y="10475"/>
                  <a:pt x="1994" y="10515"/>
                  <a:pt x="2080" y="10515"/>
                </a:cubicBezTo>
                <a:cubicBezTo>
                  <a:pt x="2167" y="10515"/>
                  <a:pt x="2253" y="10475"/>
                  <a:pt x="2332" y="10397"/>
                </a:cubicBezTo>
                <a:lnTo>
                  <a:pt x="2647" y="10082"/>
                </a:lnTo>
                <a:lnTo>
                  <a:pt x="5766" y="11342"/>
                </a:lnTo>
                <a:lnTo>
                  <a:pt x="5766" y="11877"/>
                </a:lnTo>
                <a:cubicBezTo>
                  <a:pt x="5766" y="12066"/>
                  <a:pt x="5924" y="12224"/>
                  <a:pt x="6113" y="12224"/>
                </a:cubicBezTo>
                <a:cubicBezTo>
                  <a:pt x="6302" y="12224"/>
                  <a:pt x="6459" y="12066"/>
                  <a:pt x="6459" y="11877"/>
                </a:cubicBezTo>
                <a:lnTo>
                  <a:pt x="6459" y="11405"/>
                </a:lnTo>
                <a:lnTo>
                  <a:pt x="9578" y="10145"/>
                </a:lnTo>
                <a:lnTo>
                  <a:pt x="9893" y="10460"/>
                </a:lnTo>
                <a:cubicBezTo>
                  <a:pt x="9972" y="10538"/>
                  <a:pt x="10067" y="10578"/>
                  <a:pt x="10157" y="10578"/>
                </a:cubicBezTo>
                <a:cubicBezTo>
                  <a:pt x="10248" y="10578"/>
                  <a:pt x="10334" y="10538"/>
                  <a:pt x="10397" y="10460"/>
                </a:cubicBezTo>
                <a:cubicBezTo>
                  <a:pt x="10555" y="10302"/>
                  <a:pt x="10555" y="10082"/>
                  <a:pt x="10397" y="9924"/>
                </a:cubicBezTo>
                <a:lnTo>
                  <a:pt x="10082" y="9609"/>
                </a:lnTo>
                <a:lnTo>
                  <a:pt x="11343" y="6522"/>
                </a:lnTo>
                <a:lnTo>
                  <a:pt x="11878" y="6522"/>
                </a:lnTo>
                <a:cubicBezTo>
                  <a:pt x="12067" y="6522"/>
                  <a:pt x="12225" y="6364"/>
                  <a:pt x="12225" y="6144"/>
                </a:cubicBezTo>
                <a:cubicBezTo>
                  <a:pt x="12225" y="5955"/>
                  <a:pt x="12067" y="5765"/>
                  <a:pt x="11878" y="5765"/>
                </a:cubicBezTo>
                <a:lnTo>
                  <a:pt x="11343" y="5765"/>
                </a:lnTo>
                <a:lnTo>
                  <a:pt x="10082" y="2647"/>
                </a:lnTo>
                <a:lnTo>
                  <a:pt x="10397" y="2331"/>
                </a:lnTo>
                <a:cubicBezTo>
                  <a:pt x="10555" y="2174"/>
                  <a:pt x="10555" y="1985"/>
                  <a:pt x="10397" y="1827"/>
                </a:cubicBezTo>
                <a:cubicBezTo>
                  <a:pt x="10319" y="1749"/>
                  <a:pt x="10232" y="1709"/>
                  <a:pt x="10145" y="1709"/>
                </a:cubicBezTo>
                <a:cubicBezTo>
                  <a:pt x="10059" y="1709"/>
                  <a:pt x="9972" y="1749"/>
                  <a:pt x="9893" y="1827"/>
                </a:cubicBezTo>
                <a:lnTo>
                  <a:pt x="9578" y="2142"/>
                </a:lnTo>
                <a:lnTo>
                  <a:pt x="6459" y="882"/>
                </a:lnTo>
                <a:lnTo>
                  <a:pt x="6459" y="347"/>
                </a:lnTo>
                <a:cubicBezTo>
                  <a:pt x="6459" y="158"/>
                  <a:pt x="6302" y="0"/>
                  <a:pt x="61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80"/>
          <p:cNvSpPr/>
          <p:nvPr/>
        </p:nvSpPr>
        <p:spPr>
          <a:xfrm>
            <a:off x="6718741" y="3444898"/>
            <a:ext cx="391876" cy="474814"/>
          </a:xfrm>
          <a:custGeom>
            <a:avLst/>
            <a:gdLst/>
            <a:ahLst/>
            <a:cxnLst/>
            <a:rect l="l" t="t" r="r" b="b"/>
            <a:pathLst>
              <a:path w="10083" h="12217" extrusionOk="0">
                <a:moveTo>
                  <a:pt x="5356" y="1001"/>
                </a:moveTo>
                <a:cubicBezTo>
                  <a:pt x="5577" y="1316"/>
                  <a:pt x="5734" y="1694"/>
                  <a:pt x="5734" y="2104"/>
                </a:cubicBezTo>
                <a:cubicBezTo>
                  <a:pt x="5734" y="2135"/>
                  <a:pt x="5734" y="2198"/>
                  <a:pt x="5766" y="2261"/>
                </a:cubicBezTo>
                <a:cubicBezTo>
                  <a:pt x="5624" y="2230"/>
                  <a:pt x="5498" y="2214"/>
                  <a:pt x="5372" y="2214"/>
                </a:cubicBezTo>
                <a:cubicBezTo>
                  <a:pt x="5246" y="2214"/>
                  <a:pt x="5120" y="2230"/>
                  <a:pt x="4978" y="2261"/>
                </a:cubicBezTo>
                <a:cubicBezTo>
                  <a:pt x="5010" y="2198"/>
                  <a:pt x="5010" y="2135"/>
                  <a:pt x="5010" y="2104"/>
                </a:cubicBezTo>
                <a:cubicBezTo>
                  <a:pt x="5041" y="1663"/>
                  <a:pt x="5167" y="1316"/>
                  <a:pt x="5356" y="1001"/>
                </a:cubicBezTo>
                <a:close/>
                <a:moveTo>
                  <a:pt x="3529" y="1474"/>
                </a:moveTo>
                <a:cubicBezTo>
                  <a:pt x="3876" y="1631"/>
                  <a:pt x="4159" y="1883"/>
                  <a:pt x="4380" y="2261"/>
                </a:cubicBezTo>
                <a:lnTo>
                  <a:pt x="4506" y="2356"/>
                </a:lnTo>
                <a:cubicBezTo>
                  <a:pt x="4254" y="2450"/>
                  <a:pt x="4033" y="2608"/>
                  <a:pt x="3844" y="2765"/>
                </a:cubicBezTo>
                <a:cubicBezTo>
                  <a:pt x="3844" y="2734"/>
                  <a:pt x="3844" y="2639"/>
                  <a:pt x="3781" y="2608"/>
                </a:cubicBezTo>
                <a:cubicBezTo>
                  <a:pt x="3592" y="2261"/>
                  <a:pt x="3529" y="1852"/>
                  <a:pt x="3529" y="1474"/>
                </a:cubicBezTo>
                <a:close/>
                <a:moveTo>
                  <a:pt x="7247" y="1474"/>
                </a:moveTo>
                <a:lnTo>
                  <a:pt x="7247" y="1474"/>
                </a:lnTo>
                <a:cubicBezTo>
                  <a:pt x="7310" y="1852"/>
                  <a:pt x="7215" y="2261"/>
                  <a:pt x="7026" y="2608"/>
                </a:cubicBezTo>
                <a:cubicBezTo>
                  <a:pt x="6995" y="2639"/>
                  <a:pt x="6995" y="2734"/>
                  <a:pt x="6995" y="2765"/>
                </a:cubicBezTo>
                <a:cubicBezTo>
                  <a:pt x="6806" y="2608"/>
                  <a:pt x="6554" y="2450"/>
                  <a:pt x="6301" y="2356"/>
                </a:cubicBezTo>
                <a:cubicBezTo>
                  <a:pt x="6301" y="2324"/>
                  <a:pt x="6364" y="2293"/>
                  <a:pt x="6396" y="2261"/>
                </a:cubicBezTo>
                <a:cubicBezTo>
                  <a:pt x="6585" y="1883"/>
                  <a:pt x="6900" y="1663"/>
                  <a:pt x="7247" y="1474"/>
                </a:cubicBezTo>
                <a:close/>
                <a:moveTo>
                  <a:pt x="2143" y="2797"/>
                </a:moveTo>
                <a:cubicBezTo>
                  <a:pt x="2521" y="2797"/>
                  <a:pt x="2930" y="2891"/>
                  <a:pt x="3277" y="3080"/>
                </a:cubicBezTo>
                <a:cubicBezTo>
                  <a:pt x="3309" y="3112"/>
                  <a:pt x="3403" y="3112"/>
                  <a:pt x="3435" y="3112"/>
                </a:cubicBezTo>
                <a:cubicBezTo>
                  <a:pt x="3277" y="3301"/>
                  <a:pt x="3119" y="3553"/>
                  <a:pt x="3056" y="3773"/>
                </a:cubicBezTo>
                <a:lnTo>
                  <a:pt x="2930" y="3647"/>
                </a:lnTo>
                <a:cubicBezTo>
                  <a:pt x="2584" y="3458"/>
                  <a:pt x="2332" y="3143"/>
                  <a:pt x="2143" y="2797"/>
                </a:cubicBezTo>
                <a:close/>
                <a:moveTo>
                  <a:pt x="8487" y="2822"/>
                </a:moveTo>
                <a:cubicBezTo>
                  <a:pt x="8536" y="2822"/>
                  <a:pt x="8585" y="2824"/>
                  <a:pt x="8633" y="2828"/>
                </a:cubicBezTo>
                <a:cubicBezTo>
                  <a:pt x="8475" y="3206"/>
                  <a:pt x="8192" y="3458"/>
                  <a:pt x="7845" y="3710"/>
                </a:cubicBezTo>
                <a:lnTo>
                  <a:pt x="7719" y="3836"/>
                </a:lnTo>
                <a:cubicBezTo>
                  <a:pt x="7656" y="3584"/>
                  <a:pt x="7499" y="3364"/>
                  <a:pt x="7341" y="3143"/>
                </a:cubicBezTo>
                <a:cubicBezTo>
                  <a:pt x="7373" y="3112"/>
                  <a:pt x="7404" y="3112"/>
                  <a:pt x="7499" y="3080"/>
                </a:cubicBezTo>
                <a:cubicBezTo>
                  <a:pt x="7801" y="2915"/>
                  <a:pt x="8152" y="2822"/>
                  <a:pt x="8487" y="2822"/>
                </a:cubicBezTo>
                <a:close/>
                <a:moveTo>
                  <a:pt x="2930" y="4309"/>
                </a:moveTo>
                <a:lnTo>
                  <a:pt x="2930" y="4309"/>
                </a:lnTo>
                <a:cubicBezTo>
                  <a:pt x="2899" y="4561"/>
                  <a:pt x="2899" y="4813"/>
                  <a:pt x="2930" y="5097"/>
                </a:cubicBezTo>
                <a:cubicBezTo>
                  <a:pt x="2899" y="5034"/>
                  <a:pt x="2804" y="5034"/>
                  <a:pt x="2773" y="5034"/>
                </a:cubicBezTo>
                <a:cubicBezTo>
                  <a:pt x="2363" y="5034"/>
                  <a:pt x="1985" y="4939"/>
                  <a:pt x="1670" y="4687"/>
                </a:cubicBezTo>
                <a:cubicBezTo>
                  <a:pt x="1985" y="4498"/>
                  <a:pt x="2363" y="4341"/>
                  <a:pt x="2773" y="4341"/>
                </a:cubicBezTo>
                <a:cubicBezTo>
                  <a:pt x="2804" y="4341"/>
                  <a:pt x="2899" y="4341"/>
                  <a:pt x="2930" y="4309"/>
                </a:cubicBezTo>
                <a:close/>
                <a:moveTo>
                  <a:pt x="7845" y="4309"/>
                </a:moveTo>
                <a:cubicBezTo>
                  <a:pt x="7877" y="4341"/>
                  <a:pt x="7971" y="4341"/>
                  <a:pt x="8003" y="4341"/>
                </a:cubicBezTo>
                <a:cubicBezTo>
                  <a:pt x="8412" y="4372"/>
                  <a:pt x="8790" y="4498"/>
                  <a:pt x="9105" y="4687"/>
                </a:cubicBezTo>
                <a:cubicBezTo>
                  <a:pt x="8790" y="4876"/>
                  <a:pt x="8412" y="5034"/>
                  <a:pt x="8003" y="5034"/>
                </a:cubicBezTo>
                <a:cubicBezTo>
                  <a:pt x="7971" y="5034"/>
                  <a:pt x="7877" y="5034"/>
                  <a:pt x="7845" y="5097"/>
                </a:cubicBezTo>
                <a:cubicBezTo>
                  <a:pt x="7877" y="4813"/>
                  <a:pt x="7877" y="4561"/>
                  <a:pt x="7845" y="4309"/>
                </a:cubicBezTo>
                <a:close/>
                <a:moveTo>
                  <a:pt x="5356" y="2923"/>
                </a:moveTo>
                <a:cubicBezTo>
                  <a:pt x="6364" y="2923"/>
                  <a:pt x="7152" y="3710"/>
                  <a:pt x="7152" y="4687"/>
                </a:cubicBezTo>
                <a:cubicBezTo>
                  <a:pt x="7152" y="5664"/>
                  <a:pt x="6364" y="6451"/>
                  <a:pt x="5356" y="6451"/>
                </a:cubicBezTo>
                <a:cubicBezTo>
                  <a:pt x="4380" y="6451"/>
                  <a:pt x="3592" y="5664"/>
                  <a:pt x="3592" y="4687"/>
                </a:cubicBezTo>
                <a:cubicBezTo>
                  <a:pt x="3592" y="3710"/>
                  <a:pt x="4380" y="2923"/>
                  <a:pt x="5356" y="2923"/>
                </a:cubicBezTo>
                <a:close/>
                <a:moveTo>
                  <a:pt x="3056" y="5601"/>
                </a:moveTo>
                <a:cubicBezTo>
                  <a:pt x="3119" y="5821"/>
                  <a:pt x="3277" y="6073"/>
                  <a:pt x="3435" y="6262"/>
                </a:cubicBezTo>
                <a:cubicBezTo>
                  <a:pt x="3403" y="6262"/>
                  <a:pt x="3309" y="6262"/>
                  <a:pt x="3277" y="6294"/>
                </a:cubicBezTo>
                <a:cubicBezTo>
                  <a:pt x="2985" y="6479"/>
                  <a:pt x="2649" y="6554"/>
                  <a:pt x="2324" y="6554"/>
                </a:cubicBezTo>
                <a:cubicBezTo>
                  <a:pt x="2263" y="6554"/>
                  <a:pt x="2203" y="6551"/>
                  <a:pt x="2143" y="6546"/>
                </a:cubicBezTo>
                <a:cubicBezTo>
                  <a:pt x="2300" y="6199"/>
                  <a:pt x="2584" y="5916"/>
                  <a:pt x="2930" y="5664"/>
                </a:cubicBezTo>
                <a:cubicBezTo>
                  <a:pt x="2962" y="5664"/>
                  <a:pt x="2993" y="5632"/>
                  <a:pt x="3056" y="5601"/>
                </a:cubicBezTo>
                <a:close/>
                <a:moveTo>
                  <a:pt x="7719" y="5601"/>
                </a:moveTo>
                <a:lnTo>
                  <a:pt x="7845" y="5727"/>
                </a:lnTo>
                <a:cubicBezTo>
                  <a:pt x="8192" y="5916"/>
                  <a:pt x="8444" y="6231"/>
                  <a:pt x="8633" y="6577"/>
                </a:cubicBezTo>
                <a:cubicBezTo>
                  <a:pt x="8571" y="6583"/>
                  <a:pt x="8509" y="6585"/>
                  <a:pt x="8447" y="6585"/>
                </a:cubicBezTo>
                <a:cubicBezTo>
                  <a:pt x="8124" y="6585"/>
                  <a:pt x="7789" y="6515"/>
                  <a:pt x="7499" y="6357"/>
                </a:cubicBezTo>
                <a:cubicBezTo>
                  <a:pt x="7467" y="6294"/>
                  <a:pt x="7373" y="6294"/>
                  <a:pt x="7341" y="6294"/>
                </a:cubicBezTo>
                <a:cubicBezTo>
                  <a:pt x="7499" y="6073"/>
                  <a:pt x="7625" y="5821"/>
                  <a:pt x="7719" y="5601"/>
                </a:cubicBezTo>
                <a:close/>
                <a:moveTo>
                  <a:pt x="3781" y="6609"/>
                </a:moveTo>
                <a:cubicBezTo>
                  <a:pt x="4002" y="6766"/>
                  <a:pt x="4222" y="6924"/>
                  <a:pt x="4474" y="7018"/>
                </a:cubicBezTo>
                <a:lnTo>
                  <a:pt x="4348" y="7144"/>
                </a:lnTo>
                <a:cubicBezTo>
                  <a:pt x="4159" y="7491"/>
                  <a:pt x="3844" y="7712"/>
                  <a:pt x="3466" y="7932"/>
                </a:cubicBezTo>
                <a:cubicBezTo>
                  <a:pt x="3529" y="7523"/>
                  <a:pt x="3592" y="7144"/>
                  <a:pt x="3750" y="6766"/>
                </a:cubicBezTo>
                <a:cubicBezTo>
                  <a:pt x="3781" y="6735"/>
                  <a:pt x="3781" y="6672"/>
                  <a:pt x="3781" y="6609"/>
                </a:cubicBezTo>
                <a:close/>
                <a:moveTo>
                  <a:pt x="6932" y="6609"/>
                </a:moveTo>
                <a:cubicBezTo>
                  <a:pt x="6932" y="6672"/>
                  <a:pt x="6932" y="6735"/>
                  <a:pt x="6995" y="6766"/>
                </a:cubicBezTo>
                <a:cubicBezTo>
                  <a:pt x="7184" y="7144"/>
                  <a:pt x="7247" y="7523"/>
                  <a:pt x="7215" y="7932"/>
                </a:cubicBezTo>
                <a:cubicBezTo>
                  <a:pt x="6869" y="7775"/>
                  <a:pt x="6585" y="7491"/>
                  <a:pt x="6364" y="7144"/>
                </a:cubicBezTo>
                <a:lnTo>
                  <a:pt x="6238" y="7018"/>
                </a:lnTo>
                <a:cubicBezTo>
                  <a:pt x="6522" y="6924"/>
                  <a:pt x="6743" y="6829"/>
                  <a:pt x="6932" y="6609"/>
                </a:cubicBezTo>
                <a:close/>
                <a:moveTo>
                  <a:pt x="5766" y="7176"/>
                </a:moveTo>
                <a:cubicBezTo>
                  <a:pt x="5766" y="7207"/>
                  <a:pt x="5734" y="7239"/>
                  <a:pt x="5734" y="7334"/>
                </a:cubicBezTo>
                <a:cubicBezTo>
                  <a:pt x="5734" y="7712"/>
                  <a:pt x="5608" y="8121"/>
                  <a:pt x="5356" y="8436"/>
                </a:cubicBezTo>
                <a:cubicBezTo>
                  <a:pt x="5167" y="8121"/>
                  <a:pt x="5010" y="7712"/>
                  <a:pt x="5010" y="7334"/>
                </a:cubicBezTo>
                <a:cubicBezTo>
                  <a:pt x="5010" y="7302"/>
                  <a:pt x="5010" y="7207"/>
                  <a:pt x="4978" y="7176"/>
                </a:cubicBezTo>
                <a:lnTo>
                  <a:pt x="4978" y="7176"/>
                </a:lnTo>
                <a:cubicBezTo>
                  <a:pt x="5120" y="7192"/>
                  <a:pt x="5246" y="7200"/>
                  <a:pt x="5372" y="7200"/>
                </a:cubicBezTo>
                <a:cubicBezTo>
                  <a:pt x="5498" y="7200"/>
                  <a:pt x="5624" y="7192"/>
                  <a:pt x="5766" y="7176"/>
                </a:cubicBezTo>
                <a:close/>
                <a:moveTo>
                  <a:pt x="7971" y="7460"/>
                </a:moveTo>
                <a:cubicBezTo>
                  <a:pt x="8790" y="7869"/>
                  <a:pt x="9357" y="8751"/>
                  <a:pt x="9357" y="9728"/>
                </a:cubicBezTo>
                <a:lnTo>
                  <a:pt x="9357" y="10295"/>
                </a:lnTo>
                <a:lnTo>
                  <a:pt x="8538" y="9444"/>
                </a:lnTo>
                <a:cubicBezTo>
                  <a:pt x="8460" y="9366"/>
                  <a:pt x="8365" y="9326"/>
                  <a:pt x="8271" y="9326"/>
                </a:cubicBezTo>
                <a:cubicBezTo>
                  <a:pt x="8176" y="9326"/>
                  <a:pt x="8082" y="9366"/>
                  <a:pt x="8003" y="9444"/>
                </a:cubicBezTo>
                <a:cubicBezTo>
                  <a:pt x="7845" y="9602"/>
                  <a:pt x="7845" y="9822"/>
                  <a:pt x="8003" y="9980"/>
                </a:cubicBezTo>
                <a:lnTo>
                  <a:pt x="8853" y="10799"/>
                </a:lnTo>
                <a:lnTo>
                  <a:pt x="8286" y="10799"/>
                </a:lnTo>
                <a:cubicBezTo>
                  <a:pt x="7152" y="10799"/>
                  <a:pt x="6144" y="10043"/>
                  <a:pt x="5829" y="8972"/>
                </a:cubicBezTo>
                <a:cubicBezTo>
                  <a:pt x="6049" y="8751"/>
                  <a:pt x="6207" y="8436"/>
                  <a:pt x="6301" y="8121"/>
                </a:cubicBezTo>
                <a:cubicBezTo>
                  <a:pt x="6617" y="8405"/>
                  <a:pt x="7026" y="8625"/>
                  <a:pt x="7467" y="8720"/>
                </a:cubicBezTo>
                <a:cubicBezTo>
                  <a:pt x="7487" y="8723"/>
                  <a:pt x="7507" y="8725"/>
                  <a:pt x="7526" y="8725"/>
                </a:cubicBezTo>
                <a:cubicBezTo>
                  <a:pt x="7694" y="8725"/>
                  <a:pt x="7849" y="8609"/>
                  <a:pt x="7877" y="8468"/>
                </a:cubicBezTo>
                <a:cubicBezTo>
                  <a:pt x="7971" y="8121"/>
                  <a:pt x="8003" y="7806"/>
                  <a:pt x="7971" y="7460"/>
                </a:cubicBezTo>
                <a:close/>
                <a:moveTo>
                  <a:pt x="2836" y="7365"/>
                </a:moveTo>
                <a:cubicBezTo>
                  <a:pt x="2804" y="7712"/>
                  <a:pt x="2804" y="8121"/>
                  <a:pt x="2930" y="8468"/>
                </a:cubicBezTo>
                <a:cubicBezTo>
                  <a:pt x="2956" y="8623"/>
                  <a:pt x="3089" y="8736"/>
                  <a:pt x="3258" y="8736"/>
                </a:cubicBezTo>
                <a:cubicBezTo>
                  <a:pt x="3294" y="8736"/>
                  <a:pt x="3332" y="8731"/>
                  <a:pt x="3372" y="8720"/>
                </a:cubicBezTo>
                <a:cubicBezTo>
                  <a:pt x="3781" y="8594"/>
                  <a:pt x="4159" y="8373"/>
                  <a:pt x="4506" y="8121"/>
                </a:cubicBezTo>
                <a:cubicBezTo>
                  <a:pt x="4632" y="8436"/>
                  <a:pt x="4789" y="8751"/>
                  <a:pt x="4978" y="8972"/>
                </a:cubicBezTo>
                <a:cubicBezTo>
                  <a:pt x="4569" y="10452"/>
                  <a:pt x="3277" y="11492"/>
                  <a:pt x="1828" y="11492"/>
                </a:cubicBezTo>
                <a:lnTo>
                  <a:pt x="1261" y="11492"/>
                </a:lnTo>
                <a:lnTo>
                  <a:pt x="2804" y="9980"/>
                </a:lnTo>
                <a:cubicBezTo>
                  <a:pt x="2962" y="9822"/>
                  <a:pt x="2962" y="9602"/>
                  <a:pt x="2804" y="9444"/>
                </a:cubicBezTo>
                <a:cubicBezTo>
                  <a:pt x="2726" y="9366"/>
                  <a:pt x="2639" y="9326"/>
                  <a:pt x="2552" y="9326"/>
                </a:cubicBezTo>
                <a:cubicBezTo>
                  <a:pt x="2466" y="9326"/>
                  <a:pt x="2379" y="9366"/>
                  <a:pt x="2300" y="9444"/>
                </a:cubicBezTo>
                <a:lnTo>
                  <a:pt x="757" y="10988"/>
                </a:lnTo>
                <a:lnTo>
                  <a:pt x="757" y="10452"/>
                </a:lnTo>
                <a:cubicBezTo>
                  <a:pt x="757" y="9066"/>
                  <a:pt x="1639" y="7838"/>
                  <a:pt x="2836" y="7365"/>
                </a:cubicBezTo>
                <a:close/>
                <a:moveTo>
                  <a:pt x="5388" y="1"/>
                </a:moveTo>
                <a:cubicBezTo>
                  <a:pt x="5301" y="1"/>
                  <a:pt x="5215" y="40"/>
                  <a:pt x="5136" y="119"/>
                </a:cubicBezTo>
                <a:cubicBezTo>
                  <a:pt x="4821" y="434"/>
                  <a:pt x="4569" y="781"/>
                  <a:pt x="4474" y="1222"/>
                </a:cubicBezTo>
                <a:cubicBezTo>
                  <a:pt x="4159" y="938"/>
                  <a:pt x="3750" y="718"/>
                  <a:pt x="3309" y="623"/>
                </a:cubicBezTo>
                <a:cubicBezTo>
                  <a:pt x="3289" y="620"/>
                  <a:pt x="3269" y="618"/>
                  <a:pt x="3250" y="618"/>
                </a:cubicBezTo>
                <a:cubicBezTo>
                  <a:pt x="3082" y="618"/>
                  <a:pt x="2927" y="734"/>
                  <a:pt x="2899" y="875"/>
                </a:cubicBezTo>
                <a:cubicBezTo>
                  <a:pt x="2773" y="1316"/>
                  <a:pt x="2773" y="1726"/>
                  <a:pt x="2836" y="2135"/>
                </a:cubicBezTo>
                <a:cubicBezTo>
                  <a:pt x="2646" y="2091"/>
                  <a:pt x="2449" y="2068"/>
                  <a:pt x="2252" y="2068"/>
                </a:cubicBezTo>
                <a:cubicBezTo>
                  <a:pt x="2024" y="2068"/>
                  <a:pt x="1795" y="2099"/>
                  <a:pt x="1576" y="2167"/>
                </a:cubicBezTo>
                <a:cubicBezTo>
                  <a:pt x="1513" y="2198"/>
                  <a:pt x="1418" y="2261"/>
                  <a:pt x="1387" y="2324"/>
                </a:cubicBezTo>
                <a:cubicBezTo>
                  <a:pt x="1355" y="2419"/>
                  <a:pt x="1324" y="2513"/>
                  <a:pt x="1355" y="2608"/>
                </a:cubicBezTo>
                <a:cubicBezTo>
                  <a:pt x="1481" y="3049"/>
                  <a:pt x="1670" y="3395"/>
                  <a:pt x="1954" y="3742"/>
                </a:cubicBezTo>
                <a:cubicBezTo>
                  <a:pt x="1544" y="3868"/>
                  <a:pt x="1166" y="4089"/>
                  <a:pt x="851" y="4404"/>
                </a:cubicBezTo>
                <a:cubicBezTo>
                  <a:pt x="694" y="4561"/>
                  <a:pt x="694" y="4782"/>
                  <a:pt x="851" y="4939"/>
                </a:cubicBezTo>
                <a:cubicBezTo>
                  <a:pt x="1166" y="5254"/>
                  <a:pt x="1513" y="5475"/>
                  <a:pt x="1954" y="5601"/>
                </a:cubicBezTo>
                <a:cubicBezTo>
                  <a:pt x="1670" y="5916"/>
                  <a:pt x="1418" y="6294"/>
                  <a:pt x="1355" y="6735"/>
                </a:cubicBezTo>
                <a:cubicBezTo>
                  <a:pt x="1324" y="6924"/>
                  <a:pt x="1418" y="7144"/>
                  <a:pt x="1576" y="7176"/>
                </a:cubicBezTo>
                <a:cubicBezTo>
                  <a:pt x="1639" y="7176"/>
                  <a:pt x="1670" y="7176"/>
                  <a:pt x="1702" y="7207"/>
                </a:cubicBezTo>
                <a:cubicBezTo>
                  <a:pt x="1418" y="7397"/>
                  <a:pt x="1198" y="7649"/>
                  <a:pt x="946" y="7869"/>
                </a:cubicBezTo>
                <a:cubicBezTo>
                  <a:pt x="379" y="8594"/>
                  <a:pt x="0" y="9507"/>
                  <a:pt x="0" y="10452"/>
                </a:cubicBezTo>
                <a:lnTo>
                  <a:pt x="0" y="11870"/>
                </a:lnTo>
                <a:cubicBezTo>
                  <a:pt x="0" y="12028"/>
                  <a:pt x="127" y="12185"/>
                  <a:pt x="284" y="12217"/>
                </a:cubicBezTo>
                <a:lnTo>
                  <a:pt x="1733" y="12217"/>
                </a:lnTo>
                <a:cubicBezTo>
                  <a:pt x="2647" y="12217"/>
                  <a:pt x="3561" y="11870"/>
                  <a:pt x="4254" y="11272"/>
                </a:cubicBezTo>
                <a:cubicBezTo>
                  <a:pt x="4726" y="10862"/>
                  <a:pt x="5104" y="10358"/>
                  <a:pt x="5325" y="9822"/>
                </a:cubicBezTo>
                <a:cubicBezTo>
                  <a:pt x="5892" y="10831"/>
                  <a:pt x="6995" y="11492"/>
                  <a:pt x="8129" y="11492"/>
                </a:cubicBezTo>
                <a:lnTo>
                  <a:pt x="9546" y="11492"/>
                </a:lnTo>
                <a:cubicBezTo>
                  <a:pt x="9862" y="11492"/>
                  <a:pt x="10019" y="11335"/>
                  <a:pt x="10019" y="11146"/>
                </a:cubicBezTo>
                <a:lnTo>
                  <a:pt x="10019" y="9728"/>
                </a:lnTo>
                <a:cubicBezTo>
                  <a:pt x="10019" y="8751"/>
                  <a:pt x="9578" y="7838"/>
                  <a:pt x="8885" y="7239"/>
                </a:cubicBezTo>
                <a:cubicBezTo>
                  <a:pt x="8979" y="7239"/>
                  <a:pt x="9074" y="7207"/>
                  <a:pt x="9200" y="7176"/>
                </a:cubicBezTo>
                <a:cubicBezTo>
                  <a:pt x="9389" y="7144"/>
                  <a:pt x="9515" y="6924"/>
                  <a:pt x="9420" y="6735"/>
                </a:cubicBezTo>
                <a:cubicBezTo>
                  <a:pt x="9294" y="6294"/>
                  <a:pt x="9105" y="5947"/>
                  <a:pt x="8822" y="5601"/>
                </a:cubicBezTo>
                <a:cubicBezTo>
                  <a:pt x="9231" y="5475"/>
                  <a:pt x="9610" y="5254"/>
                  <a:pt x="9925" y="4939"/>
                </a:cubicBezTo>
                <a:cubicBezTo>
                  <a:pt x="10082" y="4782"/>
                  <a:pt x="10082" y="4561"/>
                  <a:pt x="9925" y="4404"/>
                </a:cubicBezTo>
                <a:cubicBezTo>
                  <a:pt x="9610" y="4089"/>
                  <a:pt x="9263" y="3868"/>
                  <a:pt x="8822" y="3742"/>
                </a:cubicBezTo>
                <a:cubicBezTo>
                  <a:pt x="9105" y="3427"/>
                  <a:pt x="9357" y="3049"/>
                  <a:pt x="9420" y="2608"/>
                </a:cubicBezTo>
                <a:cubicBezTo>
                  <a:pt x="9452" y="2419"/>
                  <a:pt x="9357" y="2198"/>
                  <a:pt x="9200" y="2167"/>
                </a:cubicBezTo>
                <a:cubicBezTo>
                  <a:pt x="8964" y="2099"/>
                  <a:pt x="8727" y="2068"/>
                  <a:pt x="8501" y="2068"/>
                </a:cubicBezTo>
                <a:cubicBezTo>
                  <a:pt x="8304" y="2068"/>
                  <a:pt x="8115" y="2091"/>
                  <a:pt x="7940" y="2135"/>
                </a:cubicBezTo>
                <a:cubicBezTo>
                  <a:pt x="8003" y="1694"/>
                  <a:pt x="8003" y="1253"/>
                  <a:pt x="7877" y="875"/>
                </a:cubicBezTo>
                <a:cubicBezTo>
                  <a:pt x="7851" y="719"/>
                  <a:pt x="7718" y="607"/>
                  <a:pt x="7567" y="607"/>
                </a:cubicBezTo>
                <a:cubicBezTo>
                  <a:pt x="7534" y="607"/>
                  <a:pt x="7501" y="612"/>
                  <a:pt x="7467" y="623"/>
                </a:cubicBezTo>
                <a:cubicBezTo>
                  <a:pt x="7026" y="749"/>
                  <a:pt x="6680" y="938"/>
                  <a:pt x="6301" y="1222"/>
                </a:cubicBezTo>
                <a:cubicBezTo>
                  <a:pt x="6207" y="844"/>
                  <a:pt x="5955" y="434"/>
                  <a:pt x="5640" y="119"/>
                </a:cubicBezTo>
                <a:cubicBezTo>
                  <a:pt x="5561" y="40"/>
                  <a:pt x="5474"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80"/>
          <p:cNvSpPr/>
          <p:nvPr/>
        </p:nvSpPr>
        <p:spPr>
          <a:xfrm>
            <a:off x="5513765" y="3446880"/>
            <a:ext cx="475086" cy="470849"/>
          </a:xfrm>
          <a:custGeom>
            <a:avLst/>
            <a:gdLst/>
            <a:ahLst/>
            <a:cxnLst/>
            <a:rect l="l" t="t" r="r" b="b"/>
            <a:pathLst>
              <a:path w="12224" h="12115" extrusionOk="0">
                <a:moveTo>
                  <a:pt x="3245" y="741"/>
                </a:moveTo>
                <a:cubicBezTo>
                  <a:pt x="3497" y="993"/>
                  <a:pt x="3938" y="1465"/>
                  <a:pt x="3938" y="2033"/>
                </a:cubicBezTo>
                <a:cubicBezTo>
                  <a:pt x="3938" y="2568"/>
                  <a:pt x="3497" y="3104"/>
                  <a:pt x="3245" y="3324"/>
                </a:cubicBezTo>
                <a:cubicBezTo>
                  <a:pt x="2962" y="3041"/>
                  <a:pt x="2520" y="2568"/>
                  <a:pt x="2520" y="2033"/>
                </a:cubicBezTo>
                <a:cubicBezTo>
                  <a:pt x="2520" y="1528"/>
                  <a:pt x="2962" y="993"/>
                  <a:pt x="3245" y="741"/>
                </a:cubicBezTo>
                <a:close/>
                <a:moveTo>
                  <a:pt x="8979" y="741"/>
                </a:moveTo>
                <a:cubicBezTo>
                  <a:pt x="9263" y="993"/>
                  <a:pt x="9704" y="1465"/>
                  <a:pt x="9704" y="2033"/>
                </a:cubicBezTo>
                <a:cubicBezTo>
                  <a:pt x="9704" y="2568"/>
                  <a:pt x="9263" y="3104"/>
                  <a:pt x="8979" y="3324"/>
                </a:cubicBezTo>
                <a:cubicBezTo>
                  <a:pt x="8695" y="3041"/>
                  <a:pt x="8286" y="2568"/>
                  <a:pt x="8286" y="2033"/>
                </a:cubicBezTo>
                <a:cubicBezTo>
                  <a:pt x="8286" y="1528"/>
                  <a:pt x="8758" y="993"/>
                  <a:pt x="8979" y="741"/>
                </a:cubicBezTo>
                <a:close/>
                <a:moveTo>
                  <a:pt x="1827" y="3482"/>
                </a:moveTo>
                <a:cubicBezTo>
                  <a:pt x="2394" y="3482"/>
                  <a:pt x="2899" y="3954"/>
                  <a:pt x="2899" y="4553"/>
                </a:cubicBezTo>
                <a:lnTo>
                  <a:pt x="2899" y="4899"/>
                </a:lnTo>
                <a:lnTo>
                  <a:pt x="2520" y="4899"/>
                </a:lnTo>
                <a:cubicBezTo>
                  <a:pt x="1922" y="4899"/>
                  <a:pt x="1449" y="4427"/>
                  <a:pt x="1449" y="3828"/>
                </a:cubicBezTo>
                <a:lnTo>
                  <a:pt x="1449" y="3482"/>
                </a:lnTo>
                <a:close/>
                <a:moveTo>
                  <a:pt x="5041" y="3482"/>
                </a:moveTo>
                <a:lnTo>
                  <a:pt x="5041" y="3828"/>
                </a:lnTo>
                <a:cubicBezTo>
                  <a:pt x="5041" y="4427"/>
                  <a:pt x="4568" y="4899"/>
                  <a:pt x="3970" y="4899"/>
                </a:cubicBezTo>
                <a:lnTo>
                  <a:pt x="3623" y="4899"/>
                </a:lnTo>
                <a:lnTo>
                  <a:pt x="3623" y="4553"/>
                </a:lnTo>
                <a:cubicBezTo>
                  <a:pt x="3623" y="3954"/>
                  <a:pt x="4096" y="3482"/>
                  <a:pt x="4694" y="3482"/>
                </a:cubicBezTo>
                <a:close/>
                <a:moveTo>
                  <a:pt x="7561" y="3482"/>
                </a:moveTo>
                <a:cubicBezTo>
                  <a:pt x="8160" y="3482"/>
                  <a:pt x="8632" y="3954"/>
                  <a:pt x="8632" y="4553"/>
                </a:cubicBezTo>
                <a:lnTo>
                  <a:pt x="8632" y="4899"/>
                </a:lnTo>
                <a:lnTo>
                  <a:pt x="8286" y="4899"/>
                </a:lnTo>
                <a:cubicBezTo>
                  <a:pt x="7687" y="4899"/>
                  <a:pt x="7215" y="4427"/>
                  <a:pt x="7215" y="3828"/>
                </a:cubicBezTo>
                <a:lnTo>
                  <a:pt x="7215" y="3482"/>
                </a:lnTo>
                <a:close/>
                <a:moveTo>
                  <a:pt x="10806" y="3482"/>
                </a:moveTo>
                <a:lnTo>
                  <a:pt x="10806" y="3828"/>
                </a:lnTo>
                <a:cubicBezTo>
                  <a:pt x="10806" y="4427"/>
                  <a:pt x="10334" y="4899"/>
                  <a:pt x="9735" y="4899"/>
                </a:cubicBezTo>
                <a:lnTo>
                  <a:pt x="9389" y="4899"/>
                </a:lnTo>
                <a:lnTo>
                  <a:pt x="9389" y="4553"/>
                </a:lnTo>
                <a:cubicBezTo>
                  <a:pt x="9389" y="3954"/>
                  <a:pt x="9861" y="3482"/>
                  <a:pt x="10428" y="3482"/>
                </a:cubicBezTo>
                <a:close/>
                <a:moveTo>
                  <a:pt x="1827" y="5624"/>
                </a:moveTo>
                <a:cubicBezTo>
                  <a:pt x="2394" y="5624"/>
                  <a:pt x="2899" y="6065"/>
                  <a:pt x="2899" y="6664"/>
                </a:cubicBezTo>
                <a:lnTo>
                  <a:pt x="2899" y="7042"/>
                </a:lnTo>
                <a:lnTo>
                  <a:pt x="2520" y="7042"/>
                </a:lnTo>
                <a:cubicBezTo>
                  <a:pt x="1922" y="7042"/>
                  <a:pt x="1449" y="6569"/>
                  <a:pt x="1449" y="5971"/>
                </a:cubicBezTo>
                <a:lnTo>
                  <a:pt x="1449" y="5624"/>
                </a:lnTo>
                <a:close/>
                <a:moveTo>
                  <a:pt x="7561" y="5624"/>
                </a:moveTo>
                <a:cubicBezTo>
                  <a:pt x="8160" y="5624"/>
                  <a:pt x="8632" y="6065"/>
                  <a:pt x="8632" y="6664"/>
                </a:cubicBezTo>
                <a:lnTo>
                  <a:pt x="8632" y="7042"/>
                </a:lnTo>
                <a:lnTo>
                  <a:pt x="8286" y="7042"/>
                </a:lnTo>
                <a:cubicBezTo>
                  <a:pt x="7687" y="7042"/>
                  <a:pt x="7215" y="6569"/>
                  <a:pt x="7215" y="5971"/>
                </a:cubicBezTo>
                <a:lnTo>
                  <a:pt x="7215" y="5624"/>
                </a:lnTo>
                <a:close/>
                <a:moveTo>
                  <a:pt x="5009" y="5656"/>
                </a:moveTo>
                <a:lnTo>
                  <a:pt x="5009" y="6002"/>
                </a:lnTo>
                <a:cubicBezTo>
                  <a:pt x="5009" y="6601"/>
                  <a:pt x="4537" y="7073"/>
                  <a:pt x="3938" y="7073"/>
                </a:cubicBezTo>
                <a:lnTo>
                  <a:pt x="3592" y="7073"/>
                </a:lnTo>
                <a:lnTo>
                  <a:pt x="3592" y="6727"/>
                </a:lnTo>
                <a:cubicBezTo>
                  <a:pt x="3592" y="6128"/>
                  <a:pt x="4064" y="5656"/>
                  <a:pt x="4663" y="5656"/>
                </a:cubicBezTo>
                <a:close/>
                <a:moveTo>
                  <a:pt x="10806" y="5656"/>
                </a:moveTo>
                <a:lnTo>
                  <a:pt x="10806" y="6002"/>
                </a:lnTo>
                <a:cubicBezTo>
                  <a:pt x="10806" y="6601"/>
                  <a:pt x="10334" y="7073"/>
                  <a:pt x="9735" y="7073"/>
                </a:cubicBezTo>
                <a:lnTo>
                  <a:pt x="9389" y="7073"/>
                </a:lnTo>
                <a:lnTo>
                  <a:pt x="9389" y="6727"/>
                </a:lnTo>
                <a:cubicBezTo>
                  <a:pt x="9389" y="6128"/>
                  <a:pt x="9861" y="5656"/>
                  <a:pt x="10428" y="5656"/>
                </a:cubicBezTo>
                <a:close/>
                <a:moveTo>
                  <a:pt x="1827" y="7766"/>
                </a:moveTo>
                <a:cubicBezTo>
                  <a:pt x="2394" y="7766"/>
                  <a:pt x="2899" y="8239"/>
                  <a:pt x="2899" y="8838"/>
                </a:cubicBezTo>
                <a:lnTo>
                  <a:pt x="2899" y="9184"/>
                </a:lnTo>
                <a:lnTo>
                  <a:pt x="2520" y="9184"/>
                </a:lnTo>
                <a:cubicBezTo>
                  <a:pt x="1922" y="9184"/>
                  <a:pt x="1449" y="8712"/>
                  <a:pt x="1449" y="8144"/>
                </a:cubicBezTo>
                <a:lnTo>
                  <a:pt x="1449" y="7766"/>
                </a:lnTo>
                <a:close/>
                <a:moveTo>
                  <a:pt x="5041" y="7766"/>
                </a:moveTo>
                <a:lnTo>
                  <a:pt x="5041" y="8144"/>
                </a:lnTo>
                <a:cubicBezTo>
                  <a:pt x="5041" y="8712"/>
                  <a:pt x="4568" y="9184"/>
                  <a:pt x="3970" y="9184"/>
                </a:cubicBezTo>
                <a:lnTo>
                  <a:pt x="3623" y="9184"/>
                </a:lnTo>
                <a:lnTo>
                  <a:pt x="3623" y="8838"/>
                </a:lnTo>
                <a:cubicBezTo>
                  <a:pt x="3623" y="8239"/>
                  <a:pt x="4096" y="7766"/>
                  <a:pt x="4694" y="7766"/>
                </a:cubicBezTo>
                <a:close/>
                <a:moveTo>
                  <a:pt x="7561" y="7766"/>
                </a:moveTo>
                <a:cubicBezTo>
                  <a:pt x="8160" y="7766"/>
                  <a:pt x="8632" y="8239"/>
                  <a:pt x="8632" y="8838"/>
                </a:cubicBezTo>
                <a:lnTo>
                  <a:pt x="8632" y="9184"/>
                </a:lnTo>
                <a:lnTo>
                  <a:pt x="8286" y="9184"/>
                </a:lnTo>
                <a:cubicBezTo>
                  <a:pt x="7687" y="9184"/>
                  <a:pt x="7215" y="8712"/>
                  <a:pt x="7215" y="8144"/>
                </a:cubicBezTo>
                <a:lnTo>
                  <a:pt x="7215" y="7766"/>
                </a:lnTo>
                <a:close/>
                <a:moveTo>
                  <a:pt x="10806" y="7766"/>
                </a:moveTo>
                <a:lnTo>
                  <a:pt x="10806" y="8144"/>
                </a:lnTo>
                <a:cubicBezTo>
                  <a:pt x="10806" y="8712"/>
                  <a:pt x="10334" y="9184"/>
                  <a:pt x="9735" y="9184"/>
                </a:cubicBezTo>
                <a:lnTo>
                  <a:pt x="9389" y="9184"/>
                </a:lnTo>
                <a:lnTo>
                  <a:pt x="9389" y="8838"/>
                </a:lnTo>
                <a:cubicBezTo>
                  <a:pt x="9389" y="8239"/>
                  <a:pt x="9861" y="7766"/>
                  <a:pt x="10428" y="7766"/>
                </a:cubicBezTo>
                <a:close/>
                <a:moveTo>
                  <a:pt x="3214" y="0"/>
                </a:moveTo>
                <a:cubicBezTo>
                  <a:pt x="3135" y="0"/>
                  <a:pt x="3056" y="16"/>
                  <a:pt x="2993" y="48"/>
                </a:cubicBezTo>
                <a:cubicBezTo>
                  <a:pt x="2962" y="79"/>
                  <a:pt x="1796" y="961"/>
                  <a:pt x="1796" y="2127"/>
                </a:cubicBezTo>
                <a:cubicBezTo>
                  <a:pt x="1796" y="2379"/>
                  <a:pt x="1827" y="2663"/>
                  <a:pt x="1953" y="2852"/>
                </a:cubicBezTo>
                <a:lnTo>
                  <a:pt x="1071" y="2852"/>
                </a:lnTo>
                <a:cubicBezTo>
                  <a:pt x="882" y="2852"/>
                  <a:pt x="725" y="3009"/>
                  <a:pt x="725" y="3198"/>
                </a:cubicBezTo>
                <a:lnTo>
                  <a:pt x="725" y="3923"/>
                </a:lnTo>
                <a:cubicBezTo>
                  <a:pt x="725" y="4301"/>
                  <a:pt x="851" y="4710"/>
                  <a:pt x="1071" y="4994"/>
                </a:cubicBezTo>
                <a:cubicBezTo>
                  <a:pt x="882" y="4994"/>
                  <a:pt x="725" y="5152"/>
                  <a:pt x="725" y="5341"/>
                </a:cubicBezTo>
                <a:lnTo>
                  <a:pt x="725" y="6034"/>
                </a:lnTo>
                <a:cubicBezTo>
                  <a:pt x="725" y="6443"/>
                  <a:pt x="851" y="6821"/>
                  <a:pt x="1071" y="7105"/>
                </a:cubicBezTo>
                <a:cubicBezTo>
                  <a:pt x="882" y="7105"/>
                  <a:pt x="725" y="7262"/>
                  <a:pt x="725" y="7451"/>
                </a:cubicBezTo>
                <a:lnTo>
                  <a:pt x="725" y="8176"/>
                </a:lnTo>
                <a:cubicBezTo>
                  <a:pt x="725" y="9153"/>
                  <a:pt x="1512" y="9940"/>
                  <a:pt x="2489" y="9940"/>
                </a:cubicBezTo>
                <a:lnTo>
                  <a:pt x="2836" y="9940"/>
                </a:lnTo>
                <a:lnTo>
                  <a:pt x="2836" y="11389"/>
                </a:lnTo>
                <a:lnTo>
                  <a:pt x="378" y="11389"/>
                </a:lnTo>
                <a:cubicBezTo>
                  <a:pt x="158" y="11389"/>
                  <a:pt x="0" y="11547"/>
                  <a:pt x="0" y="11768"/>
                </a:cubicBezTo>
                <a:cubicBezTo>
                  <a:pt x="0" y="11957"/>
                  <a:pt x="158" y="12114"/>
                  <a:pt x="378" y="12114"/>
                </a:cubicBezTo>
                <a:lnTo>
                  <a:pt x="11814" y="12114"/>
                </a:lnTo>
                <a:cubicBezTo>
                  <a:pt x="12035" y="12114"/>
                  <a:pt x="12192" y="11957"/>
                  <a:pt x="12192" y="11768"/>
                </a:cubicBezTo>
                <a:cubicBezTo>
                  <a:pt x="12224" y="11547"/>
                  <a:pt x="12066" y="11389"/>
                  <a:pt x="11846" y="11389"/>
                </a:cubicBezTo>
                <a:lnTo>
                  <a:pt x="9389" y="11389"/>
                </a:lnTo>
                <a:lnTo>
                  <a:pt x="9389" y="9940"/>
                </a:lnTo>
                <a:lnTo>
                  <a:pt x="9735" y="9940"/>
                </a:lnTo>
                <a:cubicBezTo>
                  <a:pt x="10712" y="9940"/>
                  <a:pt x="11499" y="9153"/>
                  <a:pt x="11499" y="8176"/>
                </a:cubicBezTo>
                <a:lnTo>
                  <a:pt x="11499" y="7451"/>
                </a:lnTo>
                <a:cubicBezTo>
                  <a:pt x="11499" y="7262"/>
                  <a:pt x="11342" y="7105"/>
                  <a:pt x="11153" y="7105"/>
                </a:cubicBezTo>
                <a:cubicBezTo>
                  <a:pt x="11373" y="6790"/>
                  <a:pt x="11499" y="6443"/>
                  <a:pt x="11499" y="6034"/>
                </a:cubicBezTo>
                <a:lnTo>
                  <a:pt x="11499" y="5341"/>
                </a:lnTo>
                <a:cubicBezTo>
                  <a:pt x="11499" y="5152"/>
                  <a:pt x="11342" y="4994"/>
                  <a:pt x="11153" y="4994"/>
                </a:cubicBezTo>
                <a:cubicBezTo>
                  <a:pt x="11373" y="4679"/>
                  <a:pt x="11499" y="4301"/>
                  <a:pt x="11499" y="3923"/>
                </a:cubicBezTo>
                <a:lnTo>
                  <a:pt x="11499" y="3198"/>
                </a:lnTo>
                <a:cubicBezTo>
                  <a:pt x="11499" y="3009"/>
                  <a:pt x="11342" y="2852"/>
                  <a:pt x="11153" y="2852"/>
                </a:cubicBezTo>
                <a:lnTo>
                  <a:pt x="10271" y="2852"/>
                </a:lnTo>
                <a:cubicBezTo>
                  <a:pt x="10365" y="2631"/>
                  <a:pt x="10428" y="2379"/>
                  <a:pt x="10428" y="2127"/>
                </a:cubicBezTo>
                <a:cubicBezTo>
                  <a:pt x="10428" y="993"/>
                  <a:pt x="9263" y="79"/>
                  <a:pt x="9231" y="48"/>
                </a:cubicBezTo>
                <a:cubicBezTo>
                  <a:pt x="9168" y="16"/>
                  <a:pt x="9089" y="0"/>
                  <a:pt x="9010" y="0"/>
                </a:cubicBezTo>
                <a:cubicBezTo>
                  <a:pt x="8932" y="0"/>
                  <a:pt x="8853" y="16"/>
                  <a:pt x="8790" y="48"/>
                </a:cubicBezTo>
                <a:cubicBezTo>
                  <a:pt x="8758" y="79"/>
                  <a:pt x="7561" y="961"/>
                  <a:pt x="7561" y="2127"/>
                </a:cubicBezTo>
                <a:cubicBezTo>
                  <a:pt x="7561" y="2379"/>
                  <a:pt x="7624" y="2663"/>
                  <a:pt x="7719" y="2852"/>
                </a:cubicBezTo>
                <a:lnTo>
                  <a:pt x="6868" y="2852"/>
                </a:lnTo>
                <a:cubicBezTo>
                  <a:pt x="6679" y="2852"/>
                  <a:pt x="6522" y="3009"/>
                  <a:pt x="6522" y="3198"/>
                </a:cubicBezTo>
                <a:lnTo>
                  <a:pt x="6522" y="3923"/>
                </a:lnTo>
                <a:cubicBezTo>
                  <a:pt x="6522" y="4301"/>
                  <a:pt x="6616" y="4710"/>
                  <a:pt x="6868" y="4994"/>
                </a:cubicBezTo>
                <a:cubicBezTo>
                  <a:pt x="6679" y="4994"/>
                  <a:pt x="6522" y="5152"/>
                  <a:pt x="6522" y="5341"/>
                </a:cubicBezTo>
                <a:lnTo>
                  <a:pt x="6522" y="6034"/>
                </a:lnTo>
                <a:cubicBezTo>
                  <a:pt x="6522" y="6443"/>
                  <a:pt x="6616" y="6821"/>
                  <a:pt x="6868" y="7105"/>
                </a:cubicBezTo>
                <a:cubicBezTo>
                  <a:pt x="6679" y="7105"/>
                  <a:pt x="6522" y="7262"/>
                  <a:pt x="6522" y="7451"/>
                </a:cubicBezTo>
                <a:lnTo>
                  <a:pt x="6522" y="8176"/>
                </a:lnTo>
                <a:cubicBezTo>
                  <a:pt x="6522" y="9153"/>
                  <a:pt x="7309" y="9940"/>
                  <a:pt x="8286" y="9940"/>
                </a:cubicBezTo>
                <a:lnTo>
                  <a:pt x="8632" y="9940"/>
                </a:lnTo>
                <a:lnTo>
                  <a:pt x="8632" y="11389"/>
                </a:lnTo>
                <a:lnTo>
                  <a:pt x="3592" y="11389"/>
                </a:lnTo>
                <a:lnTo>
                  <a:pt x="3592" y="9940"/>
                </a:lnTo>
                <a:lnTo>
                  <a:pt x="3938" y="9940"/>
                </a:lnTo>
                <a:cubicBezTo>
                  <a:pt x="4946" y="9940"/>
                  <a:pt x="5734" y="9153"/>
                  <a:pt x="5734" y="8176"/>
                </a:cubicBezTo>
                <a:lnTo>
                  <a:pt x="5734" y="7451"/>
                </a:lnTo>
                <a:cubicBezTo>
                  <a:pt x="5734" y="7262"/>
                  <a:pt x="5576" y="7105"/>
                  <a:pt x="5356" y="7105"/>
                </a:cubicBezTo>
                <a:cubicBezTo>
                  <a:pt x="5608" y="6790"/>
                  <a:pt x="5734" y="6443"/>
                  <a:pt x="5734" y="6034"/>
                </a:cubicBezTo>
                <a:lnTo>
                  <a:pt x="5734" y="5341"/>
                </a:lnTo>
                <a:cubicBezTo>
                  <a:pt x="5734" y="5152"/>
                  <a:pt x="5576" y="4994"/>
                  <a:pt x="5356" y="4994"/>
                </a:cubicBezTo>
                <a:cubicBezTo>
                  <a:pt x="5608" y="4679"/>
                  <a:pt x="5734" y="4301"/>
                  <a:pt x="5734" y="3923"/>
                </a:cubicBezTo>
                <a:lnTo>
                  <a:pt x="5734" y="3198"/>
                </a:lnTo>
                <a:cubicBezTo>
                  <a:pt x="5734" y="3009"/>
                  <a:pt x="5576" y="2852"/>
                  <a:pt x="5356" y="2852"/>
                </a:cubicBezTo>
                <a:lnTo>
                  <a:pt x="4505" y="2852"/>
                </a:lnTo>
                <a:cubicBezTo>
                  <a:pt x="4568" y="2631"/>
                  <a:pt x="4663" y="2379"/>
                  <a:pt x="4663" y="2127"/>
                </a:cubicBezTo>
                <a:cubicBezTo>
                  <a:pt x="4663" y="993"/>
                  <a:pt x="3466" y="79"/>
                  <a:pt x="3434" y="48"/>
                </a:cubicBezTo>
                <a:cubicBezTo>
                  <a:pt x="3371" y="16"/>
                  <a:pt x="3292"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97" name="Google Shape;10797;p80"/>
          <p:cNvGrpSpPr/>
          <p:nvPr/>
        </p:nvGrpSpPr>
        <p:grpSpPr>
          <a:xfrm>
            <a:off x="7923925" y="2297751"/>
            <a:ext cx="368362" cy="419314"/>
            <a:chOff x="4995050" y="3245650"/>
            <a:chExt cx="236950" cy="269725"/>
          </a:xfrm>
        </p:grpSpPr>
        <p:sp>
          <p:nvSpPr>
            <p:cNvPr id="10798" name="Google Shape;10798;p80"/>
            <p:cNvSpPr/>
            <p:nvPr/>
          </p:nvSpPr>
          <p:spPr>
            <a:xfrm>
              <a:off x="5074475"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503" y="642"/>
                    <a:pt x="642" y="502"/>
                    <a:pt x="642" y="307"/>
                  </a:cubicBezTo>
                  <a:cubicBezTo>
                    <a:pt x="642" y="140"/>
                    <a:pt x="503" y="1"/>
                    <a:pt x="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80"/>
            <p:cNvSpPr/>
            <p:nvPr/>
          </p:nvSpPr>
          <p:spPr>
            <a:xfrm>
              <a:off x="5137200"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474" y="642"/>
                    <a:pt x="614" y="502"/>
                    <a:pt x="614" y="307"/>
                  </a:cubicBezTo>
                  <a:cubicBezTo>
                    <a:pt x="642" y="140"/>
                    <a:pt x="474" y="1"/>
                    <a:pt x="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80"/>
            <p:cNvSpPr/>
            <p:nvPr/>
          </p:nvSpPr>
          <p:spPr>
            <a:xfrm>
              <a:off x="5089125" y="3371950"/>
              <a:ext cx="48100" cy="63100"/>
            </a:xfrm>
            <a:custGeom>
              <a:avLst/>
              <a:gdLst/>
              <a:ahLst/>
              <a:cxnLst/>
              <a:rect l="l" t="t" r="r" b="b"/>
              <a:pathLst>
                <a:path w="1924" h="2524" extrusionOk="0">
                  <a:moveTo>
                    <a:pt x="976" y="774"/>
                  </a:moveTo>
                  <a:lnTo>
                    <a:pt x="1227" y="1025"/>
                  </a:lnTo>
                  <a:lnTo>
                    <a:pt x="976" y="1499"/>
                  </a:lnTo>
                  <a:lnTo>
                    <a:pt x="753" y="1025"/>
                  </a:lnTo>
                  <a:lnTo>
                    <a:pt x="976" y="774"/>
                  </a:lnTo>
                  <a:close/>
                  <a:moveTo>
                    <a:pt x="976" y="1"/>
                  </a:moveTo>
                  <a:cubicBezTo>
                    <a:pt x="899" y="1"/>
                    <a:pt x="822" y="36"/>
                    <a:pt x="753" y="105"/>
                  </a:cubicBezTo>
                  <a:lnTo>
                    <a:pt x="112" y="747"/>
                  </a:lnTo>
                  <a:cubicBezTo>
                    <a:pt x="0" y="858"/>
                    <a:pt x="0" y="997"/>
                    <a:pt x="56" y="1081"/>
                  </a:cubicBezTo>
                  <a:lnTo>
                    <a:pt x="669" y="2335"/>
                  </a:lnTo>
                  <a:cubicBezTo>
                    <a:pt x="725" y="2461"/>
                    <a:pt x="836" y="2524"/>
                    <a:pt x="948" y="2524"/>
                  </a:cubicBezTo>
                  <a:cubicBezTo>
                    <a:pt x="1059" y="2524"/>
                    <a:pt x="1171" y="2461"/>
                    <a:pt x="1227" y="2335"/>
                  </a:cubicBezTo>
                  <a:lnTo>
                    <a:pt x="1840" y="1081"/>
                  </a:lnTo>
                  <a:cubicBezTo>
                    <a:pt x="1924" y="997"/>
                    <a:pt x="1896" y="802"/>
                    <a:pt x="1784" y="747"/>
                  </a:cubicBezTo>
                  <a:lnTo>
                    <a:pt x="1199" y="105"/>
                  </a:lnTo>
                  <a:cubicBezTo>
                    <a:pt x="1129" y="36"/>
                    <a:pt x="1052" y="1"/>
                    <a:pt x="9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01" name="Google Shape;10801;p80"/>
            <p:cNvGrpSpPr/>
            <p:nvPr/>
          </p:nvGrpSpPr>
          <p:grpSpPr>
            <a:xfrm>
              <a:off x="4995050" y="3245650"/>
              <a:ext cx="236950" cy="269725"/>
              <a:chOff x="4995050" y="3245650"/>
              <a:chExt cx="236950" cy="269725"/>
            </a:xfrm>
          </p:grpSpPr>
          <p:sp>
            <p:nvSpPr>
              <p:cNvPr id="10802" name="Google Shape;10802;p80"/>
              <p:cNvSpPr/>
              <p:nvPr/>
            </p:nvSpPr>
            <p:spPr>
              <a:xfrm>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80"/>
              <p:cNvSpPr/>
              <p:nvPr/>
            </p:nvSpPr>
            <p:spPr>
              <a:xfrm flipH="1">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804" name="Google Shape;10804;p80"/>
          <p:cNvGrpSpPr/>
          <p:nvPr/>
        </p:nvGrpSpPr>
        <p:grpSpPr>
          <a:xfrm>
            <a:off x="5523718" y="1689744"/>
            <a:ext cx="483749" cy="481292"/>
            <a:chOff x="4724650" y="2885700"/>
            <a:chExt cx="270750" cy="269375"/>
          </a:xfrm>
        </p:grpSpPr>
        <p:sp>
          <p:nvSpPr>
            <p:cNvPr id="10805" name="Google Shape;10805;p80"/>
            <p:cNvSpPr/>
            <p:nvPr/>
          </p:nvSpPr>
          <p:spPr>
            <a:xfrm flipH="1">
              <a:off x="472500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80"/>
            <p:cNvSpPr/>
            <p:nvPr/>
          </p:nvSpPr>
          <p:spPr>
            <a:xfrm>
              <a:off x="472465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7" name="Google Shape;10807;p80"/>
            <p:cNvSpPr/>
            <p:nvPr/>
          </p:nvSpPr>
          <p:spPr>
            <a:xfrm>
              <a:off x="4900250" y="3027525"/>
              <a:ext cx="16075" cy="15350"/>
            </a:xfrm>
            <a:custGeom>
              <a:avLst/>
              <a:gdLst/>
              <a:ahLst/>
              <a:cxnLst/>
              <a:rect l="l" t="t" r="r" b="b"/>
              <a:pathLst>
                <a:path w="643" h="614" extrusionOk="0">
                  <a:moveTo>
                    <a:pt x="308" y="1"/>
                  </a:moveTo>
                  <a:cubicBezTo>
                    <a:pt x="140" y="1"/>
                    <a:pt x="1" y="140"/>
                    <a:pt x="1" y="307"/>
                  </a:cubicBezTo>
                  <a:cubicBezTo>
                    <a:pt x="1" y="474"/>
                    <a:pt x="140" y="614"/>
                    <a:pt x="308" y="614"/>
                  </a:cubicBezTo>
                  <a:cubicBezTo>
                    <a:pt x="503" y="614"/>
                    <a:pt x="642" y="474"/>
                    <a:pt x="642" y="307"/>
                  </a:cubicBezTo>
                  <a:cubicBezTo>
                    <a:pt x="642" y="140"/>
                    <a:pt x="503" y="1"/>
                    <a:pt x="3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8" name="Google Shape;10808;p80"/>
            <p:cNvSpPr/>
            <p:nvPr/>
          </p:nvSpPr>
          <p:spPr>
            <a:xfrm>
              <a:off x="4805475" y="3027525"/>
              <a:ext cx="15375" cy="15350"/>
            </a:xfrm>
            <a:custGeom>
              <a:avLst/>
              <a:gdLst/>
              <a:ahLst/>
              <a:cxnLst/>
              <a:rect l="l" t="t" r="r" b="b"/>
              <a:pathLst>
                <a:path w="615" h="614" extrusionOk="0">
                  <a:moveTo>
                    <a:pt x="308" y="1"/>
                  </a:moveTo>
                  <a:cubicBezTo>
                    <a:pt x="140" y="1"/>
                    <a:pt x="1" y="140"/>
                    <a:pt x="1" y="307"/>
                  </a:cubicBezTo>
                  <a:cubicBezTo>
                    <a:pt x="1" y="474"/>
                    <a:pt x="140" y="614"/>
                    <a:pt x="308" y="614"/>
                  </a:cubicBezTo>
                  <a:cubicBezTo>
                    <a:pt x="475" y="614"/>
                    <a:pt x="614" y="474"/>
                    <a:pt x="614" y="307"/>
                  </a:cubicBezTo>
                  <a:cubicBezTo>
                    <a:pt x="614" y="140"/>
                    <a:pt x="475" y="1"/>
                    <a:pt x="3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80"/>
            <p:cNvSpPr/>
            <p:nvPr/>
          </p:nvSpPr>
          <p:spPr>
            <a:xfrm>
              <a:off x="4820825" y="2932750"/>
              <a:ext cx="16050" cy="32075"/>
            </a:xfrm>
            <a:custGeom>
              <a:avLst/>
              <a:gdLst/>
              <a:ahLst/>
              <a:cxnLst/>
              <a:rect l="l" t="t" r="r" b="b"/>
              <a:pathLst>
                <a:path w="642" h="1283" extrusionOk="0">
                  <a:moveTo>
                    <a:pt x="335" y="1"/>
                  </a:moveTo>
                  <a:cubicBezTo>
                    <a:pt x="140" y="1"/>
                    <a:pt x="0" y="140"/>
                    <a:pt x="0" y="335"/>
                  </a:cubicBezTo>
                  <a:lnTo>
                    <a:pt x="0" y="948"/>
                  </a:lnTo>
                  <a:cubicBezTo>
                    <a:pt x="0" y="1143"/>
                    <a:pt x="140" y="1283"/>
                    <a:pt x="335" y="1283"/>
                  </a:cubicBezTo>
                  <a:cubicBezTo>
                    <a:pt x="502" y="1283"/>
                    <a:pt x="641" y="1143"/>
                    <a:pt x="641" y="948"/>
                  </a:cubicBezTo>
                  <a:lnTo>
                    <a:pt x="641" y="335"/>
                  </a:lnTo>
                  <a:cubicBezTo>
                    <a:pt x="641" y="140"/>
                    <a:pt x="502" y="1"/>
                    <a:pt x="3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80"/>
            <p:cNvSpPr/>
            <p:nvPr/>
          </p:nvSpPr>
          <p:spPr>
            <a:xfrm>
              <a:off x="4884925" y="2932750"/>
              <a:ext cx="15350" cy="32075"/>
            </a:xfrm>
            <a:custGeom>
              <a:avLst/>
              <a:gdLst/>
              <a:ahLst/>
              <a:cxnLst/>
              <a:rect l="l" t="t" r="r" b="b"/>
              <a:pathLst>
                <a:path w="614" h="1283" extrusionOk="0">
                  <a:moveTo>
                    <a:pt x="307" y="1"/>
                  </a:moveTo>
                  <a:cubicBezTo>
                    <a:pt x="112" y="1"/>
                    <a:pt x="1" y="140"/>
                    <a:pt x="1" y="335"/>
                  </a:cubicBezTo>
                  <a:lnTo>
                    <a:pt x="1" y="948"/>
                  </a:lnTo>
                  <a:cubicBezTo>
                    <a:pt x="1" y="1143"/>
                    <a:pt x="112" y="1283"/>
                    <a:pt x="307" y="1283"/>
                  </a:cubicBezTo>
                  <a:cubicBezTo>
                    <a:pt x="475" y="1283"/>
                    <a:pt x="614" y="1143"/>
                    <a:pt x="614" y="948"/>
                  </a:cubicBezTo>
                  <a:lnTo>
                    <a:pt x="614" y="335"/>
                  </a:lnTo>
                  <a:cubicBezTo>
                    <a:pt x="614" y="140"/>
                    <a:pt x="475" y="1"/>
                    <a:pt x="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80"/>
            <p:cNvSpPr/>
            <p:nvPr/>
          </p:nvSpPr>
          <p:spPr>
            <a:xfrm>
              <a:off x="4852175" y="2948775"/>
              <a:ext cx="16050" cy="31400"/>
            </a:xfrm>
            <a:custGeom>
              <a:avLst/>
              <a:gdLst/>
              <a:ahLst/>
              <a:cxnLst/>
              <a:rect l="l" t="t" r="r" b="b"/>
              <a:pathLst>
                <a:path w="642" h="1256" extrusionOk="0">
                  <a:moveTo>
                    <a:pt x="335" y="1"/>
                  </a:moveTo>
                  <a:cubicBezTo>
                    <a:pt x="140" y="1"/>
                    <a:pt x="1" y="140"/>
                    <a:pt x="1" y="307"/>
                  </a:cubicBezTo>
                  <a:lnTo>
                    <a:pt x="1" y="948"/>
                  </a:lnTo>
                  <a:cubicBezTo>
                    <a:pt x="1" y="1116"/>
                    <a:pt x="140" y="1255"/>
                    <a:pt x="335" y="1255"/>
                  </a:cubicBezTo>
                  <a:cubicBezTo>
                    <a:pt x="502" y="1255"/>
                    <a:pt x="642" y="1116"/>
                    <a:pt x="642" y="948"/>
                  </a:cubicBezTo>
                  <a:lnTo>
                    <a:pt x="642" y="307"/>
                  </a:lnTo>
                  <a:cubicBezTo>
                    <a:pt x="642" y="140"/>
                    <a:pt x="502" y="1"/>
                    <a:pt x="3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12" name="Google Shape;10812;p80"/>
          <p:cNvGrpSpPr/>
          <p:nvPr/>
        </p:nvGrpSpPr>
        <p:grpSpPr>
          <a:xfrm>
            <a:off x="4390686" y="1686990"/>
            <a:ext cx="389418" cy="464735"/>
            <a:chOff x="4459350" y="2883937"/>
            <a:chExt cx="228375" cy="272538"/>
          </a:xfrm>
        </p:grpSpPr>
        <p:sp>
          <p:nvSpPr>
            <p:cNvPr id="10813" name="Google Shape;10813;p80"/>
            <p:cNvSpPr/>
            <p:nvPr/>
          </p:nvSpPr>
          <p:spPr>
            <a:xfrm>
              <a:off x="4537175" y="3045650"/>
              <a:ext cx="15375" cy="15350"/>
            </a:xfrm>
            <a:custGeom>
              <a:avLst/>
              <a:gdLst/>
              <a:ahLst/>
              <a:cxnLst/>
              <a:rect l="l" t="t" r="r" b="b"/>
              <a:pathLst>
                <a:path w="615" h="614" extrusionOk="0">
                  <a:moveTo>
                    <a:pt x="308" y="0"/>
                  </a:moveTo>
                  <a:cubicBezTo>
                    <a:pt x="140" y="0"/>
                    <a:pt x="1" y="140"/>
                    <a:pt x="1" y="307"/>
                  </a:cubicBezTo>
                  <a:cubicBezTo>
                    <a:pt x="1" y="474"/>
                    <a:pt x="140" y="614"/>
                    <a:pt x="308" y="614"/>
                  </a:cubicBezTo>
                  <a:cubicBezTo>
                    <a:pt x="475" y="614"/>
                    <a:pt x="614" y="474"/>
                    <a:pt x="614" y="307"/>
                  </a:cubicBezTo>
                  <a:cubicBezTo>
                    <a:pt x="614" y="140"/>
                    <a:pt x="475" y="0"/>
                    <a:pt x="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4" name="Google Shape;10814;p80"/>
            <p:cNvSpPr/>
            <p:nvPr/>
          </p:nvSpPr>
          <p:spPr>
            <a:xfrm>
              <a:off x="4599900" y="3045650"/>
              <a:ext cx="15350" cy="15350"/>
            </a:xfrm>
            <a:custGeom>
              <a:avLst/>
              <a:gdLst/>
              <a:ahLst/>
              <a:cxnLst/>
              <a:rect l="l" t="t" r="r" b="b"/>
              <a:pathLst>
                <a:path w="614" h="614" extrusionOk="0">
                  <a:moveTo>
                    <a:pt x="307" y="0"/>
                  </a:moveTo>
                  <a:cubicBezTo>
                    <a:pt x="140" y="0"/>
                    <a:pt x="1" y="140"/>
                    <a:pt x="1" y="307"/>
                  </a:cubicBezTo>
                  <a:cubicBezTo>
                    <a:pt x="1" y="474"/>
                    <a:pt x="140" y="614"/>
                    <a:pt x="307" y="614"/>
                  </a:cubicBezTo>
                  <a:cubicBezTo>
                    <a:pt x="475" y="614"/>
                    <a:pt x="614" y="474"/>
                    <a:pt x="614" y="307"/>
                  </a:cubicBezTo>
                  <a:cubicBezTo>
                    <a:pt x="614" y="140"/>
                    <a:pt x="475" y="0"/>
                    <a:pt x="3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80"/>
            <p:cNvSpPr/>
            <p:nvPr/>
          </p:nvSpPr>
          <p:spPr>
            <a:xfrm>
              <a:off x="446470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80"/>
            <p:cNvSpPr/>
            <p:nvPr/>
          </p:nvSpPr>
          <p:spPr>
            <a:xfrm flipH="1">
              <a:off x="445935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80"/>
            <p:cNvSpPr/>
            <p:nvPr/>
          </p:nvSpPr>
          <p:spPr>
            <a:xfrm rot="-537108">
              <a:off x="4468759"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txBody>
            <a:bodyPr/>
            <a:lstStyle/>
            <a:p>
              <a:endParaRPr lang="de-DE"/>
            </a:p>
          </p:txBody>
        </p:sp>
        <p:sp>
          <p:nvSpPr>
            <p:cNvPr id="10818" name="Google Shape;10818;p80"/>
            <p:cNvSpPr/>
            <p:nvPr/>
          </p:nvSpPr>
          <p:spPr>
            <a:xfrm rot="537108" flipH="1">
              <a:off x="4653897"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txBody>
            <a:bodyPr/>
            <a:lstStyle/>
            <a:p>
              <a:endParaRPr lang="de-DE"/>
            </a:p>
          </p:txBody>
        </p:sp>
      </p:grpSp>
      <p:sp>
        <p:nvSpPr>
          <p:cNvPr id="10819" name="Google Shape;10819;p80"/>
          <p:cNvSpPr txBox="1"/>
          <p:nvPr/>
        </p:nvSpPr>
        <p:spPr>
          <a:xfrm>
            <a:off x="1048350" y="1085850"/>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Nature Icons</a:t>
            </a:r>
            <a:endParaRPr sz="2400">
              <a:solidFill>
                <a:srgbClr val="FFFFFF"/>
              </a:solidFill>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823"/>
        <p:cNvGrpSpPr/>
        <p:nvPr/>
      </p:nvGrpSpPr>
      <p:grpSpPr>
        <a:xfrm>
          <a:off x="0" y="0"/>
          <a:ext cx="0" cy="0"/>
          <a:chOff x="0" y="0"/>
          <a:chExt cx="0" cy="0"/>
        </a:xfrm>
      </p:grpSpPr>
      <p:sp>
        <p:nvSpPr>
          <p:cNvPr id="10824" name="Google Shape;10824;p81"/>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0825" name="Google Shape;10825;p81"/>
          <p:cNvSpPr/>
          <p:nvPr/>
        </p:nvSpPr>
        <p:spPr>
          <a:xfrm>
            <a:off x="844100" y="1630139"/>
            <a:ext cx="433284" cy="422781"/>
          </a:xfrm>
          <a:custGeom>
            <a:avLst/>
            <a:gdLst/>
            <a:ahLst/>
            <a:cxnLst/>
            <a:rect l="l" t="t" r="r" b="b"/>
            <a:pathLst>
              <a:path w="12004" h="11713" extrusionOk="0">
                <a:moveTo>
                  <a:pt x="8633" y="2088"/>
                </a:moveTo>
                <a:cubicBezTo>
                  <a:pt x="8900" y="2088"/>
                  <a:pt x="9168" y="2182"/>
                  <a:pt x="9357" y="2371"/>
                </a:cubicBezTo>
                <a:cubicBezTo>
                  <a:pt x="9767" y="2781"/>
                  <a:pt x="9767" y="3442"/>
                  <a:pt x="9357" y="3820"/>
                </a:cubicBezTo>
                <a:lnTo>
                  <a:pt x="8128" y="5018"/>
                </a:lnTo>
                <a:cubicBezTo>
                  <a:pt x="7939" y="4702"/>
                  <a:pt x="7750" y="4419"/>
                  <a:pt x="7498" y="4135"/>
                </a:cubicBezTo>
                <a:cubicBezTo>
                  <a:pt x="7278" y="3915"/>
                  <a:pt x="6994" y="3726"/>
                  <a:pt x="6679" y="3568"/>
                </a:cubicBezTo>
                <a:lnTo>
                  <a:pt x="7908" y="2371"/>
                </a:lnTo>
                <a:cubicBezTo>
                  <a:pt x="8097" y="2182"/>
                  <a:pt x="8365" y="2088"/>
                  <a:pt x="8633" y="2088"/>
                </a:cubicBezTo>
                <a:close/>
                <a:moveTo>
                  <a:pt x="5230" y="5333"/>
                </a:moveTo>
                <a:cubicBezTo>
                  <a:pt x="5514" y="5333"/>
                  <a:pt x="5829" y="5396"/>
                  <a:pt x="6018" y="5648"/>
                </a:cubicBezTo>
                <a:cubicBezTo>
                  <a:pt x="6207" y="5837"/>
                  <a:pt x="6333" y="6120"/>
                  <a:pt x="6333" y="6435"/>
                </a:cubicBezTo>
                <a:cubicBezTo>
                  <a:pt x="6049" y="6435"/>
                  <a:pt x="5766" y="6309"/>
                  <a:pt x="5545" y="6120"/>
                </a:cubicBezTo>
                <a:cubicBezTo>
                  <a:pt x="5356" y="5931"/>
                  <a:pt x="5230" y="5648"/>
                  <a:pt x="5230" y="5333"/>
                </a:cubicBezTo>
                <a:close/>
                <a:moveTo>
                  <a:pt x="8617" y="717"/>
                </a:moveTo>
                <a:cubicBezTo>
                  <a:pt x="9223" y="717"/>
                  <a:pt x="9830" y="953"/>
                  <a:pt x="10302" y="1426"/>
                </a:cubicBezTo>
                <a:cubicBezTo>
                  <a:pt x="11247" y="2340"/>
                  <a:pt x="11247" y="3883"/>
                  <a:pt x="10302" y="4828"/>
                </a:cubicBezTo>
                <a:lnTo>
                  <a:pt x="8381" y="6719"/>
                </a:lnTo>
                <a:cubicBezTo>
                  <a:pt x="8412" y="6404"/>
                  <a:pt x="8412" y="6089"/>
                  <a:pt x="8349" y="5774"/>
                </a:cubicBezTo>
                <a:lnTo>
                  <a:pt x="9798" y="4356"/>
                </a:lnTo>
                <a:cubicBezTo>
                  <a:pt x="10460" y="3663"/>
                  <a:pt x="10460" y="2560"/>
                  <a:pt x="9798" y="1930"/>
                </a:cubicBezTo>
                <a:cubicBezTo>
                  <a:pt x="9467" y="1599"/>
                  <a:pt x="9034" y="1434"/>
                  <a:pt x="8601" y="1434"/>
                </a:cubicBezTo>
                <a:cubicBezTo>
                  <a:pt x="8168" y="1434"/>
                  <a:pt x="7735" y="1599"/>
                  <a:pt x="7404" y="1930"/>
                </a:cubicBezTo>
                <a:cubicBezTo>
                  <a:pt x="7309" y="2025"/>
                  <a:pt x="5356" y="3946"/>
                  <a:pt x="5073" y="4230"/>
                </a:cubicBezTo>
                <a:cubicBezTo>
                  <a:pt x="4411" y="4892"/>
                  <a:pt x="4411" y="5963"/>
                  <a:pt x="5073" y="6624"/>
                </a:cubicBezTo>
                <a:cubicBezTo>
                  <a:pt x="5356" y="6908"/>
                  <a:pt x="5671" y="7065"/>
                  <a:pt x="6049" y="7097"/>
                </a:cubicBezTo>
                <a:lnTo>
                  <a:pt x="5514" y="7664"/>
                </a:lnTo>
                <a:cubicBezTo>
                  <a:pt x="5167" y="7538"/>
                  <a:pt x="4883" y="7349"/>
                  <a:pt x="4600" y="7097"/>
                </a:cubicBezTo>
                <a:cubicBezTo>
                  <a:pt x="3655" y="6152"/>
                  <a:pt x="3655" y="4671"/>
                  <a:pt x="4600" y="3726"/>
                </a:cubicBezTo>
                <a:lnTo>
                  <a:pt x="6931" y="1426"/>
                </a:lnTo>
                <a:cubicBezTo>
                  <a:pt x="7404" y="953"/>
                  <a:pt x="8010" y="717"/>
                  <a:pt x="8617" y="717"/>
                </a:cubicBezTo>
                <a:close/>
                <a:moveTo>
                  <a:pt x="3497" y="6719"/>
                </a:moveTo>
                <a:cubicBezTo>
                  <a:pt x="3655" y="7034"/>
                  <a:pt x="3844" y="7286"/>
                  <a:pt x="4127" y="7569"/>
                </a:cubicBezTo>
                <a:cubicBezTo>
                  <a:pt x="4348" y="7821"/>
                  <a:pt x="4663" y="8042"/>
                  <a:pt x="4978" y="8168"/>
                </a:cubicBezTo>
                <a:lnTo>
                  <a:pt x="3812" y="9334"/>
                </a:lnTo>
                <a:cubicBezTo>
                  <a:pt x="3608" y="9538"/>
                  <a:pt x="3340" y="9641"/>
                  <a:pt x="3076" y="9641"/>
                </a:cubicBezTo>
                <a:cubicBezTo>
                  <a:pt x="2812" y="9641"/>
                  <a:pt x="2552" y="9538"/>
                  <a:pt x="2363" y="9334"/>
                </a:cubicBezTo>
                <a:cubicBezTo>
                  <a:pt x="1954" y="8956"/>
                  <a:pt x="1954" y="8294"/>
                  <a:pt x="2363" y="7884"/>
                </a:cubicBezTo>
                <a:lnTo>
                  <a:pt x="3497" y="6719"/>
                </a:lnTo>
                <a:close/>
                <a:moveTo>
                  <a:pt x="6112" y="4135"/>
                </a:moveTo>
                <a:cubicBezTo>
                  <a:pt x="6396" y="4261"/>
                  <a:pt x="6742" y="4450"/>
                  <a:pt x="6963" y="4702"/>
                </a:cubicBezTo>
                <a:cubicBezTo>
                  <a:pt x="7908" y="5648"/>
                  <a:pt x="7908" y="7128"/>
                  <a:pt x="6963" y="8073"/>
                </a:cubicBezTo>
                <a:lnTo>
                  <a:pt x="4757" y="10342"/>
                </a:lnTo>
                <a:cubicBezTo>
                  <a:pt x="4285" y="10814"/>
                  <a:pt x="3671" y="11051"/>
                  <a:pt x="3056" y="11051"/>
                </a:cubicBezTo>
                <a:cubicBezTo>
                  <a:pt x="2442" y="11051"/>
                  <a:pt x="1828" y="10814"/>
                  <a:pt x="1355" y="10342"/>
                </a:cubicBezTo>
                <a:cubicBezTo>
                  <a:pt x="945" y="9901"/>
                  <a:pt x="662" y="9271"/>
                  <a:pt x="662" y="8641"/>
                </a:cubicBezTo>
                <a:cubicBezTo>
                  <a:pt x="662" y="8010"/>
                  <a:pt x="882" y="7380"/>
                  <a:pt x="1355" y="6939"/>
                </a:cubicBezTo>
                <a:lnTo>
                  <a:pt x="3214" y="5081"/>
                </a:lnTo>
                <a:lnTo>
                  <a:pt x="3214" y="5081"/>
                </a:lnTo>
                <a:cubicBezTo>
                  <a:pt x="3182" y="5396"/>
                  <a:pt x="3214" y="5679"/>
                  <a:pt x="3245" y="5994"/>
                </a:cubicBezTo>
                <a:lnTo>
                  <a:pt x="1828" y="7443"/>
                </a:lnTo>
                <a:cubicBezTo>
                  <a:pt x="1166" y="8105"/>
                  <a:pt x="1166" y="9176"/>
                  <a:pt x="1828" y="9838"/>
                </a:cubicBezTo>
                <a:cubicBezTo>
                  <a:pt x="2174" y="10184"/>
                  <a:pt x="2623" y="10358"/>
                  <a:pt x="3064" y="10358"/>
                </a:cubicBezTo>
                <a:cubicBezTo>
                  <a:pt x="3505" y="10358"/>
                  <a:pt x="3938" y="10184"/>
                  <a:pt x="4253" y="9838"/>
                </a:cubicBezTo>
                <a:lnTo>
                  <a:pt x="6490" y="7569"/>
                </a:lnTo>
                <a:cubicBezTo>
                  <a:pt x="7152" y="6908"/>
                  <a:pt x="7152" y="5837"/>
                  <a:pt x="6490" y="5175"/>
                </a:cubicBezTo>
                <a:cubicBezTo>
                  <a:pt x="6207" y="4892"/>
                  <a:pt x="5892" y="4734"/>
                  <a:pt x="5514" y="4702"/>
                </a:cubicBezTo>
                <a:lnTo>
                  <a:pt x="6112" y="4135"/>
                </a:lnTo>
                <a:close/>
                <a:moveTo>
                  <a:pt x="8585" y="0"/>
                </a:moveTo>
                <a:cubicBezTo>
                  <a:pt x="7798" y="0"/>
                  <a:pt x="7010" y="308"/>
                  <a:pt x="6396" y="922"/>
                </a:cubicBezTo>
                <a:lnTo>
                  <a:pt x="4096" y="3190"/>
                </a:lnTo>
                <a:lnTo>
                  <a:pt x="882" y="6467"/>
                </a:lnTo>
                <a:cubicBezTo>
                  <a:pt x="315" y="7065"/>
                  <a:pt x="0" y="7821"/>
                  <a:pt x="0" y="8641"/>
                </a:cubicBezTo>
                <a:cubicBezTo>
                  <a:pt x="0" y="9460"/>
                  <a:pt x="315" y="10247"/>
                  <a:pt x="882" y="10814"/>
                </a:cubicBezTo>
                <a:cubicBezTo>
                  <a:pt x="1497" y="11413"/>
                  <a:pt x="2284" y="11712"/>
                  <a:pt x="3072" y="11712"/>
                </a:cubicBezTo>
                <a:cubicBezTo>
                  <a:pt x="3860" y="11712"/>
                  <a:pt x="4647" y="11413"/>
                  <a:pt x="5262" y="10814"/>
                </a:cubicBezTo>
                <a:cubicBezTo>
                  <a:pt x="8034" y="8010"/>
                  <a:pt x="6837" y="9145"/>
                  <a:pt x="10775" y="5301"/>
                </a:cubicBezTo>
                <a:cubicBezTo>
                  <a:pt x="12004" y="4072"/>
                  <a:pt x="12004" y="2151"/>
                  <a:pt x="10775" y="922"/>
                </a:cubicBezTo>
                <a:cubicBezTo>
                  <a:pt x="10161" y="308"/>
                  <a:pt x="9373" y="0"/>
                  <a:pt x="8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26" name="Google Shape;10826;p81"/>
          <p:cNvGrpSpPr/>
          <p:nvPr/>
        </p:nvGrpSpPr>
        <p:grpSpPr>
          <a:xfrm>
            <a:off x="847082" y="2140412"/>
            <a:ext cx="426462" cy="420796"/>
            <a:chOff x="-6713450" y="2397900"/>
            <a:chExt cx="295375" cy="291450"/>
          </a:xfrm>
        </p:grpSpPr>
        <p:sp>
          <p:nvSpPr>
            <p:cNvPr id="10827" name="Google Shape;10827;p81"/>
            <p:cNvSpPr/>
            <p:nvPr/>
          </p:nvSpPr>
          <p:spPr>
            <a:xfrm>
              <a:off x="-6628400" y="2465650"/>
              <a:ext cx="69350" cy="17350"/>
            </a:xfrm>
            <a:custGeom>
              <a:avLst/>
              <a:gdLst/>
              <a:ahLst/>
              <a:cxnLst/>
              <a:rect l="l" t="t" r="r" b="b"/>
              <a:pathLst>
                <a:path w="2774" h="694" extrusionOk="0">
                  <a:moveTo>
                    <a:pt x="379" y="0"/>
                  </a:moveTo>
                  <a:cubicBezTo>
                    <a:pt x="158" y="0"/>
                    <a:pt x="1" y="158"/>
                    <a:pt x="1" y="347"/>
                  </a:cubicBezTo>
                  <a:cubicBezTo>
                    <a:pt x="1" y="536"/>
                    <a:pt x="158" y="693"/>
                    <a:pt x="379" y="693"/>
                  </a:cubicBezTo>
                  <a:lnTo>
                    <a:pt x="2427" y="693"/>
                  </a:lnTo>
                  <a:cubicBezTo>
                    <a:pt x="2616" y="693"/>
                    <a:pt x="2773" y="536"/>
                    <a:pt x="2773" y="347"/>
                  </a:cubicBezTo>
                  <a:cubicBezTo>
                    <a:pt x="2773" y="158"/>
                    <a:pt x="2616"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81"/>
            <p:cNvSpPr/>
            <p:nvPr/>
          </p:nvSpPr>
          <p:spPr>
            <a:xfrm>
              <a:off x="-6713450" y="2397900"/>
              <a:ext cx="295375" cy="291450"/>
            </a:xfrm>
            <a:custGeom>
              <a:avLst/>
              <a:gdLst/>
              <a:ahLst/>
              <a:cxnLst/>
              <a:rect l="l" t="t" r="r" b="b"/>
              <a:pathLst>
                <a:path w="11815" h="11658" extrusionOk="0">
                  <a:moveTo>
                    <a:pt x="2048" y="1167"/>
                  </a:moveTo>
                  <a:lnTo>
                    <a:pt x="2048" y="2017"/>
                  </a:lnTo>
                  <a:lnTo>
                    <a:pt x="1166" y="2017"/>
                  </a:lnTo>
                  <a:lnTo>
                    <a:pt x="2048" y="1167"/>
                  </a:lnTo>
                  <a:close/>
                  <a:moveTo>
                    <a:pt x="10330" y="2773"/>
                  </a:moveTo>
                  <a:cubicBezTo>
                    <a:pt x="10507" y="2773"/>
                    <a:pt x="10680" y="2836"/>
                    <a:pt x="10806" y="2962"/>
                  </a:cubicBezTo>
                  <a:cubicBezTo>
                    <a:pt x="11058" y="3246"/>
                    <a:pt x="11058" y="3687"/>
                    <a:pt x="10775" y="3908"/>
                  </a:cubicBezTo>
                  <a:lnTo>
                    <a:pt x="10176" y="4506"/>
                  </a:lnTo>
                  <a:lnTo>
                    <a:pt x="9231" y="3561"/>
                  </a:lnTo>
                  <a:lnTo>
                    <a:pt x="9830" y="2962"/>
                  </a:lnTo>
                  <a:cubicBezTo>
                    <a:pt x="9972" y="2836"/>
                    <a:pt x="10153" y="2773"/>
                    <a:pt x="10330" y="2773"/>
                  </a:cubicBezTo>
                  <a:close/>
                  <a:moveTo>
                    <a:pt x="8727" y="4034"/>
                  </a:moveTo>
                  <a:lnTo>
                    <a:pt x="9672" y="4979"/>
                  </a:lnTo>
                  <a:cubicBezTo>
                    <a:pt x="8538" y="6207"/>
                    <a:pt x="7026" y="7688"/>
                    <a:pt x="5892" y="8854"/>
                  </a:cubicBezTo>
                  <a:lnTo>
                    <a:pt x="4915" y="7846"/>
                  </a:lnTo>
                  <a:lnTo>
                    <a:pt x="8727" y="4034"/>
                  </a:lnTo>
                  <a:close/>
                  <a:moveTo>
                    <a:pt x="4600" y="8539"/>
                  </a:moveTo>
                  <a:lnTo>
                    <a:pt x="5230" y="9169"/>
                  </a:lnTo>
                  <a:lnTo>
                    <a:pt x="4285" y="9421"/>
                  </a:lnTo>
                  <a:cubicBezTo>
                    <a:pt x="4348" y="9232"/>
                    <a:pt x="4505" y="8728"/>
                    <a:pt x="4600" y="8539"/>
                  </a:cubicBezTo>
                  <a:close/>
                  <a:moveTo>
                    <a:pt x="7908" y="694"/>
                  </a:moveTo>
                  <a:cubicBezTo>
                    <a:pt x="8097" y="694"/>
                    <a:pt x="8255" y="852"/>
                    <a:pt x="8255" y="1041"/>
                  </a:cubicBezTo>
                  <a:lnTo>
                    <a:pt x="8255" y="3592"/>
                  </a:lnTo>
                  <a:lnTo>
                    <a:pt x="7467" y="4380"/>
                  </a:lnTo>
                  <a:cubicBezTo>
                    <a:pt x="7435" y="4286"/>
                    <a:pt x="7309" y="4160"/>
                    <a:pt x="7152" y="4160"/>
                  </a:cubicBezTo>
                  <a:lnTo>
                    <a:pt x="1733" y="4160"/>
                  </a:lnTo>
                  <a:cubicBezTo>
                    <a:pt x="1512" y="4160"/>
                    <a:pt x="1386" y="4317"/>
                    <a:pt x="1386" y="4506"/>
                  </a:cubicBezTo>
                  <a:cubicBezTo>
                    <a:pt x="1386" y="4695"/>
                    <a:pt x="1512" y="4853"/>
                    <a:pt x="1733" y="4853"/>
                  </a:cubicBezTo>
                  <a:lnTo>
                    <a:pt x="6994" y="4853"/>
                  </a:lnTo>
                  <a:lnTo>
                    <a:pt x="6333" y="5546"/>
                  </a:lnTo>
                  <a:lnTo>
                    <a:pt x="1733" y="5546"/>
                  </a:lnTo>
                  <a:cubicBezTo>
                    <a:pt x="1512" y="5546"/>
                    <a:pt x="1355" y="5703"/>
                    <a:pt x="1355" y="5892"/>
                  </a:cubicBezTo>
                  <a:cubicBezTo>
                    <a:pt x="1355" y="6081"/>
                    <a:pt x="1512" y="6239"/>
                    <a:pt x="1733" y="6239"/>
                  </a:cubicBezTo>
                  <a:lnTo>
                    <a:pt x="5608" y="6239"/>
                  </a:lnTo>
                  <a:lnTo>
                    <a:pt x="4947" y="6901"/>
                  </a:lnTo>
                  <a:lnTo>
                    <a:pt x="1733" y="6901"/>
                  </a:lnTo>
                  <a:cubicBezTo>
                    <a:pt x="1512" y="6901"/>
                    <a:pt x="1355" y="7058"/>
                    <a:pt x="1355" y="7279"/>
                  </a:cubicBezTo>
                  <a:cubicBezTo>
                    <a:pt x="1355" y="7468"/>
                    <a:pt x="1512" y="7625"/>
                    <a:pt x="1733" y="7625"/>
                  </a:cubicBezTo>
                  <a:lnTo>
                    <a:pt x="4285" y="7625"/>
                  </a:lnTo>
                  <a:cubicBezTo>
                    <a:pt x="4190" y="7688"/>
                    <a:pt x="4159" y="7751"/>
                    <a:pt x="4127" y="7814"/>
                  </a:cubicBezTo>
                  <a:lnTo>
                    <a:pt x="3970" y="8287"/>
                  </a:lnTo>
                  <a:lnTo>
                    <a:pt x="1733" y="8287"/>
                  </a:lnTo>
                  <a:cubicBezTo>
                    <a:pt x="1512" y="8287"/>
                    <a:pt x="1355" y="8444"/>
                    <a:pt x="1355" y="8633"/>
                  </a:cubicBezTo>
                  <a:cubicBezTo>
                    <a:pt x="1355" y="8854"/>
                    <a:pt x="1512" y="9011"/>
                    <a:pt x="1733" y="9011"/>
                  </a:cubicBezTo>
                  <a:lnTo>
                    <a:pt x="3718" y="9011"/>
                  </a:lnTo>
                  <a:lnTo>
                    <a:pt x="3466" y="9893"/>
                  </a:lnTo>
                  <a:cubicBezTo>
                    <a:pt x="3385" y="10136"/>
                    <a:pt x="3557" y="10355"/>
                    <a:pt x="3766" y="10355"/>
                  </a:cubicBezTo>
                  <a:cubicBezTo>
                    <a:pt x="3802" y="10355"/>
                    <a:pt x="3839" y="10348"/>
                    <a:pt x="3875" y="10335"/>
                  </a:cubicBezTo>
                  <a:lnTo>
                    <a:pt x="6018" y="9704"/>
                  </a:lnTo>
                  <a:cubicBezTo>
                    <a:pt x="6049" y="9704"/>
                    <a:pt x="6144" y="9673"/>
                    <a:pt x="6175" y="9641"/>
                  </a:cubicBezTo>
                  <a:lnTo>
                    <a:pt x="8286" y="7499"/>
                  </a:lnTo>
                  <a:lnTo>
                    <a:pt x="8286" y="10681"/>
                  </a:lnTo>
                  <a:cubicBezTo>
                    <a:pt x="8255" y="10839"/>
                    <a:pt x="8097" y="10996"/>
                    <a:pt x="7908" y="10996"/>
                  </a:cubicBezTo>
                  <a:lnTo>
                    <a:pt x="1040" y="10996"/>
                  </a:lnTo>
                  <a:cubicBezTo>
                    <a:pt x="851" y="10996"/>
                    <a:pt x="693" y="10839"/>
                    <a:pt x="693" y="10650"/>
                  </a:cubicBezTo>
                  <a:lnTo>
                    <a:pt x="693" y="2742"/>
                  </a:lnTo>
                  <a:lnTo>
                    <a:pt x="2395" y="2742"/>
                  </a:lnTo>
                  <a:cubicBezTo>
                    <a:pt x="2584" y="2742"/>
                    <a:pt x="2741" y="2584"/>
                    <a:pt x="2741" y="2395"/>
                  </a:cubicBezTo>
                  <a:lnTo>
                    <a:pt x="2741" y="694"/>
                  </a:lnTo>
                  <a:close/>
                  <a:moveTo>
                    <a:pt x="2363" y="1"/>
                  </a:moveTo>
                  <a:cubicBezTo>
                    <a:pt x="2237" y="1"/>
                    <a:pt x="2143" y="64"/>
                    <a:pt x="2111" y="127"/>
                  </a:cubicBezTo>
                  <a:lnTo>
                    <a:pt x="158" y="2112"/>
                  </a:lnTo>
                  <a:cubicBezTo>
                    <a:pt x="63" y="2175"/>
                    <a:pt x="0" y="2269"/>
                    <a:pt x="0" y="2364"/>
                  </a:cubicBezTo>
                  <a:lnTo>
                    <a:pt x="0" y="10650"/>
                  </a:lnTo>
                  <a:cubicBezTo>
                    <a:pt x="0" y="11217"/>
                    <a:pt x="473" y="11658"/>
                    <a:pt x="1008" y="11658"/>
                  </a:cubicBezTo>
                  <a:lnTo>
                    <a:pt x="7908" y="11658"/>
                  </a:lnTo>
                  <a:cubicBezTo>
                    <a:pt x="8444" y="11658"/>
                    <a:pt x="8916" y="11217"/>
                    <a:pt x="8916" y="10650"/>
                  </a:cubicBezTo>
                  <a:lnTo>
                    <a:pt x="8916" y="6774"/>
                  </a:lnTo>
                  <a:lnTo>
                    <a:pt x="11279" y="4412"/>
                  </a:lnTo>
                  <a:cubicBezTo>
                    <a:pt x="11815" y="3876"/>
                    <a:pt x="11815" y="3025"/>
                    <a:pt x="11279" y="2490"/>
                  </a:cubicBezTo>
                  <a:cubicBezTo>
                    <a:pt x="11011" y="2222"/>
                    <a:pt x="10657" y="2088"/>
                    <a:pt x="10306" y="2088"/>
                  </a:cubicBezTo>
                  <a:cubicBezTo>
                    <a:pt x="9956" y="2088"/>
                    <a:pt x="9609" y="2222"/>
                    <a:pt x="9357" y="2490"/>
                  </a:cubicBezTo>
                  <a:lnTo>
                    <a:pt x="8916" y="2931"/>
                  </a:lnTo>
                  <a:lnTo>
                    <a:pt x="8916" y="1041"/>
                  </a:lnTo>
                  <a:cubicBezTo>
                    <a:pt x="8916" y="474"/>
                    <a:pt x="8444" y="1"/>
                    <a:pt x="79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29" name="Google Shape;10829;p81"/>
          <p:cNvSpPr/>
          <p:nvPr/>
        </p:nvSpPr>
        <p:spPr>
          <a:xfrm>
            <a:off x="859424" y="2660229"/>
            <a:ext cx="426499" cy="421914"/>
          </a:xfrm>
          <a:custGeom>
            <a:avLst/>
            <a:gdLst/>
            <a:ahLst/>
            <a:cxnLst/>
            <a:rect l="l" t="t" r="r" b="b"/>
            <a:pathLst>
              <a:path w="11816" h="11689" extrusionOk="0">
                <a:moveTo>
                  <a:pt x="7026" y="757"/>
                </a:moveTo>
                <a:lnTo>
                  <a:pt x="7026" y="2710"/>
                </a:lnTo>
                <a:lnTo>
                  <a:pt x="5829" y="2710"/>
                </a:lnTo>
                <a:cubicBezTo>
                  <a:pt x="5924" y="2332"/>
                  <a:pt x="6081" y="1954"/>
                  <a:pt x="6176" y="1702"/>
                </a:cubicBezTo>
                <a:cubicBezTo>
                  <a:pt x="6428" y="1229"/>
                  <a:pt x="6711" y="914"/>
                  <a:pt x="7026" y="757"/>
                </a:cubicBezTo>
                <a:close/>
                <a:moveTo>
                  <a:pt x="7688" y="757"/>
                </a:moveTo>
                <a:cubicBezTo>
                  <a:pt x="8003" y="914"/>
                  <a:pt x="8287" y="1229"/>
                  <a:pt x="8507" y="1702"/>
                </a:cubicBezTo>
                <a:cubicBezTo>
                  <a:pt x="8665" y="2017"/>
                  <a:pt x="8791" y="2364"/>
                  <a:pt x="8854" y="2710"/>
                </a:cubicBezTo>
                <a:lnTo>
                  <a:pt x="7688" y="2710"/>
                </a:lnTo>
                <a:lnTo>
                  <a:pt x="7688" y="757"/>
                </a:lnTo>
                <a:close/>
                <a:moveTo>
                  <a:pt x="8917" y="977"/>
                </a:moveTo>
                <a:cubicBezTo>
                  <a:pt x="9704" y="1387"/>
                  <a:pt x="10334" y="1954"/>
                  <a:pt x="10712" y="2710"/>
                </a:cubicBezTo>
                <a:lnTo>
                  <a:pt x="9578" y="2710"/>
                </a:lnTo>
                <a:cubicBezTo>
                  <a:pt x="9452" y="2206"/>
                  <a:pt x="9295" y="1765"/>
                  <a:pt x="9106" y="1387"/>
                </a:cubicBezTo>
                <a:cubicBezTo>
                  <a:pt x="9011" y="1261"/>
                  <a:pt x="8948" y="1103"/>
                  <a:pt x="8917" y="977"/>
                </a:cubicBezTo>
                <a:close/>
                <a:moveTo>
                  <a:pt x="5798" y="1009"/>
                </a:moveTo>
                <a:lnTo>
                  <a:pt x="5798" y="1009"/>
                </a:lnTo>
                <a:cubicBezTo>
                  <a:pt x="5703" y="1135"/>
                  <a:pt x="5640" y="1261"/>
                  <a:pt x="5609" y="1418"/>
                </a:cubicBezTo>
                <a:cubicBezTo>
                  <a:pt x="5388" y="1796"/>
                  <a:pt x="5231" y="2269"/>
                  <a:pt x="5136" y="2742"/>
                </a:cubicBezTo>
                <a:lnTo>
                  <a:pt x="3970" y="2742"/>
                </a:lnTo>
                <a:cubicBezTo>
                  <a:pt x="4380" y="1954"/>
                  <a:pt x="5042" y="1387"/>
                  <a:pt x="5798" y="1009"/>
                </a:cubicBezTo>
                <a:close/>
                <a:moveTo>
                  <a:pt x="5010" y="3435"/>
                </a:moveTo>
                <a:cubicBezTo>
                  <a:pt x="4978" y="3750"/>
                  <a:pt x="4915" y="4096"/>
                  <a:pt x="4915" y="4443"/>
                </a:cubicBezTo>
                <a:cubicBezTo>
                  <a:pt x="4978" y="4789"/>
                  <a:pt x="4978" y="5167"/>
                  <a:pt x="5010" y="5482"/>
                </a:cubicBezTo>
                <a:lnTo>
                  <a:pt x="3718" y="5482"/>
                </a:lnTo>
                <a:cubicBezTo>
                  <a:pt x="3624" y="5167"/>
                  <a:pt x="3561" y="4789"/>
                  <a:pt x="3561" y="4443"/>
                </a:cubicBezTo>
                <a:cubicBezTo>
                  <a:pt x="3561" y="4096"/>
                  <a:pt x="3592" y="3750"/>
                  <a:pt x="3718" y="3435"/>
                </a:cubicBezTo>
                <a:close/>
                <a:moveTo>
                  <a:pt x="7026" y="3435"/>
                </a:moveTo>
                <a:lnTo>
                  <a:pt x="7026" y="5482"/>
                </a:lnTo>
                <a:lnTo>
                  <a:pt x="5703" y="5482"/>
                </a:lnTo>
                <a:cubicBezTo>
                  <a:pt x="5672" y="5136"/>
                  <a:pt x="5640" y="4789"/>
                  <a:pt x="5640" y="4443"/>
                </a:cubicBezTo>
                <a:cubicBezTo>
                  <a:pt x="5640" y="4096"/>
                  <a:pt x="5672" y="3718"/>
                  <a:pt x="5703" y="3435"/>
                </a:cubicBezTo>
                <a:close/>
                <a:moveTo>
                  <a:pt x="8980" y="3435"/>
                </a:moveTo>
                <a:cubicBezTo>
                  <a:pt x="9011" y="3750"/>
                  <a:pt x="9074" y="4096"/>
                  <a:pt x="9074" y="4443"/>
                </a:cubicBezTo>
                <a:cubicBezTo>
                  <a:pt x="9074" y="4789"/>
                  <a:pt x="9011" y="5167"/>
                  <a:pt x="8980" y="5482"/>
                </a:cubicBezTo>
                <a:lnTo>
                  <a:pt x="7688" y="5482"/>
                </a:lnTo>
                <a:lnTo>
                  <a:pt x="7688" y="3435"/>
                </a:lnTo>
                <a:close/>
                <a:moveTo>
                  <a:pt x="10996" y="3435"/>
                </a:moveTo>
                <a:cubicBezTo>
                  <a:pt x="11059" y="3750"/>
                  <a:pt x="11153" y="4096"/>
                  <a:pt x="11153" y="4443"/>
                </a:cubicBezTo>
                <a:cubicBezTo>
                  <a:pt x="11153" y="4789"/>
                  <a:pt x="11122" y="5167"/>
                  <a:pt x="10996" y="5482"/>
                </a:cubicBezTo>
                <a:lnTo>
                  <a:pt x="9704" y="5482"/>
                </a:lnTo>
                <a:cubicBezTo>
                  <a:pt x="9736" y="5136"/>
                  <a:pt x="9767" y="4789"/>
                  <a:pt x="9767" y="4443"/>
                </a:cubicBezTo>
                <a:cubicBezTo>
                  <a:pt x="9736" y="4096"/>
                  <a:pt x="9736" y="3750"/>
                  <a:pt x="9704" y="3435"/>
                </a:cubicBezTo>
                <a:close/>
                <a:moveTo>
                  <a:pt x="5136" y="6144"/>
                </a:moveTo>
                <a:cubicBezTo>
                  <a:pt x="5231" y="6648"/>
                  <a:pt x="5388" y="7089"/>
                  <a:pt x="5609" y="7467"/>
                </a:cubicBezTo>
                <a:cubicBezTo>
                  <a:pt x="5672" y="7593"/>
                  <a:pt x="5766" y="7751"/>
                  <a:pt x="5798" y="7877"/>
                </a:cubicBezTo>
                <a:cubicBezTo>
                  <a:pt x="5042" y="7530"/>
                  <a:pt x="4380" y="6932"/>
                  <a:pt x="3970" y="6144"/>
                </a:cubicBezTo>
                <a:close/>
                <a:moveTo>
                  <a:pt x="10712" y="6144"/>
                </a:moveTo>
                <a:cubicBezTo>
                  <a:pt x="10334" y="6932"/>
                  <a:pt x="9704" y="7530"/>
                  <a:pt x="8917" y="7877"/>
                </a:cubicBezTo>
                <a:cubicBezTo>
                  <a:pt x="8980" y="7751"/>
                  <a:pt x="9074" y="7625"/>
                  <a:pt x="9106" y="7467"/>
                </a:cubicBezTo>
                <a:cubicBezTo>
                  <a:pt x="9295" y="7089"/>
                  <a:pt x="9452" y="6617"/>
                  <a:pt x="9578" y="6144"/>
                </a:cubicBezTo>
                <a:close/>
                <a:moveTo>
                  <a:pt x="7026" y="6144"/>
                </a:moveTo>
                <a:lnTo>
                  <a:pt x="7026" y="8097"/>
                </a:lnTo>
                <a:cubicBezTo>
                  <a:pt x="6743" y="7940"/>
                  <a:pt x="6428" y="7625"/>
                  <a:pt x="6239" y="7152"/>
                </a:cubicBezTo>
                <a:cubicBezTo>
                  <a:pt x="6081" y="6837"/>
                  <a:pt x="5955" y="6491"/>
                  <a:pt x="5861" y="6144"/>
                </a:cubicBezTo>
                <a:close/>
                <a:moveTo>
                  <a:pt x="8854" y="6144"/>
                </a:moveTo>
                <a:cubicBezTo>
                  <a:pt x="8791" y="6522"/>
                  <a:pt x="8633" y="6900"/>
                  <a:pt x="8507" y="7152"/>
                </a:cubicBezTo>
                <a:cubicBezTo>
                  <a:pt x="8287" y="7688"/>
                  <a:pt x="8003" y="8003"/>
                  <a:pt x="7688" y="8097"/>
                </a:cubicBezTo>
                <a:lnTo>
                  <a:pt x="7688" y="6144"/>
                </a:lnTo>
                <a:close/>
                <a:moveTo>
                  <a:pt x="2726" y="8759"/>
                </a:moveTo>
                <a:cubicBezTo>
                  <a:pt x="2813" y="8759"/>
                  <a:pt x="2899" y="8790"/>
                  <a:pt x="2962" y="8853"/>
                </a:cubicBezTo>
                <a:cubicBezTo>
                  <a:pt x="3088" y="8980"/>
                  <a:pt x="3088" y="9169"/>
                  <a:pt x="2962" y="9326"/>
                </a:cubicBezTo>
                <a:lnTo>
                  <a:pt x="1387" y="10901"/>
                </a:lnTo>
                <a:cubicBezTo>
                  <a:pt x="1324" y="10964"/>
                  <a:pt x="1237" y="10996"/>
                  <a:pt x="1151" y="10996"/>
                </a:cubicBezTo>
                <a:cubicBezTo>
                  <a:pt x="1064" y="10996"/>
                  <a:pt x="977" y="10964"/>
                  <a:pt x="914" y="10901"/>
                </a:cubicBezTo>
                <a:cubicBezTo>
                  <a:pt x="788" y="10775"/>
                  <a:pt x="788" y="10555"/>
                  <a:pt x="914" y="10429"/>
                </a:cubicBezTo>
                <a:lnTo>
                  <a:pt x="2490" y="8853"/>
                </a:lnTo>
                <a:cubicBezTo>
                  <a:pt x="2553" y="8790"/>
                  <a:pt x="2639" y="8759"/>
                  <a:pt x="2726" y="8759"/>
                </a:cubicBezTo>
                <a:close/>
                <a:moveTo>
                  <a:pt x="7373" y="1"/>
                </a:moveTo>
                <a:cubicBezTo>
                  <a:pt x="4915" y="1"/>
                  <a:pt x="2931" y="1985"/>
                  <a:pt x="2931" y="4443"/>
                </a:cubicBezTo>
                <a:cubicBezTo>
                  <a:pt x="2931" y="5514"/>
                  <a:pt x="3309" y="6522"/>
                  <a:pt x="4002" y="7310"/>
                </a:cubicBezTo>
                <a:lnTo>
                  <a:pt x="3151" y="8160"/>
                </a:lnTo>
                <a:cubicBezTo>
                  <a:pt x="3011" y="8079"/>
                  <a:pt x="2858" y="8040"/>
                  <a:pt x="2705" y="8040"/>
                </a:cubicBezTo>
                <a:cubicBezTo>
                  <a:pt x="2445" y="8040"/>
                  <a:pt x="2184" y="8151"/>
                  <a:pt x="1986" y="8349"/>
                </a:cubicBezTo>
                <a:lnTo>
                  <a:pt x="410" y="9925"/>
                </a:lnTo>
                <a:cubicBezTo>
                  <a:pt x="1" y="10303"/>
                  <a:pt x="1" y="10996"/>
                  <a:pt x="410" y="11374"/>
                </a:cubicBezTo>
                <a:cubicBezTo>
                  <a:pt x="599" y="11563"/>
                  <a:pt x="883" y="11689"/>
                  <a:pt x="1103" y="11689"/>
                </a:cubicBezTo>
                <a:cubicBezTo>
                  <a:pt x="1387" y="11689"/>
                  <a:pt x="1607" y="11563"/>
                  <a:pt x="1828" y="11374"/>
                </a:cubicBezTo>
                <a:lnTo>
                  <a:pt x="3403" y="9799"/>
                </a:lnTo>
                <a:cubicBezTo>
                  <a:pt x="3718" y="9484"/>
                  <a:pt x="3781" y="9011"/>
                  <a:pt x="3592" y="8633"/>
                </a:cubicBezTo>
                <a:lnTo>
                  <a:pt x="4411" y="7782"/>
                </a:lnTo>
                <a:cubicBezTo>
                  <a:pt x="5199" y="8444"/>
                  <a:pt x="6207" y="8853"/>
                  <a:pt x="7278" y="8853"/>
                </a:cubicBezTo>
                <a:cubicBezTo>
                  <a:pt x="7298" y="8854"/>
                  <a:pt x="7318" y="8854"/>
                  <a:pt x="7338" y="8854"/>
                </a:cubicBezTo>
                <a:cubicBezTo>
                  <a:pt x="9830" y="8854"/>
                  <a:pt x="11815" y="6881"/>
                  <a:pt x="11815" y="4443"/>
                </a:cubicBezTo>
                <a:cubicBezTo>
                  <a:pt x="11815" y="2017"/>
                  <a:pt x="9799"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30" name="Google Shape;10830;p81"/>
          <p:cNvGrpSpPr/>
          <p:nvPr/>
        </p:nvGrpSpPr>
        <p:grpSpPr>
          <a:xfrm>
            <a:off x="3551844" y="1631401"/>
            <a:ext cx="423069" cy="420507"/>
            <a:chOff x="-4932650" y="2046625"/>
            <a:chExt cx="293025" cy="291250"/>
          </a:xfrm>
        </p:grpSpPr>
        <p:sp>
          <p:nvSpPr>
            <p:cNvPr id="10831" name="Google Shape;10831;p81"/>
            <p:cNvSpPr/>
            <p:nvPr/>
          </p:nvSpPr>
          <p:spPr>
            <a:xfrm>
              <a:off x="-4932650" y="2046625"/>
              <a:ext cx="293025" cy="291250"/>
            </a:xfrm>
            <a:custGeom>
              <a:avLst/>
              <a:gdLst/>
              <a:ahLst/>
              <a:cxnLst/>
              <a:rect l="l" t="t" r="r" b="b"/>
              <a:pathLst>
                <a:path w="11721" h="11650" extrusionOk="0">
                  <a:moveTo>
                    <a:pt x="7625" y="694"/>
                  </a:moveTo>
                  <a:cubicBezTo>
                    <a:pt x="9515" y="694"/>
                    <a:pt x="11059" y="2206"/>
                    <a:pt x="11059" y="4096"/>
                  </a:cubicBezTo>
                  <a:cubicBezTo>
                    <a:pt x="11059" y="5987"/>
                    <a:pt x="9515" y="7530"/>
                    <a:pt x="7625" y="7530"/>
                  </a:cubicBezTo>
                  <a:cubicBezTo>
                    <a:pt x="5735" y="7530"/>
                    <a:pt x="4223" y="5987"/>
                    <a:pt x="4223" y="4096"/>
                  </a:cubicBezTo>
                  <a:cubicBezTo>
                    <a:pt x="4223" y="2206"/>
                    <a:pt x="5735" y="694"/>
                    <a:pt x="7625" y="694"/>
                  </a:cubicBezTo>
                  <a:close/>
                  <a:moveTo>
                    <a:pt x="3344" y="8066"/>
                  </a:moveTo>
                  <a:cubicBezTo>
                    <a:pt x="3435" y="8066"/>
                    <a:pt x="3529" y="8098"/>
                    <a:pt x="3593" y="8161"/>
                  </a:cubicBezTo>
                  <a:cubicBezTo>
                    <a:pt x="3719" y="8287"/>
                    <a:pt x="3719" y="8507"/>
                    <a:pt x="3593" y="8633"/>
                  </a:cubicBezTo>
                  <a:lnTo>
                    <a:pt x="1324" y="10870"/>
                  </a:lnTo>
                  <a:cubicBezTo>
                    <a:pt x="1277" y="10933"/>
                    <a:pt x="1190" y="10964"/>
                    <a:pt x="1100" y="10964"/>
                  </a:cubicBezTo>
                  <a:cubicBezTo>
                    <a:pt x="1009" y="10964"/>
                    <a:pt x="915" y="10933"/>
                    <a:pt x="852" y="10870"/>
                  </a:cubicBezTo>
                  <a:cubicBezTo>
                    <a:pt x="757" y="10744"/>
                    <a:pt x="757" y="10523"/>
                    <a:pt x="852" y="10397"/>
                  </a:cubicBezTo>
                  <a:lnTo>
                    <a:pt x="3120" y="8161"/>
                  </a:lnTo>
                  <a:cubicBezTo>
                    <a:pt x="3167" y="8098"/>
                    <a:pt x="3254" y="8066"/>
                    <a:pt x="3344" y="8066"/>
                  </a:cubicBezTo>
                  <a:close/>
                  <a:moveTo>
                    <a:pt x="7625" y="1"/>
                  </a:moveTo>
                  <a:cubicBezTo>
                    <a:pt x="5357" y="1"/>
                    <a:pt x="3529" y="1860"/>
                    <a:pt x="3529" y="4096"/>
                  </a:cubicBezTo>
                  <a:cubicBezTo>
                    <a:pt x="3529" y="5136"/>
                    <a:pt x="3908" y="6050"/>
                    <a:pt x="4538" y="6743"/>
                  </a:cubicBezTo>
                  <a:lnTo>
                    <a:pt x="3813" y="7467"/>
                  </a:lnTo>
                  <a:cubicBezTo>
                    <a:pt x="3673" y="7386"/>
                    <a:pt x="3520" y="7347"/>
                    <a:pt x="3367" y="7347"/>
                  </a:cubicBezTo>
                  <a:cubicBezTo>
                    <a:pt x="3106" y="7347"/>
                    <a:pt x="2846" y="7458"/>
                    <a:pt x="2647" y="7656"/>
                  </a:cubicBezTo>
                  <a:lnTo>
                    <a:pt x="379" y="9893"/>
                  </a:lnTo>
                  <a:cubicBezTo>
                    <a:pt x="1" y="10271"/>
                    <a:pt x="1" y="10964"/>
                    <a:pt x="379" y="11343"/>
                  </a:cubicBezTo>
                  <a:cubicBezTo>
                    <a:pt x="584" y="11547"/>
                    <a:pt x="852" y="11650"/>
                    <a:pt x="1119" y="11650"/>
                  </a:cubicBezTo>
                  <a:cubicBezTo>
                    <a:pt x="1387" y="11650"/>
                    <a:pt x="1655" y="11547"/>
                    <a:pt x="1860" y="11343"/>
                  </a:cubicBezTo>
                  <a:lnTo>
                    <a:pt x="4097" y="9106"/>
                  </a:lnTo>
                  <a:cubicBezTo>
                    <a:pt x="4412" y="8791"/>
                    <a:pt x="4506" y="8318"/>
                    <a:pt x="4286" y="7909"/>
                  </a:cubicBezTo>
                  <a:lnTo>
                    <a:pt x="5010" y="7215"/>
                  </a:lnTo>
                  <a:cubicBezTo>
                    <a:pt x="5703" y="7814"/>
                    <a:pt x="6648" y="8192"/>
                    <a:pt x="7625" y="8192"/>
                  </a:cubicBezTo>
                  <a:cubicBezTo>
                    <a:pt x="9925" y="8192"/>
                    <a:pt x="11721" y="6333"/>
                    <a:pt x="11721" y="4096"/>
                  </a:cubicBezTo>
                  <a:cubicBezTo>
                    <a:pt x="11721" y="1828"/>
                    <a:pt x="9893" y="1"/>
                    <a:pt x="76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2" name="Google Shape;10832;p81"/>
            <p:cNvSpPr/>
            <p:nvPr/>
          </p:nvSpPr>
          <p:spPr>
            <a:xfrm>
              <a:off x="-4802675" y="2115050"/>
              <a:ext cx="122100" cy="86075"/>
            </a:xfrm>
            <a:custGeom>
              <a:avLst/>
              <a:gdLst/>
              <a:ahLst/>
              <a:cxnLst/>
              <a:rect l="l" t="t" r="r" b="b"/>
              <a:pathLst>
                <a:path w="4884" h="3443" extrusionOk="0">
                  <a:moveTo>
                    <a:pt x="2428" y="1"/>
                  </a:moveTo>
                  <a:cubicBezTo>
                    <a:pt x="2301" y="1"/>
                    <a:pt x="2172" y="72"/>
                    <a:pt x="2111" y="225"/>
                  </a:cubicBezTo>
                  <a:lnTo>
                    <a:pt x="1418" y="2116"/>
                  </a:lnTo>
                  <a:lnTo>
                    <a:pt x="693" y="225"/>
                  </a:lnTo>
                  <a:cubicBezTo>
                    <a:pt x="645" y="105"/>
                    <a:pt x="524" y="4"/>
                    <a:pt x="400" y="4"/>
                  </a:cubicBezTo>
                  <a:cubicBezTo>
                    <a:pt x="361" y="4"/>
                    <a:pt x="321" y="14"/>
                    <a:pt x="284" y="36"/>
                  </a:cubicBezTo>
                  <a:cubicBezTo>
                    <a:pt x="126" y="99"/>
                    <a:pt x="0" y="288"/>
                    <a:pt x="63" y="446"/>
                  </a:cubicBezTo>
                  <a:lnTo>
                    <a:pt x="1103" y="3218"/>
                  </a:lnTo>
                  <a:cubicBezTo>
                    <a:pt x="1168" y="3364"/>
                    <a:pt x="1299" y="3443"/>
                    <a:pt x="1428" y="3443"/>
                  </a:cubicBezTo>
                  <a:cubicBezTo>
                    <a:pt x="1551" y="3443"/>
                    <a:pt x="1672" y="3372"/>
                    <a:pt x="1733" y="3218"/>
                  </a:cubicBezTo>
                  <a:lnTo>
                    <a:pt x="2426" y="1328"/>
                  </a:lnTo>
                  <a:lnTo>
                    <a:pt x="3151" y="3218"/>
                  </a:lnTo>
                  <a:cubicBezTo>
                    <a:pt x="3215" y="3364"/>
                    <a:pt x="3346" y="3443"/>
                    <a:pt x="3476" y="3443"/>
                  </a:cubicBezTo>
                  <a:cubicBezTo>
                    <a:pt x="3598" y="3443"/>
                    <a:pt x="3719" y="3372"/>
                    <a:pt x="3781" y="3218"/>
                  </a:cubicBezTo>
                  <a:lnTo>
                    <a:pt x="4789" y="446"/>
                  </a:lnTo>
                  <a:cubicBezTo>
                    <a:pt x="4884" y="257"/>
                    <a:pt x="4789" y="68"/>
                    <a:pt x="4600" y="36"/>
                  </a:cubicBezTo>
                  <a:cubicBezTo>
                    <a:pt x="4562" y="14"/>
                    <a:pt x="4521" y="4"/>
                    <a:pt x="4479" y="4"/>
                  </a:cubicBezTo>
                  <a:cubicBezTo>
                    <a:pt x="4346" y="4"/>
                    <a:pt x="4207" y="105"/>
                    <a:pt x="4159" y="225"/>
                  </a:cubicBezTo>
                  <a:lnTo>
                    <a:pt x="3466" y="2116"/>
                  </a:lnTo>
                  <a:lnTo>
                    <a:pt x="2741" y="225"/>
                  </a:lnTo>
                  <a:cubicBezTo>
                    <a:pt x="2693" y="80"/>
                    <a:pt x="2561" y="1"/>
                    <a:pt x="24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3" name="Google Shape;10833;p81"/>
          <p:cNvSpPr/>
          <p:nvPr/>
        </p:nvSpPr>
        <p:spPr>
          <a:xfrm>
            <a:off x="3553296" y="2140826"/>
            <a:ext cx="420796" cy="419677"/>
          </a:xfrm>
          <a:custGeom>
            <a:avLst/>
            <a:gdLst/>
            <a:ahLst/>
            <a:cxnLst/>
            <a:rect l="l" t="t" r="r" b="b"/>
            <a:pathLst>
              <a:path w="11658" h="11627" extrusionOk="0">
                <a:moveTo>
                  <a:pt x="6806" y="2017"/>
                </a:moveTo>
                <a:lnTo>
                  <a:pt x="6806" y="2773"/>
                </a:lnTo>
                <a:lnTo>
                  <a:pt x="4758" y="2773"/>
                </a:lnTo>
                <a:lnTo>
                  <a:pt x="4758" y="2017"/>
                </a:lnTo>
                <a:close/>
                <a:moveTo>
                  <a:pt x="7152" y="694"/>
                </a:moveTo>
                <a:cubicBezTo>
                  <a:pt x="7688" y="694"/>
                  <a:pt x="8192" y="1167"/>
                  <a:pt x="8192" y="1702"/>
                </a:cubicBezTo>
                <a:lnTo>
                  <a:pt x="8192" y="2773"/>
                </a:lnTo>
                <a:lnTo>
                  <a:pt x="7499" y="2773"/>
                </a:lnTo>
                <a:lnTo>
                  <a:pt x="7499" y="1702"/>
                </a:lnTo>
                <a:cubicBezTo>
                  <a:pt x="7499" y="1513"/>
                  <a:pt x="7341" y="1356"/>
                  <a:pt x="7152" y="1356"/>
                </a:cubicBezTo>
                <a:lnTo>
                  <a:pt x="4411" y="1356"/>
                </a:lnTo>
                <a:cubicBezTo>
                  <a:pt x="4191" y="1356"/>
                  <a:pt x="4033" y="1513"/>
                  <a:pt x="4033" y="1702"/>
                </a:cubicBezTo>
                <a:lnTo>
                  <a:pt x="4033" y="2773"/>
                </a:lnTo>
                <a:lnTo>
                  <a:pt x="3371" y="2773"/>
                </a:lnTo>
                <a:lnTo>
                  <a:pt x="3371" y="1702"/>
                </a:lnTo>
                <a:cubicBezTo>
                  <a:pt x="3371" y="1167"/>
                  <a:pt x="3844" y="694"/>
                  <a:pt x="4411" y="694"/>
                </a:cubicBezTo>
                <a:close/>
                <a:moveTo>
                  <a:pt x="10618" y="3498"/>
                </a:moveTo>
                <a:cubicBezTo>
                  <a:pt x="10807" y="3498"/>
                  <a:pt x="10964" y="3656"/>
                  <a:pt x="10964" y="3845"/>
                </a:cubicBezTo>
                <a:lnTo>
                  <a:pt x="10964" y="5010"/>
                </a:lnTo>
                <a:cubicBezTo>
                  <a:pt x="9546" y="6239"/>
                  <a:pt x="7688" y="6901"/>
                  <a:pt x="5766" y="6901"/>
                </a:cubicBezTo>
                <a:cubicBezTo>
                  <a:pt x="3876" y="6901"/>
                  <a:pt x="2080" y="6239"/>
                  <a:pt x="662" y="5010"/>
                </a:cubicBezTo>
                <a:lnTo>
                  <a:pt x="662" y="3971"/>
                </a:lnTo>
                <a:cubicBezTo>
                  <a:pt x="662" y="3687"/>
                  <a:pt x="851" y="3498"/>
                  <a:pt x="1135" y="3498"/>
                </a:cubicBezTo>
                <a:close/>
                <a:moveTo>
                  <a:pt x="6806" y="7531"/>
                </a:moveTo>
                <a:lnTo>
                  <a:pt x="6806" y="7940"/>
                </a:lnTo>
                <a:cubicBezTo>
                  <a:pt x="6806" y="8129"/>
                  <a:pt x="6648" y="8287"/>
                  <a:pt x="6459" y="8287"/>
                </a:cubicBezTo>
                <a:lnTo>
                  <a:pt x="5073" y="8287"/>
                </a:lnTo>
                <a:cubicBezTo>
                  <a:pt x="4884" y="8287"/>
                  <a:pt x="4726" y="8129"/>
                  <a:pt x="4726" y="7940"/>
                </a:cubicBezTo>
                <a:lnTo>
                  <a:pt x="4726" y="7531"/>
                </a:lnTo>
                <a:lnTo>
                  <a:pt x="4758" y="7531"/>
                </a:lnTo>
                <a:cubicBezTo>
                  <a:pt x="5104" y="7594"/>
                  <a:pt x="5419" y="7625"/>
                  <a:pt x="5766" y="7625"/>
                </a:cubicBezTo>
                <a:cubicBezTo>
                  <a:pt x="6112" y="7625"/>
                  <a:pt x="6427" y="7594"/>
                  <a:pt x="6806" y="7531"/>
                </a:cubicBezTo>
                <a:close/>
                <a:moveTo>
                  <a:pt x="10964" y="5892"/>
                </a:moveTo>
                <a:lnTo>
                  <a:pt x="10964" y="9988"/>
                </a:lnTo>
                <a:cubicBezTo>
                  <a:pt x="10964" y="10524"/>
                  <a:pt x="10492" y="10996"/>
                  <a:pt x="9956" y="10996"/>
                </a:cubicBezTo>
                <a:lnTo>
                  <a:pt x="1670" y="10996"/>
                </a:lnTo>
                <a:cubicBezTo>
                  <a:pt x="1135" y="10996"/>
                  <a:pt x="662" y="10524"/>
                  <a:pt x="662" y="9988"/>
                </a:cubicBezTo>
                <a:lnTo>
                  <a:pt x="662" y="5892"/>
                </a:lnTo>
                <a:cubicBezTo>
                  <a:pt x="1670" y="6649"/>
                  <a:pt x="2804" y="7184"/>
                  <a:pt x="4065" y="7436"/>
                </a:cubicBezTo>
                <a:lnTo>
                  <a:pt x="4065" y="7940"/>
                </a:lnTo>
                <a:cubicBezTo>
                  <a:pt x="4065" y="8476"/>
                  <a:pt x="4537" y="8948"/>
                  <a:pt x="5104" y="8948"/>
                </a:cubicBezTo>
                <a:lnTo>
                  <a:pt x="6490" y="8948"/>
                </a:lnTo>
                <a:cubicBezTo>
                  <a:pt x="7026" y="8948"/>
                  <a:pt x="7499" y="8476"/>
                  <a:pt x="7499" y="7940"/>
                </a:cubicBezTo>
                <a:lnTo>
                  <a:pt x="7499" y="7436"/>
                </a:lnTo>
                <a:cubicBezTo>
                  <a:pt x="7971" y="7342"/>
                  <a:pt x="8444" y="7184"/>
                  <a:pt x="8916" y="7027"/>
                </a:cubicBezTo>
                <a:cubicBezTo>
                  <a:pt x="9672" y="6743"/>
                  <a:pt x="10334" y="6365"/>
                  <a:pt x="10964" y="5892"/>
                </a:cubicBezTo>
                <a:close/>
                <a:moveTo>
                  <a:pt x="4411" y="1"/>
                </a:moveTo>
                <a:cubicBezTo>
                  <a:pt x="3466" y="1"/>
                  <a:pt x="2710" y="757"/>
                  <a:pt x="2710" y="1702"/>
                </a:cubicBezTo>
                <a:lnTo>
                  <a:pt x="2710" y="2773"/>
                </a:lnTo>
                <a:lnTo>
                  <a:pt x="1135" y="2773"/>
                </a:lnTo>
                <a:cubicBezTo>
                  <a:pt x="505" y="2773"/>
                  <a:pt x="0" y="3277"/>
                  <a:pt x="0" y="3908"/>
                </a:cubicBezTo>
                <a:lnTo>
                  <a:pt x="0" y="9957"/>
                </a:lnTo>
                <a:cubicBezTo>
                  <a:pt x="0" y="10902"/>
                  <a:pt x="725" y="11626"/>
                  <a:pt x="1670" y="11626"/>
                </a:cubicBezTo>
                <a:lnTo>
                  <a:pt x="9956" y="11626"/>
                </a:lnTo>
                <a:cubicBezTo>
                  <a:pt x="10901" y="11626"/>
                  <a:pt x="11657" y="10902"/>
                  <a:pt x="11657" y="9957"/>
                </a:cubicBezTo>
                <a:lnTo>
                  <a:pt x="11657" y="3813"/>
                </a:lnTo>
                <a:cubicBezTo>
                  <a:pt x="11626" y="3246"/>
                  <a:pt x="11153" y="2773"/>
                  <a:pt x="10618" y="2773"/>
                </a:cubicBezTo>
                <a:lnTo>
                  <a:pt x="8853" y="2773"/>
                </a:lnTo>
                <a:lnTo>
                  <a:pt x="8853" y="1702"/>
                </a:lnTo>
                <a:cubicBezTo>
                  <a:pt x="8853" y="757"/>
                  <a:pt x="8097" y="1"/>
                  <a:pt x="71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34" name="Google Shape;10834;p81"/>
          <p:cNvGrpSpPr/>
          <p:nvPr/>
        </p:nvGrpSpPr>
        <p:grpSpPr>
          <a:xfrm>
            <a:off x="3563775" y="2660957"/>
            <a:ext cx="423069" cy="420796"/>
            <a:chOff x="-4931075" y="2765725"/>
            <a:chExt cx="293025" cy="291450"/>
          </a:xfrm>
        </p:grpSpPr>
        <p:sp>
          <p:nvSpPr>
            <p:cNvPr id="10835" name="Google Shape;10835;p81"/>
            <p:cNvSpPr/>
            <p:nvPr/>
          </p:nvSpPr>
          <p:spPr>
            <a:xfrm>
              <a:off x="-4810550" y="2884650"/>
              <a:ext cx="51225" cy="51225"/>
            </a:xfrm>
            <a:custGeom>
              <a:avLst/>
              <a:gdLst/>
              <a:ahLst/>
              <a:cxnLst/>
              <a:rect l="l" t="t" r="r" b="b"/>
              <a:pathLst>
                <a:path w="2049" h="2049" extrusionOk="0">
                  <a:moveTo>
                    <a:pt x="1008" y="663"/>
                  </a:moveTo>
                  <a:cubicBezTo>
                    <a:pt x="1229" y="663"/>
                    <a:pt x="1386" y="820"/>
                    <a:pt x="1386" y="1041"/>
                  </a:cubicBezTo>
                  <a:cubicBezTo>
                    <a:pt x="1386" y="1230"/>
                    <a:pt x="1229" y="1387"/>
                    <a:pt x="1008" y="1387"/>
                  </a:cubicBezTo>
                  <a:cubicBezTo>
                    <a:pt x="819" y="1387"/>
                    <a:pt x="662" y="1230"/>
                    <a:pt x="662" y="1041"/>
                  </a:cubicBezTo>
                  <a:cubicBezTo>
                    <a:pt x="662" y="820"/>
                    <a:pt x="819" y="663"/>
                    <a:pt x="1008" y="663"/>
                  </a:cubicBezTo>
                  <a:close/>
                  <a:moveTo>
                    <a:pt x="1008" y="1"/>
                  </a:moveTo>
                  <a:cubicBezTo>
                    <a:pt x="473" y="1"/>
                    <a:pt x="0" y="473"/>
                    <a:pt x="0" y="1041"/>
                  </a:cubicBezTo>
                  <a:cubicBezTo>
                    <a:pt x="0" y="1576"/>
                    <a:pt x="473" y="2049"/>
                    <a:pt x="1040" y="2049"/>
                  </a:cubicBezTo>
                  <a:cubicBezTo>
                    <a:pt x="1575" y="2049"/>
                    <a:pt x="2048" y="1576"/>
                    <a:pt x="2048" y="1041"/>
                  </a:cubicBezTo>
                  <a:cubicBezTo>
                    <a:pt x="2048" y="473"/>
                    <a:pt x="160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6" name="Google Shape;10836;p81"/>
            <p:cNvSpPr/>
            <p:nvPr/>
          </p:nvSpPr>
          <p:spPr>
            <a:xfrm>
              <a:off x="-4931075" y="2765725"/>
              <a:ext cx="293025" cy="291450"/>
            </a:xfrm>
            <a:custGeom>
              <a:avLst/>
              <a:gdLst/>
              <a:ahLst/>
              <a:cxnLst/>
              <a:rect l="l" t="t" r="r" b="b"/>
              <a:pathLst>
                <a:path w="11721" h="11658" extrusionOk="0">
                  <a:moveTo>
                    <a:pt x="3214" y="1387"/>
                  </a:moveTo>
                  <a:lnTo>
                    <a:pt x="4475" y="3844"/>
                  </a:lnTo>
                  <a:cubicBezTo>
                    <a:pt x="4223" y="4002"/>
                    <a:pt x="4034" y="4222"/>
                    <a:pt x="3876" y="4443"/>
                  </a:cubicBezTo>
                  <a:lnTo>
                    <a:pt x="1356" y="3214"/>
                  </a:lnTo>
                  <a:cubicBezTo>
                    <a:pt x="1828" y="2427"/>
                    <a:pt x="2458" y="1796"/>
                    <a:pt x="3214" y="1387"/>
                  </a:cubicBezTo>
                  <a:close/>
                  <a:moveTo>
                    <a:pt x="5829" y="4128"/>
                  </a:moveTo>
                  <a:cubicBezTo>
                    <a:pt x="6775" y="4128"/>
                    <a:pt x="7531" y="4884"/>
                    <a:pt x="7531" y="5829"/>
                  </a:cubicBezTo>
                  <a:cubicBezTo>
                    <a:pt x="7562" y="6743"/>
                    <a:pt x="6775" y="7530"/>
                    <a:pt x="5829" y="7530"/>
                  </a:cubicBezTo>
                  <a:cubicBezTo>
                    <a:pt x="4884" y="7530"/>
                    <a:pt x="4160" y="6774"/>
                    <a:pt x="4160" y="5829"/>
                  </a:cubicBezTo>
                  <a:cubicBezTo>
                    <a:pt x="4160" y="4884"/>
                    <a:pt x="4884" y="4128"/>
                    <a:pt x="5829" y="4128"/>
                  </a:cubicBezTo>
                  <a:close/>
                  <a:moveTo>
                    <a:pt x="5798" y="662"/>
                  </a:moveTo>
                  <a:cubicBezTo>
                    <a:pt x="8665" y="662"/>
                    <a:pt x="10996" y="2994"/>
                    <a:pt x="10996" y="5861"/>
                  </a:cubicBezTo>
                  <a:cubicBezTo>
                    <a:pt x="10996" y="6585"/>
                    <a:pt x="10839" y="7247"/>
                    <a:pt x="10618" y="7845"/>
                  </a:cubicBezTo>
                  <a:lnTo>
                    <a:pt x="8129" y="6585"/>
                  </a:lnTo>
                  <a:cubicBezTo>
                    <a:pt x="8192" y="6333"/>
                    <a:pt x="8255" y="6050"/>
                    <a:pt x="8255" y="5829"/>
                  </a:cubicBezTo>
                  <a:cubicBezTo>
                    <a:pt x="8255" y="4474"/>
                    <a:pt x="7184" y="3435"/>
                    <a:pt x="5829" y="3435"/>
                  </a:cubicBezTo>
                  <a:cubicBezTo>
                    <a:pt x="5577" y="3435"/>
                    <a:pt x="5325" y="3466"/>
                    <a:pt x="5105" y="3529"/>
                  </a:cubicBezTo>
                  <a:lnTo>
                    <a:pt x="3845" y="1072"/>
                  </a:lnTo>
                  <a:cubicBezTo>
                    <a:pt x="4412" y="820"/>
                    <a:pt x="5105" y="662"/>
                    <a:pt x="5798" y="662"/>
                  </a:cubicBezTo>
                  <a:close/>
                  <a:moveTo>
                    <a:pt x="7814" y="7152"/>
                  </a:moveTo>
                  <a:lnTo>
                    <a:pt x="10303" y="8412"/>
                  </a:lnTo>
                  <a:cubicBezTo>
                    <a:pt x="9862" y="9200"/>
                    <a:pt x="9232" y="9830"/>
                    <a:pt x="8444" y="10271"/>
                  </a:cubicBezTo>
                  <a:lnTo>
                    <a:pt x="7216" y="7751"/>
                  </a:lnTo>
                  <a:cubicBezTo>
                    <a:pt x="7468" y="7593"/>
                    <a:pt x="7657" y="7404"/>
                    <a:pt x="7814" y="7152"/>
                  </a:cubicBezTo>
                  <a:close/>
                  <a:moveTo>
                    <a:pt x="1072" y="3844"/>
                  </a:moveTo>
                  <a:lnTo>
                    <a:pt x="3593" y="5073"/>
                  </a:lnTo>
                  <a:cubicBezTo>
                    <a:pt x="3530" y="5325"/>
                    <a:pt x="3498" y="5546"/>
                    <a:pt x="3498" y="5829"/>
                  </a:cubicBezTo>
                  <a:cubicBezTo>
                    <a:pt x="3498" y="7152"/>
                    <a:pt x="4538" y="8223"/>
                    <a:pt x="5892" y="8223"/>
                  </a:cubicBezTo>
                  <a:cubicBezTo>
                    <a:pt x="6176" y="8223"/>
                    <a:pt x="6396" y="8192"/>
                    <a:pt x="6648" y="8097"/>
                  </a:cubicBezTo>
                  <a:lnTo>
                    <a:pt x="7846" y="10618"/>
                  </a:lnTo>
                  <a:cubicBezTo>
                    <a:pt x="7216" y="10901"/>
                    <a:pt x="6554" y="11027"/>
                    <a:pt x="5892" y="11027"/>
                  </a:cubicBezTo>
                  <a:cubicBezTo>
                    <a:pt x="2994" y="10996"/>
                    <a:pt x="694" y="8665"/>
                    <a:pt x="694" y="5829"/>
                  </a:cubicBezTo>
                  <a:cubicBezTo>
                    <a:pt x="694" y="5104"/>
                    <a:pt x="852" y="4443"/>
                    <a:pt x="1072" y="3844"/>
                  </a:cubicBezTo>
                  <a:close/>
                  <a:moveTo>
                    <a:pt x="5798" y="1"/>
                  </a:moveTo>
                  <a:cubicBezTo>
                    <a:pt x="4254" y="1"/>
                    <a:pt x="2773" y="599"/>
                    <a:pt x="1702" y="1702"/>
                  </a:cubicBezTo>
                  <a:cubicBezTo>
                    <a:pt x="600" y="2805"/>
                    <a:pt x="1" y="4254"/>
                    <a:pt x="1" y="5798"/>
                  </a:cubicBezTo>
                  <a:cubicBezTo>
                    <a:pt x="1" y="8980"/>
                    <a:pt x="2647" y="11657"/>
                    <a:pt x="5892" y="11657"/>
                  </a:cubicBezTo>
                  <a:cubicBezTo>
                    <a:pt x="9106" y="11657"/>
                    <a:pt x="11721" y="9043"/>
                    <a:pt x="11721" y="5829"/>
                  </a:cubicBezTo>
                  <a:cubicBezTo>
                    <a:pt x="11658" y="2647"/>
                    <a:pt x="9043" y="1"/>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7" name="Google Shape;10837;p81"/>
          <p:cNvGrpSpPr/>
          <p:nvPr/>
        </p:nvGrpSpPr>
        <p:grpSpPr>
          <a:xfrm>
            <a:off x="6269343" y="1656289"/>
            <a:ext cx="420796" cy="370732"/>
            <a:chOff x="-3137650" y="2067900"/>
            <a:chExt cx="291450" cy="256775"/>
          </a:xfrm>
        </p:grpSpPr>
        <p:sp>
          <p:nvSpPr>
            <p:cNvPr id="10838" name="Google Shape;10838;p81"/>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9" name="Google Shape;10839;p81"/>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0" name="Google Shape;10840;p81"/>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1" name="Google Shape;10841;p81"/>
          <p:cNvGrpSpPr/>
          <p:nvPr/>
        </p:nvGrpSpPr>
        <p:grpSpPr>
          <a:xfrm>
            <a:off x="6269343" y="2139926"/>
            <a:ext cx="420796" cy="421770"/>
            <a:chOff x="-3137650" y="2408950"/>
            <a:chExt cx="291450" cy="292125"/>
          </a:xfrm>
        </p:grpSpPr>
        <p:sp>
          <p:nvSpPr>
            <p:cNvPr id="10842" name="Google Shape;10842;p81"/>
            <p:cNvSpPr/>
            <p:nvPr/>
          </p:nvSpPr>
          <p:spPr>
            <a:xfrm>
              <a:off x="-3137650" y="2408950"/>
              <a:ext cx="291450" cy="292125"/>
            </a:xfrm>
            <a:custGeom>
              <a:avLst/>
              <a:gdLst/>
              <a:ahLst/>
              <a:cxnLst/>
              <a:rect l="l" t="t" r="r" b="b"/>
              <a:pathLst>
                <a:path w="11658" h="11685" extrusionOk="0">
                  <a:moveTo>
                    <a:pt x="10618" y="662"/>
                  </a:moveTo>
                  <a:cubicBezTo>
                    <a:pt x="10807" y="662"/>
                    <a:pt x="10964" y="851"/>
                    <a:pt x="10964" y="1040"/>
                  </a:cubicBezTo>
                  <a:lnTo>
                    <a:pt x="10964" y="2741"/>
                  </a:lnTo>
                  <a:lnTo>
                    <a:pt x="662" y="2741"/>
                  </a:lnTo>
                  <a:lnTo>
                    <a:pt x="662" y="1040"/>
                  </a:lnTo>
                  <a:cubicBezTo>
                    <a:pt x="662" y="851"/>
                    <a:pt x="820" y="662"/>
                    <a:pt x="1009" y="662"/>
                  </a:cubicBezTo>
                  <a:close/>
                  <a:moveTo>
                    <a:pt x="10964" y="3403"/>
                  </a:moveTo>
                  <a:lnTo>
                    <a:pt x="10964" y="8601"/>
                  </a:lnTo>
                  <a:cubicBezTo>
                    <a:pt x="10964" y="8790"/>
                    <a:pt x="10838" y="8947"/>
                    <a:pt x="10618" y="8947"/>
                  </a:cubicBezTo>
                  <a:lnTo>
                    <a:pt x="10145" y="8947"/>
                  </a:lnTo>
                  <a:cubicBezTo>
                    <a:pt x="10208" y="8727"/>
                    <a:pt x="10240" y="8443"/>
                    <a:pt x="10240" y="8160"/>
                  </a:cubicBezTo>
                  <a:lnTo>
                    <a:pt x="10240" y="5860"/>
                  </a:lnTo>
                  <a:cubicBezTo>
                    <a:pt x="10240" y="5673"/>
                    <a:pt x="10058" y="5531"/>
                    <a:pt x="9868" y="5531"/>
                  </a:cubicBezTo>
                  <a:cubicBezTo>
                    <a:pt x="9835" y="5531"/>
                    <a:pt x="9801" y="5535"/>
                    <a:pt x="9767" y="5545"/>
                  </a:cubicBezTo>
                  <a:cubicBezTo>
                    <a:pt x="9545" y="5641"/>
                    <a:pt x="9341" y="5691"/>
                    <a:pt x="9142" y="5691"/>
                  </a:cubicBezTo>
                  <a:cubicBezTo>
                    <a:pt x="8693" y="5691"/>
                    <a:pt x="8275" y="5439"/>
                    <a:pt x="7751" y="4915"/>
                  </a:cubicBezTo>
                  <a:cubicBezTo>
                    <a:pt x="7688" y="4868"/>
                    <a:pt x="7601" y="4844"/>
                    <a:pt x="7515" y="4844"/>
                  </a:cubicBezTo>
                  <a:cubicBezTo>
                    <a:pt x="7428" y="4844"/>
                    <a:pt x="7341" y="4868"/>
                    <a:pt x="7278" y="4915"/>
                  </a:cubicBezTo>
                  <a:cubicBezTo>
                    <a:pt x="6753" y="5440"/>
                    <a:pt x="6334" y="5677"/>
                    <a:pt x="5884" y="5677"/>
                  </a:cubicBezTo>
                  <a:cubicBezTo>
                    <a:pt x="5686" y="5677"/>
                    <a:pt x="5483" y="5631"/>
                    <a:pt x="5262" y="5545"/>
                  </a:cubicBezTo>
                  <a:cubicBezTo>
                    <a:pt x="5229" y="5535"/>
                    <a:pt x="5195" y="5531"/>
                    <a:pt x="5161" y="5531"/>
                  </a:cubicBezTo>
                  <a:cubicBezTo>
                    <a:pt x="4971" y="5531"/>
                    <a:pt x="4789" y="5673"/>
                    <a:pt x="4789" y="5860"/>
                  </a:cubicBezTo>
                  <a:lnTo>
                    <a:pt x="4789" y="8160"/>
                  </a:lnTo>
                  <a:cubicBezTo>
                    <a:pt x="4789" y="8443"/>
                    <a:pt x="4821" y="8664"/>
                    <a:pt x="4884" y="8947"/>
                  </a:cubicBezTo>
                  <a:lnTo>
                    <a:pt x="1009" y="8947"/>
                  </a:lnTo>
                  <a:cubicBezTo>
                    <a:pt x="820" y="8947"/>
                    <a:pt x="662" y="8790"/>
                    <a:pt x="662" y="8601"/>
                  </a:cubicBezTo>
                  <a:lnTo>
                    <a:pt x="662" y="3403"/>
                  </a:lnTo>
                  <a:close/>
                  <a:moveTo>
                    <a:pt x="7152" y="5923"/>
                  </a:moveTo>
                  <a:lnTo>
                    <a:pt x="7152" y="10838"/>
                  </a:lnTo>
                  <a:cubicBezTo>
                    <a:pt x="6144" y="10365"/>
                    <a:pt x="5451" y="9357"/>
                    <a:pt x="5451" y="8160"/>
                  </a:cubicBezTo>
                  <a:lnTo>
                    <a:pt x="5451" y="6301"/>
                  </a:lnTo>
                  <a:cubicBezTo>
                    <a:pt x="5604" y="6330"/>
                    <a:pt x="5750" y="6344"/>
                    <a:pt x="5891" y="6344"/>
                  </a:cubicBezTo>
                  <a:cubicBezTo>
                    <a:pt x="6359" y="6344"/>
                    <a:pt x="6765" y="6189"/>
                    <a:pt x="7152" y="5923"/>
                  </a:cubicBezTo>
                  <a:close/>
                  <a:moveTo>
                    <a:pt x="7877" y="5923"/>
                  </a:moveTo>
                  <a:cubicBezTo>
                    <a:pt x="8242" y="6166"/>
                    <a:pt x="8644" y="6353"/>
                    <a:pt x="9128" y="6353"/>
                  </a:cubicBezTo>
                  <a:cubicBezTo>
                    <a:pt x="9271" y="6353"/>
                    <a:pt x="9420" y="6337"/>
                    <a:pt x="9578" y="6301"/>
                  </a:cubicBezTo>
                  <a:lnTo>
                    <a:pt x="9578" y="8160"/>
                  </a:lnTo>
                  <a:cubicBezTo>
                    <a:pt x="9547" y="9357"/>
                    <a:pt x="8885" y="10365"/>
                    <a:pt x="7877" y="10838"/>
                  </a:cubicBezTo>
                  <a:lnTo>
                    <a:pt x="7877" y="5923"/>
                  </a:lnTo>
                  <a:close/>
                  <a:moveTo>
                    <a:pt x="1009" y="0"/>
                  </a:moveTo>
                  <a:cubicBezTo>
                    <a:pt x="473" y="0"/>
                    <a:pt x="1" y="473"/>
                    <a:pt x="1" y="1040"/>
                  </a:cubicBezTo>
                  <a:lnTo>
                    <a:pt x="1" y="8601"/>
                  </a:lnTo>
                  <a:cubicBezTo>
                    <a:pt x="1" y="9136"/>
                    <a:pt x="473" y="9609"/>
                    <a:pt x="1009" y="9609"/>
                  </a:cubicBezTo>
                  <a:lnTo>
                    <a:pt x="5073" y="9609"/>
                  </a:lnTo>
                  <a:cubicBezTo>
                    <a:pt x="5199" y="9893"/>
                    <a:pt x="5357" y="10145"/>
                    <a:pt x="5514" y="10365"/>
                  </a:cubicBezTo>
                  <a:cubicBezTo>
                    <a:pt x="5987" y="10995"/>
                    <a:pt x="6617" y="11436"/>
                    <a:pt x="7404" y="11657"/>
                  </a:cubicBezTo>
                  <a:cubicBezTo>
                    <a:pt x="7446" y="11657"/>
                    <a:pt x="7488" y="11685"/>
                    <a:pt x="7530" y="11685"/>
                  </a:cubicBezTo>
                  <a:cubicBezTo>
                    <a:pt x="7551" y="11685"/>
                    <a:pt x="7572" y="11678"/>
                    <a:pt x="7593" y="11657"/>
                  </a:cubicBezTo>
                  <a:cubicBezTo>
                    <a:pt x="8350" y="11436"/>
                    <a:pt x="9011" y="10995"/>
                    <a:pt x="9484" y="10365"/>
                  </a:cubicBezTo>
                  <a:cubicBezTo>
                    <a:pt x="9641" y="10145"/>
                    <a:pt x="9799" y="9893"/>
                    <a:pt x="9925" y="9609"/>
                  </a:cubicBezTo>
                  <a:lnTo>
                    <a:pt x="10618" y="9609"/>
                  </a:lnTo>
                  <a:cubicBezTo>
                    <a:pt x="11185" y="9609"/>
                    <a:pt x="11658" y="9136"/>
                    <a:pt x="11658" y="8601"/>
                  </a:cubicBezTo>
                  <a:lnTo>
                    <a:pt x="11658" y="1040"/>
                  </a:lnTo>
                  <a:cubicBezTo>
                    <a:pt x="11658" y="473"/>
                    <a:pt x="11217"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81"/>
            <p:cNvSpPr/>
            <p:nvPr/>
          </p:nvSpPr>
          <p:spPr>
            <a:xfrm>
              <a:off x="-3104575" y="24428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81"/>
            <p:cNvSpPr/>
            <p:nvPr/>
          </p:nvSpPr>
          <p:spPr>
            <a:xfrm>
              <a:off x="-306990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5" name="Google Shape;10845;p81"/>
            <p:cNvSpPr/>
            <p:nvPr/>
          </p:nvSpPr>
          <p:spPr>
            <a:xfrm>
              <a:off x="-303525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6" name="Google Shape;10846;p81"/>
            <p:cNvSpPr/>
            <p:nvPr/>
          </p:nvSpPr>
          <p:spPr>
            <a:xfrm>
              <a:off x="-3002175" y="2442800"/>
              <a:ext cx="120525" cy="17350"/>
            </a:xfrm>
            <a:custGeom>
              <a:avLst/>
              <a:gdLst/>
              <a:ahLst/>
              <a:cxnLst/>
              <a:rect l="l" t="t" r="r" b="b"/>
              <a:pathLst>
                <a:path w="4821" h="694" extrusionOk="0">
                  <a:moveTo>
                    <a:pt x="347" y="1"/>
                  </a:moveTo>
                  <a:cubicBezTo>
                    <a:pt x="158" y="1"/>
                    <a:pt x="1" y="158"/>
                    <a:pt x="1" y="347"/>
                  </a:cubicBezTo>
                  <a:cubicBezTo>
                    <a:pt x="32" y="536"/>
                    <a:pt x="190" y="694"/>
                    <a:pt x="347" y="694"/>
                  </a:cubicBezTo>
                  <a:lnTo>
                    <a:pt x="4443" y="694"/>
                  </a:lnTo>
                  <a:cubicBezTo>
                    <a:pt x="4663" y="694"/>
                    <a:pt x="4821" y="536"/>
                    <a:pt x="4821" y="347"/>
                  </a:cubicBezTo>
                  <a:cubicBezTo>
                    <a:pt x="4821" y="158"/>
                    <a:pt x="4663"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7" name="Google Shape;10847;p81"/>
          <p:cNvGrpSpPr/>
          <p:nvPr/>
        </p:nvGrpSpPr>
        <p:grpSpPr>
          <a:xfrm>
            <a:off x="6281274" y="2685412"/>
            <a:ext cx="420796" cy="371887"/>
            <a:chOff x="-3137650" y="2787000"/>
            <a:chExt cx="291450" cy="257575"/>
          </a:xfrm>
        </p:grpSpPr>
        <p:sp>
          <p:nvSpPr>
            <p:cNvPr id="10848" name="Google Shape;10848;p81"/>
            <p:cNvSpPr/>
            <p:nvPr/>
          </p:nvSpPr>
          <p:spPr>
            <a:xfrm>
              <a:off x="-3137650" y="2787000"/>
              <a:ext cx="291450" cy="257575"/>
            </a:xfrm>
            <a:custGeom>
              <a:avLst/>
              <a:gdLst/>
              <a:ahLst/>
              <a:cxnLst/>
              <a:rect l="l" t="t" r="r" b="b"/>
              <a:pathLst>
                <a:path w="11658" h="10303" extrusionOk="0">
                  <a:moveTo>
                    <a:pt x="10618" y="693"/>
                  </a:moveTo>
                  <a:cubicBezTo>
                    <a:pt x="10807" y="693"/>
                    <a:pt x="10964" y="851"/>
                    <a:pt x="10964" y="1040"/>
                  </a:cubicBezTo>
                  <a:lnTo>
                    <a:pt x="10964" y="2741"/>
                  </a:lnTo>
                  <a:lnTo>
                    <a:pt x="662" y="2741"/>
                  </a:lnTo>
                  <a:lnTo>
                    <a:pt x="662" y="1040"/>
                  </a:lnTo>
                  <a:cubicBezTo>
                    <a:pt x="662" y="851"/>
                    <a:pt x="820" y="693"/>
                    <a:pt x="1009" y="693"/>
                  </a:cubicBezTo>
                  <a:close/>
                  <a:moveTo>
                    <a:pt x="10996" y="3403"/>
                  </a:moveTo>
                  <a:lnTo>
                    <a:pt x="10996" y="9231"/>
                  </a:lnTo>
                  <a:cubicBezTo>
                    <a:pt x="10964" y="9420"/>
                    <a:pt x="10838" y="9578"/>
                    <a:pt x="10618" y="9578"/>
                  </a:cubicBezTo>
                  <a:lnTo>
                    <a:pt x="1009" y="9578"/>
                  </a:lnTo>
                  <a:cubicBezTo>
                    <a:pt x="820" y="9578"/>
                    <a:pt x="662" y="9420"/>
                    <a:pt x="662" y="9231"/>
                  </a:cubicBezTo>
                  <a:lnTo>
                    <a:pt x="662" y="3403"/>
                  </a:lnTo>
                  <a:close/>
                  <a:moveTo>
                    <a:pt x="1009" y="0"/>
                  </a:moveTo>
                  <a:cubicBezTo>
                    <a:pt x="473" y="0"/>
                    <a:pt x="1" y="473"/>
                    <a:pt x="1" y="1040"/>
                  </a:cubicBezTo>
                  <a:lnTo>
                    <a:pt x="1" y="9263"/>
                  </a:lnTo>
                  <a:cubicBezTo>
                    <a:pt x="1" y="9830"/>
                    <a:pt x="473" y="10302"/>
                    <a:pt x="1009" y="10302"/>
                  </a:cubicBezTo>
                  <a:lnTo>
                    <a:pt x="10618" y="10302"/>
                  </a:lnTo>
                  <a:cubicBezTo>
                    <a:pt x="11185" y="10302"/>
                    <a:pt x="11658" y="9830"/>
                    <a:pt x="11658" y="9263"/>
                  </a:cubicBezTo>
                  <a:lnTo>
                    <a:pt x="11658" y="1040"/>
                  </a:lnTo>
                  <a:cubicBezTo>
                    <a:pt x="11658" y="441"/>
                    <a:pt x="11217"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9" name="Google Shape;10849;p81"/>
            <p:cNvSpPr/>
            <p:nvPr/>
          </p:nvSpPr>
          <p:spPr>
            <a:xfrm>
              <a:off x="-3104575" y="2820875"/>
              <a:ext cx="18150" cy="17350"/>
            </a:xfrm>
            <a:custGeom>
              <a:avLst/>
              <a:gdLst/>
              <a:ahLst/>
              <a:cxnLst/>
              <a:rect l="l" t="t" r="r" b="b"/>
              <a:pathLst>
                <a:path w="726" h="694" extrusionOk="0">
                  <a:moveTo>
                    <a:pt x="348" y="0"/>
                  </a:moveTo>
                  <a:cubicBezTo>
                    <a:pt x="158" y="0"/>
                    <a:pt x="1" y="158"/>
                    <a:pt x="1" y="347"/>
                  </a:cubicBezTo>
                  <a:cubicBezTo>
                    <a:pt x="1" y="536"/>
                    <a:pt x="158"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81"/>
            <p:cNvSpPr/>
            <p:nvPr/>
          </p:nvSpPr>
          <p:spPr>
            <a:xfrm>
              <a:off x="-306990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81"/>
            <p:cNvSpPr/>
            <p:nvPr/>
          </p:nvSpPr>
          <p:spPr>
            <a:xfrm>
              <a:off x="-303525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81"/>
            <p:cNvSpPr/>
            <p:nvPr/>
          </p:nvSpPr>
          <p:spPr>
            <a:xfrm>
              <a:off x="-3002175" y="2820875"/>
              <a:ext cx="121325" cy="17350"/>
            </a:xfrm>
            <a:custGeom>
              <a:avLst/>
              <a:gdLst/>
              <a:ahLst/>
              <a:cxnLst/>
              <a:rect l="l" t="t" r="r" b="b"/>
              <a:pathLst>
                <a:path w="4853" h="694" extrusionOk="0">
                  <a:moveTo>
                    <a:pt x="347" y="0"/>
                  </a:moveTo>
                  <a:cubicBezTo>
                    <a:pt x="158" y="0"/>
                    <a:pt x="1" y="158"/>
                    <a:pt x="1" y="347"/>
                  </a:cubicBezTo>
                  <a:cubicBezTo>
                    <a:pt x="32" y="536"/>
                    <a:pt x="190" y="693"/>
                    <a:pt x="347" y="693"/>
                  </a:cubicBezTo>
                  <a:lnTo>
                    <a:pt x="4506" y="693"/>
                  </a:lnTo>
                  <a:cubicBezTo>
                    <a:pt x="4695" y="693"/>
                    <a:pt x="4852" y="536"/>
                    <a:pt x="4852" y="347"/>
                  </a:cubicBezTo>
                  <a:cubicBezTo>
                    <a:pt x="4852" y="158"/>
                    <a:pt x="469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81"/>
            <p:cNvSpPr/>
            <p:nvPr/>
          </p:nvSpPr>
          <p:spPr>
            <a:xfrm>
              <a:off x="-2948625" y="2907300"/>
              <a:ext cx="52025" cy="85300"/>
            </a:xfrm>
            <a:custGeom>
              <a:avLst/>
              <a:gdLst/>
              <a:ahLst/>
              <a:cxnLst/>
              <a:rect l="l" t="t" r="r" b="b"/>
              <a:pathLst>
                <a:path w="2081" h="3412" extrusionOk="0">
                  <a:moveTo>
                    <a:pt x="347" y="1"/>
                  </a:moveTo>
                  <a:cubicBezTo>
                    <a:pt x="261" y="1"/>
                    <a:pt x="174" y="24"/>
                    <a:pt x="127" y="72"/>
                  </a:cubicBezTo>
                  <a:cubicBezTo>
                    <a:pt x="1" y="198"/>
                    <a:pt x="1" y="450"/>
                    <a:pt x="127" y="544"/>
                  </a:cubicBezTo>
                  <a:lnTo>
                    <a:pt x="1261" y="1710"/>
                  </a:lnTo>
                  <a:lnTo>
                    <a:pt x="127" y="2844"/>
                  </a:lnTo>
                  <a:cubicBezTo>
                    <a:pt x="1" y="2970"/>
                    <a:pt x="1" y="3191"/>
                    <a:pt x="127" y="3317"/>
                  </a:cubicBezTo>
                  <a:cubicBezTo>
                    <a:pt x="174" y="3380"/>
                    <a:pt x="261" y="3411"/>
                    <a:pt x="347" y="3411"/>
                  </a:cubicBezTo>
                  <a:cubicBezTo>
                    <a:pt x="434" y="3411"/>
                    <a:pt x="521" y="3380"/>
                    <a:pt x="568" y="3317"/>
                  </a:cubicBezTo>
                  <a:lnTo>
                    <a:pt x="1954" y="1930"/>
                  </a:lnTo>
                  <a:cubicBezTo>
                    <a:pt x="2080" y="1804"/>
                    <a:pt x="2080" y="1584"/>
                    <a:pt x="1954" y="1458"/>
                  </a:cubicBezTo>
                  <a:lnTo>
                    <a:pt x="568" y="72"/>
                  </a:lnTo>
                  <a:cubicBezTo>
                    <a:pt x="521" y="24"/>
                    <a:pt x="43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81"/>
            <p:cNvSpPr/>
            <p:nvPr/>
          </p:nvSpPr>
          <p:spPr>
            <a:xfrm>
              <a:off x="-3088025" y="2907300"/>
              <a:ext cx="53575" cy="85300"/>
            </a:xfrm>
            <a:custGeom>
              <a:avLst/>
              <a:gdLst/>
              <a:ahLst/>
              <a:cxnLst/>
              <a:rect l="l" t="t" r="r" b="b"/>
              <a:pathLst>
                <a:path w="2143" h="3412" extrusionOk="0">
                  <a:moveTo>
                    <a:pt x="1749" y="1"/>
                  </a:moveTo>
                  <a:cubicBezTo>
                    <a:pt x="1662" y="1"/>
                    <a:pt x="1576" y="24"/>
                    <a:pt x="1513" y="72"/>
                  </a:cubicBezTo>
                  <a:lnTo>
                    <a:pt x="127" y="1458"/>
                  </a:lnTo>
                  <a:cubicBezTo>
                    <a:pt x="1" y="1584"/>
                    <a:pt x="1" y="1804"/>
                    <a:pt x="127" y="1930"/>
                  </a:cubicBezTo>
                  <a:lnTo>
                    <a:pt x="1513" y="3317"/>
                  </a:lnTo>
                  <a:cubicBezTo>
                    <a:pt x="1576" y="3380"/>
                    <a:pt x="1662" y="3411"/>
                    <a:pt x="1749" y="3411"/>
                  </a:cubicBezTo>
                  <a:cubicBezTo>
                    <a:pt x="1836" y="3411"/>
                    <a:pt x="1922" y="3380"/>
                    <a:pt x="1985" y="3317"/>
                  </a:cubicBezTo>
                  <a:cubicBezTo>
                    <a:pt x="2111" y="3191"/>
                    <a:pt x="2111" y="2970"/>
                    <a:pt x="1985" y="2844"/>
                  </a:cubicBezTo>
                  <a:lnTo>
                    <a:pt x="851" y="1710"/>
                  </a:lnTo>
                  <a:lnTo>
                    <a:pt x="1985" y="544"/>
                  </a:lnTo>
                  <a:cubicBezTo>
                    <a:pt x="2143" y="450"/>
                    <a:pt x="2143" y="198"/>
                    <a:pt x="1985" y="72"/>
                  </a:cubicBezTo>
                  <a:cubicBezTo>
                    <a:pt x="1922" y="24"/>
                    <a:pt x="1836" y="1"/>
                    <a:pt x="17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81"/>
            <p:cNvSpPr/>
            <p:nvPr/>
          </p:nvSpPr>
          <p:spPr>
            <a:xfrm>
              <a:off x="-3019500" y="2888975"/>
              <a:ext cx="54375" cy="119400"/>
            </a:xfrm>
            <a:custGeom>
              <a:avLst/>
              <a:gdLst/>
              <a:ahLst/>
              <a:cxnLst/>
              <a:rect l="l" t="t" r="r" b="b"/>
              <a:pathLst>
                <a:path w="2175" h="4776" extrusionOk="0">
                  <a:moveTo>
                    <a:pt x="1778" y="0"/>
                  </a:moveTo>
                  <a:cubicBezTo>
                    <a:pt x="1617" y="0"/>
                    <a:pt x="1501" y="108"/>
                    <a:pt x="1450" y="237"/>
                  </a:cubicBezTo>
                  <a:lnTo>
                    <a:pt x="63" y="4333"/>
                  </a:lnTo>
                  <a:cubicBezTo>
                    <a:pt x="0" y="4522"/>
                    <a:pt x="95" y="4680"/>
                    <a:pt x="253" y="4743"/>
                  </a:cubicBezTo>
                  <a:cubicBezTo>
                    <a:pt x="305" y="4765"/>
                    <a:pt x="354" y="4775"/>
                    <a:pt x="399" y="4775"/>
                  </a:cubicBezTo>
                  <a:cubicBezTo>
                    <a:pt x="543" y="4775"/>
                    <a:pt x="646" y="4674"/>
                    <a:pt x="694" y="4554"/>
                  </a:cubicBezTo>
                  <a:lnTo>
                    <a:pt x="2080" y="458"/>
                  </a:lnTo>
                  <a:cubicBezTo>
                    <a:pt x="2174" y="300"/>
                    <a:pt x="2048" y="111"/>
                    <a:pt x="1891" y="17"/>
                  </a:cubicBezTo>
                  <a:cubicBezTo>
                    <a:pt x="1851" y="6"/>
                    <a:pt x="1813" y="0"/>
                    <a:pt x="17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6" name="Google Shape;10856;p81"/>
          <p:cNvSpPr/>
          <p:nvPr/>
        </p:nvSpPr>
        <p:spPr>
          <a:xfrm>
            <a:off x="1359134" y="3294616"/>
            <a:ext cx="420796" cy="295690"/>
          </a:xfrm>
          <a:custGeom>
            <a:avLst/>
            <a:gdLst/>
            <a:ahLst/>
            <a:cxnLst/>
            <a:rect l="l" t="t" r="r" b="b"/>
            <a:pathLst>
              <a:path w="11658" h="8192" extrusionOk="0">
                <a:moveTo>
                  <a:pt x="10429" y="662"/>
                </a:moveTo>
                <a:cubicBezTo>
                  <a:pt x="10114" y="1008"/>
                  <a:pt x="6207" y="4915"/>
                  <a:pt x="6081" y="5072"/>
                </a:cubicBezTo>
                <a:cubicBezTo>
                  <a:pt x="6018" y="5135"/>
                  <a:pt x="5916" y="5167"/>
                  <a:pt x="5813" y="5167"/>
                </a:cubicBezTo>
                <a:cubicBezTo>
                  <a:pt x="5711" y="5167"/>
                  <a:pt x="5608" y="5135"/>
                  <a:pt x="5545" y="5072"/>
                </a:cubicBezTo>
                <a:lnTo>
                  <a:pt x="1135" y="662"/>
                </a:lnTo>
                <a:close/>
                <a:moveTo>
                  <a:pt x="662" y="1134"/>
                </a:moveTo>
                <a:lnTo>
                  <a:pt x="3624" y="4096"/>
                </a:lnTo>
                <a:lnTo>
                  <a:pt x="662" y="7057"/>
                </a:lnTo>
                <a:lnTo>
                  <a:pt x="662" y="1134"/>
                </a:lnTo>
                <a:close/>
                <a:moveTo>
                  <a:pt x="10996" y="1134"/>
                </a:moveTo>
                <a:lnTo>
                  <a:pt x="10996" y="7057"/>
                </a:lnTo>
                <a:lnTo>
                  <a:pt x="8034" y="4096"/>
                </a:lnTo>
                <a:lnTo>
                  <a:pt x="10996" y="1134"/>
                </a:lnTo>
                <a:close/>
                <a:moveTo>
                  <a:pt x="7562" y="4568"/>
                </a:moveTo>
                <a:lnTo>
                  <a:pt x="10492" y="7530"/>
                </a:lnTo>
                <a:lnTo>
                  <a:pt x="1198" y="7530"/>
                </a:lnTo>
                <a:lnTo>
                  <a:pt x="4096" y="4568"/>
                </a:lnTo>
                <a:lnTo>
                  <a:pt x="5073" y="5545"/>
                </a:lnTo>
                <a:cubicBezTo>
                  <a:pt x="5278" y="5750"/>
                  <a:pt x="5553" y="5852"/>
                  <a:pt x="5829" y="5852"/>
                </a:cubicBezTo>
                <a:cubicBezTo>
                  <a:pt x="6105" y="5852"/>
                  <a:pt x="6380" y="5750"/>
                  <a:pt x="6585" y="5545"/>
                </a:cubicBezTo>
                <a:lnTo>
                  <a:pt x="7562" y="4568"/>
                </a:lnTo>
                <a:close/>
                <a:moveTo>
                  <a:pt x="1009" y="0"/>
                </a:moveTo>
                <a:cubicBezTo>
                  <a:pt x="473" y="0"/>
                  <a:pt x="1" y="473"/>
                  <a:pt x="1" y="1008"/>
                </a:cubicBezTo>
                <a:lnTo>
                  <a:pt x="1" y="7152"/>
                </a:lnTo>
                <a:cubicBezTo>
                  <a:pt x="1" y="7719"/>
                  <a:pt x="473" y="8191"/>
                  <a:pt x="1009" y="8191"/>
                </a:cubicBezTo>
                <a:lnTo>
                  <a:pt x="10618" y="8191"/>
                </a:lnTo>
                <a:cubicBezTo>
                  <a:pt x="11185" y="8191"/>
                  <a:pt x="11657" y="7719"/>
                  <a:pt x="11657" y="7152"/>
                </a:cubicBezTo>
                <a:lnTo>
                  <a:pt x="11657" y="1008"/>
                </a:lnTo>
                <a:cubicBezTo>
                  <a:pt x="11657" y="441"/>
                  <a:pt x="11185"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81"/>
          <p:cNvSpPr/>
          <p:nvPr/>
        </p:nvSpPr>
        <p:spPr>
          <a:xfrm>
            <a:off x="1387926" y="1630482"/>
            <a:ext cx="421914" cy="422095"/>
          </a:xfrm>
          <a:custGeom>
            <a:avLst/>
            <a:gdLst/>
            <a:ahLst/>
            <a:cxnLst/>
            <a:rect l="l" t="t" r="r" b="b"/>
            <a:pathLst>
              <a:path w="11689" h="11694" extrusionOk="0">
                <a:moveTo>
                  <a:pt x="5829" y="2048"/>
                </a:moveTo>
                <a:cubicBezTo>
                  <a:pt x="6018" y="2048"/>
                  <a:pt x="6175" y="2206"/>
                  <a:pt x="6175" y="2395"/>
                </a:cubicBezTo>
                <a:cubicBezTo>
                  <a:pt x="6175" y="2615"/>
                  <a:pt x="6018" y="2804"/>
                  <a:pt x="5829" y="2804"/>
                </a:cubicBezTo>
                <a:cubicBezTo>
                  <a:pt x="5640" y="2804"/>
                  <a:pt x="5482" y="2615"/>
                  <a:pt x="5482" y="2395"/>
                </a:cubicBezTo>
                <a:cubicBezTo>
                  <a:pt x="5482" y="2206"/>
                  <a:pt x="5640" y="2048"/>
                  <a:pt x="5829" y="2048"/>
                </a:cubicBezTo>
                <a:close/>
                <a:moveTo>
                  <a:pt x="5829" y="725"/>
                </a:moveTo>
                <a:cubicBezTo>
                  <a:pt x="6774" y="725"/>
                  <a:pt x="7530" y="1449"/>
                  <a:pt x="7530" y="2395"/>
                </a:cubicBezTo>
                <a:cubicBezTo>
                  <a:pt x="7530" y="2521"/>
                  <a:pt x="7530" y="2678"/>
                  <a:pt x="7467" y="2804"/>
                </a:cubicBezTo>
                <a:lnTo>
                  <a:pt x="6774" y="2804"/>
                </a:lnTo>
                <a:cubicBezTo>
                  <a:pt x="6806" y="2678"/>
                  <a:pt x="6837" y="2552"/>
                  <a:pt x="6837" y="2395"/>
                </a:cubicBezTo>
                <a:cubicBezTo>
                  <a:pt x="6837" y="1859"/>
                  <a:pt x="6364" y="1386"/>
                  <a:pt x="5829" y="1386"/>
                </a:cubicBezTo>
                <a:cubicBezTo>
                  <a:pt x="5262" y="1386"/>
                  <a:pt x="4789" y="1859"/>
                  <a:pt x="4789" y="2395"/>
                </a:cubicBezTo>
                <a:cubicBezTo>
                  <a:pt x="4789" y="2521"/>
                  <a:pt x="4852" y="2678"/>
                  <a:pt x="4884" y="2804"/>
                </a:cubicBezTo>
                <a:lnTo>
                  <a:pt x="4159" y="2804"/>
                </a:lnTo>
                <a:cubicBezTo>
                  <a:pt x="4128" y="2678"/>
                  <a:pt x="4128" y="2521"/>
                  <a:pt x="4128" y="2395"/>
                </a:cubicBezTo>
                <a:cubicBezTo>
                  <a:pt x="4128" y="1449"/>
                  <a:pt x="4884" y="725"/>
                  <a:pt x="5829" y="725"/>
                </a:cubicBezTo>
                <a:close/>
                <a:moveTo>
                  <a:pt x="10681" y="3466"/>
                </a:moveTo>
                <a:cubicBezTo>
                  <a:pt x="10870" y="3466"/>
                  <a:pt x="11027" y="3623"/>
                  <a:pt x="11027" y="3812"/>
                </a:cubicBezTo>
                <a:cubicBezTo>
                  <a:pt x="11027" y="4033"/>
                  <a:pt x="10870" y="4190"/>
                  <a:pt x="10681" y="4190"/>
                </a:cubicBezTo>
                <a:lnTo>
                  <a:pt x="1009" y="4190"/>
                </a:lnTo>
                <a:cubicBezTo>
                  <a:pt x="820" y="4190"/>
                  <a:pt x="662" y="4033"/>
                  <a:pt x="662" y="3812"/>
                </a:cubicBezTo>
                <a:cubicBezTo>
                  <a:pt x="662" y="3623"/>
                  <a:pt x="851" y="3466"/>
                  <a:pt x="1009" y="3466"/>
                </a:cubicBezTo>
                <a:close/>
                <a:moveTo>
                  <a:pt x="9799" y="4852"/>
                </a:moveTo>
                <a:lnTo>
                  <a:pt x="7058" y="7593"/>
                </a:lnTo>
                <a:lnTo>
                  <a:pt x="4600" y="7593"/>
                </a:lnTo>
                <a:lnTo>
                  <a:pt x="1859" y="4852"/>
                </a:lnTo>
                <a:close/>
                <a:moveTo>
                  <a:pt x="6869" y="8255"/>
                </a:moveTo>
                <a:lnTo>
                  <a:pt x="6869" y="9767"/>
                </a:lnTo>
                <a:lnTo>
                  <a:pt x="4789" y="10775"/>
                </a:lnTo>
                <a:lnTo>
                  <a:pt x="4789" y="8255"/>
                </a:lnTo>
                <a:close/>
                <a:moveTo>
                  <a:pt x="5829" y="0"/>
                </a:moveTo>
                <a:cubicBezTo>
                  <a:pt x="4474" y="0"/>
                  <a:pt x="3435" y="1071"/>
                  <a:pt x="3435" y="2395"/>
                </a:cubicBezTo>
                <a:cubicBezTo>
                  <a:pt x="3435" y="2521"/>
                  <a:pt x="3435" y="2678"/>
                  <a:pt x="3466" y="2804"/>
                </a:cubicBezTo>
                <a:lnTo>
                  <a:pt x="1009" y="2804"/>
                </a:lnTo>
                <a:cubicBezTo>
                  <a:pt x="473" y="2804"/>
                  <a:pt x="0" y="3277"/>
                  <a:pt x="0" y="3812"/>
                </a:cubicBezTo>
                <a:cubicBezTo>
                  <a:pt x="0" y="4348"/>
                  <a:pt x="379" y="4757"/>
                  <a:pt x="851" y="4852"/>
                </a:cubicBezTo>
                <a:lnTo>
                  <a:pt x="4096" y="8065"/>
                </a:lnTo>
                <a:lnTo>
                  <a:pt x="4096" y="11342"/>
                </a:lnTo>
                <a:cubicBezTo>
                  <a:pt x="4096" y="11518"/>
                  <a:pt x="4277" y="11694"/>
                  <a:pt x="4462" y="11694"/>
                </a:cubicBezTo>
                <a:cubicBezTo>
                  <a:pt x="4508" y="11694"/>
                  <a:pt x="4556" y="11683"/>
                  <a:pt x="4600" y="11657"/>
                </a:cubicBezTo>
                <a:lnTo>
                  <a:pt x="7373" y="10271"/>
                </a:lnTo>
                <a:cubicBezTo>
                  <a:pt x="7467" y="10239"/>
                  <a:pt x="7562" y="10113"/>
                  <a:pt x="7562" y="9956"/>
                </a:cubicBezTo>
                <a:lnTo>
                  <a:pt x="7562" y="8034"/>
                </a:lnTo>
                <a:lnTo>
                  <a:pt x="10838" y="4820"/>
                </a:lnTo>
                <a:cubicBezTo>
                  <a:pt x="11311" y="4757"/>
                  <a:pt x="11689" y="4348"/>
                  <a:pt x="11689" y="3812"/>
                </a:cubicBezTo>
                <a:cubicBezTo>
                  <a:pt x="11689" y="3277"/>
                  <a:pt x="11216" y="2804"/>
                  <a:pt x="10681" y="2804"/>
                </a:cubicBezTo>
                <a:lnTo>
                  <a:pt x="8192" y="2804"/>
                </a:lnTo>
                <a:cubicBezTo>
                  <a:pt x="8192" y="2678"/>
                  <a:pt x="8223" y="2521"/>
                  <a:pt x="8223" y="2395"/>
                </a:cubicBezTo>
                <a:cubicBezTo>
                  <a:pt x="8223" y="1071"/>
                  <a:pt x="7152"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8" name="Google Shape;10858;p81"/>
          <p:cNvSpPr/>
          <p:nvPr/>
        </p:nvSpPr>
        <p:spPr>
          <a:xfrm>
            <a:off x="1386211" y="2139274"/>
            <a:ext cx="425343" cy="422781"/>
          </a:xfrm>
          <a:custGeom>
            <a:avLst/>
            <a:gdLst/>
            <a:ahLst/>
            <a:cxnLst/>
            <a:rect l="l" t="t" r="r" b="b"/>
            <a:pathLst>
              <a:path w="11784" h="11713" extrusionOk="0">
                <a:moveTo>
                  <a:pt x="5136" y="4128"/>
                </a:moveTo>
                <a:cubicBezTo>
                  <a:pt x="5671" y="4128"/>
                  <a:pt x="6112" y="4569"/>
                  <a:pt x="6144" y="5136"/>
                </a:cubicBezTo>
                <a:lnTo>
                  <a:pt x="5230" y="4853"/>
                </a:lnTo>
                <a:cubicBezTo>
                  <a:pt x="5198" y="4839"/>
                  <a:pt x="5165" y="4832"/>
                  <a:pt x="5131" y="4832"/>
                </a:cubicBezTo>
                <a:cubicBezTo>
                  <a:pt x="4934" y="4832"/>
                  <a:pt x="4735" y="5052"/>
                  <a:pt x="4789" y="5294"/>
                </a:cubicBezTo>
                <a:lnTo>
                  <a:pt x="5073" y="6239"/>
                </a:lnTo>
                <a:cubicBezTo>
                  <a:pt x="4537" y="6176"/>
                  <a:pt x="4096" y="5703"/>
                  <a:pt x="4096" y="5168"/>
                </a:cubicBezTo>
                <a:cubicBezTo>
                  <a:pt x="4096" y="4601"/>
                  <a:pt x="4569" y="4128"/>
                  <a:pt x="5136" y="4128"/>
                </a:cubicBezTo>
                <a:close/>
                <a:moveTo>
                  <a:pt x="5199" y="2364"/>
                </a:moveTo>
                <a:cubicBezTo>
                  <a:pt x="6680" y="2364"/>
                  <a:pt x="7940" y="3592"/>
                  <a:pt x="7940" y="5136"/>
                </a:cubicBezTo>
                <a:cubicBezTo>
                  <a:pt x="7940" y="5294"/>
                  <a:pt x="7940" y="5388"/>
                  <a:pt x="7908" y="5546"/>
                </a:cubicBezTo>
                <a:lnTo>
                  <a:pt x="6932" y="5294"/>
                </a:lnTo>
                <a:lnTo>
                  <a:pt x="6932" y="5136"/>
                </a:lnTo>
                <a:cubicBezTo>
                  <a:pt x="6806" y="4223"/>
                  <a:pt x="6049" y="3466"/>
                  <a:pt x="5104" y="3466"/>
                </a:cubicBezTo>
                <a:cubicBezTo>
                  <a:pt x="4159" y="3466"/>
                  <a:pt x="3435" y="4223"/>
                  <a:pt x="3435" y="5168"/>
                </a:cubicBezTo>
                <a:cubicBezTo>
                  <a:pt x="3435" y="5609"/>
                  <a:pt x="3624" y="6081"/>
                  <a:pt x="3939" y="6396"/>
                </a:cubicBezTo>
                <a:cubicBezTo>
                  <a:pt x="4254" y="6743"/>
                  <a:pt x="4695" y="6900"/>
                  <a:pt x="5167" y="6900"/>
                </a:cubicBezTo>
                <a:lnTo>
                  <a:pt x="5325" y="6900"/>
                </a:lnTo>
                <a:lnTo>
                  <a:pt x="5577" y="7877"/>
                </a:lnTo>
                <a:cubicBezTo>
                  <a:pt x="5482" y="7909"/>
                  <a:pt x="5325" y="7909"/>
                  <a:pt x="5199" y="7909"/>
                </a:cubicBezTo>
                <a:cubicBezTo>
                  <a:pt x="3687" y="7909"/>
                  <a:pt x="2426" y="6648"/>
                  <a:pt x="2426" y="5136"/>
                </a:cubicBezTo>
                <a:cubicBezTo>
                  <a:pt x="2426" y="3624"/>
                  <a:pt x="3655" y="2364"/>
                  <a:pt x="5199" y="2364"/>
                </a:cubicBezTo>
                <a:close/>
                <a:moveTo>
                  <a:pt x="5167" y="726"/>
                </a:moveTo>
                <a:cubicBezTo>
                  <a:pt x="7940" y="726"/>
                  <a:pt x="10051" y="3277"/>
                  <a:pt x="9515" y="6018"/>
                </a:cubicBezTo>
                <a:lnTo>
                  <a:pt x="8507" y="5766"/>
                </a:lnTo>
                <a:cubicBezTo>
                  <a:pt x="8538" y="5546"/>
                  <a:pt x="8538" y="5357"/>
                  <a:pt x="8538" y="5136"/>
                </a:cubicBezTo>
                <a:cubicBezTo>
                  <a:pt x="8538" y="3246"/>
                  <a:pt x="7026" y="1702"/>
                  <a:pt x="5104" y="1702"/>
                </a:cubicBezTo>
                <a:cubicBezTo>
                  <a:pt x="3214" y="1702"/>
                  <a:pt x="1702" y="3246"/>
                  <a:pt x="1702" y="5136"/>
                </a:cubicBezTo>
                <a:cubicBezTo>
                  <a:pt x="1702" y="7027"/>
                  <a:pt x="3214" y="8602"/>
                  <a:pt x="5104" y="8602"/>
                </a:cubicBezTo>
                <a:cubicBezTo>
                  <a:pt x="5325" y="8602"/>
                  <a:pt x="5514" y="8602"/>
                  <a:pt x="5703" y="8539"/>
                </a:cubicBezTo>
                <a:lnTo>
                  <a:pt x="5986" y="9578"/>
                </a:lnTo>
                <a:cubicBezTo>
                  <a:pt x="5695" y="9636"/>
                  <a:pt x="5405" y="9664"/>
                  <a:pt x="5119" y="9664"/>
                </a:cubicBezTo>
                <a:cubicBezTo>
                  <a:pt x="2751" y="9664"/>
                  <a:pt x="694" y="7758"/>
                  <a:pt x="694" y="5199"/>
                </a:cubicBezTo>
                <a:cubicBezTo>
                  <a:pt x="694" y="2679"/>
                  <a:pt x="2773" y="726"/>
                  <a:pt x="5167" y="726"/>
                </a:cubicBezTo>
                <a:close/>
                <a:moveTo>
                  <a:pt x="5671" y="5672"/>
                </a:moveTo>
                <a:lnTo>
                  <a:pt x="5671" y="5672"/>
                </a:lnTo>
                <a:cubicBezTo>
                  <a:pt x="10240" y="6964"/>
                  <a:pt x="9578" y="6774"/>
                  <a:pt x="9704" y="6806"/>
                </a:cubicBezTo>
                <a:lnTo>
                  <a:pt x="8853" y="7373"/>
                </a:lnTo>
                <a:cubicBezTo>
                  <a:pt x="8664" y="7499"/>
                  <a:pt x="8664" y="7751"/>
                  <a:pt x="8822" y="7877"/>
                </a:cubicBezTo>
                <a:lnTo>
                  <a:pt x="10964" y="9956"/>
                </a:lnTo>
                <a:cubicBezTo>
                  <a:pt x="11027" y="10114"/>
                  <a:pt x="11027" y="10335"/>
                  <a:pt x="10901" y="10492"/>
                </a:cubicBezTo>
                <a:lnTo>
                  <a:pt x="10429" y="10965"/>
                </a:lnTo>
                <a:cubicBezTo>
                  <a:pt x="10366" y="11012"/>
                  <a:pt x="10279" y="11035"/>
                  <a:pt x="10192" y="11035"/>
                </a:cubicBezTo>
                <a:cubicBezTo>
                  <a:pt x="10106" y="11035"/>
                  <a:pt x="10019" y="11012"/>
                  <a:pt x="9956" y="10965"/>
                </a:cubicBezTo>
                <a:lnTo>
                  <a:pt x="7845" y="8854"/>
                </a:lnTo>
                <a:cubicBezTo>
                  <a:pt x="7777" y="8786"/>
                  <a:pt x="7691" y="8753"/>
                  <a:pt x="7606" y="8753"/>
                </a:cubicBezTo>
                <a:cubicBezTo>
                  <a:pt x="7493" y="8753"/>
                  <a:pt x="7381" y="8809"/>
                  <a:pt x="7310" y="8917"/>
                </a:cubicBezTo>
                <a:cubicBezTo>
                  <a:pt x="7247" y="8980"/>
                  <a:pt x="6806" y="9641"/>
                  <a:pt x="6774" y="9736"/>
                </a:cubicBezTo>
                <a:cubicBezTo>
                  <a:pt x="6680" y="9484"/>
                  <a:pt x="5703" y="5861"/>
                  <a:pt x="5671" y="5672"/>
                </a:cubicBezTo>
                <a:close/>
                <a:moveTo>
                  <a:pt x="5104" y="1"/>
                </a:moveTo>
                <a:cubicBezTo>
                  <a:pt x="2363" y="1"/>
                  <a:pt x="0" y="2238"/>
                  <a:pt x="0" y="5168"/>
                </a:cubicBezTo>
                <a:cubicBezTo>
                  <a:pt x="0" y="8066"/>
                  <a:pt x="2332" y="10303"/>
                  <a:pt x="5104" y="10303"/>
                </a:cubicBezTo>
                <a:cubicBezTo>
                  <a:pt x="5482" y="10303"/>
                  <a:pt x="5797" y="10272"/>
                  <a:pt x="6144" y="10208"/>
                </a:cubicBezTo>
                <a:lnTo>
                  <a:pt x="6270" y="10587"/>
                </a:lnTo>
                <a:cubicBezTo>
                  <a:pt x="6307" y="10755"/>
                  <a:pt x="6444" y="10845"/>
                  <a:pt x="6596" y="10845"/>
                </a:cubicBezTo>
                <a:cubicBezTo>
                  <a:pt x="6700" y="10845"/>
                  <a:pt x="6810" y="10802"/>
                  <a:pt x="6900" y="10713"/>
                </a:cubicBezTo>
                <a:lnTo>
                  <a:pt x="7625" y="9610"/>
                </a:lnTo>
                <a:lnTo>
                  <a:pt x="9483" y="11406"/>
                </a:lnTo>
                <a:cubicBezTo>
                  <a:pt x="9688" y="11610"/>
                  <a:pt x="9956" y="11713"/>
                  <a:pt x="10220" y="11713"/>
                </a:cubicBezTo>
                <a:cubicBezTo>
                  <a:pt x="10484" y="11713"/>
                  <a:pt x="10744" y="11610"/>
                  <a:pt x="10933" y="11406"/>
                </a:cubicBezTo>
                <a:lnTo>
                  <a:pt x="11405" y="10933"/>
                </a:lnTo>
                <a:cubicBezTo>
                  <a:pt x="11783" y="10555"/>
                  <a:pt x="11783" y="9893"/>
                  <a:pt x="11374" y="9484"/>
                </a:cubicBezTo>
                <a:lnTo>
                  <a:pt x="9515" y="7720"/>
                </a:lnTo>
                <a:lnTo>
                  <a:pt x="10618" y="6964"/>
                </a:lnTo>
                <a:cubicBezTo>
                  <a:pt x="10870" y="6806"/>
                  <a:pt x="10838" y="6428"/>
                  <a:pt x="10555" y="6333"/>
                </a:cubicBezTo>
                <a:lnTo>
                  <a:pt x="10145" y="6239"/>
                </a:lnTo>
                <a:cubicBezTo>
                  <a:pt x="10303" y="5483"/>
                  <a:pt x="10271" y="4695"/>
                  <a:pt x="10082" y="3908"/>
                </a:cubicBezTo>
                <a:cubicBezTo>
                  <a:pt x="9483" y="1576"/>
                  <a:pt x="7436" y="1"/>
                  <a:pt x="5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81"/>
          <p:cNvGrpSpPr/>
          <p:nvPr/>
        </p:nvGrpSpPr>
        <p:grpSpPr>
          <a:xfrm>
            <a:off x="1399451" y="2660397"/>
            <a:ext cx="421914" cy="421914"/>
            <a:chOff x="-6354300" y="2757075"/>
            <a:chExt cx="292225" cy="292225"/>
          </a:xfrm>
        </p:grpSpPr>
        <p:sp>
          <p:nvSpPr>
            <p:cNvPr id="10860" name="Google Shape;10860;p81"/>
            <p:cNvSpPr/>
            <p:nvPr/>
          </p:nvSpPr>
          <p:spPr>
            <a:xfrm>
              <a:off x="-6354300" y="2757075"/>
              <a:ext cx="292225" cy="292225"/>
            </a:xfrm>
            <a:custGeom>
              <a:avLst/>
              <a:gdLst/>
              <a:ahLst/>
              <a:cxnLst/>
              <a:rect l="l" t="t" r="r" b="b"/>
              <a:pathLst>
                <a:path w="11689" h="11689" extrusionOk="0">
                  <a:moveTo>
                    <a:pt x="10681" y="4159"/>
                  </a:moveTo>
                  <a:cubicBezTo>
                    <a:pt x="10870" y="4159"/>
                    <a:pt x="11027" y="4316"/>
                    <a:pt x="11027" y="4505"/>
                  </a:cubicBezTo>
                  <a:lnTo>
                    <a:pt x="11027" y="4915"/>
                  </a:lnTo>
                  <a:cubicBezTo>
                    <a:pt x="10901" y="4883"/>
                    <a:pt x="10775" y="4883"/>
                    <a:pt x="10681" y="4883"/>
                  </a:cubicBezTo>
                  <a:lnTo>
                    <a:pt x="9609" y="4883"/>
                  </a:lnTo>
                  <a:lnTo>
                    <a:pt x="9609" y="4190"/>
                  </a:lnTo>
                  <a:lnTo>
                    <a:pt x="10681" y="4190"/>
                  </a:lnTo>
                  <a:lnTo>
                    <a:pt x="10681" y="4159"/>
                  </a:lnTo>
                  <a:close/>
                  <a:moveTo>
                    <a:pt x="2048" y="2773"/>
                  </a:moveTo>
                  <a:lnTo>
                    <a:pt x="2048" y="6207"/>
                  </a:lnTo>
                  <a:lnTo>
                    <a:pt x="662" y="6207"/>
                  </a:lnTo>
                  <a:lnTo>
                    <a:pt x="662" y="3151"/>
                  </a:lnTo>
                  <a:cubicBezTo>
                    <a:pt x="694" y="2930"/>
                    <a:pt x="851" y="2773"/>
                    <a:pt x="1009" y="2773"/>
                  </a:cubicBezTo>
                  <a:close/>
                  <a:moveTo>
                    <a:pt x="8885" y="693"/>
                  </a:moveTo>
                  <a:lnTo>
                    <a:pt x="8885" y="4883"/>
                  </a:lnTo>
                  <a:cubicBezTo>
                    <a:pt x="8538" y="4915"/>
                    <a:pt x="8223" y="5104"/>
                    <a:pt x="8066" y="5419"/>
                  </a:cubicBezTo>
                  <a:lnTo>
                    <a:pt x="7751" y="6049"/>
                  </a:lnTo>
                  <a:cubicBezTo>
                    <a:pt x="7719" y="6175"/>
                    <a:pt x="7593" y="6238"/>
                    <a:pt x="7436" y="6238"/>
                  </a:cubicBezTo>
                  <a:lnTo>
                    <a:pt x="2710" y="6238"/>
                  </a:lnTo>
                  <a:lnTo>
                    <a:pt x="2710" y="693"/>
                  </a:lnTo>
                  <a:close/>
                  <a:moveTo>
                    <a:pt x="10681" y="5513"/>
                  </a:moveTo>
                  <a:cubicBezTo>
                    <a:pt x="10870" y="5513"/>
                    <a:pt x="11027" y="5671"/>
                    <a:pt x="11027" y="5860"/>
                  </a:cubicBezTo>
                  <a:lnTo>
                    <a:pt x="11027" y="10649"/>
                  </a:lnTo>
                  <a:cubicBezTo>
                    <a:pt x="11027" y="10869"/>
                    <a:pt x="10870" y="11027"/>
                    <a:pt x="10681" y="11027"/>
                  </a:cubicBezTo>
                  <a:lnTo>
                    <a:pt x="1009" y="11027"/>
                  </a:lnTo>
                  <a:cubicBezTo>
                    <a:pt x="820" y="11027"/>
                    <a:pt x="662" y="10869"/>
                    <a:pt x="662" y="10649"/>
                  </a:cubicBezTo>
                  <a:lnTo>
                    <a:pt x="662" y="6868"/>
                  </a:lnTo>
                  <a:lnTo>
                    <a:pt x="7436" y="6868"/>
                  </a:lnTo>
                  <a:cubicBezTo>
                    <a:pt x="7845" y="6868"/>
                    <a:pt x="8192" y="6648"/>
                    <a:pt x="8349" y="6333"/>
                  </a:cubicBezTo>
                  <a:lnTo>
                    <a:pt x="8664" y="5703"/>
                  </a:lnTo>
                  <a:cubicBezTo>
                    <a:pt x="8696" y="5576"/>
                    <a:pt x="8822" y="5513"/>
                    <a:pt x="8979" y="5513"/>
                  </a:cubicBezTo>
                  <a:close/>
                  <a:moveTo>
                    <a:pt x="2395" y="0"/>
                  </a:moveTo>
                  <a:cubicBezTo>
                    <a:pt x="2206" y="0"/>
                    <a:pt x="2048" y="158"/>
                    <a:pt x="2048" y="347"/>
                  </a:cubicBezTo>
                  <a:lnTo>
                    <a:pt x="2048" y="2111"/>
                  </a:lnTo>
                  <a:lnTo>
                    <a:pt x="1009" y="2111"/>
                  </a:lnTo>
                  <a:cubicBezTo>
                    <a:pt x="473" y="2111"/>
                    <a:pt x="0" y="2584"/>
                    <a:pt x="0" y="3151"/>
                  </a:cubicBezTo>
                  <a:lnTo>
                    <a:pt x="0" y="10649"/>
                  </a:lnTo>
                  <a:cubicBezTo>
                    <a:pt x="0" y="11216"/>
                    <a:pt x="473" y="11688"/>
                    <a:pt x="1009" y="11688"/>
                  </a:cubicBezTo>
                  <a:lnTo>
                    <a:pt x="10618" y="11688"/>
                  </a:lnTo>
                  <a:cubicBezTo>
                    <a:pt x="11185" y="11688"/>
                    <a:pt x="11657" y="11216"/>
                    <a:pt x="11657" y="10649"/>
                  </a:cubicBezTo>
                  <a:lnTo>
                    <a:pt x="11657" y="4505"/>
                  </a:lnTo>
                  <a:cubicBezTo>
                    <a:pt x="11689" y="3938"/>
                    <a:pt x="11216" y="3466"/>
                    <a:pt x="10681" y="3466"/>
                  </a:cubicBezTo>
                  <a:lnTo>
                    <a:pt x="9609" y="3466"/>
                  </a:lnTo>
                  <a:lnTo>
                    <a:pt x="9609" y="347"/>
                  </a:lnTo>
                  <a:cubicBezTo>
                    <a:pt x="9609" y="158"/>
                    <a:pt x="9452" y="0"/>
                    <a:pt x="92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81"/>
            <p:cNvSpPr/>
            <p:nvPr/>
          </p:nvSpPr>
          <p:spPr>
            <a:xfrm>
              <a:off x="-6268450" y="279015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81"/>
            <p:cNvSpPr/>
            <p:nvPr/>
          </p:nvSpPr>
          <p:spPr>
            <a:xfrm>
              <a:off x="-6268450" y="282560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81"/>
            <p:cNvSpPr/>
            <p:nvPr/>
          </p:nvSpPr>
          <p:spPr>
            <a:xfrm>
              <a:off x="-6268450" y="2860250"/>
              <a:ext cx="119750" cy="17350"/>
            </a:xfrm>
            <a:custGeom>
              <a:avLst/>
              <a:gdLst/>
              <a:ahLst/>
              <a:cxnLst/>
              <a:rect l="l" t="t" r="r" b="b"/>
              <a:pathLst>
                <a:path w="4790" h="694" extrusionOk="0">
                  <a:moveTo>
                    <a:pt x="347" y="0"/>
                  </a:moveTo>
                  <a:cubicBezTo>
                    <a:pt x="158" y="0"/>
                    <a:pt x="1" y="158"/>
                    <a:pt x="1" y="347"/>
                  </a:cubicBezTo>
                  <a:cubicBezTo>
                    <a:pt x="1" y="536"/>
                    <a:pt x="158" y="693"/>
                    <a:pt x="347" y="693"/>
                  </a:cubicBezTo>
                  <a:lnTo>
                    <a:pt x="4443" y="693"/>
                  </a:lnTo>
                  <a:cubicBezTo>
                    <a:pt x="4632" y="693"/>
                    <a:pt x="4789" y="536"/>
                    <a:pt x="4789" y="347"/>
                  </a:cubicBezTo>
                  <a:cubicBezTo>
                    <a:pt x="4789" y="158"/>
                    <a:pt x="46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4" name="Google Shape;10864;p81"/>
          <p:cNvGrpSpPr/>
          <p:nvPr/>
        </p:nvGrpSpPr>
        <p:grpSpPr>
          <a:xfrm>
            <a:off x="4093454" y="1629560"/>
            <a:ext cx="424188" cy="424188"/>
            <a:chOff x="-4573475" y="2045850"/>
            <a:chExt cx="293800" cy="293800"/>
          </a:xfrm>
        </p:grpSpPr>
        <p:sp>
          <p:nvSpPr>
            <p:cNvPr id="10865" name="Google Shape;10865;p81"/>
            <p:cNvSpPr/>
            <p:nvPr/>
          </p:nvSpPr>
          <p:spPr>
            <a:xfrm>
              <a:off x="-4573475" y="2045850"/>
              <a:ext cx="293800" cy="293800"/>
            </a:xfrm>
            <a:custGeom>
              <a:avLst/>
              <a:gdLst/>
              <a:ahLst/>
              <a:cxnLst/>
              <a:rect l="l" t="t" r="r" b="b"/>
              <a:pathLst>
                <a:path w="11752" h="11752" extrusionOk="0">
                  <a:moveTo>
                    <a:pt x="6333" y="756"/>
                  </a:moveTo>
                  <a:lnTo>
                    <a:pt x="6459" y="1292"/>
                  </a:lnTo>
                  <a:cubicBezTo>
                    <a:pt x="6490" y="1418"/>
                    <a:pt x="6585" y="1544"/>
                    <a:pt x="6742" y="1576"/>
                  </a:cubicBezTo>
                  <a:cubicBezTo>
                    <a:pt x="7372" y="1702"/>
                    <a:pt x="7908" y="1922"/>
                    <a:pt x="8444" y="2300"/>
                  </a:cubicBezTo>
                  <a:cubicBezTo>
                    <a:pt x="8491" y="2332"/>
                    <a:pt x="8546" y="2347"/>
                    <a:pt x="8605" y="2347"/>
                  </a:cubicBezTo>
                  <a:cubicBezTo>
                    <a:pt x="8664" y="2347"/>
                    <a:pt x="8727" y="2332"/>
                    <a:pt x="8790" y="2300"/>
                  </a:cubicBezTo>
                  <a:lnTo>
                    <a:pt x="9231" y="2017"/>
                  </a:lnTo>
                  <a:lnTo>
                    <a:pt x="9798" y="2584"/>
                  </a:lnTo>
                  <a:lnTo>
                    <a:pt x="9546" y="3025"/>
                  </a:lnTo>
                  <a:cubicBezTo>
                    <a:pt x="9452" y="3151"/>
                    <a:pt x="9452" y="3308"/>
                    <a:pt x="9546" y="3371"/>
                  </a:cubicBezTo>
                  <a:cubicBezTo>
                    <a:pt x="9893" y="3907"/>
                    <a:pt x="10113" y="4505"/>
                    <a:pt x="10239" y="5073"/>
                  </a:cubicBezTo>
                  <a:cubicBezTo>
                    <a:pt x="10271" y="5199"/>
                    <a:pt x="10365" y="5325"/>
                    <a:pt x="10523" y="5356"/>
                  </a:cubicBezTo>
                  <a:lnTo>
                    <a:pt x="11058" y="5482"/>
                  </a:lnTo>
                  <a:lnTo>
                    <a:pt x="11058" y="6301"/>
                  </a:lnTo>
                  <a:lnTo>
                    <a:pt x="10523" y="6427"/>
                  </a:lnTo>
                  <a:cubicBezTo>
                    <a:pt x="10397" y="6459"/>
                    <a:pt x="10271" y="6553"/>
                    <a:pt x="10239" y="6711"/>
                  </a:cubicBezTo>
                  <a:cubicBezTo>
                    <a:pt x="10113" y="7309"/>
                    <a:pt x="9893" y="7877"/>
                    <a:pt x="9546" y="8381"/>
                  </a:cubicBezTo>
                  <a:cubicBezTo>
                    <a:pt x="9452" y="8507"/>
                    <a:pt x="9452" y="8633"/>
                    <a:pt x="9546" y="8759"/>
                  </a:cubicBezTo>
                  <a:lnTo>
                    <a:pt x="9798" y="9168"/>
                  </a:lnTo>
                  <a:lnTo>
                    <a:pt x="9231" y="9767"/>
                  </a:lnTo>
                  <a:lnTo>
                    <a:pt x="8790" y="9483"/>
                  </a:lnTo>
                  <a:cubicBezTo>
                    <a:pt x="8727" y="9452"/>
                    <a:pt x="8656" y="9436"/>
                    <a:pt x="8593" y="9436"/>
                  </a:cubicBezTo>
                  <a:cubicBezTo>
                    <a:pt x="8530" y="9436"/>
                    <a:pt x="8475" y="9452"/>
                    <a:pt x="8444" y="9483"/>
                  </a:cubicBezTo>
                  <a:cubicBezTo>
                    <a:pt x="7908" y="9861"/>
                    <a:pt x="7341" y="10082"/>
                    <a:pt x="6742" y="10208"/>
                  </a:cubicBezTo>
                  <a:cubicBezTo>
                    <a:pt x="6616" y="10239"/>
                    <a:pt x="6490" y="10334"/>
                    <a:pt x="6459" y="10428"/>
                  </a:cubicBezTo>
                  <a:lnTo>
                    <a:pt x="6333" y="10964"/>
                  </a:lnTo>
                  <a:lnTo>
                    <a:pt x="5514" y="10964"/>
                  </a:lnTo>
                  <a:lnTo>
                    <a:pt x="5388" y="10428"/>
                  </a:lnTo>
                  <a:cubicBezTo>
                    <a:pt x="5356" y="10334"/>
                    <a:pt x="5230" y="10208"/>
                    <a:pt x="5136" y="10208"/>
                  </a:cubicBezTo>
                  <a:cubicBezTo>
                    <a:pt x="4505" y="10082"/>
                    <a:pt x="3938" y="9861"/>
                    <a:pt x="3434" y="9483"/>
                  </a:cubicBezTo>
                  <a:cubicBezTo>
                    <a:pt x="3371" y="9452"/>
                    <a:pt x="3308" y="9436"/>
                    <a:pt x="3249" y="9436"/>
                  </a:cubicBezTo>
                  <a:cubicBezTo>
                    <a:pt x="3190" y="9436"/>
                    <a:pt x="3135" y="9452"/>
                    <a:pt x="3088" y="9483"/>
                  </a:cubicBezTo>
                  <a:lnTo>
                    <a:pt x="2647" y="9767"/>
                  </a:lnTo>
                  <a:lnTo>
                    <a:pt x="2048" y="9168"/>
                  </a:lnTo>
                  <a:lnTo>
                    <a:pt x="2332" y="8759"/>
                  </a:lnTo>
                  <a:cubicBezTo>
                    <a:pt x="2395" y="8633"/>
                    <a:pt x="2395" y="8475"/>
                    <a:pt x="2332" y="8381"/>
                  </a:cubicBezTo>
                  <a:cubicBezTo>
                    <a:pt x="1985" y="7877"/>
                    <a:pt x="1733" y="7278"/>
                    <a:pt x="1607" y="6711"/>
                  </a:cubicBezTo>
                  <a:cubicBezTo>
                    <a:pt x="1575" y="6585"/>
                    <a:pt x="1512" y="6459"/>
                    <a:pt x="1386" y="6427"/>
                  </a:cubicBezTo>
                  <a:lnTo>
                    <a:pt x="882" y="6301"/>
                  </a:lnTo>
                  <a:lnTo>
                    <a:pt x="882" y="5482"/>
                  </a:lnTo>
                  <a:lnTo>
                    <a:pt x="1386" y="5356"/>
                  </a:lnTo>
                  <a:cubicBezTo>
                    <a:pt x="1512" y="5325"/>
                    <a:pt x="1607" y="5199"/>
                    <a:pt x="1607" y="5073"/>
                  </a:cubicBezTo>
                  <a:cubicBezTo>
                    <a:pt x="1733" y="4442"/>
                    <a:pt x="1985" y="3907"/>
                    <a:pt x="2332" y="3371"/>
                  </a:cubicBezTo>
                  <a:cubicBezTo>
                    <a:pt x="2395" y="3277"/>
                    <a:pt x="2395" y="3151"/>
                    <a:pt x="2332" y="3025"/>
                  </a:cubicBezTo>
                  <a:lnTo>
                    <a:pt x="2048" y="2584"/>
                  </a:lnTo>
                  <a:lnTo>
                    <a:pt x="2647" y="2017"/>
                  </a:lnTo>
                  <a:lnTo>
                    <a:pt x="3088" y="2300"/>
                  </a:lnTo>
                  <a:cubicBezTo>
                    <a:pt x="3135" y="2332"/>
                    <a:pt x="3198" y="2347"/>
                    <a:pt x="3261" y="2347"/>
                  </a:cubicBezTo>
                  <a:cubicBezTo>
                    <a:pt x="3324" y="2347"/>
                    <a:pt x="3387" y="2332"/>
                    <a:pt x="3434" y="2300"/>
                  </a:cubicBezTo>
                  <a:cubicBezTo>
                    <a:pt x="3938" y="1922"/>
                    <a:pt x="4537" y="1702"/>
                    <a:pt x="5136" y="1576"/>
                  </a:cubicBezTo>
                  <a:cubicBezTo>
                    <a:pt x="5230" y="1544"/>
                    <a:pt x="5356" y="1450"/>
                    <a:pt x="5388" y="1292"/>
                  </a:cubicBezTo>
                  <a:lnTo>
                    <a:pt x="5514" y="756"/>
                  </a:lnTo>
                  <a:close/>
                  <a:moveTo>
                    <a:pt x="5167" y="0"/>
                  </a:moveTo>
                  <a:cubicBezTo>
                    <a:pt x="5009" y="0"/>
                    <a:pt x="4852" y="126"/>
                    <a:pt x="4852" y="284"/>
                  </a:cubicBezTo>
                  <a:lnTo>
                    <a:pt x="4694" y="882"/>
                  </a:lnTo>
                  <a:cubicBezTo>
                    <a:pt x="4127" y="977"/>
                    <a:pt x="3623" y="1229"/>
                    <a:pt x="3119" y="1513"/>
                  </a:cubicBezTo>
                  <a:lnTo>
                    <a:pt x="2615" y="1197"/>
                  </a:lnTo>
                  <a:cubicBezTo>
                    <a:pt x="2557" y="1154"/>
                    <a:pt x="2485" y="1130"/>
                    <a:pt x="2412" y="1130"/>
                  </a:cubicBezTo>
                  <a:cubicBezTo>
                    <a:pt x="2327" y="1130"/>
                    <a:pt x="2242" y="1161"/>
                    <a:pt x="2174" y="1229"/>
                  </a:cubicBezTo>
                  <a:lnTo>
                    <a:pt x="1197" y="2206"/>
                  </a:lnTo>
                  <a:cubicBezTo>
                    <a:pt x="1071" y="2332"/>
                    <a:pt x="1071" y="2489"/>
                    <a:pt x="1134" y="2647"/>
                  </a:cubicBezTo>
                  <a:lnTo>
                    <a:pt x="1449" y="3151"/>
                  </a:lnTo>
                  <a:cubicBezTo>
                    <a:pt x="1134" y="3623"/>
                    <a:pt x="945" y="4159"/>
                    <a:pt x="819" y="4726"/>
                  </a:cubicBezTo>
                  <a:lnTo>
                    <a:pt x="284" y="4884"/>
                  </a:lnTo>
                  <a:cubicBezTo>
                    <a:pt x="126" y="4915"/>
                    <a:pt x="0" y="5041"/>
                    <a:pt x="0" y="5199"/>
                  </a:cubicBezTo>
                  <a:lnTo>
                    <a:pt x="0" y="6585"/>
                  </a:lnTo>
                  <a:cubicBezTo>
                    <a:pt x="0" y="6742"/>
                    <a:pt x="126" y="6868"/>
                    <a:pt x="284" y="6900"/>
                  </a:cubicBezTo>
                  <a:lnTo>
                    <a:pt x="819" y="7057"/>
                  </a:lnTo>
                  <a:cubicBezTo>
                    <a:pt x="945" y="7593"/>
                    <a:pt x="1197" y="8129"/>
                    <a:pt x="1449" y="8633"/>
                  </a:cubicBezTo>
                  <a:lnTo>
                    <a:pt x="1134" y="9137"/>
                  </a:lnTo>
                  <a:cubicBezTo>
                    <a:pt x="1071" y="9263"/>
                    <a:pt x="1071" y="9452"/>
                    <a:pt x="1197" y="9578"/>
                  </a:cubicBezTo>
                  <a:lnTo>
                    <a:pt x="2174" y="10554"/>
                  </a:lnTo>
                  <a:cubicBezTo>
                    <a:pt x="2242" y="10622"/>
                    <a:pt x="2318" y="10653"/>
                    <a:pt x="2399" y="10653"/>
                  </a:cubicBezTo>
                  <a:cubicBezTo>
                    <a:pt x="2469" y="10653"/>
                    <a:pt x="2542" y="10630"/>
                    <a:pt x="2615" y="10586"/>
                  </a:cubicBezTo>
                  <a:lnTo>
                    <a:pt x="3119" y="10271"/>
                  </a:lnTo>
                  <a:cubicBezTo>
                    <a:pt x="3592" y="10586"/>
                    <a:pt x="4127" y="10806"/>
                    <a:pt x="4694" y="10901"/>
                  </a:cubicBezTo>
                  <a:lnTo>
                    <a:pt x="4852" y="11468"/>
                  </a:lnTo>
                  <a:cubicBezTo>
                    <a:pt x="4883" y="11626"/>
                    <a:pt x="5009" y="11752"/>
                    <a:pt x="5167" y="11752"/>
                  </a:cubicBezTo>
                  <a:lnTo>
                    <a:pt x="6553" y="11752"/>
                  </a:lnTo>
                  <a:cubicBezTo>
                    <a:pt x="6711" y="11752"/>
                    <a:pt x="6805" y="11626"/>
                    <a:pt x="6868" y="11468"/>
                  </a:cubicBezTo>
                  <a:lnTo>
                    <a:pt x="7026" y="10901"/>
                  </a:lnTo>
                  <a:cubicBezTo>
                    <a:pt x="7561" y="10806"/>
                    <a:pt x="8065" y="10554"/>
                    <a:pt x="8601" y="10271"/>
                  </a:cubicBezTo>
                  <a:lnTo>
                    <a:pt x="9105" y="10586"/>
                  </a:lnTo>
                  <a:cubicBezTo>
                    <a:pt x="9164" y="10630"/>
                    <a:pt x="9236" y="10653"/>
                    <a:pt x="9309" y="10653"/>
                  </a:cubicBezTo>
                  <a:cubicBezTo>
                    <a:pt x="9393" y="10653"/>
                    <a:pt x="9479" y="10622"/>
                    <a:pt x="9546" y="10554"/>
                  </a:cubicBezTo>
                  <a:lnTo>
                    <a:pt x="10523" y="9578"/>
                  </a:lnTo>
                  <a:cubicBezTo>
                    <a:pt x="10649" y="9452"/>
                    <a:pt x="10649" y="9294"/>
                    <a:pt x="10554" y="9137"/>
                  </a:cubicBezTo>
                  <a:lnTo>
                    <a:pt x="10239" y="8633"/>
                  </a:lnTo>
                  <a:cubicBezTo>
                    <a:pt x="10554" y="8160"/>
                    <a:pt x="10743" y="7656"/>
                    <a:pt x="10869" y="7057"/>
                  </a:cubicBezTo>
                  <a:lnTo>
                    <a:pt x="11468" y="6900"/>
                  </a:lnTo>
                  <a:cubicBezTo>
                    <a:pt x="11626" y="6868"/>
                    <a:pt x="11752" y="6742"/>
                    <a:pt x="11752" y="6585"/>
                  </a:cubicBezTo>
                  <a:lnTo>
                    <a:pt x="11752" y="5199"/>
                  </a:lnTo>
                  <a:cubicBezTo>
                    <a:pt x="11752" y="5041"/>
                    <a:pt x="11626" y="4915"/>
                    <a:pt x="11468" y="4884"/>
                  </a:cubicBezTo>
                  <a:lnTo>
                    <a:pt x="10869" y="4726"/>
                  </a:lnTo>
                  <a:cubicBezTo>
                    <a:pt x="10743" y="4159"/>
                    <a:pt x="10523" y="3655"/>
                    <a:pt x="10239" y="3151"/>
                  </a:cubicBezTo>
                  <a:lnTo>
                    <a:pt x="10554" y="2647"/>
                  </a:lnTo>
                  <a:cubicBezTo>
                    <a:pt x="10649" y="2521"/>
                    <a:pt x="10649" y="2332"/>
                    <a:pt x="10523" y="2206"/>
                  </a:cubicBezTo>
                  <a:lnTo>
                    <a:pt x="9546" y="1229"/>
                  </a:lnTo>
                  <a:cubicBezTo>
                    <a:pt x="9479" y="1161"/>
                    <a:pt x="9402" y="1130"/>
                    <a:pt x="9321" y="1130"/>
                  </a:cubicBezTo>
                  <a:cubicBezTo>
                    <a:pt x="9251" y="1130"/>
                    <a:pt x="9178" y="1154"/>
                    <a:pt x="9105" y="1197"/>
                  </a:cubicBezTo>
                  <a:lnTo>
                    <a:pt x="8601" y="1513"/>
                  </a:lnTo>
                  <a:cubicBezTo>
                    <a:pt x="8128" y="1197"/>
                    <a:pt x="7593" y="977"/>
                    <a:pt x="7026" y="882"/>
                  </a:cubicBezTo>
                  <a:lnTo>
                    <a:pt x="6868" y="284"/>
                  </a:lnTo>
                  <a:cubicBezTo>
                    <a:pt x="6805" y="126"/>
                    <a:pt x="6711" y="0"/>
                    <a:pt x="65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6" name="Google Shape;10866;p81"/>
            <p:cNvSpPr/>
            <p:nvPr/>
          </p:nvSpPr>
          <p:spPr>
            <a:xfrm>
              <a:off x="-4521500" y="2099400"/>
              <a:ext cx="189050" cy="188275"/>
            </a:xfrm>
            <a:custGeom>
              <a:avLst/>
              <a:gdLst/>
              <a:ahLst/>
              <a:cxnLst/>
              <a:rect l="l" t="t" r="r" b="b"/>
              <a:pathLst>
                <a:path w="7562" h="7531" extrusionOk="0">
                  <a:moveTo>
                    <a:pt x="3750" y="662"/>
                  </a:moveTo>
                  <a:cubicBezTo>
                    <a:pt x="5451" y="662"/>
                    <a:pt x="6837" y="2017"/>
                    <a:pt x="6837" y="3718"/>
                  </a:cubicBezTo>
                  <a:cubicBezTo>
                    <a:pt x="6869" y="5104"/>
                    <a:pt x="6049" y="6239"/>
                    <a:pt x="4821" y="6648"/>
                  </a:cubicBezTo>
                  <a:lnTo>
                    <a:pt x="4821" y="5892"/>
                  </a:lnTo>
                  <a:cubicBezTo>
                    <a:pt x="5640" y="5514"/>
                    <a:pt x="6207" y="4663"/>
                    <a:pt x="6207" y="3718"/>
                  </a:cubicBezTo>
                  <a:cubicBezTo>
                    <a:pt x="6207" y="2710"/>
                    <a:pt x="5577" y="1796"/>
                    <a:pt x="4569" y="1481"/>
                  </a:cubicBezTo>
                  <a:cubicBezTo>
                    <a:pt x="4535" y="1472"/>
                    <a:pt x="4501" y="1467"/>
                    <a:pt x="4468" y="1467"/>
                  </a:cubicBezTo>
                  <a:cubicBezTo>
                    <a:pt x="4278" y="1467"/>
                    <a:pt x="4096" y="1609"/>
                    <a:pt x="4096" y="1796"/>
                  </a:cubicBezTo>
                  <a:lnTo>
                    <a:pt x="4096" y="3372"/>
                  </a:lnTo>
                  <a:lnTo>
                    <a:pt x="3435" y="3372"/>
                  </a:lnTo>
                  <a:lnTo>
                    <a:pt x="3435" y="1796"/>
                  </a:lnTo>
                  <a:cubicBezTo>
                    <a:pt x="3435" y="1609"/>
                    <a:pt x="3276" y="1467"/>
                    <a:pt x="3073" y="1467"/>
                  </a:cubicBezTo>
                  <a:cubicBezTo>
                    <a:pt x="3037" y="1467"/>
                    <a:pt x="3000" y="1472"/>
                    <a:pt x="2962" y="1481"/>
                  </a:cubicBezTo>
                  <a:cubicBezTo>
                    <a:pt x="2017" y="1828"/>
                    <a:pt x="1355" y="2742"/>
                    <a:pt x="1355" y="3718"/>
                  </a:cubicBezTo>
                  <a:cubicBezTo>
                    <a:pt x="1355" y="4663"/>
                    <a:pt x="1891" y="5514"/>
                    <a:pt x="2741" y="5892"/>
                  </a:cubicBezTo>
                  <a:lnTo>
                    <a:pt x="2741" y="6648"/>
                  </a:lnTo>
                  <a:cubicBezTo>
                    <a:pt x="1544" y="6207"/>
                    <a:pt x="694" y="5073"/>
                    <a:pt x="694" y="3718"/>
                  </a:cubicBezTo>
                  <a:cubicBezTo>
                    <a:pt x="694" y="2017"/>
                    <a:pt x="2048" y="662"/>
                    <a:pt x="3750" y="662"/>
                  </a:cubicBezTo>
                  <a:close/>
                  <a:moveTo>
                    <a:pt x="4852" y="2363"/>
                  </a:moveTo>
                  <a:cubicBezTo>
                    <a:pt x="5293" y="2679"/>
                    <a:pt x="5514" y="3183"/>
                    <a:pt x="5514" y="3718"/>
                  </a:cubicBezTo>
                  <a:cubicBezTo>
                    <a:pt x="5514" y="4443"/>
                    <a:pt x="5041" y="5104"/>
                    <a:pt x="4380" y="5356"/>
                  </a:cubicBezTo>
                  <a:cubicBezTo>
                    <a:pt x="4254" y="5388"/>
                    <a:pt x="4159" y="5545"/>
                    <a:pt x="4159" y="5671"/>
                  </a:cubicBezTo>
                  <a:lnTo>
                    <a:pt x="4159" y="6806"/>
                  </a:lnTo>
                  <a:lnTo>
                    <a:pt x="3781" y="6806"/>
                  </a:lnTo>
                  <a:cubicBezTo>
                    <a:pt x="3734" y="6821"/>
                    <a:pt x="3679" y="6829"/>
                    <a:pt x="3624" y="6829"/>
                  </a:cubicBezTo>
                  <a:cubicBezTo>
                    <a:pt x="3568" y="6829"/>
                    <a:pt x="3513" y="6821"/>
                    <a:pt x="3466" y="6806"/>
                  </a:cubicBezTo>
                  <a:lnTo>
                    <a:pt x="3466" y="5671"/>
                  </a:lnTo>
                  <a:cubicBezTo>
                    <a:pt x="3466" y="5514"/>
                    <a:pt x="3403" y="5388"/>
                    <a:pt x="3246" y="5356"/>
                  </a:cubicBezTo>
                  <a:cubicBezTo>
                    <a:pt x="2584" y="5104"/>
                    <a:pt x="2111" y="4443"/>
                    <a:pt x="2111" y="3718"/>
                  </a:cubicBezTo>
                  <a:cubicBezTo>
                    <a:pt x="2111" y="3183"/>
                    <a:pt x="2363" y="2679"/>
                    <a:pt x="2773" y="2363"/>
                  </a:cubicBezTo>
                  <a:lnTo>
                    <a:pt x="2773" y="3718"/>
                  </a:lnTo>
                  <a:cubicBezTo>
                    <a:pt x="2773" y="3939"/>
                    <a:pt x="2930" y="4096"/>
                    <a:pt x="3120" y="4096"/>
                  </a:cubicBezTo>
                  <a:lnTo>
                    <a:pt x="4506" y="4096"/>
                  </a:lnTo>
                  <a:cubicBezTo>
                    <a:pt x="4695" y="4096"/>
                    <a:pt x="4852" y="3939"/>
                    <a:pt x="4852" y="3718"/>
                  </a:cubicBezTo>
                  <a:lnTo>
                    <a:pt x="4852" y="2363"/>
                  </a:lnTo>
                  <a:close/>
                  <a:moveTo>
                    <a:pt x="3781" y="1"/>
                  </a:moveTo>
                  <a:cubicBezTo>
                    <a:pt x="1702" y="1"/>
                    <a:pt x="1" y="1670"/>
                    <a:pt x="1" y="3781"/>
                  </a:cubicBezTo>
                  <a:cubicBezTo>
                    <a:pt x="1" y="5861"/>
                    <a:pt x="1702" y="7530"/>
                    <a:pt x="3781" y="7530"/>
                  </a:cubicBezTo>
                  <a:cubicBezTo>
                    <a:pt x="5892" y="7530"/>
                    <a:pt x="7562" y="5861"/>
                    <a:pt x="7562" y="3781"/>
                  </a:cubicBezTo>
                  <a:cubicBezTo>
                    <a:pt x="7562" y="1670"/>
                    <a:pt x="5892"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7" name="Google Shape;10867;p81"/>
          <p:cNvGrpSpPr/>
          <p:nvPr/>
        </p:nvGrpSpPr>
        <p:grpSpPr>
          <a:xfrm>
            <a:off x="4092877" y="2138699"/>
            <a:ext cx="425343" cy="424225"/>
            <a:chOff x="-4570325" y="2405775"/>
            <a:chExt cx="294600" cy="293825"/>
          </a:xfrm>
        </p:grpSpPr>
        <p:sp>
          <p:nvSpPr>
            <p:cNvPr id="10868" name="Google Shape;10868;p81"/>
            <p:cNvSpPr/>
            <p:nvPr/>
          </p:nvSpPr>
          <p:spPr>
            <a:xfrm>
              <a:off x="-4570325" y="2405775"/>
              <a:ext cx="294600" cy="293825"/>
            </a:xfrm>
            <a:custGeom>
              <a:avLst/>
              <a:gdLst/>
              <a:ahLst/>
              <a:cxnLst/>
              <a:rect l="l" t="t" r="r" b="b"/>
              <a:pathLst>
                <a:path w="11784" h="11753" extrusionOk="0">
                  <a:moveTo>
                    <a:pt x="5734" y="694"/>
                  </a:moveTo>
                  <a:cubicBezTo>
                    <a:pt x="7624" y="694"/>
                    <a:pt x="9168" y="2238"/>
                    <a:pt x="9168" y="4128"/>
                  </a:cubicBezTo>
                  <a:cubicBezTo>
                    <a:pt x="9168" y="6050"/>
                    <a:pt x="7624" y="7594"/>
                    <a:pt x="5734" y="7594"/>
                  </a:cubicBezTo>
                  <a:cubicBezTo>
                    <a:pt x="3844" y="7594"/>
                    <a:pt x="2332" y="6018"/>
                    <a:pt x="2332" y="4128"/>
                  </a:cubicBezTo>
                  <a:cubicBezTo>
                    <a:pt x="2332" y="2238"/>
                    <a:pt x="3844" y="694"/>
                    <a:pt x="5734" y="694"/>
                  </a:cubicBezTo>
                  <a:close/>
                  <a:moveTo>
                    <a:pt x="977" y="7531"/>
                  </a:moveTo>
                  <a:cubicBezTo>
                    <a:pt x="1166" y="7531"/>
                    <a:pt x="1323" y="7688"/>
                    <a:pt x="1323" y="7909"/>
                  </a:cubicBezTo>
                  <a:cubicBezTo>
                    <a:pt x="1292" y="8129"/>
                    <a:pt x="1134" y="8255"/>
                    <a:pt x="977" y="8255"/>
                  </a:cubicBezTo>
                  <a:cubicBezTo>
                    <a:pt x="788" y="8255"/>
                    <a:pt x="630" y="8098"/>
                    <a:pt x="630" y="7909"/>
                  </a:cubicBezTo>
                  <a:cubicBezTo>
                    <a:pt x="630" y="7688"/>
                    <a:pt x="788" y="7531"/>
                    <a:pt x="977" y="7531"/>
                  </a:cubicBezTo>
                  <a:close/>
                  <a:moveTo>
                    <a:pt x="10586" y="7531"/>
                  </a:moveTo>
                  <a:cubicBezTo>
                    <a:pt x="10775" y="7531"/>
                    <a:pt x="10932" y="7688"/>
                    <a:pt x="10932" y="7909"/>
                  </a:cubicBezTo>
                  <a:cubicBezTo>
                    <a:pt x="10932" y="8129"/>
                    <a:pt x="10775" y="8255"/>
                    <a:pt x="10586" y="8255"/>
                  </a:cubicBezTo>
                  <a:cubicBezTo>
                    <a:pt x="10397" y="8255"/>
                    <a:pt x="10239" y="8098"/>
                    <a:pt x="10239" y="7909"/>
                  </a:cubicBezTo>
                  <a:cubicBezTo>
                    <a:pt x="10239" y="7688"/>
                    <a:pt x="10397" y="7531"/>
                    <a:pt x="10586" y="7531"/>
                  </a:cubicBezTo>
                  <a:close/>
                  <a:moveTo>
                    <a:pt x="3025" y="9641"/>
                  </a:moveTo>
                  <a:cubicBezTo>
                    <a:pt x="3214" y="9641"/>
                    <a:pt x="3371" y="9799"/>
                    <a:pt x="3371" y="9988"/>
                  </a:cubicBezTo>
                  <a:cubicBezTo>
                    <a:pt x="3340" y="10177"/>
                    <a:pt x="3214" y="10335"/>
                    <a:pt x="3025" y="10335"/>
                  </a:cubicBezTo>
                  <a:cubicBezTo>
                    <a:pt x="2836" y="10335"/>
                    <a:pt x="2678" y="10177"/>
                    <a:pt x="2678" y="9988"/>
                  </a:cubicBezTo>
                  <a:cubicBezTo>
                    <a:pt x="2678" y="9799"/>
                    <a:pt x="2836" y="9641"/>
                    <a:pt x="3025" y="9641"/>
                  </a:cubicBezTo>
                  <a:close/>
                  <a:moveTo>
                    <a:pt x="8475" y="9641"/>
                  </a:moveTo>
                  <a:cubicBezTo>
                    <a:pt x="8696" y="9641"/>
                    <a:pt x="8822" y="9799"/>
                    <a:pt x="8822" y="9988"/>
                  </a:cubicBezTo>
                  <a:cubicBezTo>
                    <a:pt x="8822" y="10177"/>
                    <a:pt x="8664" y="10335"/>
                    <a:pt x="8475" y="10335"/>
                  </a:cubicBezTo>
                  <a:cubicBezTo>
                    <a:pt x="8255" y="10335"/>
                    <a:pt x="8128" y="10177"/>
                    <a:pt x="8128" y="9988"/>
                  </a:cubicBezTo>
                  <a:cubicBezTo>
                    <a:pt x="8128" y="9799"/>
                    <a:pt x="8255" y="9641"/>
                    <a:pt x="8475" y="9641"/>
                  </a:cubicBezTo>
                  <a:close/>
                  <a:moveTo>
                    <a:pt x="5734" y="10303"/>
                  </a:moveTo>
                  <a:cubicBezTo>
                    <a:pt x="5955" y="10303"/>
                    <a:pt x="6112" y="10461"/>
                    <a:pt x="6112" y="10650"/>
                  </a:cubicBezTo>
                  <a:cubicBezTo>
                    <a:pt x="6112" y="10839"/>
                    <a:pt x="5955" y="10996"/>
                    <a:pt x="5734" y="10996"/>
                  </a:cubicBezTo>
                  <a:cubicBezTo>
                    <a:pt x="5545" y="10996"/>
                    <a:pt x="5388" y="10839"/>
                    <a:pt x="5388" y="10650"/>
                  </a:cubicBezTo>
                  <a:cubicBezTo>
                    <a:pt x="5388" y="10461"/>
                    <a:pt x="5545" y="10303"/>
                    <a:pt x="5734" y="10303"/>
                  </a:cubicBezTo>
                  <a:close/>
                  <a:moveTo>
                    <a:pt x="5797" y="1"/>
                  </a:moveTo>
                  <a:cubicBezTo>
                    <a:pt x="3497" y="1"/>
                    <a:pt x="1701" y="1860"/>
                    <a:pt x="1701" y="4097"/>
                  </a:cubicBezTo>
                  <a:cubicBezTo>
                    <a:pt x="1701" y="5010"/>
                    <a:pt x="2017" y="5924"/>
                    <a:pt x="2552" y="6617"/>
                  </a:cubicBezTo>
                  <a:lnTo>
                    <a:pt x="1701" y="7153"/>
                  </a:lnTo>
                  <a:cubicBezTo>
                    <a:pt x="1481" y="6995"/>
                    <a:pt x="1260" y="6901"/>
                    <a:pt x="1040" y="6901"/>
                  </a:cubicBezTo>
                  <a:cubicBezTo>
                    <a:pt x="473" y="6901"/>
                    <a:pt x="0" y="7373"/>
                    <a:pt x="0" y="7940"/>
                  </a:cubicBezTo>
                  <a:cubicBezTo>
                    <a:pt x="0" y="8476"/>
                    <a:pt x="473" y="8948"/>
                    <a:pt x="1040" y="8948"/>
                  </a:cubicBezTo>
                  <a:cubicBezTo>
                    <a:pt x="1575" y="8948"/>
                    <a:pt x="2048" y="8476"/>
                    <a:pt x="2048" y="7940"/>
                  </a:cubicBezTo>
                  <a:lnTo>
                    <a:pt x="2048" y="7751"/>
                  </a:lnTo>
                  <a:lnTo>
                    <a:pt x="3088" y="7153"/>
                  </a:lnTo>
                  <a:cubicBezTo>
                    <a:pt x="3340" y="7373"/>
                    <a:pt x="3623" y="7625"/>
                    <a:pt x="3970" y="7783"/>
                  </a:cubicBezTo>
                  <a:lnTo>
                    <a:pt x="3308" y="8948"/>
                  </a:lnTo>
                  <a:lnTo>
                    <a:pt x="3119" y="8948"/>
                  </a:lnTo>
                  <a:cubicBezTo>
                    <a:pt x="2552" y="8948"/>
                    <a:pt x="2080" y="9421"/>
                    <a:pt x="2080" y="9988"/>
                  </a:cubicBezTo>
                  <a:cubicBezTo>
                    <a:pt x="2080" y="10524"/>
                    <a:pt x="2552" y="10996"/>
                    <a:pt x="3119" y="10996"/>
                  </a:cubicBezTo>
                  <a:cubicBezTo>
                    <a:pt x="3655" y="10996"/>
                    <a:pt x="4127" y="10524"/>
                    <a:pt x="4127" y="9988"/>
                  </a:cubicBezTo>
                  <a:cubicBezTo>
                    <a:pt x="4127" y="9736"/>
                    <a:pt x="4064" y="9515"/>
                    <a:pt x="3907" y="9326"/>
                  </a:cubicBezTo>
                  <a:lnTo>
                    <a:pt x="4600" y="8098"/>
                  </a:lnTo>
                  <a:cubicBezTo>
                    <a:pt x="4883" y="8161"/>
                    <a:pt x="5199" y="8255"/>
                    <a:pt x="5514" y="8287"/>
                  </a:cubicBezTo>
                  <a:lnTo>
                    <a:pt x="5514" y="9736"/>
                  </a:lnTo>
                  <a:cubicBezTo>
                    <a:pt x="5136" y="9894"/>
                    <a:pt x="4852" y="10272"/>
                    <a:pt x="4852" y="10713"/>
                  </a:cubicBezTo>
                  <a:cubicBezTo>
                    <a:pt x="4852" y="11280"/>
                    <a:pt x="5325" y="11752"/>
                    <a:pt x="5860" y="11752"/>
                  </a:cubicBezTo>
                  <a:cubicBezTo>
                    <a:pt x="6427" y="11752"/>
                    <a:pt x="6900" y="11280"/>
                    <a:pt x="6900" y="10713"/>
                  </a:cubicBezTo>
                  <a:cubicBezTo>
                    <a:pt x="6900" y="10303"/>
                    <a:pt x="6616" y="9894"/>
                    <a:pt x="6238" y="9736"/>
                  </a:cubicBezTo>
                  <a:lnTo>
                    <a:pt x="6238" y="8287"/>
                  </a:lnTo>
                  <a:cubicBezTo>
                    <a:pt x="6553" y="8255"/>
                    <a:pt x="6868" y="8224"/>
                    <a:pt x="7120" y="8098"/>
                  </a:cubicBezTo>
                  <a:lnTo>
                    <a:pt x="7845" y="9326"/>
                  </a:lnTo>
                  <a:cubicBezTo>
                    <a:pt x="7687" y="9515"/>
                    <a:pt x="7593" y="9736"/>
                    <a:pt x="7593" y="9988"/>
                  </a:cubicBezTo>
                  <a:cubicBezTo>
                    <a:pt x="7593" y="10524"/>
                    <a:pt x="8065" y="10996"/>
                    <a:pt x="8633" y="10996"/>
                  </a:cubicBezTo>
                  <a:cubicBezTo>
                    <a:pt x="9168" y="10996"/>
                    <a:pt x="9641" y="10524"/>
                    <a:pt x="9641" y="9988"/>
                  </a:cubicBezTo>
                  <a:cubicBezTo>
                    <a:pt x="9641" y="9421"/>
                    <a:pt x="9168" y="8948"/>
                    <a:pt x="8633" y="8948"/>
                  </a:cubicBezTo>
                  <a:lnTo>
                    <a:pt x="8444" y="8948"/>
                  </a:lnTo>
                  <a:lnTo>
                    <a:pt x="7750" y="7783"/>
                  </a:lnTo>
                  <a:cubicBezTo>
                    <a:pt x="8065" y="7625"/>
                    <a:pt x="8381" y="7373"/>
                    <a:pt x="8664" y="7153"/>
                  </a:cubicBezTo>
                  <a:lnTo>
                    <a:pt x="9735" y="7751"/>
                  </a:lnTo>
                  <a:lnTo>
                    <a:pt x="9735" y="7940"/>
                  </a:lnTo>
                  <a:cubicBezTo>
                    <a:pt x="9735" y="8476"/>
                    <a:pt x="10208" y="8948"/>
                    <a:pt x="10743" y="8948"/>
                  </a:cubicBezTo>
                  <a:cubicBezTo>
                    <a:pt x="11310" y="8948"/>
                    <a:pt x="11783" y="8476"/>
                    <a:pt x="11783" y="7940"/>
                  </a:cubicBezTo>
                  <a:cubicBezTo>
                    <a:pt x="11626" y="7342"/>
                    <a:pt x="11153" y="6901"/>
                    <a:pt x="10586" y="6901"/>
                  </a:cubicBezTo>
                  <a:cubicBezTo>
                    <a:pt x="10302" y="6901"/>
                    <a:pt x="10082" y="6995"/>
                    <a:pt x="9924" y="7153"/>
                  </a:cubicBezTo>
                  <a:lnTo>
                    <a:pt x="9011" y="6617"/>
                  </a:lnTo>
                  <a:cubicBezTo>
                    <a:pt x="9578" y="5924"/>
                    <a:pt x="9893" y="5010"/>
                    <a:pt x="9893" y="4097"/>
                  </a:cubicBezTo>
                  <a:cubicBezTo>
                    <a:pt x="9893" y="1828"/>
                    <a:pt x="8034" y="1"/>
                    <a:pt x="5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81"/>
            <p:cNvSpPr/>
            <p:nvPr/>
          </p:nvSpPr>
          <p:spPr>
            <a:xfrm>
              <a:off x="-4478175" y="2439650"/>
              <a:ext cx="103975" cy="120525"/>
            </a:xfrm>
            <a:custGeom>
              <a:avLst/>
              <a:gdLst/>
              <a:ahLst/>
              <a:cxnLst/>
              <a:rect l="l" t="t" r="r" b="b"/>
              <a:pathLst>
                <a:path w="4159" h="4821" extrusionOk="0">
                  <a:moveTo>
                    <a:pt x="2048" y="725"/>
                  </a:moveTo>
                  <a:cubicBezTo>
                    <a:pt x="2458" y="725"/>
                    <a:pt x="2741" y="1040"/>
                    <a:pt x="2741" y="1387"/>
                  </a:cubicBezTo>
                  <a:cubicBezTo>
                    <a:pt x="2741" y="1765"/>
                    <a:pt x="2426" y="2049"/>
                    <a:pt x="2048" y="2049"/>
                  </a:cubicBezTo>
                  <a:cubicBezTo>
                    <a:pt x="1702" y="2049"/>
                    <a:pt x="1387" y="1733"/>
                    <a:pt x="1387" y="1387"/>
                  </a:cubicBezTo>
                  <a:cubicBezTo>
                    <a:pt x="1387" y="1040"/>
                    <a:pt x="1702" y="725"/>
                    <a:pt x="2048" y="725"/>
                  </a:cubicBezTo>
                  <a:close/>
                  <a:moveTo>
                    <a:pt x="2363" y="2773"/>
                  </a:moveTo>
                  <a:cubicBezTo>
                    <a:pt x="2930" y="2773"/>
                    <a:pt x="3403" y="3246"/>
                    <a:pt x="3403" y="3781"/>
                  </a:cubicBezTo>
                  <a:lnTo>
                    <a:pt x="3403" y="4128"/>
                  </a:lnTo>
                  <a:lnTo>
                    <a:pt x="630" y="4128"/>
                  </a:lnTo>
                  <a:lnTo>
                    <a:pt x="630" y="3781"/>
                  </a:lnTo>
                  <a:lnTo>
                    <a:pt x="693" y="3781"/>
                  </a:lnTo>
                  <a:cubicBezTo>
                    <a:pt x="693" y="3246"/>
                    <a:pt x="1166" y="2773"/>
                    <a:pt x="1702" y="2773"/>
                  </a:cubicBezTo>
                  <a:close/>
                  <a:moveTo>
                    <a:pt x="2111" y="1"/>
                  </a:moveTo>
                  <a:cubicBezTo>
                    <a:pt x="1355" y="1"/>
                    <a:pt x="725" y="631"/>
                    <a:pt x="725" y="1387"/>
                  </a:cubicBezTo>
                  <a:cubicBezTo>
                    <a:pt x="725" y="1702"/>
                    <a:pt x="851" y="2017"/>
                    <a:pt x="1040" y="2238"/>
                  </a:cubicBezTo>
                  <a:cubicBezTo>
                    <a:pt x="441" y="2521"/>
                    <a:pt x="63" y="3120"/>
                    <a:pt x="63" y="3781"/>
                  </a:cubicBezTo>
                  <a:lnTo>
                    <a:pt x="63" y="4443"/>
                  </a:lnTo>
                  <a:cubicBezTo>
                    <a:pt x="0" y="4663"/>
                    <a:pt x="158" y="4821"/>
                    <a:pt x="378" y="4821"/>
                  </a:cubicBezTo>
                  <a:lnTo>
                    <a:pt x="3781" y="4821"/>
                  </a:lnTo>
                  <a:cubicBezTo>
                    <a:pt x="4001" y="4821"/>
                    <a:pt x="4159" y="4663"/>
                    <a:pt x="4159" y="4443"/>
                  </a:cubicBezTo>
                  <a:lnTo>
                    <a:pt x="4159" y="3781"/>
                  </a:lnTo>
                  <a:cubicBezTo>
                    <a:pt x="4159" y="3120"/>
                    <a:pt x="3749" y="2521"/>
                    <a:pt x="3151" y="2238"/>
                  </a:cubicBezTo>
                  <a:cubicBezTo>
                    <a:pt x="3371" y="2017"/>
                    <a:pt x="3466" y="1733"/>
                    <a:pt x="3466" y="1387"/>
                  </a:cubicBezTo>
                  <a:cubicBezTo>
                    <a:pt x="3466" y="631"/>
                    <a:pt x="2836"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0" name="Google Shape;10870;p81"/>
          <p:cNvGrpSpPr/>
          <p:nvPr/>
        </p:nvGrpSpPr>
        <p:grpSpPr>
          <a:xfrm>
            <a:off x="4105945" y="2659838"/>
            <a:ext cx="423069" cy="423033"/>
            <a:chOff x="-4572700" y="2764950"/>
            <a:chExt cx="293025" cy="293000"/>
          </a:xfrm>
        </p:grpSpPr>
        <p:sp>
          <p:nvSpPr>
            <p:cNvPr id="10871" name="Google Shape;10871;p81"/>
            <p:cNvSpPr/>
            <p:nvPr/>
          </p:nvSpPr>
          <p:spPr>
            <a:xfrm>
              <a:off x="-4572700" y="2764950"/>
              <a:ext cx="293025" cy="293000"/>
            </a:xfrm>
            <a:custGeom>
              <a:avLst/>
              <a:gdLst/>
              <a:ahLst/>
              <a:cxnLst/>
              <a:rect l="l" t="t" r="r" b="b"/>
              <a:pathLst>
                <a:path w="11721" h="11720" extrusionOk="0">
                  <a:moveTo>
                    <a:pt x="10681" y="2048"/>
                  </a:moveTo>
                  <a:cubicBezTo>
                    <a:pt x="10870" y="2048"/>
                    <a:pt x="11027" y="2206"/>
                    <a:pt x="11027" y="2395"/>
                  </a:cubicBezTo>
                  <a:lnTo>
                    <a:pt x="11027" y="7246"/>
                  </a:lnTo>
                  <a:cubicBezTo>
                    <a:pt x="11027" y="7435"/>
                    <a:pt x="10870" y="7593"/>
                    <a:pt x="10681" y="7593"/>
                  </a:cubicBezTo>
                  <a:lnTo>
                    <a:pt x="1072" y="7593"/>
                  </a:lnTo>
                  <a:cubicBezTo>
                    <a:pt x="883" y="7593"/>
                    <a:pt x="725" y="7435"/>
                    <a:pt x="725" y="7246"/>
                  </a:cubicBezTo>
                  <a:lnTo>
                    <a:pt x="725" y="2395"/>
                  </a:lnTo>
                  <a:cubicBezTo>
                    <a:pt x="725" y="2206"/>
                    <a:pt x="883" y="2048"/>
                    <a:pt x="1072" y="2048"/>
                  </a:cubicBezTo>
                  <a:close/>
                  <a:moveTo>
                    <a:pt x="4821" y="8286"/>
                  </a:moveTo>
                  <a:lnTo>
                    <a:pt x="4821" y="8979"/>
                  </a:lnTo>
                  <a:lnTo>
                    <a:pt x="3435" y="8979"/>
                  </a:lnTo>
                  <a:lnTo>
                    <a:pt x="3435" y="8286"/>
                  </a:lnTo>
                  <a:close/>
                  <a:moveTo>
                    <a:pt x="8287" y="8286"/>
                  </a:moveTo>
                  <a:lnTo>
                    <a:pt x="8287" y="8979"/>
                  </a:lnTo>
                  <a:lnTo>
                    <a:pt x="6869" y="8979"/>
                  </a:lnTo>
                  <a:lnTo>
                    <a:pt x="6869" y="8286"/>
                  </a:lnTo>
                  <a:close/>
                  <a:moveTo>
                    <a:pt x="6207" y="8254"/>
                  </a:moveTo>
                  <a:lnTo>
                    <a:pt x="6207" y="11027"/>
                  </a:lnTo>
                  <a:lnTo>
                    <a:pt x="5514" y="11027"/>
                  </a:lnTo>
                  <a:lnTo>
                    <a:pt x="5514" y="8254"/>
                  </a:lnTo>
                  <a:close/>
                  <a:moveTo>
                    <a:pt x="1733" y="0"/>
                  </a:moveTo>
                  <a:cubicBezTo>
                    <a:pt x="1544" y="0"/>
                    <a:pt x="1387" y="158"/>
                    <a:pt x="1387" y="347"/>
                  </a:cubicBezTo>
                  <a:cubicBezTo>
                    <a:pt x="1387" y="536"/>
                    <a:pt x="1544" y="693"/>
                    <a:pt x="1733" y="693"/>
                  </a:cubicBezTo>
                  <a:lnTo>
                    <a:pt x="2112" y="693"/>
                  </a:lnTo>
                  <a:lnTo>
                    <a:pt x="2112" y="1355"/>
                  </a:lnTo>
                  <a:lnTo>
                    <a:pt x="1072" y="1355"/>
                  </a:lnTo>
                  <a:cubicBezTo>
                    <a:pt x="536" y="1355"/>
                    <a:pt x="64" y="1827"/>
                    <a:pt x="64" y="2395"/>
                  </a:cubicBezTo>
                  <a:lnTo>
                    <a:pt x="64" y="7246"/>
                  </a:lnTo>
                  <a:cubicBezTo>
                    <a:pt x="64" y="7782"/>
                    <a:pt x="536" y="8254"/>
                    <a:pt x="1072" y="8254"/>
                  </a:cubicBezTo>
                  <a:lnTo>
                    <a:pt x="2773" y="8254"/>
                  </a:lnTo>
                  <a:lnTo>
                    <a:pt x="2773" y="8916"/>
                  </a:lnTo>
                  <a:lnTo>
                    <a:pt x="1733" y="8916"/>
                  </a:lnTo>
                  <a:cubicBezTo>
                    <a:pt x="1544" y="8916"/>
                    <a:pt x="1387" y="9074"/>
                    <a:pt x="1387" y="9294"/>
                  </a:cubicBezTo>
                  <a:cubicBezTo>
                    <a:pt x="1387" y="9483"/>
                    <a:pt x="1544" y="9641"/>
                    <a:pt x="1733" y="9641"/>
                  </a:cubicBezTo>
                  <a:lnTo>
                    <a:pt x="4821" y="9641"/>
                  </a:lnTo>
                  <a:lnTo>
                    <a:pt x="4821" y="11027"/>
                  </a:lnTo>
                  <a:lnTo>
                    <a:pt x="379" y="11027"/>
                  </a:lnTo>
                  <a:cubicBezTo>
                    <a:pt x="158" y="11027"/>
                    <a:pt x="1" y="11184"/>
                    <a:pt x="1" y="11373"/>
                  </a:cubicBezTo>
                  <a:cubicBezTo>
                    <a:pt x="1" y="11562"/>
                    <a:pt x="158" y="11720"/>
                    <a:pt x="379" y="11720"/>
                  </a:cubicBezTo>
                  <a:lnTo>
                    <a:pt x="11342" y="11720"/>
                  </a:lnTo>
                  <a:cubicBezTo>
                    <a:pt x="11563" y="11720"/>
                    <a:pt x="11721" y="11562"/>
                    <a:pt x="11721" y="11373"/>
                  </a:cubicBezTo>
                  <a:cubicBezTo>
                    <a:pt x="11721" y="11184"/>
                    <a:pt x="11563" y="11027"/>
                    <a:pt x="11342" y="11027"/>
                  </a:cubicBezTo>
                  <a:lnTo>
                    <a:pt x="6869" y="11027"/>
                  </a:lnTo>
                  <a:lnTo>
                    <a:pt x="6869" y="9641"/>
                  </a:lnTo>
                  <a:lnTo>
                    <a:pt x="9988" y="9641"/>
                  </a:lnTo>
                  <a:cubicBezTo>
                    <a:pt x="10177" y="9641"/>
                    <a:pt x="10334" y="9483"/>
                    <a:pt x="10334" y="9294"/>
                  </a:cubicBezTo>
                  <a:cubicBezTo>
                    <a:pt x="10334" y="9074"/>
                    <a:pt x="10177" y="8916"/>
                    <a:pt x="9988" y="8916"/>
                  </a:cubicBezTo>
                  <a:lnTo>
                    <a:pt x="8948" y="8916"/>
                  </a:lnTo>
                  <a:lnTo>
                    <a:pt x="8948" y="8254"/>
                  </a:lnTo>
                  <a:lnTo>
                    <a:pt x="10681" y="8254"/>
                  </a:lnTo>
                  <a:cubicBezTo>
                    <a:pt x="11248" y="8254"/>
                    <a:pt x="11721" y="7782"/>
                    <a:pt x="11721" y="7246"/>
                  </a:cubicBezTo>
                  <a:lnTo>
                    <a:pt x="11721" y="2395"/>
                  </a:lnTo>
                  <a:cubicBezTo>
                    <a:pt x="11721" y="1827"/>
                    <a:pt x="11248" y="1355"/>
                    <a:pt x="10681" y="1355"/>
                  </a:cubicBezTo>
                  <a:lnTo>
                    <a:pt x="9673" y="1355"/>
                  </a:lnTo>
                  <a:lnTo>
                    <a:pt x="9673" y="693"/>
                  </a:lnTo>
                  <a:lnTo>
                    <a:pt x="10019" y="693"/>
                  </a:lnTo>
                  <a:cubicBezTo>
                    <a:pt x="10208" y="693"/>
                    <a:pt x="10366" y="536"/>
                    <a:pt x="10366" y="347"/>
                  </a:cubicBezTo>
                  <a:cubicBezTo>
                    <a:pt x="10366" y="158"/>
                    <a:pt x="10208" y="0"/>
                    <a:pt x="10019" y="0"/>
                  </a:cubicBezTo>
                  <a:lnTo>
                    <a:pt x="8633" y="0"/>
                  </a:lnTo>
                  <a:cubicBezTo>
                    <a:pt x="8444" y="0"/>
                    <a:pt x="8287" y="158"/>
                    <a:pt x="8287" y="347"/>
                  </a:cubicBezTo>
                  <a:cubicBezTo>
                    <a:pt x="8287" y="536"/>
                    <a:pt x="8444" y="693"/>
                    <a:pt x="8633" y="693"/>
                  </a:cubicBezTo>
                  <a:lnTo>
                    <a:pt x="8980" y="693"/>
                  </a:lnTo>
                  <a:lnTo>
                    <a:pt x="8980" y="1355"/>
                  </a:lnTo>
                  <a:lnTo>
                    <a:pt x="6207" y="1355"/>
                  </a:lnTo>
                  <a:lnTo>
                    <a:pt x="6207" y="693"/>
                  </a:lnTo>
                  <a:lnTo>
                    <a:pt x="6554" y="693"/>
                  </a:lnTo>
                  <a:cubicBezTo>
                    <a:pt x="6743" y="693"/>
                    <a:pt x="6900" y="536"/>
                    <a:pt x="6900" y="347"/>
                  </a:cubicBezTo>
                  <a:cubicBezTo>
                    <a:pt x="6900" y="158"/>
                    <a:pt x="6743" y="0"/>
                    <a:pt x="6554" y="0"/>
                  </a:cubicBezTo>
                  <a:lnTo>
                    <a:pt x="5168" y="0"/>
                  </a:lnTo>
                  <a:cubicBezTo>
                    <a:pt x="4978" y="0"/>
                    <a:pt x="4821" y="158"/>
                    <a:pt x="4821" y="347"/>
                  </a:cubicBezTo>
                  <a:cubicBezTo>
                    <a:pt x="4821" y="536"/>
                    <a:pt x="4978" y="693"/>
                    <a:pt x="5168" y="693"/>
                  </a:cubicBezTo>
                  <a:lnTo>
                    <a:pt x="5514" y="693"/>
                  </a:lnTo>
                  <a:lnTo>
                    <a:pt x="5514" y="1355"/>
                  </a:lnTo>
                  <a:lnTo>
                    <a:pt x="2773" y="1355"/>
                  </a:lnTo>
                  <a:lnTo>
                    <a:pt x="2773" y="693"/>
                  </a:lnTo>
                  <a:lnTo>
                    <a:pt x="3120" y="693"/>
                  </a:lnTo>
                  <a:cubicBezTo>
                    <a:pt x="3309" y="693"/>
                    <a:pt x="3466" y="536"/>
                    <a:pt x="3466" y="347"/>
                  </a:cubicBezTo>
                  <a:cubicBezTo>
                    <a:pt x="3466" y="158"/>
                    <a:pt x="3309" y="0"/>
                    <a:pt x="31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81"/>
            <p:cNvSpPr/>
            <p:nvPr/>
          </p:nvSpPr>
          <p:spPr>
            <a:xfrm>
              <a:off x="-4538825" y="2833475"/>
              <a:ext cx="86650" cy="104775"/>
            </a:xfrm>
            <a:custGeom>
              <a:avLst/>
              <a:gdLst/>
              <a:ahLst/>
              <a:cxnLst/>
              <a:rect l="l" t="t" r="r" b="b"/>
              <a:pathLst>
                <a:path w="3466" h="4191" extrusionOk="0">
                  <a:moveTo>
                    <a:pt x="2804" y="662"/>
                  </a:moveTo>
                  <a:lnTo>
                    <a:pt x="2804" y="3466"/>
                  </a:lnTo>
                  <a:lnTo>
                    <a:pt x="757" y="3466"/>
                  </a:lnTo>
                  <a:lnTo>
                    <a:pt x="757" y="662"/>
                  </a:lnTo>
                  <a:close/>
                  <a:moveTo>
                    <a:pt x="347" y="0"/>
                  </a:moveTo>
                  <a:cubicBezTo>
                    <a:pt x="158" y="0"/>
                    <a:pt x="0" y="158"/>
                    <a:pt x="0" y="347"/>
                  </a:cubicBezTo>
                  <a:lnTo>
                    <a:pt x="0" y="3812"/>
                  </a:lnTo>
                  <a:cubicBezTo>
                    <a:pt x="0" y="4033"/>
                    <a:pt x="158" y="4190"/>
                    <a:pt x="347" y="4190"/>
                  </a:cubicBezTo>
                  <a:lnTo>
                    <a:pt x="3119" y="4190"/>
                  </a:lnTo>
                  <a:cubicBezTo>
                    <a:pt x="3308" y="4190"/>
                    <a:pt x="3466" y="4033"/>
                    <a:pt x="3466" y="3812"/>
                  </a:cubicBezTo>
                  <a:lnTo>
                    <a:pt x="3466" y="347"/>
                  </a:lnTo>
                  <a:cubicBezTo>
                    <a:pt x="3466" y="158"/>
                    <a:pt x="3308" y="0"/>
                    <a:pt x="31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3" name="Google Shape;10873;p81"/>
            <p:cNvSpPr/>
            <p:nvPr/>
          </p:nvSpPr>
          <p:spPr>
            <a:xfrm>
              <a:off x="-4435650" y="2902775"/>
              <a:ext cx="121325" cy="17350"/>
            </a:xfrm>
            <a:custGeom>
              <a:avLst/>
              <a:gdLst/>
              <a:ahLst/>
              <a:cxnLst/>
              <a:rect l="l" t="t" r="r" b="b"/>
              <a:pathLst>
                <a:path w="4853" h="694" extrusionOk="0">
                  <a:moveTo>
                    <a:pt x="347" y="1"/>
                  </a:moveTo>
                  <a:cubicBezTo>
                    <a:pt x="158" y="1"/>
                    <a:pt x="1" y="158"/>
                    <a:pt x="1" y="347"/>
                  </a:cubicBezTo>
                  <a:cubicBezTo>
                    <a:pt x="32" y="536"/>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4" name="Google Shape;10874;p81"/>
            <p:cNvSpPr/>
            <p:nvPr/>
          </p:nvSpPr>
          <p:spPr>
            <a:xfrm>
              <a:off x="-4435650" y="2867325"/>
              <a:ext cx="121325" cy="17350"/>
            </a:xfrm>
            <a:custGeom>
              <a:avLst/>
              <a:gdLst/>
              <a:ahLst/>
              <a:cxnLst/>
              <a:rect l="l" t="t" r="r" b="b"/>
              <a:pathLst>
                <a:path w="4853" h="694" extrusionOk="0">
                  <a:moveTo>
                    <a:pt x="347" y="1"/>
                  </a:moveTo>
                  <a:cubicBezTo>
                    <a:pt x="158" y="1"/>
                    <a:pt x="1" y="158"/>
                    <a:pt x="1" y="347"/>
                  </a:cubicBezTo>
                  <a:cubicBezTo>
                    <a:pt x="32" y="568"/>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81"/>
            <p:cNvSpPr/>
            <p:nvPr/>
          </p:nvSpPr>
          <p:spPr>
            <a:xfrm>
              <a:off x="-4435650" y="2833475"/>
              <a:ext cx="121325" cy="18125"/>
            </a:xfrm>
            <a:custGeom>
              <a:avLst/>
              <a:gdLst/>
              <a:ahLst/>
              <a:cxnLst/>
              <a:rect l="l" t="t" r="r" b="b"/>
              <a:pathLst>
                <a:path w="4853" h="725" extrusionOk="0">
                  <a:moveTo>
                    <a:pt x="347" y="0"/>
                  </a:moveTo>
                  <a:cubicBezTo>
                    <a:pt x="158" y="0"/>
                    <a:pt x="1" y="158"/>
                    <a:pt x="1" y="347"/>
                  </a:cubicBezTo>
                  <a:cubicBezTo>
                    <a:pt x="32" y="567"/>
                    <a:pt x="158" y="725"/>
                    <a:pt x="347" y="725"/>
                  </a:cubicBezTo>
                  <a:lnTo>
                    <a:pt x="4506" y="725"/>
                  </a:lnTo>
                  <a:cubicBezTo>
                    <a:pt x="4695" y="725"/>
                    <a:pt x="4852" y="567"/>
                    <a:pt x="4852" y="347"/>
                  </a:cubicBezTo>
                  <a:cubicBezTo>
                    <a:pt x="4852" y="158"/>
                    <a:pt x="469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6" name="Google Shape;10876;p81"/>
          <p:cNvGrpSpPr/>
          <p:nvPr/>
        </p:nvGrpSpPr>
        <p:grpSpPr>
          <a:xfrm>
            <a:off x="6824707" y="1631239"/>
            <a:ext cx="414840" cy="420832"/>
            <a:chOff x="-2777700" y="2049775"/>
            <a:chExt cx="287325" cy="291475"/>
          </a:xfrm>
        </p:grpSpPr>
        <p:sp>
          <p:nvSpPr>
            <p:cNvPr id="10877" name="Google Shape;10877;p81"/>
            <p:cNvSpPr/>
            <p:nvPr/>
          </p:nvSpPr>
          <p:spPr>
            <a:xfrm>
              <a:off x="-2777700" y="2049775"/>
              <a:ext cx="287325" cy="291475"/>
            </a:xfrm>
            <a:custGeom>
              <a:avLst/>
              <a:gdLst/>
              <a:ahLst/>
              <a:cxnLst/>
              <a:rect l="l" t="t" r="r" b="b"/>
              <a:pathLst>
                <a:path w="11493" h="11659" extrusionOk="0">
                  <a:moveTo>
                    <a:pt x="7121" y="662"/>
                  </a:moveTo>
                  <a:cubicBezTo>
                    <a:pt x="7341" y="662"/>
                    <a:pt x="7499" y="820"/>
                    <a:pt x="7499" y="1040"/>
                  </a:cubicBezTo>
                  <a:cubicBezTo>
                    <a:pt x="7499" y="1230"/>
                    <a:pt x="7341" y="1387"/>
                    <a:pt x="7121" y="1387"/>
                  </a:cubicBezTo>
                  <a:lnTo>
                    <a:pt x="4380" y="1387"/>
                  </a:lnTo>
                  <a:cubicBezTo>
                    <a:pt x="4191" y="1387"/>
                    <a:pt x="4033" y="1230"/>
                    <a:pt x="4033" y="1040"/>
                  </a:cubicBezTo>
                  <a:cubicBezTo>
                    <a:pt x="4033" y="820"/>
                    <a:pt x="4191" y="662"/>
                    <a:pt x="4380" y="662"/>
                  </a:cubicBezTo>
                  <a:close/>
                  <a:moveTo>
                    <a:pt x="6774" y="2049"/>
                  </a:moveTo>
                  <a:lnTo>
                    <a:pt x="6774" y="4285"/>
                  </a:lnTo>
                  <a:cubicBezTo>
                    <a:pt x="6774" y="4412"/>
                    <a:pt x="6774" y="4443"/>
                    <a:pt x="7499" y="5514"/>
                  </a:cubicBezTo>
                  <a:lnTo>
                    <a:pt x="3970" y="5514"/>
                  </a:lnTo>
                  <a:cubicBezTo>
                    <a:pt x="4758" y="4412"/>
                    <a:pt x="4726" y="4443"/>
                    <a:pt x="4726" y="4348"/>
                  </a:cubicBezTo>
                  <a:lnTo>
                    <a:pt x="4726" y="2049"/>
                  </a:lnTo>
                  <a:close/>
                  <a:moveTo>
                    <a:pt x="8003" y="6176"/>
                  </a:moveTo>
                  <a:cubicBezTo>
                    <a:pt x="8696" y="7215"/>
                    <a:pt x="9578" y="8507"/>
                    <a:pt x="10177" y="9389"/>
                  </a:cubicBezTo>
                  <a:cubicBezTo>
                    <a:pt x="10649" y="10082"/>
                    <a:pt x="10177" y="10996"/>
                    <a:pt x="9294" y="10996"/>
                  </a:cubicBezTo>
                  <a:lnTo>
                    <a:pt x="2206" y="10996"/>
                  </a:lnTo>
                  <a:cubicBezTo>
                    <a:pt x="1387" y="10996"/>
                    <a:pt x="914" y="10051"/>
                    <a:pt x="1387" y="9389"/>
                  </a:cubicBezTo>
                  <a:cubicBezTo>
                    <a:pt x="1859" y="8665"/>
                    <a:pt x="2804" y="7341"/>
                    <a:pt x="3561" y="6176"/>
                  </a:cubicBezTo>
                  <a:close/>
                  <a:moveTo>
                    <a:pt x="4380" y="1"/>
                  </a:moveTo>
                  <a:cubicBezTo>
                    <a:pt x="3813" y="1"/>
                    <a:pt x="3340" y="473"/>
                    <a:pt x="3340" y="1040"/>
                  </a:cubicBezTo>
                  <a:cubicBezTo>
                    <a:pt x="3340" y="1513"/>
                    <a:pt x="3655" y="1860"/>
                    <a:pt x="4065" y="2017"/>
                  </a:cubicBezTo>
                  <a:lnTo>
                    <a:pt x="4065" y="4222"/>
                  </a:lnTo>
                  <a:cubicBezTo>
                    <a:pt x="3718" y="4790"/>
                    <a:pt x="1198" y="8413"/>
                    <a:pt x="788" y="8980"/>
                  </a:cubicBezTo>
                  <a:cubicBezTo>
                    <a:pt x="1" y="10114"/>
                    <a:pt x="820" y="11658"/>
                    <a:pt x="2206" y="11658"/>
                  </a:cubicBezTo>
                  <a:lnTo>
                    <a:pt x="9294" y="11658"/>
                  </a:lnTo>
                  <a:cubicBezTo>
                    <a:pt x="9308" y="11658"/>
                    <a:pt x="9322" y="11658"/>
                    <a:pt x="9335" y="11658"/>
                  </a:cubicBezTo>
                  <a:cubicBezTo>
                    <a:pt x="10697" y="11658"/>
                    <a:pt x="11492" y="10103"/>
                    <a:pt x="10712" y="9011"/>
                  </a:cubicBezTo>
                  <a:cubicBezTo>
                    <a:pt x="10271" y="8444"/>
                    <a:pt x="7845" y="4853"/>
                    <a:pt x="7499" y="4254"/>
                  </a:cubicBezTo>
                  <a:lnTo>
                    <a:pt x="7499" y="1986"/>
                  </a:lnTo>
                  <a:cubicBezTo>
                    <a:pt x="7877" y="1828"/>
                    <a:pt x="8160" y="1450"/>
                    <a:pt x="8160" y="1040"/>
                  </a:cubicBezTo>
                  <a:cubicBezTo>
                    <a:pt x="8160" y="473"/>
                    <a:pt x="7688" y="1"/>
                    <a:pt x="71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81"/>
            <p:cNvSpPr/>
            <p:nvPr/>
          </p:nvSpPr>
          <p:spPr>
            <a:xfrm>
              <a:off x="-2694200" y="2221475"/>
              <a:ext cx="69325" cy="68550"/>
            </a:xfrm>
            <a:custGeom>
              <a:avLst/>
              <a:gdLst/>
              <a:ahLst/>
              <a:cxnLst/>
              <a:rect l="l" t="t" r="r" b="b"/>
              <a:pathLst>
                <a:path w="2773" h="2742" extrusionOk="0">
                  <a:moveTo>
                    <a:pt x="1386" y="694"/>
                  </a:moveTo>
                  <a:cubicBezTo>
                    <a:pt x="1733" y="694"/>
                    <a:pt x="2048" y="1009"/>
                    <a:pt x="2048" y="1356"/>
                  </a:cubicBezTo>
                  <a:cubicBezTo>
                    <a:pt x="2048" y="1765"/>
                    <a:pt x="1764" y="2049"/>
                    <a:pt x="1386" y="2049"/>
                  </a:cubicBezTo>
                  <a:cubicBezTo>
                    <a:pt x="1008" y="2049"/>
                    <a:pt x="725" y="1702"/>
                    <a:pt x="725" y="1356"/>
                  </a:cubicBezTo>
                  <a:cubicBezTo>
                    <a:pt x="725" y="978"/>
                    <a:pt x="1040" y="694"/>
                    <a:pt x="1386" y="694"/>
                  </a:cubicBezTo>
                  <a:close/>
                  <a:moveTo>
                    <a:pt x="1386" y="1"/>
                  </a:moveTo>
                  <a:cubicBezTo>
                    <a:pt x="630" y="1"/>
                    <a:pt x="0" y="631"/>
                    <a:pt x="0" y="1356"/>
                  </a:cubicBezTo>
                  <a:cubicBezTo>
                    <a:pt x="0" y="2112"/>
                    <a:pt x="630" y="2742"/>
                    <a:pt x="1386" y="2742"/>
                  </a:cubicBezTo>
                  <a:cubicBezTo>
                    <a:pt x="2142" y="2742"/>
                    <a:pt x="2772" y="2112"/>
                    <a:pt x="2772" y="1356"/>
                  </a:cubicBezTo>
                  <a:cubicBezTo>
                    <a:pt x="2772" y="631"/>
                    <a:pt x="2142"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81"/>
            <p:cNvSpPr/>
            <p:nvPr/>
          </p:nvSpPr>
          <p:spPr>
            <a:xfrm>
              <a:off x="-2608350" y="2255350"/>
              <a:ext cx="51200" cy="51225"/>
            </a:xfrm>
            <a:custGeom>
              <a:avLst/>
              <a:gdLst/>
              <a:ahLst/>
              <a:cxnLst/>
              <a:rect l="l" t="t" r="r" b="b"/>
              <a:pathLst>
                <a:path w="2048" h="2049" extrusionOk="0">
                  <a:moveTo>
                    <a:pt x="1040" y="694"/>
                  </a:moveTo>
                  <a:cubicBezTo>
                    <a:pt x="1229" y="694"/>
                    <a:pt x="1386" y="851"/>
                    <a:pt x="1386" y="1040"/>
                  </a:cubicBezTo>
                  <a:cubicBezTo>
                    <a:pt x="1386" y="1229"/>
                    <a:pt x="1229" y="1387"/>
                    <a:pt x="1040" y="1387"/>
                  </a:cubicBezTo>
                  <a:cubicBezTo>
                    <a:pt x="819" y="1387"/>
                    <a:pt x="693" y="1229"/>
                    <a:pt x="693" y="1040"/>
                  </a:cubicBezTo>
                  <a:cubicBezTo>
                    <a:pt x="693" y="851"/>
                    <a:pt x="819" y="694"/>
                    <a:pt x="1040" y="694"/>
                  </a:cubicBezTo>
                  <a:close/>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80" name="Google Shape;10880;p81"/>
          <p:cNvGrpSpPr/>
          <p:nvPr/>
        </p:nvGrpSpPr>
        <p:grpSpPr>
          <a:xfrm>
            <a:off x="6821170" y="2140431"/>
            <a:ext cx="421914" cy="420759"/>
            <a:chOff x="-2571737" y="2403625"/>
            <a:chExt cx="292225" cy="291425"/>
          </a:xfrm>
        </p:grpSpPr>
        <p:sp>
          <p:nvSpPr>
            <p:cNvPr id="10881" name="Google Shape;10881;p81"/>
            <p:cNvSpPr/>
            <p:nvPr/>
          </p:nvSpPr>
          <p:spPr>
            <a:xfrm>
              <a:off x="-2571737" y="2403625"/>
              <a:ext cx="292225" cy="291425"/>
            </a:xfrm>
            <a:custGeom>
              <a:avLst/>
              <a:gdLst/>
              <a:ahLst/>
              <a:cxnLst/>
              <a:rect l="l" t="t" r="r" b="b"/>
              <a:pathLst>
                <a:path w="11689" h="11657" extrusionOk="0">
                  <a:moveTo>
                    <a:pt x="9547" y="725"/>
                  </a:moveTo>
                  <a:cubicBezTo>
                    <a:pt x="9704" y="725"/>
                    <a:pt x="9830" y="788"/>
                    <a:pt x="9893" y="914"/>
                  </a:cubicBezTo>
                  <a:lnTo>
                    <a:pt x="10681" y="2772"/>
                  </a:lnTo>
                  <a:lnTo>
                    <a:pt x="1135" y="2772"/>
                  </a:lnTo>
                  <a:lnTo>
                    <a:pt x="1891" y="914"/>
                  </a:lnTo>
                  <a:cubicBezTo>
                    <a:pt x="1922" y="788"/>
                    <a:pt x="2080" y="725"/>
                    <a:pt x="2206" y="725"/>
                  </a:cubicBezTo>
                  <a:close/>
                  <a:moveTo>
                    <a:pt x="10649" y="3403"/>
                  </a:moveTo>
                  <a:cubicBezTo>
                    <a:pt x="10870" y="3403"/>
                    <a:pt x="11027" y="3560"/>
                    <a:pt x="11027" y="3749"/>
                  </a:cubicBezTo>
                  <a:lnTo>
                    <a:pt x="11027" y="5167"/>
                  </a:lnTo>
                  <a:cubicBezTo>
                    <a:pt x="11027" y="5356"/>
                    <a:pt x="10870" y="5513"/>
                    <a:pt x="10649" y="5513"/>
                  </a:cubicBezTo>
                  <a:lnTo>
                    <a:pt x="1040" y="5513"/>
                  </a:lnTo>
                  <a:cubicBezTo>
                    <a:pt x="851" y="5513"/>
                    <a:pt x="694" y="5356"/>
                    <a:pt x="694" y="5167"/>
                  </a:cubicBezTo>
                  <a:lnTo>
                    <a:pt x="694" y="3749"/>
                  </a:lnTo>
                  <a:cubicBezTo>
                    <a:pt x="694" y="3560"/>
                    <a:pt x="851" y="3403"/>
                    <a:pt x="1040" y="3403"/>
                  </a:cubicBezTo>
                  <a:close/>
                  <a:moveTo>
                    <a:pt x="10681" y="6206"/>
                  </a:moveTo>
                  <a:cubicBezTo>
                    <a:pt x="10870" y="6238"/>
                    <a:pt x="11027" y="6364"/>
                    <a:pt x="11027" y="6553"/>
                  </a:cubicBezTo>
                  <a:lnTo>
                    <a:pt x="11027" y="7939"/>
                  </a:lnTo>
                  <a:cubicBezTo>
                    <a:pt x="11027" y="8128"/>
                    <a:pt x="10870" y="8286"/>
                    <a:pt x="10681" y="8286"/>
                  </a:cubicBezTo>
                  <a:lnTo>
                    <a:pt x="1072" y="8286"/>
                  </a:lnTo>
                  <a:cubicBezTo>
                    <a:pt x="851" y="8286"/>
                    <a:pt x="694" y="8128"/>
                    <a:pt x="694" y="7939"/>
                  </a:cubicBezTo>
                  <a:lnTo>
                    <a:pt x="694" y="6553"/>
                  </a:lnTo>
                  <a:cubicBezTo>
                    <a:pt x="694" y="6364"/>
                    <a:pt x="851" y="6206"/>
                    <a:pt x="1072" y="6206"/>
                  </a:cubicBezTo>
                  <a:close/>
                  <a:moveTo>
                    <a:pt x="10681" y="8947"/>
                  </a:moveTo>
                  <a:cubicBezTo>
                    <a:pt x="10870" y="8947"/>
                    <a:pt x="11027" y="9105"/>
                    <a:pt x="11027" y="9294"/>
                  </a:cubicBezTo>
                  <a:lnTo>
                    <a:pt x="11027" y="10680"/>
                  </a:lnTo>
                  <a:cubicBezTo>
                    <a:pt x="11027" y="10869"/>
                    <a:pt x="10870" y="11027"/>
                    <a:pt x="10681" y="11027"/>
                  </a:cubicBezTo>
                  <a:lnTo>
                    <a:pt x="1072" y="11027"/>
                  </a:lnTo>
                  <a:cubicBezTo>
                    <a:pt x="851" y="11027"/>
                    <a:pt x="694" y="10869"/>
                    <a:pt x="694" y="10680"/>
                  </a:cubicBezTo>
                  <a:lnTo>
                    <a:pt x="694" y="9294"/>
                  </a:lnTo>
                  <a:cubicBezTo>
                    <a:pt x="694" y="9105"/>
                    <a:pt x="851" y="8947"/>
                    <a:pt x="1072" y="8947"/>
                  </a:cubicBezTo>
                  <a:close/>
                  <a:moveTo>
                    <a:pt x="2174" y="0"/>
                  </a:moveTo>
                  <a:cubicBezTo>
                    <a:pt x="1733" y="0"/>
                    <a:pt x="1387" y="252"/>
                    <a:pt x="1229" y="630"/>
                  </a:cubicBezTo>
                  <a:lnTo>
                    <a:pt x="64" y="3403"/>
                  </a:lnTo>
                  <a:cubicBezTo>
                    <a:pt x="32" y="3529"/>
                    <a:pt x="0" y="3686"/>
                    <a:pt x="0" y="3781"/>
                  </a:cubicBezTo>
                  <a:lnTo>
                    <a:pt x="0" y="5198"/>
                  </a:lnTo>
                  <a:cubicBezTo>
                    <a:pt x="0" y="5482"/>
                    <a:pt x="127" y="5734"/>
                    <a:pt x="284" y="5860"/>
                  </a:cubicBezTo>
                  <a:cubicBezTo>
                    <a:pt x="127" y="6080"/>
                    <a:pt x="0" y="6301"/>
                    <a:pt x="0" y="6553"/>
                  </a:cubicBezTo>
                  <a:lnTo>
                    <a:pt x="0" y="7908"/>
                  </a:lnTo>
                  <a:cubicBezTo>
                    <a:pt x="0" y="8191"/>
                    <a:pt x="127" y="8443"/>
                    <a:pt x="284" y="8601"/>
                  </a:cubicBezTo>
                  <a:cubicBezTo>
                    <a:pt x="127" y="8790"/>
                    <a:pt x="0" y="9010"/>
                    <a:pt x="0" y="9262"/>
                  </a:cubicBezTo>
                  <a:lnTo>
                    <a:pt x="0" y="10649"/>
                  </a:lnTo>
                  <a:cubicBezTo>
                    <a:pt x="0" y="11184"/>
                    <a:pt x="473" y="11657"/>
                    <a:pt x="1009" y="11657"/>
                  </a:cubicBezTo>
                  <a:lnTo>
                    <a:pt x="10618" y="11657"/>
                  </a:lnTo>
                  <a:cubicBezTo>
                    <a:pt x="11185" y="11657"/>
                    <a:pt x="11657" y="11184"/>
                    <a:pt x="11657" y="10649"/>
                  </a:cubicBezTo>
                  <a:lnTo>
                    <a:pt x="11657" y="9262"/>
                  </a:lnTo>
                  <a:cubicBezTo>
                    <a:pt x="11657" y="8979"/>
                    <a:pt x="11531" y="8758"/>
                    <a:pt x="11374" y="8601"/>
                  </a:cubicBezTo>
                  <a:cubicBezTo>
                    <a:pt x="11531" y="8380"/>
                    <a:pt x="11657" y="8160"/>
                    <a:pt x="11657" y="7908"/>
                  </a:cubicBezTo>
                  <a:lnTo>
                    <a:pt x="11657" y="6553"/>
                  </a:lnTo>
                  <a:cubicBezTo>
                    <a:pt x="11657" y="6269"/>
                    <a:pt x="11531" y="6017"/>
                    <a:pt x="11374" y="5860"/>
                  </a:cubicBezTo>
                  <a:cubicBezTo>
                    <a:pt x="11531" y="5671"/>
                    <a:pt x="11657" y="5450"/>
                    <a:pt x="11657" y="5198"/>
                  </a:cubicBezTo>
                  <a:lnTo>
                    <a:pt x="11657" y="3781"/>
                  </a:lnTo>
                  <a:lnTo>
                    <a:pt x="11689" y="3781"/>
                  </a:lnTo>
                  <a:cubicBezTo>
                    <a:pt x="11689" y="3686"/>
                    <a:pt x="11657" y="3529"/>
                    <a:pt x="11594" y="3403"/>
                  </a:cubicBezTo>
                  <a:lnTo>
                    <a:pt x="10460" y="630"/>
                  </a:lnTo>
                  <a:cubicBezTo>
                    <a:pt x="10303" y="252"/>
                    <a:pt x="9925" y="0"/>
                    <a:pt x="9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81"/>
            <p:cNvSpPr/>
            <p:nvPr/>
          </p:nvSpPr>
          <p:spPr>
            <a:xfrm>
              <a:off x="-2485967" y="2649150"/>
              <a:ext cx="173300" cy="18150"/>
            </a:xfrm>
            <a:custGeom>
              <a:avLst/>
              <a:gdLst/>
              <a:ahLst/>
              <a:cxnLst/>
              <a:rect l="l" t="t" r="r" b="b"/>
              <a:pathLst>
                <a:path w="6932" h="726" extrusionOk="0">
                  <a:moveTo>
                    <a:pt x="378" y="1"/>
                  </a:moveTo>
                  <a:cubicBezTo>
                    <a:pt x="158" y="1"/>
                    <a:pt x="0" y="159"/>
                    <a:pt x="0" y="379"/>
                  </a:cubicBezTo>
                  <a:cubicBezTo>
                    <a:pt x="0" y="568"/>
                    <a:pt x="158" y="726"/>
                    <a:pt x="378" y="726"/>
                  </a:cubicBezTo>
                  <a:lnTo>
                    <a:pt x="6585" y="726"/>
                  </a:lnTo>
                  <a:cubicBezTo>
                    <a:pt x="6774" y="726"/>
                    <a:pt x="6931" y="568"/>
                    <a:pt x="6931" y="379"/>
                  </a:cubicBezTo>
                  <a:cubicBezTo>
                    <a:pt x="6931" y="159"/>
                    <a:pt x="6774"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81"/>
            <p:cNvSpPr/>
            <p:nvPr/>
          </p:nvSpPr>
          <p:spPr>
            <a:xfrm>
              <a:off x="-2485967" y="2511325"/>
              <a:ext cx="173300" cy="18150"/>
            </a:xfrm>
            <a:custGeom>
              <a:avLst/>
              <a:gdLst/>
              <a:ahLst/>
              <a:cxnLst/>
              <a:rect l="l" t="t" r="r" b="b"/>
              <a:pathLst>
                <a:path w="6932" h="726" extrusionOk="0">
                  <a:moveTo>
                    <a:pt x="378" y="1"/>
                  </a:moveTo>
                  <a:cubicBezTo>
                    <a:pt x="158" y="1"/>
                    <a:pt x="0" y="158"/>
                    <a:pt x="0" y="379"/>
                  </a:cubicBezTo>
                  <a:cubicBezTo>
                    <a:pt x="0" y="568"/>
                    <a:pt x="158" y="725"/>
                    <a:pt x="378" y="725"/>
                  </a:cubicBezTo>
                  <a:lnTo>
                    <a:pt x="6585" y="725"/>
                  </a:lnTo>
                  <a:cubicBezTo>
                    <a:pt x="6774" y="725"/>
                    <a:pt x="6931" y="568"/>
                    <a:pt x="6931" y="379"/>
                  </a:cubicBezTo>
                  <a:cubicBezTo>
                    <a:pt x="6931" y="158"/>
                    <a:pt x="6774"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81"/>
            <p:cNvSpPr/>
            <p:nvPr/>
          </p:nvSpPr>
          <p:spPr>
            <a:xfrm>
              <a:off x="-2540185" y="2511325"/>
              <a:ext cx="18125" cy="18925"/>
            </a:xfrm>
            <a:custGeom>
              <a:avLst/>
              <a:gdLst/>
              <a:ahLst/>
              <a:cxnLst/>
              <a:rect l="l" t="t" r="r" b="b"/>
              <a:pathLst>
                <a:path w="725" h="757" extrusionOk="0">
                  <a:moveTo>
                    <a:pt x="378" y="1"/>
                  </a:moveTo>
                  <a:cubicBezTo>
                    <a:pt x="158" y="1"/>
                    <a:pt x="0" y="158"/>
                    <a:pt x="0" y="379"/>
                  </a:cubicBezTo>
                  <a:cubicBezTo>
                    <a:pt x="0" y="568"/>
                    <a:pt x="158" y="757"/>
                    <a:pt x="378" y="757"/>
                  </a:cubicBezTo>
                  <a:cubicBezTo>
                    <a:pt x="567" y="757"/>
                    <a:pt x="725" y="568"/>
                    <a:pt x="725" y="379"/>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81"/>
            <p:cNvSpPr/>
            <p:nvPr/>
          </p:nvSpPr>
          <p:spPr>
            <a:xfrm>
              <a:off x="-2485579" y="2580625"/>
              <a:ext cx="172525" cy="17350"/>
            </a:xfrm>
            <a:custGeom>
              <a:avLst/>
              <a:gdLst/>
              <a:ahLst/>
              <a:cxnLst/>
              <a:rect l="l" t="t" r="r" b="b"/>
              <a:pathLst>
                <a:path w="6901" h="694" extrusionOk="0">
                  <a:moveTo>
                    <a:pt x="347" y="0"/>
                  </a:moveTo>
                  <a:cubicBezTo>
                    <a:pt x="158" y="0"/>
                    <a:pt x="1" y="158"/>
                    <a:pt x="1" y="347"/>
                  </a:cubicBezTo>
                  <a:cubicBezTo>
                    <a:pt x="32" y="536"/>
                    <a:pt x="158" y="693"/>
                    <a:pt x="347" y="693"/>
                  </a:cubicBezTo>
                  <a:lnTo>
                    <a:pt x="6554" y="693"/>
                  </a:lnTo>
                  <a:cubicBezTo>
                    <a:pt x="6774" y="693"/>
                    <a:pt x="6900" y="536"/>
                    <a:pt x="6900" y="347"/>
                  </a:cubicBezTo>
                  <a:cubicBezTo>
                    <a:pt x="6900" y="158"/>
                    <a:pt x="6774"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81"/>
            <p:cNvSpPr/>
            <p:nvPr/>
          </p:nvSpPr>
          <p:spPr>
            <a:xfrm>
              <a:off x="-2540185" y="25806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7" name="Google Shape;10887;p81"/>
            <p:cNvSpPr/>
            <p:nvPr/>
          </p:nvSpPr>
          <p:spPr>
            <a:xfrm>
              <a:off x="-2540185" y="2649150"/>
              <a:ext cx="18125" cy="18150"/>
            </a:xfrm>
            <a:custGeom>
              <a:avLst/>
              <a:gdLst/>
              <a:ahLst/>
              <a:cxnLst/>
              <a:rect l="l" t="t" r="r" b="b"/>
              <a:pathLst>
                <a:path w="725" h="726" extrusionOk="0">
                  <a:moveTo>
                    <a:pt x="378" y="1"/>
                  </a:moveTo>
                  <a:cubicBezTo>
                    <a:pt x="158" y="1"/>
                    <a:pt x="0" y="159"/>
                    <a:pt x="0" y="379"/>
                  </a:cubicBezTo>
                  <a:cubicBezTo>
                    <a:pt x="0" y="568"/>
                    <a:pt x="158" y="726"/>
                    <a:pt x="378" y="726"/>
                  </a:cubicBezTo>
                  <a:cubicBezTo>
                    <a:pt x="567" y="726"/>
                    <a:pt x="725" y="568"/>
                    <a:pt x="725" y="379"/>
                  </a:cubicBezTo>
                  <a:cubicBezTo>
                    <a:pt x="725" y="159"/>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88" name="Google Shape;10888;p81"/>
          <p:cNvGrpSpPr/>
          <p:nvPr/>
        </p:nvGrpSpPr>
        <p:grpSpPr>
          <a:xfrm>
            <a:off x="6821170" y="2661534"/>
            <a:ext cx="421914" cy="419640"/>
            <a:chOff x="-2571737" y="2764550"/>
            <a:chExt cx="292225" cy="290650"/>
          </a:xfrm>
        </p:grpSpPr>
        <p:sp>
          <p:nvSpPr>
            <p:cNvPr id="10889" name="Google Shape;10889;p81"/>
            <p:cNvSpPr/>
            <p:nvPr/>
          </p:nvSpPr>
          <p:spPr>
            <a:xfrm>
              <a:off x="-2496085" y="3009100"/>
              <a:ext cx="17350" cy="17350"/>
            </a:xfrm>
            <a:custGeom>
              <a:avLst/>
              <a:gdLst/>
              <a:ahLst/>
              <a:cxnLst/>
              <a:rect l="l" t="t" r="r" b="b"/>
              <a:pathLst>
                <a:path w="694" h="694" extrusionOk="0">
                  <a:moveTo>
                    <a:pt x="347" y="1"/>
                  </a:moveTo>
                  <a:cubicBezTo>
                    <a:pt x="127" y="1"/>
                    <a:pt x="0" y="158"/>
                    <a:pt x="0" y="347"/>
                  </a:cubicBezTo>
                  <a:cubicBezTo>
                    <a:pt x="0" y="536"/>
                    <a:pt x="127" y="694"/>
                    <a:pt x="347" y="694"/>
                  </a:cubicBezTo>
                  <a:cubicBezTo>
                    <a:pt x="536" y="694"/>
                    <a:pt x="694" y="536"/>
                    <a:pt x="694" y="347"/>
                  </a:cubicBezTo>
                  <a:cubicBezTo>
                    <a:pt x="662" y="158"/>
                    <a:pt x="505"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81"/>
            <p:cNvSpPr/>
            <p:nvPr/>
          </p:nvSpPr>
          <p:spPr>
            <a:xfrm>
              <a:off x="-2398548" y="2800375"/>
              <a:ext cx="52000" cy="120525"/>
            </a:xfrm>
            <a:custGeom>
              <a:avLst/>
              <a:gdLst/>
              <a:ahLst/>
              <a:cxnLst/>
              <a:rect l="l" t="t" r="r" b="b"/>
              <a:pathLst>
                <a:path w="2080" h="4821" extrusionOk="0">
                  <a:moveTo>
                    <a:pt x="1008" y="0"/>
                  </a:moveTo>
                  <a:cubicBezTo>
                    <a:pt x="819" y="0"/>
                    <a:pt x="662" y="158"/>
                    <a:pt x="662" y="378"/>
                  </a:cubicBezTo>
                  <a:lnTo>
                    <a:pt x="662" y="757"/>
                  </a:lnTo>
                  <a:cubicBezTo>
                    <a:pt x="252" y="914"/>
                    <a:pt x="0" y="1261"/>
                    <a:pt x="0" y="1733"/>
                  </a:cubicBezTo>
                  <a:cubicBezTo>
                    <a:pt x="0" y="2300"/>
                    <a:pt x="473" y="2773"/>
                    <a:pt x="1008" y="2773"/>
                  </a:cubicBezTo>
                  <a:cubicBezTo>
                    <a:pt x="1323" y="2773"/>
                    <a:pt x="1481" y="3119"/>
                    <a:pt x="1260" y="3371"/>
                  </a:cubicBezTo>
                  <a:cubicBezTo>
                    <a:pt x="1197" y="3419"/>
                    <a:pt x="1103" y="3442"/>
                    <a:pt x="1012" y="3442"/>
                  </a:cubicBezTo>
                  <a:cubicBezTo>
                    <a:pt x="922" y="3442"/>
                    <a:pt x="835" y="3419"/>
                    <a:pt x="788" y="3371"/>
                  </a:cubicBezTo>
                  <a:cubicBezTo>
                    <a:pt x="725" y="3308"/>
                    <a:pt x="630" y="3277"/>
                    <a:pt x="540" y="3277"/>
                  </a:cubicBezTo>
                  <a:cubicBezTo>
                    <a:pt x="449" y="3277"/>
                    <a:pt x="362" y="3308"/>
                    <a:pt x="315" y="3371"/>
                  </a:cubicBezTo>
                  <a:cubicBezTo>
                    <a:pt x="189" y="3466"/>
                    <a:pt x="189" y="3718"/>
                    <a:pt x="315" y="3844"/>
                  </a:cubicBezTo>
                  <a:cubicBezTo>
                    <a:pt x="410" y="3939"/>
                    <a:pt x="536" y="4033"/>
                    <a:pt x="693" y="4065"/>
                  </a:cubicBezTo>
                  <a:lnTo>
                    <a:pt x="693" y="4474"/>
                  </a:lnTo>
                  <a:cubicBezTo>
                    <a:pt x="693" y="4663"/>
                    <a:pt x="851" y="4821"/>
                    <a:pt x="1040" y="4821"/>
                  </a:cubicBezTo>
                  <a:cubicBezTo>
                    <a:pt x="1260" y="4821"/>
                    <a:pt x="1418" y="4663"/>
                    <a:pt x="1418" y="4474"/>
                  </a:cubicBezTo>
                  <a:lnTo>
                    <a:pt x="1418" y="4065"/>
                  </a:lnTo>
                  <a:cubicBezTo>
                    <a:pt x="1796" y="3907"/>
                    <a:pt x="2079" y="3560"/>
                    <a:pt x="2079" y="3088"/>
                  </a:cubicBezTo>
                  <a:cubicBezTo>
                    <a:pt x="2079" y="2521"/>
                    <a:pt x="1607" y="2048"/>
                    <a:pt x="1040" y="2048"/>
                  </a:cubicBezTo>
                  <a:cubicBezTo>
                    <a:pt x="851" y="2048"/>
                    <a:pt x="693" y="1891"/>
                    <a:pt x="693" y="1702"/>
                  </a:cubicBezTo>
                  <a:cubicBezTo>
                    <a:pt x="693" y="1495"/>
                    <a:pt x="842" y="1356"/>
                    <a:pt x="1016" y="1356"/>
                  </a:cubicBezTo>
                  <a:cubicBezTo>
                    <a:pt x="1107" y="1356"/>
                    <a:pt x="1205" y="1394"/>
                    <a:pt x="1292" y="1481"/>
                  </a:cubicBezTo>
                  <a:cubicBezTo>
                    <a:pt x="1355" y="1528"/>
                    <a:pt x="1441" y="1552"/>
                    <a:pt x="1528" y="1552"/>
                  </a:cubicBezTo>
                  <a:cubicBezTo>
                    <a:pt x="1615" y="1552"/>
                    <a:pt x="1701" y="1528"/>
                    <a:pt x="1764" y="1481"/>
                  </a:cubicBezTo>
                  <a:cubicBezTo>
                    <a:pt x="1859" y="1355"/>
                    <a:pt x="1859" y="1103"/>
                    <a:pt x="1764" y="1009"/>
                  </a:cubicBezTo>
                  <a:cubicBezTo>
                    <a:pt x="1638" y="883"/>
                    <a:pt x="1512" y="788"/>
                    <a:pt x="1355" y="757"/>
                  </a:cubicBezTo>
                  <a:lnTo>
                    <a:pt x="1355" y="378"/>
                  </a:lnTo>
                  <a:cubicBezTo>
                    <a:pt x="1355" y="158"/>
                    <a:pt x="1197"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81"/>
            <p:cNvSpPr/>
            <p:nvPr/>
          </p:nvSpPr>
          <p:spPr>
            <a:xfrm>
              <a:off x="-2571737" y="2764550"/>
              <a:ext cx="292225" cy="290650"/>
            </a:xfrm>
            <a:custGeom>
              <a:avLst/>
              <a:gdLst/>
              <a:ahLst/>
              <a:cxnLst/>
              <a:rect l="l" t="t" r="r" b="b"/>
              <a:pathLst>
                <a:path w="11689" h="11626" extrusionOk="0">
                  <a:moveTo>
                    <a:pt x="5009" y="1355"/>
                  </a:moveTo>
                  <a:cubicBezTo>
                    <a:pt x="4789" y="1576"/>
                    <a:pt x="4694" y="1796"/>
                    <a:pt x="4537" y="2049"/>
                  </a:cubicBezTo>
                  <a:lnTo>
                    <a:pt x="662" y="2049"/>
                  </a:lnTo>
                  <a:lnTo>
                    <a:pt x="662" y="1670"/>
                  </a:lnTo>
                  <a:cubicBezTo>
                    <a:pt x="662" y="1513"/>
                    <a:pt x="819" y="1355"/>
                    <a:pt x="1008" y="1355"/>
                  </a:cubicBezTo>
                  <a:close/>
                  <a:moveTo>
                    <a:pt x="7908" y="694"/>
                  </a:moveTo>
                  <a:cubicBezTo>
                    <a:pt x="9609" y="694"/>
                    <a:pt x="10995" y="2080"/>
                    <a:pt x="10995" y="3781"/>
                  </a:cubicBezTo>
                  <a:cubicBezTo>
                    <a:pt x="10995" y="5451"/>
                    <a:pt x="9609" y="6837"/>
                    <a:pt x="7908" y="6837"/>
                  </a:cubicBezTo>
                  <a:cubicBezTo>
                    <a:pt x="7309" y="6837"/>
                    <a:pt x="6679" y="6680"/>
                    <a:pt x="6206" y="6365"/>
                  </a:cubicBezTo>
                  <a:cubicBezTo>
                    <a:pt x="6162" y="6342"/>
                    <a:pt x="6086" y="6320"/>
                    <a:pt x="6023" y="6320"/>
                  </a:cubicBezTo>
                  <a:cubicBezTo>
                    <a:pt x="5997" y="6320"/>
                    <a:pt x="5973" y="6324"/>
                    <a:pt x="5954" y="6333"/>
                  </a:cubicBezTo>
                  <a:cubicBezTo>
                    <a:pt x="5671" y="6396"/>
                    <a:pt x="5324" y="6522"/>
                    <a:pt x="5009" y="6648"/>
                  </a:cubicBezTo>
                  <a:lnTo>
                    <a:pt x="5324" y="5703"/>
                  </a:lnTo>
                  <a:cubicBezTo>
                    <a:pt x="5356" y="5609"/>
                    <a:pt x="5324" y="5514"/>
                    <a:pt x="5261" y="5420"/>
                  </a:cubicBezTo>
                  <a:cubicBezTo>
                    <a:pt x="4946" y="4947"/>
                    <a:pt x="4789" y="4348"/>
                    <a:pt x="4789" y="3781"/>
                  </a:cubicBezTo>
                  <a:cubicBezTo>
                    <a:pt x="4789" y="2080"/>
                    <a:pt x="6238" y="694"/>
                    <a:pt x="7908" y="694"/>
                  </a:cubicBezTo>
                  <a:close/>
                  <a:moveTo>
                    <a:pt x="4253" y="2710"/>
                  </a:moveTo>
                  <a:cubicBezTo>
                    <a:pt x="4190" y="3025"/>
                    <a:pt x="4096" y="3372"/>
                    <a:pt x="4096" y="3718"/>
                  </a:cubicBezTo>
                  <a:cubicBezTo>
                    <a:pt x="4096" y="4411"/>
                    <a:pt x="4253" y="5041"/>
                    <a:pt x="4600" y="5609"/>
                  </a:cubicBezTo>
                  <a:lnTo>
                    <a:pt x="4127" y="7089"/>
                  </a:lnTo>
                  <a:cubicBezTo>
                    <a:pt x="4096" y="7184"/>
                    <a:pt x="4127" y="7341"/>
                    <a:pt x="4222" y="7436"/>
                  </a:cubicBezTo>
                  <a:cubicBezTo>
                    <a:pt x="4266" y="7480"/>
                    <a:pt x="4358" y="7525"/>
                    <a:pt x="4453" y="7525"/>
                  </a:cubicBezTo>
                  <a:cubicBezTo>
                    <a:pt x="4492" y="7525"/>
                    <a:pt x="4531" y="7517"/>
                    <a:pt x="4568" y="7499"/>
                  </a:cubicBezTo>
                  <a:cubicBezTo>
                    <a:pt x="4568" y="7499"/>
                    <a:pt x="5387" y="7247"/>
                    <a:pt x="6017" y="7026"/>
                  </a:cubicBezTo>
                  <a:cubicBezTo>
                    <a:pt x="6080" y="7089"/>
                    <a:pt x="6143" y="7089"/>
                    <a:pt x="6175" y="7121"/>
                  </a:cubicBezTo>
                  <a:lnTo>
                    <a:pt x="6175" y="8223"/>
                  </a:lnTo>
                  <a:lnTo>
                    <a:pt x="662" y="8223"/>
                  </a:lnTo>
                  <a:lnTo>
                    <a:pt x="662" y="2710"/>
                  </a:lnTo>
                  <a:close/>
                  <a:moveTo>
                    <a:pt x="6112" y="8885"/>
                  </a:moveTo>
                  <a:lnTo>
                    <a:pt x="6112" y="10618"/>
                  </a:lnTo>
                  <a:cubicBezTo>
                    <a:pt x="6143" y="10807"/>
                    <a:pt x="5986" y="10964"/>
                    <a:pt x="5797" y="10964"/>
                  </a:cubicBezTo>
                  <a:lnTo>
                    <a:pt x="977" y="10964"/>
                  </a:lnTo>
                  <a:cubicBezTo>
                    <a:pt x="788" y="10964"/>
                    <a:pt x="630" y="10807"/>
                    <a:pt x="630" y="10618"/>
                  </a:cubicBezTo>
                  <a:lnTo>
                    <a:pt x="630" y="8885"/>
                  </a:lnTo>
                  <a:close/>
                  <a:moveTo>
                    <a:pt x="7908" y="1"/>
                  </a:moveTo>
                  <a:cubicBezTo>
                    <a:pt x="7120" y="1"/>
                    <a:pt x="6364" y="221"/>
                    <a:pt x="5734" y="662"/>
                  </a:cubicBezTo>
                  <a:lnTo>
                    <a:pt x="1008" y="662"/>
                  </a:lnTo>
                  <a:cubicBezTo>
                    <a:pt x="473" y="662"/>
                    <a:pt x="0" y="1135"/>
                    <a:pt x="0" y="1670"/>
                  </a:cubicBezTo>
                  <a:lnTo>
                    <a:pt x="0" y="10618"/>
                  </a:lnTo>
                  <a:cubicBezTo>
                    <a:pt x="0" y="11153"/>
                    <a:pt x="473" y="11626"/>
                    <a:pt x="1008" y="11626"/>
                  </a:cubicBezTo>
                  <a:lnTo>
                    <a:pt x="5828" y="11626"/>
                  </a:lnTo>
                  <a:cubicBezTo>
                    <a:pt x="6364" y="11626"/>
                    <a:pt x="6837" y="11153"/>
                    <a:pt x="6837" y="10618"/>
                  </a:cubicBezTo>
                  <a:lnTo>
                    <a:pt x="6837" y="7341"/>
                  </a:lnTo>
                  <a:cubicBezTo>
                    <a:pt x="7215" y="7436"/>
                    <a:pt x="7561" y="7499"/>
                    <a:pt x="7908" y="7499"/>
                  </a:cubicBezTo>
                  <a:cubicBezTo>
                    <a:pt x="9987" y="7499"/>
                    <a:pt x="11688" y="5798"/>
                    <a:pt x="11688" y="3718"/>
                  </a:cubicBezTo>
                  <a:cubicBezTo>
                    <a:pt x="11657" y="1670"/>
                    <a:pt x="9956" y="1"/>
                    <a:pt x="79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81"/>
          <p:cNvGrpSpPr/>
          <p:nvPr/>
        </p:nvGrpSpPr>
        <p:grpSpPr>
          <a:xfrm>
            <a:off x="3020671" y="3230538"/>
            <a:ext cx="421914" cy="423864"/>
            <a:chOff x="-1333975" y="2365850"/>
            <a:chExt cx="292225" cy="293575"/>
          </a:xfrm>
        </p:grpSpPr>
        <p:sp>
          <p:nvSpPr>
            <p:cNvPr id="10893" name="Google Shape;10893;p81"/>
            <p:cNvSpPr/>
            <p:nvPr/>
          </p:nvSpPr>
          <p:spPr>
            <a:xfrm>
              <a:off x="-1285150" y="2365850"/>
              <a:ext cx="191225" cy="293575"/>
            </a:xfrm>
            <a:custGeom>
              <a:avLst/>
              <a:gdLst/>
              <a:ahLst/>
              <a:cxnLst/>
              <a:rect l="l" t="t" r="r" b="b"/>
              <a:pathLst>
                <a:path w="7649" h="11743" extrusionOk="0">
                  <a:moveTo>
                    <a:pt x="3813" y="684"/>
                  </a:moveTo>
                  <a:cubicBezTo>
                    <a:pt x="5545" y="684"/>
                    <a:pt x="6900" y="2039"/>
                    <a:pt x="6900" y="3740"/>
                  </a:cubicBezTo>
                  <a:cubicBezTo>
                    <a:pt x="6931" y="4780"/>
                    <a:pt x="6553" y="5347"/>
                    <a:pt x="6270" y="5788"/>
                  </a:cubicBezTo>
                  <a:cubicBezTo>
                    <a:pt x="5797" y="6544"/>
                    <a:pt x="5608" y="6922"/>
                    <a:pt x="5608" y="7930"/>
                  </a:cubicBezTo>
                  <a:cubicBezTo>
                    <a:pt x="5608" y="8119"/>
                    <a:pt x="5451" y="8277"/>
                    <a:pt x="5230" y="8277"/>
                  </a:cubicBezTo>
                  <a:lnTo>
                    <a:pt x="2489" y="8277"/>
                  </a:lnTo>
                  <a:cubicBezTo>
                    <a:pt x="2300" y="8277"/>
                    <a:pt x="2143" y="8119"/>
                    <a:pt x="2143" y="7930"/>
                  </a:cubicBezTo>
                  <a:cubicBezTo>
                    <a:pt x="2143" y="6922"/>
                    <a:pt x="1922" y="6576"/>
                    <a:pt x="1450" y="5820"/>
                  </a:cubicBezTo>
                  <a:cubicBezTo>
                    <a:pt x="1198" y="5347"/>
                    <a:pt x="567" y="4528"/>
                    <a:pt x="788" y="3205"/>
                  </a:cubicBezTo>
                  <a:cubicBezTo>
                    <a:pt x="1040" y="1819"/>
                    <a:pt x="2237" y="684"/>
                    <a:pt x="3813" y="684"/>
                  </a:cubicBezTo>
                  <a:close/>
                  <a:moveTo>
                    <a:pt x="4852" y="8907"/>
                  </a:moveTo>
                  <a:lnTo>
                    <a:pt x="4852" y="9569"/>
                  </a:lnTo>
                  <a:lnTo>
                    <a:pt x="4506" y="9569"/>
                  </a:lnTo>
                  <a:cubicBezTo>
                    <a:pt x="4285" y="9569"/>
                    <a:pt x="4128" y="9726"/>
                    <a:pt x="4128" y="9915"/>
                  </a:cubicBezTo>
                  <a:cubicBezTo>
                    <a:pt x="4128" y="10136"/>
                    <a:pt x="4285" y="10293"/>
                    <a:pt x="4506" y="10293"/>
                  </a:cubicBezTo>
                  <a:lnTo>
                    <a:pt x="4852" y="10293"/>
                  </a:lnTo>
                  <a:lnTo>
                    <a:pt x="4852" y="10640"/>
                  </a:lnTo>
                  <a:cubicBezTo>
                    <a:pt x="4884" y="10829"/>
                    <a:pt x="4726" y="10986"/>
                    <a:pt x="4537" y="10986"/>
                  </a:cubicBezTo>
                  <a:lnTo>
                    <a:pt x="3151" y="10986"/>
                  </a:lnTo>
                  <a:cubicBezTo>
                    <a:pt x="2962" y="10986"/>
                    <a:pt x="2804" y="10829"/>
                    <a:pt x="2804" y="10640"/>
                  </a:cubicBezTo>
                  <a:lnTo>
                    <a:pt x="2804" y="10293"/>
                  </a:lnTo>
                  <a:lnTo>
                    <a:pt x="3151" y="10293"/>
                  </a:lnTo>
                  <a:cubicBezTo>
                    <a:pt x="3371" y="10293"/>
                    <a:pt x="3529" y="10136"/>
                    <a:pt x="3529" y="9915"/>
                  </a:cubicBezTo>
                  <a:cubicBezTo>
                    <a:pt x="3529" y="9726"/>
                    <a:pt x="3371" y="9569"/>
                    <a:pt x="3151" y="9569"/>
                  </a:cubicBezTo>
                  <a:lnTo>
                    <a:pt x="2804" y="9569"/>
                  </a:lnTo>
                  <a:lnTo>
                    <a:pt x="2804" y="8907"/>
                  </a:lnTo>
                  <a:close/>
                  <a:moveTo>
                    <a:pt x="3897" y="1"/>
                  </a:moveTo>
                  <a:cubicBezTo>
                    <a:pt x="3632" y="1"/>
                    <a:pt x="3361" y="28"/>
                    <a:pt x="3088" y="86"/>
                  </a:cubicBezTo>
                  <a:cubicBezTo>
                    <a:pt x="1607" y="401"/>
                    <a:pt x="441" y="1566"/>
                    <a:pt x="158" y="3079"/>
                  </a:cubicBezTo>
                  <a:cubicBezTo>
                    <a:pt x="0" y="3992"/>
                    <a:pt x="158" y="4969"/>
                    <a:pt x="631" y="5757"/>
                  </a:cubicBezTo>
                  <a:cubicBezTo>
                    <a:pt x="757" y="5914"/>
                    <a:pt x="820" y="6072"/>
                    <a:pt x="914" y="6229"/>
                  </a:cubicBezTo>
                  <a:cubicBezTo>
                    <a:pt x="1355" y="6891"/>
                    <a:pt x="1450" y="7143"/>
                    <a:pt x="1450" y="7962"/>
                  </a:cubicBezTo>
                  <a:cubicBezTo>
                    <a:pt x="1450" y="8403"/>
                    <a:pt x="1733" y="8781"/>
                    <a:pt x="2143" y="8939"/>
                  </a:cubicBezTo>
                  <a:lnTo>
                    <a:pt x="2143" y="10703"/>
                  </a:lnTo>
                  <a:cubicBezTo>
                    <a:pt x="2143" y="11270"/>
                    <a:pt x="2615" y="11743"/>
                    <a:pt x="3151" y="11743"/>
                  </a:cubicBezTo>
                  <a:lnTo>
                    <a:pt x="4537" y="11743"/>
                  </a:lnTo>
                  <a:cubicBezTo>
                    <a:pt x="5073" y="11743"/>
                    <a:pt x="5545" y="11270"/>
                    <a:pt x="5545" y="10703"/>
                  </a:cubicBezTo>
                  <a:lnTo>
                    <a:pt x="5545" y="8939"/>
                  </a:lnTo>
                  <a:cubicBezTo>
                    <a:pt x="5955" y="8781"/>
                    <a:pt x="6238" y="8435"/>
                    <a:pt x="6238" y="7962"/>
                  </a:cubicBezTo>
                  <a:lnTo>
                    <a:pt x="6238" y="7930"/>
                  </a:lnTo>
                  <a:cubicBezTo>
                    <a:pt x="6238" y="7143"/>
                    <a:pt x="6427" y="6828"/>
                    <a:pt x="6805" y="6229"/>
                  </a:cubicBezTo>
                  <a:cubicBezTo>
                    <a:pt x="7089" y="5788"/>
                    <a:pt x="7593" y="5032"/>
                    <a:pt x="7593" y="3835"/>
                  </a:cubicBezTo>
                  <a:cubicBezTo>
                    <a:pt x="7649" y="1658"/>
                    <a:pt x="5950" y="1"/>
                    <a:pt x="38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81"/>
            <p:cNvSpPr/>
            <p:nvPr/>
          </p:nvSpPr>
          <p:spPr>
            <a:xfrm>
              <a:off x="-107642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40" y="725"/>
                  </a:lnTo>
                  <a:cubicBezTo>
                    <a:pt x="1229" y="725"/>
                    <a:pt x="1386" y="568"/>
                    <a:pt x="1386" y="379"/>
                  </a:cubicBez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81"/>
            <p:cNvSpPr/>
            <p:nvPr/>
          </p:nvSpPr>
          <p:spPr>
            <a:xfrm>
              <a:off x="-133397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08" y="725"/>
                  </a:lnTo>
                  <a:cubicBezTo>
                    <a:pt x="1197" y="694"/>
                    <a:pt x="1386" y="536"/>
                    <a:pt x="1386" y="379"/>
                  </a:cubicBezTo>
                  <a:cubicBezTo>
                    <a:pt x="1386" y="158"/>
                    <a:pt x="119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81"/>
            <p:cNvSpPr/>
            <p:nvPr/>
          </p:nvSpPr>
          <p:spPr>
            <a:xfrm>
              <a:off x="-1093750" y="2383050"/>
              <a:ext cx="35450" cy="26575"/>
            </a:xfrm>
            <a:custGeom>
              <a:avLst/>
              <a:gdLst/>
              <a:ahLst/>
              <a:cxnLst/>
              <a:rect l="l" t="t" r="r" b="b"/>
              <a:pathLst>
                <a:path w="1418" h="1063" extrusionOk="0">
                  <a:moveTo>
                    <a:pt x="992" y="1"/>
                  </a:moveTo>
                  <a:cubicBezTo>
                    <a:pt x="931" y="1"/>
                    <a:pt x="870" y="19"/>
                    <a:pt x="819" y="59"/>
                  </a:cubicBezTo>
                  <a:lnTo>
                    <a:pt x="221" y="406"/>
                  </a:lnTo>
                  <a:cubicBezTo>
                    <a:pt x="63" y="500"/>
                    <a:pt x="0" y="721"/>
                    <a:pt x="95" y="878"/>
                  </a:cubicBezTo>
                  <a:cubicBezTo>
                    <a:pt x="159" y="985"/>
                    <a:pt x="295" y="1063"/>
                    <a:pt x="415" y="1063"/>
                  </a:cubicBezTo>
                  <a:cubicBezTo>
                    <a:pt x="473" y="1063"/>
                    <a:pt x="527" y="1045"/>
                    <a:pt x="567" y="1005"/>
                  </a:cubicBezTo>
                  <a:lnTo>
                    <a:pt x="1166" y="658"/>
                  </a:lnTo>
                  <a:cubicBezTo>
                    <a:pt x="1323" y="563"/>
                    <a:pt x="1418" y="343"/>
                    <a:pt x="1292" y="185"/>
                  </a:cubicBezTo>
                  <a:cubicBezTo>
                    <a:pt x="1249" y="79"/>
                    <a:pt x="1120" y="1"/>
                    <a:pt x="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81"/>
            <p:cNvSpPr/>
            <p:nvPr/>
          </p:nvSpPr>
          <p:spPr>
            <a:xfrm>
              <a:off x="-1317450" y="2512575"/>
              <a:ext cx="35475" cy="26225"/>
            </a:xfrm>
            <a:custGeom>
              <a:avLst/>
              <a:gdLst/>
              <a:ahLst/>
              <a:cxnLst/>
              <a:rect l="l" t="t" r="r" b="b"/>
              <a:pathLst>
                <a:path w="1419" h="1049" extrusionOk="0">
                  <a:moveTo>
                    <a:pt x="1005" y="1"/>
                  </a:moveTo>
                  <a:cubicBezTo>
                    <a:pt x="944" y="1"/>
                    <a:pt x="880" y="15"/>
                    <a:pt x="820" y="45"/>
                  </a:cubicBezTo>
                  <a:lnTo>
                    <a:pt x="221" y="392"/>
                  </a:lnTo>
                  <a:cubicBezTo>
                    <a:pt x="64" y="486"/>
                    <a:pt x="1" y="707"/>
                    <a:pt x="127" y="864"/>
                  </a:cubicBezTo>
                  <a:cubicBezTo>
                    <a:pt x="169" y="971"/>
                    <a:pt x="299" y="1049"/>
                    <a:pt x="427" y="1049"/>
                  </a:cubicBezTo>
                  <a:cubicBezTo>
                    <a:pt x="488" y="1049"/>
                    <a:pt x="548" y="1031"/>
                    <a:pt x="599" y="990"/>
                  </a:cubicBezTo>
                  <a:lnTo>
                    <a:pt x="1166" y="644"/>
                  </a:lnTo>
                  <a:cubicBezTo>
                    <a:pt x="1324" y="549"/>
                    <a:pt x="1418" y="329"/>
                    <a:pt x="1292" y="171"/>
                  </a:cubicBezTo>
                  <a:cubicBezTo>
                    <a:pt x="1250" y="64"/>
                    <a:pt x="1134" y="1"/>
                    <a:pt x="10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81"/>
            <p:cNvSpPr/>
            <p:nvPr/>
          </p:nvSpPr>
          <p:spPr>
            <a:xfrm>
              <a:off x="-1092975" y="2512575"/>
              <a:ext cx="34675" cy="25525"/>
            </a:xfrm>
            <a:custGeom>
              <a:avLst/>
              <a:gdLst/>
              <a:ahLst/>
              <a:cxnLst/>
              <a:rect l="l" t="t" r="r" b="b"/>
              <a:pathLst>
                <a:path w="1387" h="1021" extrusionOk="0">
                  <a:moveTo>
                    <a:pt x="378" y="1"/>
                  </a:moveTo>
                  <a:cubicBezTo>
                    <a:pt x="264" y="1"/>
                    <a:pt x="149" y="64"/>
                    <a:pt x="64" y="171"/>
                  </a:cubicBezTo>
                  <a:cubicBezTo>
                    <a:pt x="1" y="329"/>
                    <a:pt x="32" y="518"/>
                    <a:pt x="190" y="644"/>
                  </a:cubicBezTo>
                  <a:lnTo>
                    <a:pt x="788" y="990"/>
                  </a:lnTo>
                  <a:cubicBezTo>
                    <a:pt x="838" y="1010"/>
                    <a:pt x="891" y="1021"/>
                    <a:pt x="944" y="1021"/>
                  </a:cubicBezTo>
                  <a:cubicBezTo>
                    <a:pt x="1059" y="1021"/>
                    <a:pt x="1175" y="972"/>
                    <a:pt x="1261" y="864"/>
                  </a:cubicBezTo>
                  <a:cubicBezTo>
                    <a:pt x="1387" y="675"/>
                    <a:pt x="1292" y="486"/>
                    <a:pt x="1135" y="392"/>
                  </a:cubicBezTo>
                  <a:lnTo>
                    <a:pt x="536" y="45"/>
                  </a:lnTo>
                  <a:cubicBezTo>
                    <a:pt x="486" y="15"/>
                    <a:pt x="432"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9" name="Google Shape;10899;p81"/>
            <p:cNvSpPr/>
            <p:nvPr/>
          </p:nvSpPr>
          <p:spPr>
            <a:xfrm>
              <a:off x="-1316650" y="2383750"/>
              <a:ext cx="34675" cy="25525"/>
            </a:xfrm>
            <a:custGeom>
              <a:avLst/>
              <a:gdLst/>
              <a:ahLst/>
              <a:cxnLst/>
              <a:rect l="l" t="t" r="r" b="b"/>
              <a:pathLst>
                <a:path w="1387" h="1021" extrusionOk="0">
                  <a:moveTo>
                    <a:pt x="405" y="1"/>
                  </a:moveTo>
                  <a:cubicBezTo>
                    <a:pt x="283" y="1"/>
                    <a:pt x="159" y="50"/>
                    <a:pt x="95" y="157"/>
                  </a:cubicBezTo>
                  <a:cubicBezTo>
                    <a:pt x="0" y="315"/>
                    <a:pt x="63" y="504"/>
                    <a:pt x="221" y="630"/>
                  </a:cubicBezTo>
                  <a:lnTo>
                    <a:pt x="788" y="977"/>
                  </a:lnTo>
                  <a:cubicBezTo>
                    <a:pt x="838" y="1007"/>
                    <a:pt x="895" y="1021"/>
                    <a:pt x="953" y="1021"/>
                  </a:cubicBezTo>
                  <a:cubicBezTo>
                    <a:pt x="1074" y="1021"/>
                    <a:pt x="1196" y="958"/>
                    <a:pt x="1260" y="850"/>
                  </a:cubicBezTo>
                  <a:cubicBezTo>
                    <a:pt x="1386" y="693"/>
                    <a:pt x="1292" y="504"/>
                    <a:pt x="1134" y="378"/>
                  </a:cubicBezTo>
                  <a:lnTo>
                    <a:pt x="567" y="31"/>
                  </a:lnTo>
                  <a:cubicBezTo>
                    <a:pt x="517" y="11"/>
                    <a:pt x="461" y="1"/>
                    <a:pt x="4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0" name="Google Shape;10900;p81"/>
            <p:cNvSpPr/>
            <p:nvPr/>
          </p:nvSpPr>
          <p:spPr>
            <a:xfrm>
              <a:off x="-1239475" y="2401575"/>
              <a:ext cx="102425" cy="153100"/>
            </a:xfrm>
            <a:custGeom>
              <a:avLst/>
              <a:gdLst/>
              <a:ahLst/>
              <a:cxnLst/>
              <a:rect l="l" t="t" r="r" b="b"/>
              <a:pathLst>
                <a:path w="4097" h="6124" extrusionOk="0">
                  <a:moveTo>
                    <a:pt x="1733" y="1492"/>
                  </a:moveTo>
                  <a:lnTo>
                    <a:pt x="1733" y="2343"/>
                  </a:lnTo>
                  <a:cubicBezTo>
                    <a:pt x="1733" y="2500"/>
                    <a:pt x="1796" y="2626"/>
                    <a:pt x="1922" y="2658"/>
                  </a:cubicBezTo>
                  <a:lnTo>
                    <a:pt x="3246" y="3225"/>
                  </a:lnTo>
                  <a:lnTo>
                    <a:pt x="2395" y="4611"/>
                  </a:lnTo>
                  <a:lnTo>
                    <a:pt x="2395" y="3729"/>
                  </a:lnTo>
                  <a:cubicBezTo>
                    <a:pt x="2395" y="3572"/>
                    <a:pt x="2332" y="3445"/>
                    <a:pt x="2206" y="3414"/>
                  </a:cubicBezTo>
                  <a:lnTo>
                    <a:pt x="851" y="2878"/>
                  </a:lnTo>
                  <a:lnTo>
                    <a:pt x="1733" y="1492"/>
                  </a:lnTo>
                  <a:close/>
                  <a:moveTo>
                    <a:pt x="2038" y="0"/>
                  </a:moveTo>
                  <a:cubicBezTo>
                    <a:pt x="1919" y="0"/>
                    <a:pt x="1814" y="47"/>
                    <a:pt x="1765" y="169"/>
                  </a:cubicBezTo>
                  <a:lnTo>
                    <a:pt x="64" y="2941"/>
                  </a:lnTo>
                  <a:cubicBezTo>
                    <a:pt x="32" y="3004"/>
                    <a:pt x="1" y="3130"/>
                    <a:pt x="32" y="3225"/>
                  </a:cubicBezTo>
                  <a:cubicBezTo>
                    <a:pt x="64" y="3288"/>
                    <a:pt x="158" y="3382"/>
                    <a:pt x="221" y="3414"/>
                  </a:cubicBezTo>
                  <a:lnTo>
                    <a:pt x="1733" y="4013"/>
                  </a:lnTo>
                  <a:lnTo>
                    <a:pt x="1733" y="5808"/>
                  </a:lnTo>
                  <a:cubicBezTo>
                    <a:pt x="1733" y="5966"/>
                    <a:pt x="1859" y="6092"/>
                    <a:pt x="1954" y="6123"/>
                  </a:cubicBezTo>
                  <a:lnTo>
                    <a:pt x="2049" y="6123"/>
                  </a:lnTo>
                  <a:cubicBezTo>
                    <a:pt x="2143" y="6123"/>
                    <a:pt x="2269" y="6092"/>
                    <a:pt x="2301" y="5966"/>
                  </a:cubicBezTo>
                  <a:lnTo>
                    <a:pt x="4002" y="3225"/>
                  </a:lnTo>
                  <a:cubicBezTo>
                    <a:pt x="4033" y="3130"/>
                    <a:pt x="4096" y="3004"/>
                    <a:pt x="4033" y="2941"/>
                  </a:cubicBezTo>
                  <a:cubicBezTo>
                    <a:pt x="4033" y="2878"/>
                    <a:pt x="3970" y="2784"/>
                    <a:pt x="3907" y="2752"/>
                  </a:cubicBezTo>
                  <a:lnTo>
                    <a:pt x="2395" y="2154"/>
                  </a:lnTo>
                  <a:lnTo>
                    <a:pt x="2395" y="358"/>
                  </a:lnTo>
                  <a:cubicBezTo>
                    <a:pt x="2395" y="169"/>
                    <a:pt x="2269" y="74"/>
                    <a:pt x="2143" y="11"/>
                  </a:cubicBezTo>
                  <a:cubicBezTo>
                    <a:pt x="2108" y="4"/>
                    <a:pt x="2072" y="0"/>
                    <a:pt x="2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1" name="Google Shape;10901;p81"/>
          <p:cNvGrpSpPr/>
          <p:nvPr/>
        </p:nvGrpSpPr>
        <p:grpSpPr>
          <a:xfrm>
            <a:off x="1954146" y="2660397"/>
            <a:ext cx="398020" cy="421914"/>
            <a:chOff x="-5995925" y="2757850"/>
            <a:chExt cx="275675" cy="292225"/>
          </a:xfrm>
        </p:grpSpPr>
        <p:sp>
          <p:nvSpPr>
            <p:cNvPr id="10902" name="Google Shape;10902;p81"/>
            <p:cNvSpPr/>
            <p:nvPr/>
          </p:nvSpPr>
          <p:spPr>
            <a:xfrm>
              <a:off x="-5995925" y="2757850"/>
              <a:ext cx="275675" cy="292225"/>
            </a:xfrm>
            <a:custGeom>
              <a:avLst/>
              <a:gdLst/>
              <a:ahLst/>
              <a:cxnLst/>
              <a:rect l="l" t="t" r="r" b="b"/>
              <a:pathLst>
                <a:path w="11027" h="11689" extrusionOk="0">
                  <a:moveTo>
                    <a:pt x="9924" y="1324"/>
                  </a:moveTo>
                  <a:cubicBezTo>
                    <a:pt x="10113" y="1324"/>
                    <a:pt x="10271" y="1481"/>
                    <a:pt x="10271" y="1702"/>
                  </a:cubicBezTo>
                  <a:lnTo>
                    <a:pt x="10271" y="9263"/>
                  </a:lnTo>
                  <a:lnTo>
                    <a:pt x="10302" y="9263"/>
                  </a:lnTo>
                  <a:cubicBezTo>
                    <a:pt x="10302" y="9452"/>
                    <a:pt x="10145" y="9610"/>
                    <a:pt x="9956" y="9610"/>
                  </a:cubicBezTo>
                  <a:lnTo>
                    <a:pt x="9609" y="9610"/>
                  </a:lnTo>
                  <a:lnTo>
                    <a:pt x="9609" y="8570"/>
                  </a:lnTo>
                  <a:cubicBezTo>
                    <a:pt x="9609" y="8381"/>
                    <a:pt x="9452" y="8223"/>
                    <a:pt x="9263" y="8223"/>
                  </a:cubicBezTo>
                  <a:lnTo>
                    <a:pt x="4442" y="8223"/>
                  </a:lnTo>
                  <a:cubicBezTo>
                    <a:pt x="4253" y="8223"/>
                    <a:pt x="4096" y="8381"/>
                    <a:pt x="4096" y="8570"/>
                  </a:cubicBezTo>
                  <a:lnTo>
                    <a:pt x="4096" y="9610"/>
                  </a:lnTo>
                  <a:lnTo>
                    <a:pt x="3434" y="9610"/>
                  </a:lnTo>
                  <a:lnTo>
                    <a:pt x="3434" y="1324"/>
                  </a:lnTo>
                  <a:close/>
                  <a:moveTo>
                    <a:pt x="2426" y="631"/>
                  </a:moveTo>
                  <a:cubicBezTo>
                    <a:pt x="2647" y="631"/>
                    <a:pt x="2804" y="788"/>
                    <a:pt x="2804" y="977"/>
                  </a:cubicBezTo>
                  <a:lnTo>
                    <a:pt x="2804" y="9925"/>
                  </a:lnTo>
                  <a:cubicBezTo>
                    <a:pt x="2804" y="10114"/>
                    <a:pt x="2647" y="10271"/>
                    <a:pt x="2426" y="10271"/>
                  </a:cubicBezTo>
                  <a:lnTo>
                    <a:pt x="1071" y="10271"/>
                  </a:lnTo>
                  <a:cubicBezTo>
                    <a:pt x="851" y="10271"/>
                    <a:pt x="693" y="10114"/>
                    <a:pt x="693" y="9925"/>
                  </a:cubicBezTo>
                  <a:lnTo>
                    <a:pt x="693" y="977"/>
                  </a:lnTo>
                  <a:cubicBezTo>
                    <a:pt x="693" y="788"/>
                    <a:pt x="851" y="631"/>
                    <a:pt x="1071" y="631"/>
                  </a:cubicBezTo>
                  <a:close/>
                  <a:moveTo>
                    <a:pt x="8948" y="8948"/>
                  </a:moveTo>
                  <a:lnTo>
                    <a:pt x="8948" y="10996"/>
                  </a:lnTo>
                  <a:lnTo>
                    <a:pt x="4852" y="10996"/>
                  </a:lnTo>
                  <a:lnTo>
                    <a:pt x="4852" y="8948"/>
                  </a:lnTo>
                  <a:close/>
                  <a:moveTo>
                    <a:pt x="1008" y="1"/>
                  </a:moveTo>
                  <a:cubicBezTo>
                    <a:pt x="473" y="1"/>
                    <a:pt x="0" y="473"/>
                    <a:pt x="0" y="1009"/>
                  </a:cubicBezTo>
                  <a:lnTo>
                    <a:pt x="0" y="9956"/>
                  </a:lnTo>
                  <a:cubicBezTo>
                    <a:pt x="0" y="10523"/>
                    <a:pt x="473" y="10996"/>
                    <a:pt x="1008" y="10996"/>
                  </a:cubicBezTo>
                  <a:lnTo>
                    <a:pt x="2395" y="10996"/>
                  </a:lnTo>
                  <a:cubicBezTo>
                    <a:pt x="2836" y="10996"/>
                    <a:pt x="3214" y="10712"/>
                    <a:pt x="3371" y="10303"/>
                  </a:cubicBezTo>
                  <a:lnTo>
                    <a:pt x="4127" y="10303"/>
                  </a:lnTo>
                  <a:lnTo>
                    <a:pt x="4127" y="11342"/>
                  </a:lnTo>
                  <a:cubicBezTo>
                    <a:pt x="4127" y="11531"/>
                    <a:pt x="4285" y="11689"/>
                    <a:pt x="4474" y="11689"/>
                  </a:cubicBezTo>
                  <a:lnTo>
                    <a:pt x="9294" y="11689"/>
                  </a:lnTo>
                  <a:cubicBezTo>
                    <a:pt x="9483" y="11689"/>
                    <a:pt x="9641" y="11531"/>
                    <a:pt x="9641" y="11342"/>
                  </a:cubicBezTo>
                  <a:lnTo>
                    <a:pt x="9641" y="10271"/>
                  </a:lnTo>
                  <a:lnTo>
                    <a:pt x="9987" y="10271"/>
                  </a:lnTo>
                  <a:cubicBezTo>
                    <a:pt x="10554" y="10271"/>
                    <a:pt x="11027" y="9799"/>
                    <a:pt x="11027" y="9263"/>
                  </a:cubicBezTo>
                  <a:lnTo>
                    <a:pt x="11027" y="1702"/>
                  </a:lnTo>
                  <a:cubicBezTo>
                    <a:pt x="10995" y="1103"/>
                    <a:pt x="10554" y="662"/>
                    <a:pt x="9956" y="662"/>
                  </a:cubicBezTo>
                  <a:lnTo>
                    <a:pt x="3371" y="662"/>
                  </a:lnTo>
                  <a:cubicBezTo>
                    <a:pt x="3214" y="284"/>
                    <a:pt x="2867"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3" name="Google Shape;10903;p81"/>
            <p:cNvSpPr/>
            <p:nvPr/>
          </p:nvSpPr>
          <p:spPr>
            <a:xfrm>
              <a:off x="-5892750" y="2808250"/>
              <a:ext cx="137850" cy="69350"/>
            </a:xfrm>
            <a:custGeom>
              <a:avLst/>
              <a:gdLst/>
              <a:ahLst/>
              <a:cxnLst/>
              <a:rect l="l" t="t" r="r" b="b"/>
              <a:pathLst>
                <a:path w="5514" h="2774" extrusionOk="0">
                  <a:moveTo>
                    <a:pt x="4821" y="694"/>
                  </a:moveTo>
                  <a:lnTo>
                    <a:pt x="4821" y="2112"/>
                  </a:lnTo>
                  <a:lnTo>
                    <a:pt x="725" y="2112"/>
                  </a:lnTo>
                  <a:lnTo>
                    <a:pt x="725" y="694"/>
                  </a:lnTo>
                  <a:close/>
                  <a:moveTo>
                    <a:pt x="347" y="1"/>
                  </a:moveTo>
                  <a:cubicBezTo>
                    <a:pt x="158" y="1"/>
                    <a:pt x="0" y="158"/>
                    <a:pt x="0" y="348"/>
                  </a:cubicBezTo>
                  <a:lnTo>
                    <a:pt x="0" y="2427"/>
                  </a:lnTo>
                  <a:cubicBezTo>
                    <a:pt x="0" y="2616"/>
                    <a:pt x="158" y="2773"/>
                    <a:pt x="347" y="2773"/>
                  </a:cubicBezTo>
                  <a:lnTo>
                    <a:pt x="5167" y="2773"/>
                  </a:lnTo>
                  <a:cubicBezTo>
                    <a:pt x="5356" y="2773"/>
                    <a:pt x="5514" y="2616"/>
                    <a:pt x="5514" y="2427"/>
                  </a:cubicBezTo>
                  <a:lnTo>
                    <a:pt x="5514" y="348"/>
                  </a:lnTo>
                  <a:cubicBezTo>
                    <a:pt x="5514" y="158"/>
                    <a:pt x="5356"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4" name="Google Shape;10904;p81"/>
            <p:cNvSpPr/>
            <p:nvPr/>
          </p:nvSpPr>
          <p:spPr>
            <a:xfrm>
              <a:off x="-5891975" y="2895675"/>
              <a:ext cx="34700" cy="17375"/>
            </a:xfrm>
            <a:custGeom>
              <a:avLst/>
              <a:gdLst/>
              <a:ahLst/>
              <a:cxnLst/>
              <a:rect l="l" t="t" r="r" b="b"/>
              <a:pathLst>
                <a:path w="1388" h="695" extrusionOk="0">
                  <a:moveTo>
                    <a:pt x="379" y="1"/>
                  </a:moveTo>
                  <a:cubicBezTo>
                    <a:pt x="158" y="1"/>
                    <a:pt x="1" y="159"/>
                    <a:pt x="1" y="348"/>
                  </a:cubicBezTo>
                  <a:cubicBezTo>
                    <a:pt x="1" y="537"/>
                    <a:pt x="158" y="694"/>
                    <a:pt x="379" y="694"/>
                  </a:cubicBezTo>
                  <a:lnTo>
                    <a:pt x="1041" y="694"/>
                  </a:lnTo>
                  <a:cubicBezTo>
                    <a:pt x="1230" y="694"/>
                    <a:pt x="1387" y="537"/>
                    <a:pt x="1387" y="348"/>
                  </a:cubicBezTo>
                  <a:cubicBezTo>
                    <a:pt x="1356" y="127"/>
                    <a:pt x="1198"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81"/>
            <p:cNvSpPr/>
            <p:nvPr/>
          </p:nvSpPr>
          <p:spPr>
            <a:xfrm>
              <a:off x="-5891975" y="2928775"/>
              <a:ext cx="34700" cy="18125"/>
            </a:xfrm>
            <a:custGeom>
              <a:avLst/>
              <a:gdLst/>
              <a:ahLst/>
              <a:cxnLst/>
              <a:rect l="l" t="t" r="r" b="b"/>
              <a:pathLst>
                <a:path w="1388" h="725" extrusionOk="0">
                  <a:moveTo>
                    <a:pt x="379" y="0"/>
                  </a:moveTo>
                  <a:cubicBezTo>
                    <a:pt x="158" y="0"/>
                    <a:pt x="1" y="158"/>
                    <a:pt x="1" y="378"/>
                  </a:cubicBezTo>
                  <a:cubicBezTo>
                    <a:pt x="1" y="567"/>
                    <a:pt x="158" y="725"/>
                    <a:pt x="379" y="725"/>
                  </a:cubicBezTo>
                  <a:lnTo>
                    <a:pt x="1041" y="725"/>
                  </a:lnTo>
                  <a:cubicBezTo>
                    <a:pt x="1230" y="725"/>
                    <a:pt x="1387" y="567"/>
                    <a:pt x="1387" y="378"/>
                  </a:cubicBezTo>
                  <a:cubicBezTo>
                    <a:pt x="1356" y="158"/>
                    <a:pt x="1198"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81"/>
            <p:cNvSpPr/>
            <p:nvPr/>
          </p:nvSpPr>
          <p:spPr>
            <a:xfrm>
              <a:off x="-58407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81"/>
            <p:cNvSpPr/>
            <p:nvPr/>
          </p:nvSpPr>
          <p:spPr>
            <a:xfrm>
              <a:off x="-58407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81"/>
            <p:cNvSpPr/>
            <p:nvPr/>
          </p:nvSpPr>
          <p:spPr>
            <a:xfrm>
              <a:off x="-57895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81"/>
            <p:cNvSpPr/>
            <p:nvPr/>
          </p:nvSpPr>
          <p:spPr>
            <a:xfrm>
              <a:off x="-57895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0" name="Google Shape;10910;p81"/>
            <p:cNvSpPr/>
            <p:nvPr/>
          </p:nvSpPr>
          <p:spPr>
            <a:xfrm>
              <a:off x="-5858100" y="2998075"/>
              <a:ext cx="68550" cy="17350"/>
            </a:xfrm>
            <a:custGeom>
              <a:avLst/>
              <a:gdLst/>
              <a:ahLst/>
              <a:cxnLst/>
              <a:rect l="l" t="t" r="r" b="b"/>
              <a:pathLst>
                <a:path w="2742" h="694" extrusionOk="0">
                  <a:moveTo>
                    <a:pt x="347" y="1"/>
                  </a:moveTo>
                  <a:cubicBezTo>
                    <a:pt x="158" y="1"/>
                    <a:pt x="1" y="158"/>
                    <a:pt x="1" y="347"/>
                  </a:cubicBezTo>
                  <a:cubicBezTo>
                    <a:pt x="1" y="536"/>
                    <a:pt x="158" y="694"/>
                    <a:pt x="347" y="694"/>
                  </a:cubicBezTo>
                  <a:lnTo>
                    <a:pt x="2395" y="694"/>
                  </a:lnTo>
                  <a:cubicBezTo>
                    <a:pt x="2584" y="694"/>
                    <a:pt x="2742" y="536"/>
                    <a:pt x="2742" y="347"/>
                  </a:cubicBezTo>
                  <a:cubicBezTo>
                    <a:pt x="2742" y="158"/>
                    <a:pt x="2584"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1" name="Google Shape;10911;p81"/>
          <p:cNvGrpSpPr/>
          <p:nvPr/>
        </p:nvGrpSpPr>
        <p:grpSpPr>
          <a:xfrm>
            <a:off x="4634433" y="1631816"/>
            <a:ext cx="421951" cy="419677"/>
            <a:chOff x="-4211975" y="2046625"/>
            <a:chExt cx="292250" cy="290675"/>
          </a:xfrm>
        </p:grpSpPr>
        <p:sp>
          <p:nvSpPr>
            <p:cNvPr id="10912" name="Google Shape;10912;p81"/>
            <p:cNvSpPr/>
            <p:nvPr/>
          </p:nvSpPr>
          <p:spPr>
            <a:xfrm>
              <a:off x="-4211975" y="2081300"/>
              <a:ext cx="256025" cy="256000"/>
            </a:xfrm>
            <a:custGeom>
              <a:avLst/>
              <a:gdLst/>
              <a:ahLst/>
              <a:cxnLst/>
              <a:rect l="l" t="t" r="r" b="b"/>
              <a:pathLst>
                <a:path w="10241" h="10240" extrusionOk="0">
                  <a:moveTo>
                    <a:pt x="4758" y="693"/>
                  </a:moveTo>
                  <a:lnTo>
                    <a:pt x="4758" y="5167"/>
                  </a:lnTo>
                  <a:cubicBezTo>
                    <a:pt x="4758" y="5356"/>
                    <a:pt x="4916" y="5513"/>
                    <a:pt x="5105" y="5513"/>
                  </a:cubicBezTo>
                  <a:lnTo>
                    <a:pt x="9578" y="5513"/>
                  </a:lnTo>
                  <a:cubicBezTo>
                    <a:pt x="9358" y="7813"/>
                    <a:pt x="7436" y="9609"/>
                    <a:pt x="5105" y="9609"/>
                  </a:cubicBezTo>
                  <a:cubicBezTo>
                    <a:pt x="2679" y="9609"/>
                    <a:pt x="663" y="7593"/>
                    <a:pt x="663" y="5167"/>
                  </a:cubicBezTo>
                  <a:cubicBezTo>
                    <a:pt x="663" y="2835"/>
                    <a:pt x="2490" y="914"/>
                    <a:pt x="4758" y="693"/>
                  </a:cubicBezTo>
                  <a:close/>
                  <a:moveTo>
                    <a:pt x="5105" y="0"/>
                  </a:moveTo>
                  <a:cubicBezTo>
                    <a:pt x="2269" y="0"/>
                    <a:pt x="1" y="2300"/>
                    <a:pt x="1" y="5104"/>
                  </a:cubicBezTo>
                  <a:cubicBezTo>
                    <a:pt x="1" y="7939"/>
                    <a:pt x="2269" y="10239"/>
                    <a:pt x="5105" y="10239"/>
                  </a:cubicBezTo>
                  <a:cubicBezTo>
                    <a:pt x="7940" y="10239"/>
                    <a:pt x="10240" y="7939"/>
                    <a:pt x="10240" y="5104"/>
                  </a:cubicBezTo>
                  <a:cubicBezTo>
                    <a:pt x="10240" y="4978"/>
                    <a:pt x="10083" y="4820"/>
                    <a:pt x="9925" y="4820"/>
                  </a:cubicBezTo>
                  <a:lnTo>
                    <a:pt x="5483" y="4820"/>
                  </a:lnTo>
                  <a:lnTo>
                    <a:pt x="5483" y="347"/>
                  </a:lnTo>
                  <a:cubicBezTo>
                    <a:pt x="5483" y="158"/>
                    <a:pt x="5325" y="0"/>
                    <a:pt x="51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3" name="Google Shape;10913;p81"/>
            <p:cNvSpPr/>
            <p:nvPr/>
          </p:nvSpPr>
          <p:spPr>
            <a:xfrm>
              <a:off x="-4057600" y="2046625"/>
              <a:ext cx="137875" cy="137875"/>
            </a:xfrm>
            <a:custGeom>
              <a:avLst/>
              <a:gdLst/>
              <a:ahLst/>
              <a:cxnLst/>
              <a:rect l="l" t="t" r="r" b="b"/>
              <a:pathLst>
                <a:path w="5515" h="5515" extrusionOk="0">
                  <a:moveTo>
                    <a:pt x="663" y="694"/>
                  </a:moveTo>
                  <a:cubicBezTo>
                    <a:pt x="2836" y="851"/>
                    <a:pt x="4601" y="2616"/>
                    <a:pt x="4758" y="4790"/>
                  </a:cubicBezTo>
                  <a:lnTo>
                    <a:pt x="663" y="4790"/>
                  </a:lnTo>
                  <a:lnTo>
                    <a:pt x="663" y="694"/>
                  </a:lnTo>
                  <a:close/>
                  <a:moveTo>
                    <a:pt x="348" y="1"/>
                  </a:moveTo>
                  <a:cubicBezTo>
                    <a:pt x="158" y="1"/>
                    <a:pt x="1" y="158"/>
                    <a:pt x="1" y="379"/>
                  </a:cubicBezTo>
                  <a:lnTo>
                    <a:pt x="1" y="5168"/>
                  </a:lnTo>
                  <a:cubicBezTo>
                    <a:pt x="1" y="5357"/>
                    <a:pt x="158" y="5514"/>
                    <a:pt x="348" y="5514"/>
                  </a:cubicBezTo>
                  <a:lnTo>
                    <a:pt x="5168" y="5514"/>
                  </a:lnTo>
                  <a:cubicBezTo>
                    <a:pt x="5357" y="5514"/>
                    <a:pt x="5514" y="5357"/>
                    <a:pt x="5514" y="5168"/>
                  </a:cubicBezTo>
                  <a:cubicBezTo>
                    <a:pt x="5483" y="3750"/>
                    <a:pt x="4979" y="2490"/>
                    <a:pt x="3971" y="1513"/>
                  </a:cubicBezTo>
                  <a:cubicBezTo>
                    <a:pt x="2994" y="536"/>
                    <a:pt x="1734"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4" name="Google Shape;10914;p81"/>
          <p:cNvGrpSpPr/>
          <p:nvPr/>
        </p:nvGrpSpPr>
        <p:grpSpPr>
          <a:xfrm>
            <a:off x="4684479" y="2138699"/>
            <a:ext cx="321859" cy="424225"/>
            <a:chOff x="-4178875" y="2405775"/>
            <a:chExt cx="222925" cy="293825"/>
          </a:xfrm>
        </p:grpSpPr>
        <p:sp>
          <p:nvSpPr>
            <p:cNvPr id="10915" name="Google Shape;10915;p81"/>
            <p:cNvSpPr/>
            <p:nvPr/>
          </p:nvSpPr>
          <p:spPr>
            <a:xfrm>
              <a:off x="-4178875" y="2405775"/>
              <a:ext cx="222925" cy="293825"/>
            </a:xfrm>
            <a:custGeom>
              <a:avLst/>
              <a:gdLst/>
              <a:ahLst/>
              <a:cxnLst/>
              <a:rect l="l" t="t" r="r" b="b"/>
              <a:pathLst>
                <a:path w="8917" h="11753" extrusionOk="0">
                  <a:moveTo>
                    <a:pt x="4474" y="694"/>
                  </a:moveTo>
                  <a:cubicBezTo>
                    <a:pt x="6553" y="694"/>
                    <a:pt x="8254" y="2395"/>
                    <a:pt x="8254" y="4475"/>
                  </a:cubicBezTo>
                  <a:cubicBezTo>
                    <a:pt x="8191" y="5262"/>
                    <a:pt x="7971" y="6018"/>
                    <a:pt x="7530" y="6649"/>
                  </a:cubicBezTo>
                  <a:lnTo>
                    <a:pt x="4474" y="10776"/>
                  </a:lnTo>
                  <a:lnTo>
                    <a:pt x="1418" y="6712"/>
                  </a:lnTo>
                  <a:cubicBezTo>
                    <a:pt x="945" y="6050"/>
                    <a:pt x="693" y="5294"/>
                    <a:pt x="693" y="4475"/>
                  </a:cubicBezTo>
                  <a:cubicBezTo>
                    <a:pt x="693" y="2395"/>
                    <a:pt x="2363" y="694"/>
                    <a:pt x="4474" y="694"/>
                  </a:cubicBezTo>
                  <a:close/>
                  <a:moveTo>
                    <a:pt x="4474" y="1"/>
                  </a:moveTo>
                  <a:cubicBezTo>
                    <a:pt x="2017" y="1"/>
                    <a:pt x="0" y="2017"/>
                    <a:pt x="0" y="4475"/>
                  </a:cubicBezTo>
                  <a:cubicBezTo>
                    <a:pt x="0" y="5451"/>
                    <a:pt x="315" y="6365"/>
                    <a:pt x="882" y="7153"/>
                  </a:cubicBezTo>
                  <a:lnTo>
                    <a:pt x="4190" y="11595"/>
                  </a:lnTo>
                  <a:cubicBezTo>
                    <a:pt x="4253" y="11689"/>
                    <a:pt x="4348" y="11752"/>
                    <a:pt x="4474" y="11752"/>
                  </a:cubicBezTo>
                  <a:cubicBezTo>
                    <a:pt x="4568" y="11752"/>
                    <a:pt x="4663" y="11721"/>
                    <a:pt x="4726" y="11595"/>
                  </a:cubicBezTo>
                  <a:lnTo>
                    <a:pt x="8097" y="7058"/>
                  </a:lnTo>
                  <a:cubicBezTo>
                    <a:pt x="8633" y="6333"/>
                    <a:pt x="8916" y="5420"/>
                    <a:pt x="8916" y="4506"/>
                  </a:cubicBezTo>
                  <a:cubicBezTo>
                    <a:pt x="8916" y="1986"/>
                    <a:pt x="6900" y="1"/>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81"/>
            <p:cNvSpPr/>
            <p:nvPr/>
          </p:nvSpPr>
          <p:spPr>
            <a:xfrm>
              <a:off x="-4093025" y="2491650"/>
              <a:ext cx="51225" cy="51200"/>
            </a:xfrm>
            <a:custGeom>
              <a:avLst/>
              <a:gdLst/>
              <a:ahLst/>
              <a:cxnLst/>
              <a:rect l="l" t="t" r="r" b="b"/>
              <a:pathLst>
                <a:path w="2049" h="2048" extrusionOk="0">
                  <a:moveTo>
                    <a:pt x="1040" y="630"/>
                  </a:moveTo>
                  <a:cubicBezTo>
                    <a:pt x="1229" y="630"/>
                    <a:pt x="1386" y="788"/>
                    <a:pt x="1386" y="1008"/>
                  </a:cubicBezTo>
                  <a:cubicBezTo>
                    <a:pt x="1386" y="1197"/>
                    <a:pt x="1197" y="1355"/>
                    <a:pt x="1040" y="1355"/>
                  </a:cubicBezTo>
                  <a:cubicBezTo>
                    <a:pt x="819" y="1355"/>
                    <a:pt x="662" y="1197"/>
                    <a:pt x="662" y="1008"/>
                  </a:cubicBezTo>
                  <a:cubicBezTo>
                    <a:pt x="662" y="788"/>
                    <a:pt x="819" y="630"/>
                    <a:pt x="1040" y="630"/>
                  </a:cubicBezTo>
                  <a:close/>
                  <a:moveTo>
                    <a:pt x="1040" y="0"/>
                  </a:moveTo>
                  <a:cubicBezTo>
                    <a:pt x="473" y="0"/>
                    <a:pt x="0" y="473"/>
                    <a:pt x="0" y="1040"/>
                  </a:cubicBezTo>
                  <a:cubicBezTo>
                    <a:pt x="0" y="1575"/>
                    <a:pt x="473" y="2048"/>
                    <a:pt x="1040" y="2048"/>
                  </a:cubicBezTo>
                  <a:cubicBezTo>
                    <a:pt x="1575" y="2048"/>
                    <a:pt x="2048" y="1575"/>
                    <a:pt x="2048" y="1040"/>
                  </a:cubicBezTo>
                  <a:cubicBezTo>
                    <a:pt x="2048" y="441"/>
                    <a:pt x="1575"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81"/>
            <p:cNvSpPr/>
            <p:nvPr/>
          </p:nvSpPr>
          <p:spPr>
            <a:xfrm>
              <a:off x="-4145800" y="2439650"/>
              <a:ext cx="155975" cy="155200"/>
            </a:xfrm>
            <a:custGeom>
              <a:avLst/>
              <a:gdLst/>
              <a:ahLst/>
              <a:cxnLst/>
              <a:rect l="l" t="t" r="r" b="b"/>
              <a:pathLst>
                <a:path w="6239" h="6208" extrusionOk="0">
                  <a:moveTo>
                    <a:pt x="3403" y="694"/>
                  </a:moveTo>
                  <a:lnTo>
                    <a:pt x="3403" y="1166"/>
                  </a:lnTo>
                  <a:cubicBezTo>
                    <a:pt x="3403" y="1324"/>
                    <a:pt x="3497" y="1450"/>
                    <a:pt x="3655" y="1481"/>
                  </a:cubicBezTo>
                  <a:cubicBezTo>
                    <a:pt x="3844" y="1576"/>
                    <a:pt x="4033" y="1670"/>
                    <a:pt x="4191" y="1828"/>
                  </a:cubicBezTo>
                  <a:cubicBezTo>
                    <a:pt x="4268" y="1867"/>
                    <a:pt x="4358" y="1894"/>
                    <a:pt x="4445" y="1894"/>
                  </a:cubicBezTo>
                  <a:cubicBezTo>
                    <a:pt x="4499" y="1894"/>
                    <a:pt x="4552" y="1884"/>
                    <a:pt x="4600" y="1859"/>
                  </a:cubicBezTo>
                  <a:lnTo>
                    <a:pt x="4978" y="1607"/>
                  </a:lnTo>
                  <a:lnTo>
                    <a:pt x="5356" y="2206"/>
                  </a:lnTo>
                  <a:lnTo>
                    <a:pt x="4947" y="2458"/>
                  </a:lnTo>
                  <a:cubicBezTo>
                    <a:pt x="4821" y="2521"/>
                    <a:pt x="4789" y="2647"/>
                    <a:pt x="4789" y="2805"/>
                  </a:cubicBezTo>
                  <a:cubicBezTo>
                    <a:pt x="4821" y="3025"/>
                    <a:pt x="4821" y="3183"/>
                    <a:pt x="4789" y="3435"/>
                  </a:cubicBezTo>
                  <a:cubicBezTo>
                    <a:pt x="4758" y="3592"/>
                    <a:pt x="4821" y="3687"/>
                    <a:pt x="4947" y="3781"/>
                  </a:cubicBezTo>
                  <a:lnTo>
                    <a:pt x="5356" y="4033"/>
                  </a:lnTo>
                  <a:lnTo>
                    <a:pt x="4978" y="4600"/>
                  </a:lnTo>
                  <a:lnTo>
                    <a:pt x="4600" y="4380"/>
                  </a:lnTo>
                  <a:cubicBezTo>
                    <a:pt x="4554" y="4345"/>
                    <a:pt x="4503" y="4332"/>
                    <a:pt x="4452" y="4332"/>
                  </a:cubicBezTo>
                  <a:cubicBezTo>
                    <a:pt x="4363" y="4332"/>
                    <a:pt x="4270" y="4372"/>
                    <a:pt x="4191" y="4411"/>
                  </a:cubicBezTo>
                  <a:cubicBezTo>
                    <a:pt x="4033" y="4537"/>
                    <a:pt x="3844" y="4632"/>
                    <a:pt x="3655" y="4726"/>
                  </a:cubicBezTo>
                  <a:cubicBezTo>
                    <a:pt x="3529" y="4758"/>
                    <a:pt x="3403" y="4915"/>
                    <a:pt x="3403" y="5041"/>
                  </a:cubicBezTo>
                  <a:lnTo>
                    <a:pt x="3403" y="5514"/>
                  </a:lnTo>
                  <a:lnTo>
                    <a:pt x="2741" y="5514"/>
                  </a:lnTo>
                  <a:lnTo>
                    <a:pt x="2741" y="5041"/>
                  </a:lnTo>
                  <a:cubicBezTo>
                    <a:pt x="2741" y="4884"/>
                    <a:pt x="2678" y="4758"/>
                    <a:pt x="2521" y="4726"/>
                  </a:cubicBezTo>
                  <a:cubicBezTo>
                    <a:pt x="2300" y="4663"/>
                    <a:pt x="2111" y="4569"/>
                    <a:pt x="1954" y="4411"/>
                  </a:cubicBezTo>
                  <a:cubicBezTo>
                    <a:pt x="1874" y="4372"/>
                    <a:pt x="1782" y="4332"/>
                    <a:pt x="1701" y="4332"/>
                  </a:cubicBezTo>
                  <a:cubicBezTo>
                    <a:pt x="1654" y="4332"/>
                    <a:pt x="1610" y="4345"/>
                    <a:pt x="1576" y="4380"/>
                  </a:cubicBezTo>
                  <a:lnTo>
                    <a:pt x="1166" y="4600"/>
                  </a:lnTo>
                  <a:lnTo>
                    <a:pt x="820" y="4033"/>
                  </a:lnTo>
                  <a:lnTo>
                    <a:pt x="1198" y="3781"/>
                  </a:lnTo>
                  <a:cubicBezTo>
                    <a:pt x="1324" y="3718"/>
                    <a:pt x="1418" y="3592"/>
                    <a:pt x="1355" y="3435"/>
                  </a:cubicBezTo>
                  <a:cubicBezTo>
                    <a:pt x="1324" y="3183"/>
                    <a:pt x="1324" y="3025"/>
                    <a:pt x="1355" y="2805"/>
                  </a:cubicBezTo>
                  <a:cubicBezTo>
                    <a:pt x="1418" y="2647"/>
                    <a:pt x="1324" y="2521"/>
                    <a:pt x="1198" y="2458"/>
                  </a:cubicBezTo>
                  <a:lnTo>
                    <a:pt x="820" y="2206"/>
                  </a:lnTo>
                  <a:lnTo>
                    <a:pt x="1166" y="1607"/>
                  </a:lnTo>
                  <a:lnTo>
                    <a:pt x="1576" y="1859"/>
                  </a:lnTo>
                  <a:cubicBezTo>
                    <a:pt x="1612" y="1884"/>
                    <a:pt x="1657" y="1894"/>
                    <a:pt x="1706" y="1894"/>
                  </a:cubicBezTo>
                  <a:cubicBezTo>
                    <a:pt x="1786" y="1894"/>
                    <a:pt x="1876" y="1867"/>
                    <a:pt x="1954" y="1828"/>
                  </a:cubicBezTo>
                  <a:cubicBezTo>
                    <a:pt x="2111" y="1702"/>
                    <a:pt x="2300" y="1576"/>
                    <a:pt x="2521" y="1481"/>
                  </a:cubicBezTo>
                  <a:cubicBezTo>
                    <a:pt x="2615" y="1450"/>
                    <a:pt x="2741" y="1292"/>
                    <a:pt x="2741" y="1166"/>
                  </a:cubicBezTo>
                  <a:lnTo>
                    <a:pt x="2741" y="694"/>
                  </a:lnTo>
                  <a:close/>
                  <a:moveTo>
                    <a:pt x="2426" y="1"/>
                  </a:moveTo>
                  <a:cubicBezTo>
                    <a:pt x="2237" y="1"/>
                    <a:pt x="2080" y="158"/>
                    <a:pt x="2080" y="347"/>
                  </a:cubicBezTo>
                  <a:lnTo>
                    <a:pt x="2080" y="946"/>
                  </a:lnTo>
                  <a:cubicBezTo>
                    <a:pt x="1954" y="977"/>
                    <a:pt x="1828" y="1072"/>
                    <a:pt x="1765" y="1135"/>
                  </a:cubicBezTo>
                  <a:lnTo>
                    <a:pt x="1261" y="851"/>
                  </a:lnTo>
                  <a:cubicBezTo>
                    <a:pt x="1211" y="831"/>
                    <a:pt x="1158" y="821"/>
                    <a:pt x="1104" y="821"/>
                  </a:cubicBezTo>
                  <a:cubicBezTo>
                    <a:pt x="990" y="821"/>
                    <a:pt x="874" y="870"/>
                    <a:pt x="788" y="977"/>
                  </a:cubicBezTo>
                  <a:lnTo>
                    <a:pt x="126" y="2175"/>
                  </a:lnTo>
                  <a:cubicBezTo>
                    <a:pt x="32" y="2332"/>
                    <a:pt x="63" y="2521"/>
                    <a:pt x="221" y="2647"/>
                  </a:cubicBezTo>
                  <a:lnTo>
                    <a:pt x="757" y="2899"/>
                  </a:lnTo>
                  <a:lnTo>
                    <a:pt x="757" y="3120"/>
                  </a:lnTo>
                  <a:lnTo>
                    <a:pt x="757" y="3309"/>
                  </a:lnTo>
                  <a:lnTo>
                    <a:pt x="221" y="3592"/>
                  </a:lnTo>
                  <a:cubicBezTo>
                    <a:pt x="63" y="3655"/>
                    <a:pt x="0" y="3907"/>
                    <a:pt x="126" y="4065"/>
                  </a:cubicBezTo>
                  <a:lnTo>
                    <a:pt x="788" y="5231"/>
                  </a:lnTo>
                  <a:cubicBezTo>
                    <a:pt x="831" y="5337"/>
                    <a:pt x="960" y="5415"/>
                    <a:pt x="1088" y="5415"/>
                  </a:cubicBezTo>
                  <a:cubicBezTo>
                    <a:pt x="1149" y="5415"/>
                    <a:pt x="1210" y="5397"/>
                    <a:pt x="1261" y="5357"/>
                  </a:cubicBezTo>
                  <a:lnTo>
                    <a:pt x="1765" y="5073"/>
                  </a:lnTo>
                  <a:cubicBezTo>
                    <a:pt x="1891" y="5167"/>
                    <a:pt x="1954" y="5199"/>
                    <a:pt x="2080" y="5262"/>
                  </a:cubicBezTo>
                  <a:lnTo>
                    <a:pt x="2080" y="5861"/>
                  </a:lnTo>
                  <a:cubicBezTo>
                    <a:pt x="2080" y="6050"/>
                    <a:pt x="2237" y="6207"/>
                    <a:pt x="2426" y="6207"/>
                  </a:cubicBezTo>
                  <a:lnTo>
                    <a:pt x="3812" y="6207"/>
                  </a:lnTo>
                  <a:cubicBezTo>
                    <a:pt x="4002" y="6207"/>
                    <a:pt x="4159" y="6050"/>
                    <a:pt x="4159" y="5861"/>
                  </a:cubicBezTo>
                  <a:lnTo>
                    <a:pt x="4159" y="5262"/>
                  </a:lnTo>
                  <a:cubicBezTo>
                    <a:pt x="4285" y="5231"/>
                    <a:pt x="4411" y="5167"/>
                    <a:pt x="4474" y="5073"/>
                  </a:cubicBezTo>
                  <a:lnTo>
                    <a:pt x="4978" y="5357"/>
                  </a:lnTo>
                  <a:cubicBezTo>
                    <a:pt x="5028" y="5376"/>
                    <a:pt x="5084" y="5387"/>
                    <a:pt x="5141" y="5387"/>
                  </a:cubicBezTo>
                  <a:cubicBezTo>
                    <a:pt x="5263" y="5387"/>
                    <a:pt x="5386" y="5338"/>
                    <a:pt x="5451" y="5231"/>
                  </a:cubicBezTo>
                  <a:lnTo>
                    <a:pt x="6144" y="4065"/>
                  </a:lnTo>
                  <a:cubicBezTo>
                    <a:pt x="6207" y="3907"/>
                    <a:pt x="6175" y="3687"/>
                    <a:pt x="6018" y="3592"/>
                  </a:cubicBezTo>
                  <a:lnTo>
                    <a:pt x="5514" y="3309"/>
                  </a:lnTo>
                  <a:lnTo>
                    <a:pt x="5514" y="3120"/>
                  </a:lnTo>
                  <a:lnTo>
                    <a:pt x="5514" y="2899"/>
                  </a:lnTo>
                  <a:lnTo>
                    <a:pt x="6018" y="2647"/>
                  </a:lnTo>
                  <a:cubicBezTo>
                    <a:pt x="6175" y="2521"/>
                    <a:pt x="6238" y="2332"/>
                    <a:pt x="6144" y="2175"/>
                  </a:cubicBezTo>
                  <a:lnTo>
                    <a:pt x="5451" y="977"/>
                  </a:lnTo>
                  <a:cubicBezTo>
                    <a:pt x="5408" y="870"/>
                    <a:pt x="5278" y="807"/>
                    <a:pt x="5149" y="807"/>
                  </a:cubicBezTo>
                  <a:cubicBezTo>
                    <a:pt x="5089" y="807"/>
                    <a:pt x="5029" y="821"/>
                    <a:pt x="4978" y="851"/>
                  </a:cubicBezTo>
                  <a:lnTo>
                    <a:pt x="4474" y="1135"/>
                  </a:lnTo>
                  <a:cubicBezTo>
                    <a:pt x="4348" y="1072"/>
                    <a:pt x="4285" y="1009"/>
                    <a:pt x="4159" y="946"/>
                  </a:cubicBezTo>
                  <a:lnTo>
                    <a:pt x="4159" y="347"/>
                  </a:lnTo>
                  <a:cubicBezTo>
                    <a:pt x="4159" y="158"/>
                    <a:pt x="4002" y="1"/>
                    <a:pt x="38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81"/>
          <p:cNvGrpSpPr/>
          <p:nvPr/>
        </p:nvGrpSpPr>
        <p:grpSpPr>
          <a:xfrm>
            <a:off x="4646942" y="2673483"/>
            <a:ext cx="420796" cy="395746"/>
            <a:chOff x="-4211975" y="2783850"/>
            <a:chExt cx="291450" cy="274100"/>
          </a:xfrm>
        </p:grpSpPr>
        <p:sp>
          <p:nvSpPr>
            <p:cNvPr id="10919" name="Google Shape;10919;p81"/>
            <p:cNvSpPr/>
            <p:nvPr/>
          </p:nvSpPr>
          <p:spPr>
            <a:xfrm>
              <a:off x="-4211975" y="2937125"/>
              <a:ext cx="291450" cy="120825"/>
            </a:xfrm>
            <a:custGeom>
              <a:avLst/>
              <a:gdLst/>
              <a:ahLst/>
              <a:cxnLst/>
              <a:rect l="l" t="t" r="r" b="b"/>
              <a:pathLst>
                <a:path w="11658" h="4833" extrusionOk="0">
                  <a:moveTo>
                    <a:pt x="978" y="706"/>
                  </a:moveTo>
                  <a:cubicBezTo>
                    <a:pt x="1167" y="706"/>
                    <a:pt x="1324" y="863"/>
                    <a:pt x="1324" y="1052"/>
                  </a:cubicBezTo>
                  <a:lnTo>
                    <a:pt x="1324" y="3762"/>
                  </a:lnTo>
                  <a:cubicBezTo>
                    <a:pt x="1324" y="3982"/>
                    <a:pt x="1167" y="4140"/>
                    <a:pt x="978" y="4140"/>
                  </a:cubicBezTo>
                  <a:lnTo>
                    <a:pt x="631" y="4140"/>
                  </a:lnTo>
                  <a:lnTo>
                    <a:pt x="631" y="706"/>
                  </a:lnTo>
                  <a:close/>
                  <a:moveTo>
                    <a:pt x="3866" y="717"/>
                  </a:moveTo>
                  <a:cubicBezTo>
                    <a:pt x="4374" y="717"/>
                    <a:pt x="4886" y="859"/>
                    <a:pt x="5325" y="1147"/>
                  </a:cubicBezTo>
                  <a:cubicBezTo>
                    <a:pt x="5672" y="1367"/>
                    <a:pt x="5703" y="1399"/>
                    <a:pt x="5829" y="1399"/>
                  </a:cubicBezTo>
                  <a:lnTo>
                    <a:pt x="7247" y="1399"/>
                  </a:lnTo>
                  <a:cubicBezTo>
                    <a:pt x="7436" y="1399"/>
                    <a:pt x="7594" y="1556"/>
                    <a:pt x="7594" y="1777"/>
                  </a:cubicBezTo>
                  <a:cubicBezTo>
                    <a:pt x="7594" y="1966"/>
                    <a:pt x="7436" y="2124"/>
                    <a:pt x="7247" y="2124"/>
                  </a:cubicBezTo>
                  <a:lnTo>
                    <a:pt x="4758" y="2124"/>
                  </a:lnTo>
                  <a:cubicBezTo>
                    <a:pt x="4380" y="2124"/>
                    <a:pt x="4034" y="2344"/>
                    <a:pt x="3845" y="2659"/>
                  </a:cubicBezTo>
                  <a:cubicBezTo>
                    <a:pt x="3782" y="2817"/>
                    <a:pt x="3845" y="3069"/>
                    <a:pt x="4002" y="3132"/>
                  </a:cubicBezTo>
                  <a:cubicBezTo>
                    <a:pt x="4045" y="3158"/>
                    <a:pt x="4096" y="3169"/>
                    <a:pt x="4148" y="3169"/>
                  </a:cubicBezTo>
                  <a:cubicBezTo>
                    <a:pt x="4284" y="3169"/>
                    <a:pt x="4429" y="3088"/>
                    <a:pt x="4475" y="2974"/>
                  </a:cubicBezTo>
                  <a:cubicBezTo>
                    <a:pt x="4538" y="2848"/>
                    <a:pt x="4632" y="2785"/>
                    <a:pt x="4790" y="2785"/>
                  </a:cubicBezTo>
                  <a:lnTo>
                    <a:pt x="7562" y="2785"/>
                  </a:lnTo>
                  <a:cubicBezTo>
                    <a:pt x="7783" y="2785"/>
                    <a:pt x="8003" y="2722"/>
                    <a:pt x="8192" y="2596"/>
                  </a:cubicBezTo>
                  <a:lnTo>
                    <a:pt x="10555" y="769"/>
                  </a:lnTo>
                  <a:cubicBezTo>
                    <a:pt x="10603" y="747"/>
                    <a:pt x="10649" y="737"/>
                    <a:pt x="10693" y="737"/>
                  </a:cubicBezTo>
                  <a:cubicBezTo>
                    <a:pt x="10969" y="737"/>
                    <a:pt x="11146" y="1123"/>
                    <a:pt x="10902" y="1367"/>
                  </a:cubicBezTo>
                  <a:cubicBezTo>
                    <a:pt x="10844" y="1406"/>
                    <a:pt x="10817" y="1419"/>
                    <a:pt x="10805" y="1419"/>
                  </a:cubicBezTo>
                  <a:cubicBezTo>
                    <a:pt x="10780" y="1419"/>
                    <a:pt x="10836" y="1354"/>
                    <a:pt x="10826" y="1354"/>
                  </a:cubicBezTo>
                  <a:cubicBezTo>
                    <a:pt x="10804" y="1354"/>
                    <a:pt x="10447" y="1686"/>
                    <a:pt x="8066" y="3856"/>
                  </a:cubicBezTo>
                  <a:cubicBezTo>
                    <a:pt x="7877" y="4014"/>
                    <a:pt x="7625" y="4140"/>
                    <a:pt x="7373" y="4140"/>
                  </a:cubicBezTo>
                  <a:lnTo>
                    <a:pt x="3435" y="4140"/>
                  </a:lnTo>
                  <a:cubicBezTo>
                    <a:pt x="2962" y="4140"/>
                    <a:pt x="2490" y="4014"/>
                    <a:pt x="2049" y="3825"/>
                  </a:cubicBezTo>
                  <a:lnTo>
                    <a:pt x="2049" y="1399"/>
                  </a:lnTo>
                  <a:lnTo>
                    <a:pt x="2332" y="1210"/>
                  </a:lnTo>
                  <a:cubicBezTo>
                    <a:pt x="2774" y="883"/>
                    <a:pt x="3318" y="717"/>
                    <a:pt x="3866" y="717"/>
                  </a:cubicBezTo>
                  <a:close/>
                  <a:moveTo>
                    <a:pt x="3817" y="0"/>
                  </a:moveTo>
                  <a:cubicBezTo>
                    <a:pt x="3151" y="0"/>
                    <a:pt x="2491" y="205"/>
                    <a:pt x="1923" y="611"/>
                  </a:cubicBezTo>
                  <a:cubicBezTo>
                    <a:pt x="1765" y="265"/>
                    <a:pt x="1419" y="13"/>
                    <a:pt x="1009" y="13"/>
                  </a:cubicBezTo>
                  <a:lnTo>
                    <a:pt x="348" y="13"/>
                  </a:lnTo>
                  <a:cubicBezTo>
                    <a:pt x="159" y="13"/>
                    <a:pt x="1" y="170"/>
                    <a:pt x="1" y="391"/>
                  </a:cubicBezTo>
                  <a:lnTo>
                    <a:pt x="1" y="4486"/>
                  </a:lnTo>
                  <a:cubicBezTo>
                    <a:pt x="1" y="4675"/>
                    <a:pt x="159" y="4833"/>
                    <a:pt x="348" y="4833"/>
                  </a:cubicBezTo>
                  <a:lnTo>
                    <a:pt x="1009" y="4833"/>
                  </a:lnTo>
                  <a:cubicBezTo>
                    <a:pt x="1324" y="4833"/>
                    <a:pt x="1608" y="4675"/>
                    <a:pt x="1797" y="4486"/>
                  </a:cubicBezTo>
                  <a:cubicBezTo>
                    <a:pt x="2332" y="4707"/>
                    <a:pt x="2868" y="4833"/>
                    <a:pt x="3435" y="4833"/>
                  </a:cubicBezTo>
                  <a:lnTo>
                    <a:pt x="7373" y="4833"/>
                  </a:lnTo>
                  <a:cubicBezTo>
                    <a:pt x="7783" y="4833"/>
                    <a:pt x="8192" y="4675"/>
                    <a:pt x="8507" y="4392"/>
                  </a:cubicBezTo>
                  <a:cubicBezTo>
                    <a:pt x="8539" y="4392"/>
                    <a:pt x="11217" y="1903"/>
                    <a:pt x="11248" y="1872"/>
                  </a:cubicBezTo>
                  <a:cubicBezTo>
                    <a:pt x="11406" y="1809"/>
                    <a:pt x="11658" y="1493"/>
                    <a:pt x="11658" y="1084"/>
                  </a:cubicBezTo>
                  <a:cubicBezTo>
                    <a:pt x="11658" y="454"/>
                    <a:pt x="11185" y="44"/>
                    <a:pt x="10618" y="44"/>
                  </a:cubicBezTo>
                  <a:cubicBezTo>
                    <a:pt x="10303" y="44"/>
                    <a:pt x="10051" y="202"/>
                    <a:pt x="9925" y="296"/>
                  </a:cubicBezTo>
                  <a:lnTo>
                    <a:pt x="8192" y="1619"/>
                  </a:lnTo>
                  <a:cubicBezTo>
                    <a:pt x="8098" y="1084"/>
                    <a:pt x="7688" y="706"/>
                    <a:pt x="7153" y="706"/>
                  </a:cubicBezTo>
                  <a:lnTo>
                    <a:pt x="5861" y="706"/>
                  </a:lnTo>
                  <a:lnTo>
                    <a:pt x="5640" y="548"/>
                  </a:lnTo>
                  <a:cubicBezTo>
                    <a:pt x="5075" y="182"/>
                    <a:pt x="4444" y="0"/>
                    <a:pt x="38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81"/>
            <p:cNvSpPr/>
            <p:nvPr/>
          </p:nvSpPr>
          <p:spPr>
            <a:xfrm>
              <a:off x="-4109575" y="2783850"/>
              <a:ext cx="153625" cy="154400"/>
            </a:xfrm>
            <a:custGeom>
              <a:avLst/>
              <a:gdLst/>
              <a:ahLst/>
              <a:cxnLst/>
              <a:rect l="l" t="t" r="r" b="b"/>
              <a:pathLst>
                <a:path w="6145" h="6176" extrusionOk="0">
                  <a:moveTo>
                    <a:pt x="3057" y="693"/>
                  </a:moveTo>
                  <a:cubicBezTo>
                    <a:pt x="4411" y="693"/>
                    <a:pt x="5482" y="1765"/>
                    <a:pt x="5482" y="3088"/>
                  </a:cubicBezTo>
                  <a:cubicBezTo>
                    <a:pt x="5482" y="4442"/>
                    <a:pt x="4411" y="5482"/>
                    <a:pt x="3057" y="5482"/>
                  </a:cubicBezTo>
                  <a:cubicBezTo>
                    <a:pt x="1733" y="5482"/>
                    <a:pt x="662" y="4442"/>
                    <a:pt x="662" y="3088"/>
                  </a:cubicBezTo>
                  <a:cubicBezTo>
                    <a:pt x="662" y="1765"/>
                    <a:pt x="1733" y="693"/>
                    <a:pt x="3057" y="693"/>
                  </a:cubicBezTo>
                  <a:close/>
                  <a:moveTo>
                    <a:pt x="3057" y="0"/>
                  </a:moveTo>
                  <a:cubicBezTo>
                    <a:pt x="1387" y="0"/>
                    <a:pt x="1" y="1387"/>
                    <a:pt x="1" y="3088"/>
                  </a:cubicBezTo>
                  <a:cubicBezTo>
                    <a:pt x="1" y="4789"/>
                    <a:pt x="1387" y="6175"/>
                    <a:pt x="3057" y="6175"/>
                  </a:cubicBezTo>
                  <a:cubicBezTo>
                    <a:pt x="4758" y="6175"/>
                    <a:pt x="6144" y="4789"/>
                    <a:pt x="6144" y="3088"/>
                  </a:cubicBezTo>
                  <a:cubicBezTo>
                    <a:pt x="6144" y="1387"/>
                    <a:pt x="4758" y="0"/>
                    <a:pt x="3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1" name="Google Shape;10921;p81"/>
            <p:cNvSpPr/>
            <p:nvPr/>
          </p:nvSpPr>
          <p:spPr>
            <a:xfrm>
              <a:off x="-4074925" y="2818500"/>
              <a:ext cx="84300" cy="85100"/>
            </a:xfrm>
            <a:custGeom>
              <a:avLst/>
              <a:gdLst/>
              <a:ahLst/>
              <a:cxnLst/>
              <a:rect l="l" t="t" r="r" b="b"/>
              <a:pathLst>
                <a:path w="3372" h="3404" extrusionOk="0">
                  <a:moveTo>
                    <a:pt x="1671" y="631"/>
                  </a:moveTo>
                  <a:cubicBezTo>
                    <a:pt x="2238" y="631"/>
                    <a:pt x="2710" y="1103"/>
                    <a:pt x="2710" y="1670"/>
                  </a:cubicBezTo>
                  <a:cubicBezTo>
                    <a:pt x="2710" y="2206"/>
                    <a:pt x="2238" y="2678"/>
                    <a:pt x="1671" y="2678"/>
                  </a:cubicBezTo>
                  <a:cubicBezTo>
                    <a:pt x="1135" y="2678"/>
                    <a:pt x="662" y="2206"/>
                    <a:pt x="662" y="1670"/>
                  </a:cubicBezTo>
                  <a:cubicBezTo>
                    <a:pt x="662" y="1103"/>
                    <a:pt x="1135" y="631"/>
                    <a:pt x="1671" y="631"/>
                  </a:cubicBezTo>
                  <a:close/>
                  <a:moveTo>
                    <a:pt x="1671" y="1"/>
                  </a:moveTo>
                  <a:cubicBezTo>
                    <a:pt x="725" y="1"/>
                    <a:pt x="1" y="757"/>
                    <a:pt x="1" y="1702"/>
                  </a:cubicBezTo>
                  <a:cubicBezTo>
                    <a:pt x="1" y="2647"/>
                    <a:pt x="725" y="3403"/>
                    <a:pt x="1671" y="3403"/>
                  </a:cubicBezTo>
                  <a:cubicBezTo>
                    <a:pt x="2616" y="3403"/>
                    <a:pt x="3372" y="2647"/>
                    <a:pt x="3372" y="1702"/>
                  </a:cubicBezTo>
                  <a:cubicBezTo>
                    <a:pt x="3372" y="757"/>
                    <a:pt x="2616" y="1"/>
                    <a:pt x="16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22" name="Google Shape;10922;p81"/>
          <p:cNvSpPr/>
          <p:nvPr/>
        </p:nvSpPr>
        <p:spPr>
          <a:xfrm>
            <a:off x="7362836" y="1629995"/>
            <a:ext cx="399175" cy="423069"/>
          </a:xfrm>
          <a:custGeom>
            <a:avLst/>
            <a:gdLst/>
            <a:ahLst/>
            <a:cxnLst/>
            <a:rect l="l" t="t" r="r" b="b"/>
            <a:pathLst>
              <a:path w="11059" h="11721" extrusionOk="0">
                <a:moveTo>
                  <a:pt x="1418" y="693"/>
                </a:moveTo>
                <a:lnTo>
                  <a:pt x="1418" y="1387"/>
                </a:lnTo>
                <a:lnTo>
                  <a:pt x="725" y="1387"/>
                </a:lnTo>
                <a:lnTo>
                  <a:pt x="725" y="693"/>
                </a:lnTo>
                <a:close/>
                <a:moveTo>
                  <a:pt x="9011" y="693"/>
                </a:moveTo>
                <a:lnTo>
                  <a:pt x="9011" y="1387"/>
                </a:lnTo>
                <a:lnTo>
                  <a:pt x="8349" y="1387"/>
                </a:lnTo>
                <a:lnTo>
                  <a:pt x="8349" y="693"/>
                </a:lnTo>
                <a:close/>
                <a:moveTo>
                  <a:pt x="7656" y="1324"/>
                </a:moveTo>
                <a:lnTo>
                  <a:pt x="7656" y="1670"/>
                </a:lnTo>
                <a:cubicBezTo>
                  <a:pt x="7656" y="1891"/>
                  <a:pt x="7813" y="2048"/>
                  <a:pt x="8034" y="2048"/>
                </a:cubicBezTo>
                <a:lnTo>
                  <a:pt x="8381" y="2048"/>
                </a:lnTo>
                <a:lnTo>
                  <a:pt x="8381" y="4222"/>
                </a:lnTo>
                <a:cubicBezTo>
                  <a:pt x="8255" y="4253"/>
                  <a:pt x="8160" y="4316"/>
                  <a:pt x="8034" y="4411"/>
                </a:cubicBezTo>
                <a:cubicBezTo>
                  <a:pt x="7845" y="4243"/>
                  <a:pt x="7614" y="4159"/>
                  <a:pt x="7369" y="4159"/>
                </a:cubicBezTo>
                <a:cubicBezTo>
                  <a:pt x="7246" y="4159"/>
                  <a:pt x="7120" y="4180"/>
                  <a:pt x="6994" y="4222"/>
                </a:cubicBezTo>
                <a:lnTo>
                  <a:pt x="6994" y="3088"/>
                </a:lnTo>
                <a:cubicBezTo>
                  <a:pt x="6994" y="2552"/>
                  <a:pt x="6522" y="2080"/>
                  <a:pt x="5986" y="2080"/>
                </a:cubicBezTo>
                <a:cubicBezTo>
                  <a:pt x="5419" y="2080"/>
                  <a:pt x="4947" y="2552"/>
                  <a:pt x="4947" y="3088"/>
                </a:cubicBezTo>
                <a:lnTo>
                  <a:pt x="4947" y="6459"/>
                </a:lnTo>
                <a:lnTo>
                  <a:pt x="4789" y="6301"/>
                </a:lnTo>
                <a:cubicBezTo>
                  <a:pt x="4600" y="6097"/>
                  <a:pt x="4340" y="5994"/>
                  <a:pt x="4076" y="5994"/>
                </a:cubicBezTo>
                <a:cubicBezTo>
                  <a:pt x="3812" y="5994"/>
                  <a:pt x="3545" y="6097"/>
                  <a:pt x="3340" y="6301"/>
                </a:cubicBezTo>
                <a:cubicBezTo>
                  <a:pt x="2962" y="6679"/>
                  <a:pt x="2962" y="7341"/>
                  <a:pt x="3340" y="7751"/>
                </a:cubicBezTo>
                <a:lnTo>
                  <a:pt x="3812" y="8223"/>
                </a:lnTo>
                <a:lnTo>
                  <a:pt x="2111" y="8223"/>
                </a:lnTo>
                <a:lnTo>
                  <a:pt x="2111" y="7908"/>
                </a:lnTo>
                <a:cubicBezTo>
                  <a:pt x="2111" y="7719"/>
                  <a:pt x="1954" y="7561"/>
                  <a:pt x="1765" y="7561"/>
                </a:cubicBezTo>
                <a:lnTo>
                  <a:pt x="1418" y="7561"/>
                </a:lnTo>
                <a:lnTo>
                  <a:pt x="1418" y="2048"/>
                </a:lnTo>
                <a:lnTo>
                  <a:pt x="1765" y="2048"/>
                </a:lnTo>
                <a:cubicBezTo>
                  <a:pt x="1954" y="2048"/>
                  <a:pt x="2111" y="1891"/>
                  <a:pt x="2111" y="1670"/>
                </a:cubicBezTo>
                <a:lnTo>
                  <a:pt x="2111" y="1324"/>
                </a:lnTo>
                <a:close/>
                <a:moveTo>
                  <a:pt x="1418" y="8255"/>
                </a:moveTo>
                <a:lnTo>
                  <a:pt x="1418" y="8948"/>
                </a:lnTo>
                <a:lnTo>
                  <a:pt x="725" y="8948"/>
                </a:lnTo>
                <a:lnTo>
                  <a:pt x="725" y="8255"/>
                </a:lnTo>
                <a:close/>
                <a:moveTo>
                  <a:pt x="5955" y="2836"/>
                </a:moveTo>
                <a:cubicBezTo>
                  <a:pt x="6144" y="2836"/>
                  <a:pt x="6301" y="2993"/>
                  <a:pt x="6301" y="3182"/>
                </a:cubicBezTo>
                <a:lnTo>
                  <a:pt x="6301" y="6616"/>
                </a:lnTo>
                <a:cubicBezTo>
                  <a:pt x="6301" y="6805"/>
                  <a:pt x="6459" y="6963"/>
                  <a:pt x="6648" y="6963"/>
                </a:cubicBezTo>
                <a:cubicBezTo>
                  <a:pt x="6837" y="6963"/>
                  <a:pt x="6994" y="6805"/>
                  <a:pt x="6994" y="6616"/>
                </a:cubicBezTo>
                <a:lnTo>
                  <a:pt x="6994" y="5230"/>
                </a:lnTo>
                <a:cubicBezTo>
                  <a:pt x="6994" y="5041"/>
                  <a:pt x="7152" y="4884"/>
                  <a:pt x="7372" y="4884"/>
                </a:cubicBezTo>
                <a:cubicBezTo>
                  <a:pt x="7561" y="4884"/>
                  <a:pt x="7719" y="5041"/>
                  <a:pt x="7719" y="5230"/>
                </a:cubicBezTo>
                <a:lnTo>
                  <a:pt x="7719" y="6616"/>
                </a:lnTo>
                <a:cubicBezTo>
                  <a:pt x="7719" y="6805"/>
                  <a:pt x="7876" y="6963"/>
                  <a:pt x="8066" y="6963"/>
                </a:cubicBezTo>
                <a:cubicBezTo>
                  <a:pt x="8255" y="6963"/>
                  <a:pt x="8412" y="6805"/>
                  <a:pt x="8412" y="6616"/>
                </a:cubicBezTo>
                <a:lnTo>
                  <a:pt x="8412" y="5230"/>
                </a:lnTo>
                <a:cubicBezTo>
                  <a:pt x="8412" y="5041"/>
                  <a:pt x="8570" y="4884"/>
                  <a:pt x="8790" y="4884"/>
                </a:cubicBezTo>
                <a:cubicBezTo>
                  <a:pt x="8979" y="4884"/>
                  <a:pt x="9137" y="5041"/>
                  <a:pt x="9137" y="5230"/>
                </a:cubicBezTo>
                <a:lnTo>
                  <a:pt x="9137" y="6616"/>
                </a:lnTo>
                <a:cubicBezTo>
                  <a:pt x="9137" y="6805"/>
                  <a:pt x="9294" y="6963"/>
                  <a:pt x="9483" y="6963"/>
                </a:cubicBezTo>
                <a:cubicBezTo>
                  <a:pt x="9672" y="6963"/>
                  <a:pt x="9830" y="6805"/>
                  <a:pt x="9830" y="6616"/>
                </a:cubicBezTo>
                <a:lnTo>
                  <a:pt x="9830" y="5955"/>
                </a:lnTo>
                <a:cubicBezTo>
                  <a:pt x="9704" y="5703"/>
                  <a:pt x="9861" y="5545"/>
                  <a:pt x="10019" y="5545"/>
                </a:cubicBezTo>
                <a:cubicBezTo>
                  <a:pt x="10239" y="5545"/>
                  <a:pt x="10397" y="5703"/>
                  <a:pt x="10397" y="5892"/>
                </a:cubicBezTo>
                <a:lnTo>
                  <a:pt x="10397" y="7057"/>
                </a:lnTo>
                <a:cubicBezTo>
                  <a:pt x="10397" y="8003"/>
                  <a:pt x="10176" y="8885"/>
                  <a:pt x="9830" y="9672"/>
                </a:cubicBezTo>
                <a:lnTo>
                  <a:pt x="6144" y="9672"/>
                </a:lnTo>
                <a:lnTo>
                  <a:pt x="3812" y="7372"/>
                </a:lnTo>
                <a:cubicBezTo>
                  <a:pt x="3686" y="7246"/>
                  <a:pt x="3686" y="6994"/>
                  <a:pt x="3812" y="6900"/>
                </a:cubicBezTo>
                <a:cubicBezTo>
                  <a:pt x="3875" y="6837"/>
                  <a:pt x="3962" y="6805"/>
                  <a:pt x="4049" y="6805"/>
                </a:cubicBezTo>
                <a:cubicBezTo>
                  <a:pt x="4135" y="6805"/>
                  <a:pt x="4222" y="6837"/>
                  <a:pt x="4285" y="6900"/>
                </a:cubicBezTo>
                <a:lnTo>
                  <a:pt x="5010" y="7593"/>
                </a:lnTo>
                <a:cubicBezTo>
                  <a:pt x="5075" y="7659"/>
                  <a:pt x="5163" y="7690"/>
                  <a:pt x="5251" y="7690"/>
                </a:cubicBezTo>
                <a:cubicBezTo>
                  <a:pt x="5415" y="7690"/>
                  <a:pt x="5577" y="7578"/>
                  <a:pt x="5577" y="7372"/>
                </a:cubicBezTo>
                <a:lnTo>
                  <a:pt x="5577" y="3182"/>
                </a:lnTo>
                <a:cubicBezTo>
                  <a:pt x="5577" y="2993"/>
                  <a:pt x="5734" y="2836"/>
                  <a:pt x="5955" y="2836"/>
                </a:cubicBezTo>
                <a:close/>
                <a:moveTo>
                  <a:pt x="9672" y="10302"/>
                </a:moveTo>
                <a:lnTo>
                  <a:pt x="9672" y="10680"/>
                </a:lnTo>
                <a:cubicBezTo>
                  <a:pt x="9704" y="10869"/>
                  <a:pt x="9546" y="11027"/>
                  <a:pt x="9357" y="11027"/>
                </a:cubicBezTo>
                <a:lnTo>
                  <a:pt x="6616" y="11027"/>
                </a:lnTo>
                <a:cubicBezTo>
                  <a:pt x="6396" y="11027"/>
                  <a:pt x="6238" y="10869"/>
                  <a:pt x="6238" y="10680"/>
                </a:cubicBezTo>
                <a:lnTo>
                  <a:pt x="6238" y="10302"/>
                </a:lnTo>
                <a:close/>
                <a:moveTo>
                  <a:pt x="347" y="0"/>
                </a:moveTo>
                <a:cubicBezTo>
                  <a:pt x="158" y="0"/>
                  <a:pt x="0" y="158"/>
                  <a:pt x="0" y="347"/>
                </a:cubicBezTo>
                <a:lnTo>
                  <a:pt x="0" y="1733"/>
                </a:lnTo>
                <a:cubicBezTo>
                  <a:pt x="0" y="1922"/>
                  <a:pt x="158" y="2080"/>
                  <a:pt x="347" y="2080"/>
                </a:cubicBezTo>
                <a:lnTo>
                  <a:pt x="693" y="2080"/>
                </a:lnTo>
                <a:lnTo>
                  <a:pt x="693" y="7593"/>
                </a:lnTo>
                <a:lnTo>
                  <a:pt x="347" y="7593"/>
                </a:lnTo>
                <a:cubicBezTo>
                  <a:pt x="158" y="7593"/>
                  <a:pt x="0" y="7751"/>
                  <a:pt x="0" y="7940"/>
                </a:cubicBezTo>
                <a:lnTo>
                  <a:pt x="0" y="9326"/>
                </a:lnTo>
                <a:cubicBezTo>
                  <a:pt x="0" y="9515"/>
                  <a:pt x="158" y="9672"/>
                  <a:pt x="347" y="9672"/>
                </a:cubicBezTo>
                <a:lnTo>
                  <a:pt x="1733" y="9672"/>
                </a:lnTo>
                <a:cubicBezTo>
                  <a:pt x="1922" y="9672"/>
                  <a:pt x="2080" y="9515"/>
                  <a:pt x="2080" y="9326"/>
                </a:cubicBezTo>
                <a:lnTo>
                  <a:pt x="2080" y="8979"/>
                </a:lnTo>
                <a:lnTo>
                  <a:pt x="4442" y="8979"/>
                </a:lnTo>
                <a:lnTo>
                  <a:pt x="5577" y="10113"/>
                </a:lnTo>
                <a:lnTo>
                  <a:pt x="5577" y="10712"/>
                </a:lnTo>
                <a:cubicBezTo>
                  <a:pt x="5577" y="11248"/>
                  <a:pt x="6049" y="11720"/>
                  <a:pt x="6616" y="11720"/>
                </a:cubicBezTo>
                <a:lnTo>
                  <a:pt x="9357" y="11720"/>
                </a:lnTo>
                <a:cubicBezTo>
                  <a:pt x="9924" y="11720"/>
                  <a:pt x="10397" y="11248"/>
                  <a:pt x="10397" y="10712"/>
                </a:cubicBezTo>
                <a:lnTo>
                  <a:pt x="10397" y="10113"/>
                </a:lnTo>
                <a:cubicBezTo>
                  <a:pt x="10806" y="9200"/>
                  <a:pt x="11058" y="8160"/>
                  <a:pt x="11058" y="7026"/>
                </a:cubicBezTo>
                <a:lnTo>
                  <a:pt x="11058" y="5892"/>
                </a:lnTo>
                <a:cubicBezTo>
                  <a:pt x="11058" y="5325"/>
                  <a:pt x="10617" y="4884"/>
                  <a:pt x="10019" y="4884"/>
                </a:cubicBezTo>
                <a:cubicBezTo>
                  <a:pt x="9924" y="4884"/>
                  <a:pt x="9767" y="4915"/>
                  <a:pt x="9641" y="4947"/>
                </a:cubicBezTo>
                <a:cubicBezTo>
                  <a:pt x="9546" y="4632"/>
                  <a:pt x="9326" y="4379"/>
                  <a:pt x="9011" y="4253"/>
                </a:cubicBezTo>
                <a:lnTo>
                  <a:pt x="9011" y="2080"/>
                </a:lnTo>
                <a:lnTo>
                  <a:pt x="9357" y="2080"/>
                </a:lnTo>
                <a:cubicBezTo>
                  <a:pt x="9546" y="2080"/>
                  <a:pt x="9735" y="1922"/>
                  <a:pt x="9735" y="1733"/>
                </a:cubicBezTo>
                <a:lnTo>
                  <a:pt x="9735" y="347"/>
                </a:lnTo>
                <a:cubicBezTo>
                  <a:pt x="9735" y="158"/>
                  <a:pt x="9546" y="0"/>
                  <a:pt x="9357" y="0"/>
                </a:cubicBezTo>
                <a:lnTo>
                  <a:pt x="7971" y="0"/>
                </a:lnTo>
                <a:cubicBezTo>
                  <a:pt x="7782" y="0"/>
                  <a:pt x="7624" y="158"/>
                  <a:pt x="7624" y="347"/>
                </a:cubicBezTo>
                <a:lnTo>
                  <a:pt x="7624" y="693"/>
                </a:lnTo>
                <a:lnTo>
                  <a:pt x="2080" y="693"/>
                </a:lnTo>
                <a:lnTo>
                  <a:pt x="2080" y="347"/>
                </a:lnTo>
                <a:cubicBezTo>
                  <a:pt x="2080" y="158"/>
                  <a:pt x="1922"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23" name="Google Shape;10923;p81"/>
          <p:cNvGrpSpPr/>
          <p:nvPr/>
        </p:nvGrpSpPr>
        <p:grpSpPr>
          <a:xfrm>
            <a:off x="7351871" y="2140413"/>
            <a:ext cx="420796" cy="420796"/>
            <a:chOff x="-2419325" y="2408150"/>
            <a:chExt cx="291450" cy="291450"/>
          </a:xfrm>
        </p:grpSpPr>
        <p:sp>
          <p:nvSpPr>
            <p:cNvPr id="10924" name="Google Shape;10924;p81"/>
            <p:cNvSpPr/>
            <p:nvPr/>
          </p:nvSpPr>
          <p:spPr>
            <a:xfrm>
              <a:off x="-2419325" y="2408150"/>
              <a:ext cx="291450" cy="291450"/>
            </a:xfrm>
            <a:custGeom>
              <a:avLst/>
              <a:gdLst/>
              <a:ahLst/>
              <a:cxnLst/>
              <a:rect l="l" t="t" r="r" b="b"/>
              <a:pathLst>
                <a:path w="11658" h="11658" extrusionOk="0">
                  <a:moveTo>
                    <a:pt x="8948" y="725"/>
                  </a:moveTo>
                  <a:lnTo>
                    <a:pt x="8948" y="2489"/>
                  </a:lnTo>
                  <a:lnTo>
                    <a:pt x="8948" y="10366"/>
                  </a:lnTo>
                  <a:cubicBezTo>
                    <a:pt x="8948" y="10586"/>
                    <a:pt x="9011" y="10838"/>
                    <a:pt x="9137" y="11027"/>
                  </a:cubicBezTo>
                  <a:lnTo>
                    <a:pt x="1733" y="11027"/>
                  </a:lnTo>
                  <a:cubicBezTo>
                    <a:pt x="1134" y="11027"/>
                    <a:pt x="662" y="10586"/>
                    <a:pt x="662" y="10019"/>
                  </a:cubicBezTo>
                  <a:lnTo>
                    <a:pt x="662" y="725"/>
                  </a:lnTo>
                  <a:close/>
                  <a:moveTo>
                    <a:pt x="11027" y="2836"/>
                  </a:moveTo>
                  <a:lnTo>
                    <a:pt x="11027" y="10366"/>
                  </a:lnTo>
                  <a:lnTo>
                    <a:pt x="10995" y="10366"/>
                  </a:lnTo>
                  <a:cubicBezTo>
                    <a:pt x="10995" y="10744"/>
                    <a:pt x="10680" y="11027"/>
                    <a:pt x="10334" y="11027"/>
                  </a:cubicBezTo>
                  <a:cubicBezTo>
                    <a:pt x="9987" y="11027"/>
                    <a:pt x="9672" y="10712"/>
                    <a:pt x="9672" y="10366"/>
                  </a:cubicBezTo>
                  <a:lnTo>
                    <a:pt x="9672" y="2836"/>
                  </a:lnTo>
                  <a:close/>
                  <a:moveTo>
                    <a:pt x="347" y="1"/>
                  </a:moveTo>
                  <a:cubicBezTo>
                    <a:pt x="158" y="1"/>
                    <a:pt x="0" y="158"/>
                    <a:pt x="0" y="347"/>
                  </a:cubicBezTo>
                  <a:lnTo>
                    <a:pt x="0" y="9956"/>
                  </a:lnTo>
                  <a:cubicBezTo>
                    <a:pt x="0" y="10901"/>
                    <a:pt x="756" y="11657"/>
                    <a:pt x="1702" y="11657"/>
                  </a:cubicBezTo>
                  <a:lnTo>
                    <a:pt x="10302" y="11657"/>
                  </a:lnTo>
                  <a:cubicBezTo>
                    <a:pt x="11027" y="11657"/>
                    <a:pt x="11657" y="11027"/>
                    <a:pt x="11657" y="10271"/>
                  </a:cubicBezTo>
                  <a:lnTo>
                    <a:pt x="11657" y="2395"/>
                  </a:lnTo>
                  <a:cubicBezTo>
                    <a:pt x="11657" y="2300"/>
                    <a:pt x="11500" y="2143"/>
                    <a:pt x="11342" y="2143"/>
                  </a:cubicBezTo>
                  <a:lnTo>
                    <a:pt x="9641" y="2143"/>
                  </a:lnTo>
                  <a:lnTo>
                    <a:pt x="9641" y="347"/>
                  </a:lnTo>
                  <a:cubicBezTo>
                    <a:pt x="9641" y="158"/>
                    <a:pt x="9483" y="1"/>
                    <a:pt x="9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81"/>
            <p:cNvSpPr/>
            <p:nvPr/>
          </p:nvSpPr>
          <p:spPr>
            <a:xfrm>
              <a:off x="-2385475" y="2444375"/>
              <a:ext cx="173325" cy="86675"/>
            </a:xfrm>
            <a:custGeom>
              <a:avLst/>
              <a:gdLst/>
              <a:ahLst/>
              <a:cxnLst/>
              <a:rect l="l" t="t" r="r" b="b"/>
              <a:pathLst>
                <a:path w="6933" h="3467" extrusionOk="0">
                  <a:moveTo>
                    <a:pt x="6207" y="694"/>
                  </a:moveTo>
                  <a:lnTo>
                    <a:pt x="6207" y="2742"/>
                  </a:lnTo>
                  <a:lnTo>
                    <a:pt x="694" y="2742"/>
                  </a:lnTo>
                  <a:lnTo>
                    <a:pt x="694" y="694"/>
                  </a:lnTo>
                  <a:close/>
                  <a:moveTo>
                    <a:pt x="348" y="1"/>
                  </a:moveTo>
                  <a:cubicBezTo>
                    <a:pt x="159" y="1"/>
                    <a:pt x="1" y="158"/>
                    <a:pt x="1" y="379"/>
                  </a:cubicBezTo>
                  <a:lnTo>
                    <a:pt x="1" y="3120"/>
                  </a:lnTo>
                  <a:cubicBezTo>
                    <a:pt x="1" y="3309"/>
                    <a:pt x="159" y="3466"/>
                    <a:pt x="348" y="3466"/>
                  </a:cubicBezTo>
                  <a:lnTo>
                    <a:pt x="6554" y="3466"/>
                  </a:lnTo>
                  <a:cubicBezTo>
                    <a:pt x="6775" y="3466"/>
                    <a:pt x="6932" y="3309"/>
                    <a:pt x="6932" y="3120"/>
                  </a:cubicBezTo>
                  <a:lnTo>
                    <a:pt x="6932" y="379"/>
                  </a:lnTo>
                  <a:cubicBezTo>
                    <a:pt x="6869" y="158"/>
                    <a:pt x="6712"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81"/>
            <p:cNvSpPr/>
            <p:nvPr/>
          </p:nvSpPr>
          <p:spPr>
            <a:xfrm>
              <a:off x="-2385475" y="2545975"/>
              <a:ext cx="86675" cy="86675"/>
            </a:xfrm>
            <a:custGeom>
              <a:avLst/>
              <a:gdLst/>
              <a:ahLst/>
              <a:cxnLst/>
              <a:rect l="l" t="t" r="r" b="b"/>
              <a:pathLst>
                <a:path w="3467" h="3467" extrusionOk="0">
                  <a:moveTo>
                    <a:pt x="2742" y="757"/>
                  </a:moveTo>
                  <a:lnTo>
                    <a:pt x="2742" y="2805"/>
                  </a:lnTo>
                  <a:lnTo>
                    <a:pt x="694" y="2805"/>
                  </a:lnTo>
                  <a:lnTo>
                    <a:pt x="694" y="757"/>
                  </a:lnTo>
                  <a:close/>
                  <a:moveTo>
                    <a:pt x="348" y="1"/>
                  </a:moveTo>
                  <a:cubicBezTo>
                    <a:pt x="159" y="1"/>
                    <a:pt x="1" y="158"/>
                    <a:pt x="1" y="347"/>
                  </a:cubicBezTo>
                  <a:lnTo>
                    <a:pt x="1" y="3120"/>
                  </a:lnTo>
                  <a:cubicBezTo>
                    <a:pt x="1" y="3309"/>
                    <a:pt x="159" y="3466"/>
                    <a:pt x="348" y="3466"/>
                  </a:cubicBezTo>
                  <a:lnTo>
                    <a:pt x="3088" y="3466"/>
                  </a:lnTo>
                  <a:cubicBezTo>
                    <a:pt x="3309" y="3466"/>
                    <a:pt x="3467" y="3309"/>
                    <a:pt x="3467" y="3120"/>
                  </a:cubicBezTo>
                  <a:lnTo>
                    <a:pt x="3467" y="347"/>
                  </a:lnTo>
                  <a:cubicBezTo>
                    <a:pt x="3467" y="158"/>
                    <a:pt x="3309"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81"/>
            <p:cNvSpPr/>
            <p:nvPr/>
          </p:nvSpPr>
          <p:spPr>
            <a:xfrm>
              <a:off x="-2281500" y="25467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553"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81"/>
            <p:cNvSpPr/>
            <p:nvPr/>
          </p:nvSpPr>
          <p:spPr>
            <a:xfrm>
              <a:off x="-2281500" y="2581425"/>
              <a:ext cx="69350" cy="18150"/>
            </a:xfrm>
            <a:custGeom>
              <a:avLst/>
              <a:gdLst/>
              <a:ahLst/>
              <a:cxnLst/>
              <a:rect l="l" t="t" r="r" b="b"/>
              <a:pathLst>
                <a:path w="2774" h="726" extrusionOk="0">
                  <a:moveTo>
                    <a:pt x="347" y="1"/>
                  </a:moveTo>
                  <a:cubicBezTo>
                    <a:pt x="158" y="1"/>
                    <a:pt x="1" y="158"/>
                    <a:pt x="1" y="347"/>
                  </a:cubicBezTo>
                  <a:cubicBezTo>
                    <a:pt x="1" y="568"/>
                    <a:pt x="158" y="725"/>
                    <a:pt x="347" y="725"/>
                  </a:cubicBezTo>
                  <a:lnTo>
                    <a:pt x="2395" y="725"/>
                  </a:lnTo>
                  <a:cubicBezTo>
                    <a:pt x="2616" y="725"/>
                    <a:pt x="2773" y="568"/>
                    <a:pt x="2773" y="347"/>
                  </a:cubicBezTo>
                  <a:cubicBezTo>
                    <a:pt x="2710" y="158"/>
                    <a:pt x="2553"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9" name="Google Shape;10929;p81"/>
            <p:cNvSpPr/>
            <p:nvPr/>
          </p:nvSpPr>
          <p:spPr>
            <a:xfrm>
              <a:off x="-2281500" y="2616075"/>
              <a:ext cx="69350" cy="17350"/>
            </a:xfrm>
            <a:custGeom>
              <a:avLst/>
              <a:gdLst/>
              <a:ahLst/>
              <a:cxnLst/>
              <a:rect l="l" t="t" r="r" b="b"/>
              <a:pathLst>
                <a:path w="2774" h="694" extrusionOk="0">
                  <a:moveTo>
                    <a:pt x="347" y="1"/>
                  </a:moveTo>
                  <a:cubicBezTo>
                    <a:pt x="158" y="1"/>
                    <a:pt x="1" y="158"/>
                    <a:pt x="1" y="347"/>
                  </a:cubicBezTo>
                  <a:cubicBezTo>
                    <a:pt x="1" y="536"/>
                    <a:pt x="158" y="694"/>
                    <a:pt x="347" y="694"/>
                  </a:cubicBezTo>
                  <a:lnTo>
                    <a:pt x="2395" y="694"/>
                  </a:lnTo>
                  <a:cubicBezTo>
                    <a:pt x="2616" y="694"/>
                    <a:pt x="2773" y="536"/>
                    <a:pt x="2773" y="347"/>
                  </a:cubicBezTo>
                  <a:cubicBezTo>
                    <a:pt x="2710" y="158"/>
                    <a:pt x="2553"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0" name="Google Shape;10930;p81"/>
            <p:cNvSpPr/>
            <p:nvPr/>
          </p:nvSpPr>
          <p:spPr>
            <a:xfrm>
              <a:off x="-2385475" y="2649150"/>
              <a:ext cx="173325" cy="18150"/>
            </a:xfrm>
            <a:custGeom>
              <a:avLst/>
              <a:gdLst/>
              <a:ahLst/>
              <a:cxnLst/>
              <a:rect l="l" t="t" r="r" b="b"/>
              <a:pathLst>
                <a:path w="6933" h="726" extrusionOk="0">
                  <a:moveTo>
                    <a:pt x="348" y="1"/>
                  </a:moveTo>
                  <a:cubicBezTo>
                    <a:pt x="159" y="1"/>
                    <a:pt x="1" y="159"/>
                    <a:pt x="1" y="379"/>
                  </a:cubicBezTo>
                  <a:cubicBezTo>
                    <a:pt x="1" y="568"/>
                    <a:pt x="159" y="726"/>
                    <a:pt x="348" y="726"/>
                  </a:cubicBezTo>
                  <a:lnTo>
                    <a:pt x="6554" y="726"/>
                  </a:lnTo>
                  <a:cubicBezTo>
                    <a:pt x="6775" y="726"/>
                    <a:pt x="6932" y="568"/>
                    <a:pt x="6932" y="379"/>
                  </a:cubicBezTo>
                  <a:cubicBezTo>
                    <a:pt x="6869" y="159"/>
                    <a:pt x="6712"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31" name="Google Shape;10931;p81"/>
          <p:cNvSpPr/>
          <p:nvPr/>
        </p:nvSpPr>
        <p:spPr>
          <a:xfrm>
            <a:off x="7362260" y="2659651"/>
            <a:ext cx="424188" cy="423069"/>
          </a:xfrm>
          <a:custGeom>
            <a:avLst/>
            <a:gdLst/>
            <a:ahLst/>
            <a:cxnLst/>
            <a:rect l="l" t="t" r="r" b="b"/>
            <a:pathLst>
              <a:path w="11752" h="11721" extrusionOk="0">
                <a:moveTo>
                  <a:pt x="6490" y="662"/>
                </a:moveTo>
                <a:cubicBezTo>
                  <a:pt x="6711" y="662"/>
                  <a:pt x="6868" y="820"/>
                  <a:pt x="6868" y="1009"/>
                </a:cubicBezTo>
                <a:lnTo>
                  <a:pt x="6868" y="1355"/>
                </a:lnTo>
                <a:lnTo>
                  <a:pt x="5167" y="1355"/>
                </a:lnTo>
                <a:cubicBezTo>
                  <a:pt x="4600" y="1355"/>
                  <a:pt x="4127" y="1828"/>
                  <a:pt x="4127" y="2395"/>
                </a:cubicBezTo>
                <a:lnTo>
                  <a:pt x="4127" y="2773"/>
                </a:lnTo>
                <a:lnTo>
                  <a:pt x="3088" y="2773"/>
                </a:lnTo>
                <a:cubicBezTo>
                  <a:pt x="2993" y="2773"/>
                  <a:pt x="2867" y="2836"/>
                  <a:pt x="2836" y="2899"/>
                </a:cubicBezTo>
                <a:lnTo>
                  <a:pt x="2048" y="3687"/>
                </a:lnTo>
                <a:lnTo>
                  <a:pt x="2048" y="3151"/>
                </a:lnTo>
                <a:cubicBezTo>
                  <a:pt x="2048" y="2931"/>
                  <a:pt x="1891" y="2773"/>
                  <a:pt x="1702" y="2773"/>
                </a:cubicBezTo>
                <a:lnTo>
                  <a:pt x="1040" y="2773"/>
                </a:lnTo>
                <a:cubicBezTo>
                  <a:pt x="819" y="2773"/>
                  <a:pt x="662" y="2616"/>
                  <a:pt x="662" y="2427"/>
                </a:cubicBezTo>
                <a:lnTo>
                  <a:pt x="662" y="1009"/>
                </a:lnTo>
                <a:cubicBezTo>
                  <a:pt x="662" y="820"/>
                  <a:pt x="819" y="662"/>
                  <a:pt x="1040" y="662"/>
                </a:cubicBezTo>
                <a:close/>
                <a:moveTo>
                  <a:pt x="10649" y="1986"/>
                </a:moveTo>
                <a:cubicBezTo>
                  <a:pt x="10838" y="1986"/>
                  <a:pt x="10995" y="2143"/>
                  <a:pt x="10995" y="2364"/>
                </a:cubicBezTo>
                <a:lnTo>
                  <a:pt x="10995" y="3781"/>
                </a:lnTo>
                <a:cubicBezTo>
                  <a:pt x="10995" y="3970"/>
                  <a:pt x="10838" y="4128"/>
                  <a:pt x="10649" y="4128"/>
                </a:cubicBezTo>
                <a:lnTo>
                  <a:pt x="8601" y="4128"/>
                </a:lnTo>
                <a:cubicBezTo>
                  <a:pt x="8412" y="4128"/>
                  <a:pt x="8255" y="4285"/>
                  <a:pt x="8255" y="4474"/>
                </a:cubicBezTo>
                <a:lnTo>
                  <a:pt x="8255" y="5041"/>
                </a:lnTo>
                <a:lnTo>
                  <a:pt x="7404" y="4191"/>
                </a:lnTo>
                <a:cubicBezTo>
                  <a:pt x="7372" y="4159"/>
                  <a:pt x="7246" y="4128"/>
                  <a:pt x="7183" y="4128"/>
                </a:cubicBezTo>
                <a:lnTo>
                  <a:pt x="5136" y="4128"/>
                </a:lnTo>
                <a:cubicBezTo>
                  <a:pt x="4947" y="4128"/>
                  <a:pt x="4789" y="3970"/>
                  <a:pt x="4789" y="3781"/>
                </a:cubicBezTo>
                <a:lnTo>
                  <a:pt x="4789" y="2364"/>
                </a:lnTo>
                <a:cubicBezTo>
                  <a:pt x="4789" y="2143"/>
                  <a:pt x="4947" y="1986"/>
                  <a:pt x="5136" y="1986"/>
                </a:cubicBezTo>
                <a:close/>
                <a:moveTo>
                  <a:pt x="3088" y="6207"/>
                </a:moveTo>
                <a:cubicBezTo>
                  <a:pt x="3623" y="6207"/>
                  <a:pt x="4096" y="6680"/>
                  <a:pt x="4096" y="7247"/>
                </a:cubicBezTo>
                <a:cubicBezTo>
                  <a:pt x="4096" y="7782"/>
                  <a:pt x="3623" y="8255"/>
                  <a:pt x="3088" y="8255"/>
                </a:cubicBezTo>
                <a:cubicBezTo>
                  <a:pt x="2521" y="8255"/>
                  <a:pt x="2048" y="7782"/>
                  <a:pt x="2048" y="7247"/>
                </a:cubicBezTo>
                <a:cubicBezTo>
                  <a:pt x="2048" y="6648"/>
                  <a:pt x="2489" y="6207"/>
                  <a:pt x="3088" y="6207"/>
                </a:cubicBezTo>
                <a:close/>
                <a:moveTo>
                  <a:pt x="8601" y="6207"/>
                </a:moveTo>
                <a:cubicBezTo>
                  <a:pt x="9137" y="6207"/>
                  <a:pt x="9609" y="6648"/>
                  <a:pt x="9609" y="7247"/>
                </a:cubicBezTo>
                <a:cubicBezTo>
                  <a:pt x="9609" y="7782"/>
                  <a:pt x="9137" y="8255"/>
                  <a:pt x="8601" y="8255"/>
                </a:cubicBezTo>
                <a:cubicBezTo>
                  <a:pt x="8003" y="8255"/>
                  <a:pt x="7530" y="7782"/>
                  <a:pt x="7530" y="7247"/>
                </a:cubicBezTo>
                <a:cubicBezTo>
                  <a:pt x="7530" y="6680"/>
                  <a:pt x="8003" y="6207"/>
                  <a:pt x="8601" y="6207"/>
                </a:cubicBezTo>
                <a:close/>
                <a:moveTo>
                  <a:pt x="3749" y="8980"/>
                </a:moveTo>
                <a:cubicBezTo>
                  <a:pt x="4695" y="8980"/>
                  <a:pt x="5451" y="9704"/>
                  <a:pt x="5451" y="10649"/>
                </a:cubicBezTo>
                <a:lnTo>
                  <a:pt x="5451" y="11027"/>
                </a:lnTo>
                <a:lnTo>
                  <a:pt x="630" y="11027"/>
                </a:lnTo>
                <a:lnTo>
                  <a:pt x="630" y="10649"/>
                </a:lnTo>
                <a:lnTo>
                  <a:pt x="662" y="10649"/>
                </a:lnTo>
                <a:cubicBezTo>
                  <a:pt x="662" y="9704"/>
                  <a:pt x="1418" y="8980"/>
                  <a:pt x="2363" y="8980"/>
                </a:cubicBezTo>
                <a:close/>
                <a:moveTo>
                  <a:pt x="9369" y="8976"/>
                </a:moveTo>
                <a:cubicBezTo>
                  <a:pt x="10266" y="8976"/>
                  <a:pt x="10995" y="9740"/>
                  <a:pt x="10995" y="10649"/>
                </a:cubicBezTo>
                <a:lnTo>
                  <a:pt x="10995" y="11027"/>
                </a:lnTo>
                <a:lnTo>
                  <a:pt x="6144" y="11027"/>
                </a:lnTo>
                <a:lnTo>
                  <a:pt x="6144" y="10649"/>
                </a:lnTo>
                <a:cubicBezTo>
                  <a:pt x="6144" y="9704"/>
                  <a:pt x="6900" y="8980"/>
                  <a:pt x="7845" y="8980"/>
                </a:cubicBezTo>
                <a:lnTo>
                  <a:pt x="9263" y="8980"/>
                </a:lnTo>
                <a:cubicBezTo>
                  <a:pt x="9298" y="8977"/>
                  <a:pt x="9334" y="8976"/>
                  <a:pt x="9369" y="8976"/>
                </a:cubicBezTo>
                <a:close/>
                <a:moveTo>
                  <a:pt x="1040" y="1"/>
                </a:moveTo>
                <a:cubicBezTo>
                  <a:pt x="473" y="1"/>
                  <a:pt x="0" y="473"/>
                  <a:pt x="0" y="1009"/>
                </a:cubicBezTo>
                <a:lnTo>
                  <a:pt x="0" y="2427"/>
                </a:lnTo>
                <a:cubicBezTo>
                  <a:pt x="0" y="2994"/>
                  <a:pt x="473" y="3466"/>
                  <a:pt x="1040" y="3466"/>
                </a:cubicBezTo>
                <a:lnTo>
                  <a:pt x="1386" y="3466"/>
                </a:lnTo>
                <a:lnTo>
                  <a:pt x="1386" y="4474"/>
                </a:lnTo>
                <a:cubicBezTo>
                  <a:pt x="1386" y="4688"/>
                  <a:pt x="1546" y="4829"/>
                  <a:pt x="1727" y="4829"/>
                </a:cubicBezTo>
                <a:cubicBezTo>
                  <a:pt x="1813" y="4829"/>
                  <a:pt x="1904" y="4797"/>
                  <a:pt x="1985" y="4726"/>
                </a:cubicBezTo>
                <a:lnTo>
                  <a:pt x="3245" y="3466"/>
                </a:lnTo>
                <a:lnTo>
                  <a:pt x="4096" y="3466"/>
                </a:lnTo>
                <a:lnTo>
                  <a:pt x="4096" y="3813"/>
                </a:lnTo>
                <a:cubicBezTo>
                  <a:pt x="4096" y="4348"/>
                  <a:pt x="4568" y="4821"/>
                  <a:pt x="5136" y="4821"/>
                </a:cubicBezTo>
                <a:lnTo>
                  <a:pt x="7057" y="4821"/>
                </a:lnTo>
                <a:lnTo>
                  <a:pt x="7908" y="5672"/>
                </a:lnTo>
                <a:cubicBezTo>
                  <a:pt x="7341" y="5924"/>
                  <a:pt x="6868" y="6522"/>
                  <a:pt x="6868" y="7247"/>
                </a:cubicBezTo>
                <a:cubicBezTo>
                  <a:pt x="6868" y="7625"/>
                  <a:pt x="7026" y="8034"/>
                  <a:pt x="7278" y="8349"/>
                </a:cubicBezTo>
                <a:cubicBezTo>
                  <a:pt x="6648" y="8507"/>
                  <a:pt x="6144" y="8885"/>
                  <a:pt x="5829" y="9452"/>
                </a:cubicBezTo>
                <a:cubicBezTo>
                  <a:pt x="5514" y="8917"/>
                  <a:pt x="5010" y="8539"/>
                  <a:pt x="4411" y="8381"/>
                </a:cubicBezTo>
                <a:cubicBezTo>
                  <a:pt x="4663" y="8066"/>
                  <a:pt x="4821" y="7719"/>
                  <a:pt x="4821" y="7278"/>
                </a:cubicBezTo>
                <a:cubicBezTo>
                  <a:pt x="4821" y="6333"/>
                  <a:pt x="4064" y="5577"/>
                  <a:pt x="3119" y="5577"/>
                </a:cubicBezTo>
                <a:cubicBezTo>
                  <a:pt x="2174" y="5577"/>
                  <a:pt x="1418" y="6333"/>
                  <a:pt x="1418" y="7278"/>
                </a:cubicBezTo>
                <a:cubicBezTo>
                  <a:pt x="1418" y="7719"/>
                  <a:pt x="1576" y="8097"/>
                  <a:pt x="1828" y="8381"/>
                </a:cubicBezTo>
                <a:cubicBezTo>
                  <a:pt x="788" y="8665"/>
                  <a:pt x="32" y="9610"/>
                  <a:pt x="32" y="10712"/>
                </a:cubicBezTo>
                <a:lnTo>
                  <a:pt x="32" y="11374"/>
                </a:lnTo>
                <a:cubicBezTo>
                  <a:pt x="32" y="11563"/>
                  <a:pt x="189" y="11721"/>
                  <a:pt x="410" y="11721"/>
                </a:cubicBezTo>
                <a:lnTo>
                  <a:pt x="11374" y="11721"/>
                </a:lnTo>
                <a:cubicBezTo>
                  <a:pt x="11594" y="11721"/>
                  <a:pt x="11752" y="11563"/>
                  <a:pt x="11752" y="11374"/>
                </a:cubicBezTo>
                <a:lnTo>
                  <a:pt x="11752" y="10712"/>
                </a:lnTo>
                <a:cubicBezTo>
                  <a:pt x="11752" y="9610"/>
                  <a:pt x="10995" y="8665"/>
                  <a:pt x="9956" y="8381"/>
                </a:cubicBezTo>
                <a:cubicBezTo>
                  <a:pt x="10208" y="8066"/>
                  <a:pt x="10365" y="7719"/>
                  <a:pt x="10365" y="7278"/>
                </a:cubicBezTo>
                <a:cubicBezTo>
                  <a:pt x="10365" y="6459"/>
                  <a:pt x="9767" y="5735"/>
                  <a:pt x="8979" y="5577"/>
                </a:cubicBezTo>
                <a:lnTo>
                  <a:pt x="8979" y="4884"/>
                </a:lnTo>
                <a:lnTo>
                  <a:pt x="10649" y="4884"/>
                </a:lnTo>
                <a:lnTo>
                  <a:pt x="10649" y="4821"/>
                </a:lnTo>
                <a:cubicBezTo>
                  <a:pt x="11185" y="4821"/>
                  <a:pt x="11657" y="4348"/>
                  <a:pt x="11657" y="3813"/>
                </a:cubicBezTo>
                <a:lnTo>
                  <a:pt x="11657" y="2395"/>
                </a:lnTo>
                <a:cubicBezTo>
                  <a:pt x="11657" y="1828"/>
                  <a:pt x="11185" y="1355"/>
                  <a:pt x="10649" y="1355"/>
                </a:cubicBezTo>
                <a:lnTo>
                  <a:pt x="7530" y="1355"/>
                </a:lnTo>
                <a:lnTo>
                  <a:pt x="7530" y="1009"/>
                </a:lnTo>
                <a:cubicBezTo>
                  <a:pt x="7530" y="473"/>
                  <a:pt x="7057" y="1"/>
                  <a:pt x="6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32" name="Google Shape;10932;p81"/>
          <p:cNvGrpSpPr/>
          <p:nvPr/>
        </p:nvGrpSpPr>
        <p:grpSpPr>
          <a:xfrm>
            <a:off x="4673396" y="3231514"/>
            <a:ext cx="420796" cy="421914"/>
            <a:chOff x="-1333200" y="2770450"/>
            <a:chExt cx="291450" cy="292225"/>
          </a:xfrm>
        </p:grpSpPr>
        <p:sp>
          <p:nvSpPr>
            <p:cNvPr id="10933" name="Google Shape;10933;p81"/>
            <p:cNvSpPr/>
            <p:nvPr/>
          </p:nvSpPr>
          <p:spPr>
            <a:xfrm>
              <a:off x="-1299325" y="2808250"/>
              <a:ext cx="222925" cy="134725"/>
            </a:xfrm>
            <a:custGeom>
              <a:avLst/>
              <a:gdLst/>
              <a:ahLst/>
              <a:cxnLst/>
              <a:rect l="l" t="t" r="r" b="b"/>
              <a:pathLst>
                <a:path w="8917" h="5389" extrusionOk="0">
                  <a:moveTo>
                    <a:pt x="7877" y="631"/>
                  </a:moveTo>
                  <a:cubicBezTo>
                    <a:pt x="8066" y="631"/>
                    <a:pt x="8223" y="789"/>
                    <a:pt x="8223" y="978"/>
                  </a:cubicBezTo>
                  <a:cubicBezTo>
                    <a:pt x="8223" y="1167"/>
                    <a:pt x="8066" y="1324"/>
                    <a:pt x="7877" y="1324"/>
                  </a:cubicBezTo>
                  <a:cubicBezTo>
                    <a:pt x="7656" y="1324"/>
                    <a:pt x="7498" y="1167"/>
                    <a:pt x="7498" y="978"/>
                  </a:cubicBezTo>
                  <a:cubicBezTo>
                    <a:pt x="7498" y="789"/>
                    <a:pt x="7656" y="631"/>
                    <a:pt x="7877" y="631"/>
                  </a:cubicBezTo>
                  <a:close/>
                  <a:moveTo>
                    <a:pt x="3056" y="1293"/>
                  </a:moveTo>
                  <a:cubicBezTo>
                    <a:pt x="3245" y="1293"/>
                    <a:pt x="3403" y="1450"/>
                    <a:pt x="3403" y="1639"/>
                  </a:cubicBezTo>
                  <a:cubicBezTo>
                    <a:pt x="3403" y="1828"/>
                    <a:pt x="3245" y="1986"/>
                    <a:pt x="3056" y="1986"/>
                  </a:cubicBezTo>
                  <a:cubicBezTo>
                    <a:pt x="2867" y="1986"/>
                    <a:pt x="2710" y="1828"/>
                    <a:pt x="2710" y="1639"/>
                  </a:cubicBezTo>
                  <a:cubicBezTo>
                    <a:pt x="2741" y="1450"/>
                    <a:pt x="2899" y="1293"/>
                    <a:pt x="3056" y="1293"/>
                  </a:cubicBezTo>
                  <a:close/>
                  <a:moveTo>
                    <a:pt x="5797" y="3340"/>
                  </a:moveTo>
                  <a:cubicBezTo>
                    <a:pt x="6018" y="3340"/>
                    <a:pt x="6175" y="3498"/>
                    <a:pt x="6175" y="3687"/>
                  </a:cubicBezTo>
                  <a:cubicBezTo>
                    <a:pt x="6175" y="3876"/>
                    <a:pt x="6018" y="4034"/>
                    <a:pt x="5797" y="4034"/>
                  </a:cubicBezTo>
                  <a:cubicBezTo>
                    <a:pt x="5608" y="4034"/>
                    <a:pt x="5451" y="3876"/>
                    <a:pt x="5451" y="3687"/>
                  </a:cubicBezTo>
                  <a:cubicBezTo>
                    <a:pt x="5451" y="3498"/>
                    <a:pt x="5608" y="3340"/>
                    <a:pt x="5797" y="3340"/>
                  </a:cubicBezTo>
                  <a:close/>
                  <a:moveTo>
                    <a:pt x="1008" y="4034"/>
                  </a:moveTo>
                  <a:cubicBezTo>
                    <a:pt x="1198" y="4034"/>
                    <a:pt x="1355" y="4191"/>
                    <a:pt x="1355" y="4412"/>
                  </a:cubicBezTo>
                  <a:cubicBezTo>
                    <a:pt x="1355" y="4601"/>
                    <a:pt x="1198" y="4758"/>
                    <a:pt x="1008" y="4758"/>
                  </a:cubicBezTo>
                  <a:cubicBezTo>
                    <a:pt x="819" y="4758"/>
                    <a:pt x="662" y="4601"/>
                    <a:pt x="662" y="4412"/>
                  </a:cubicBezTo>
                  <a:cubicBezTo>
                    <a:pt x="662" y="4191"/>
                    <a:pt x="819" y="4034"/>
                    <a:pt x="1008" y="4034"/>
                  </a:cubicBezTo>
                  <a:close/>
                  <a:moveTo>
                    <a:pt x="7908" y="1"/>
                  </a:moveTo>
                  <a:cubicBezTo>
                    <a:pt x="7341" y="1"/>
                    <a:pt x="6868" y="474"/>
                    <a:pt x="6868" y="1009"/>
                  </a:cubicBezTo>
                  <a:cubicBezTo>
                    <a:pt x="6868" y="1198"/>
                    <a:pt x="6963" y="1419"/>
                    <a:pt x="7026" y="1576"/>
                  </a:cubicBezTo>
                  <a:lnTo>
                    <a:pt x="6112" y="2742"/>
                  </a:lnTo>
                  <a:cubicBezTo>
                    <a:pt x="6032" y="2722"/>
                    <a:pt x="5943" y="2711"/>
                    <a:pt x="5850" y="2711"/>
                  </a:cubicBezTo>
                  <a:cubicBezTo>
                    <a:pt x="5650" y="2711"/>
                    <a:pt x="5434" y="2760"/>
                    <a:pt x="5262" y="2868"/>
                  </a:cubicBezTo>
                  <a:lnTo>
                    <a:pt x="4096" y="1954"/>
                  </a:lnTo>
                  <a:cubicBezTo>
                    <a:pt x="4127" y="1891"/>
                    <a:pt x="4127" y="1765"/>
                    <a:pt x="4127" y="1639"/>
                  </a:cubicBezTo>
                  <a:cubicBezTo>
                    <a:pt x="4127" y="1104"/>
                    <a:pt x="3655" y="631"/>
                    <a:pt x="3088" y="631"/>
                  </a:cubicBezTo>
                  <a:cubicBezTo>
                    <a:pt x="2552" y="631"/>
                    <a:pt x="2080" y="1104"/>
                    <a:pt x="2080" y="1639"/>
                  </a:cubicBezTo>
                  <a:cubicBezTo>
                    <a:pt x="2080" y="1828"/>
                    <a:pt x="2143" y="2049"/>
                    <a:pt x="2237" y="2206"/>
                  </a:cubicBezTo>
                  <a:lnTo>
                    <a:pt x="1324" y="3372"/>
                  </a:lnTo>
                  <a:cubicBezTo>
                    <a:pt x="1261" y="3340"/>
                    <a:pt x="1134" y="3340"/>
                    <a:pt x="1008" y="3340"/>
                  </a:cubicBezTo>
                  <a:cubicBezTo>
                    <a:pt x="441" y="3340"/>
                    <a:pt x="0" y="3813"/>
                    <a:pt x="0" y="4349"/>
                  </a:cubicBezTo>
                  <a:cubicBezTo>
                    <a:pt x="0" y="4947"/>
                    <a:pt x="441" y="5388"/>
                    <a:pt x="1008" y="5388"/>
                  </a:cubicBezTo>
                  <a:cubicBezTo>
                    <a:pt x="1576" y="5388"/>
                    <a:pt x="2017" y="4916"/>
                    <a:pt x="2017" y="4349"/>
                  </a:cubicBezTo>
                  <a:cubicBezTo>
                    <a:pt x="2017" y="4160"/>
                    <a:pt x="1954" y="3971"/>
                    <a:pt x="1859" y="3813"/>
                  </a:cubicBezTo>
                  <a:lnTo>
                    <a:pt x="2773" y="2616"/>
                  </a:lnTo>
                  <a:cubicBezTo>
                    <a:pt x="2875" y="2650"/>
                    <a:pt x="2980" y="2667"/>
                    <a:pt x="3087" y="2667"/>
                  </a:cubicBezTo>
                  <a:cubicBezTo>
                    <a:pt x="3278" y="2667"/>
                    <a:pt x="3473" y="2611"/>
                    <a:pt x="3655" y="2490"/>
                  </a:cubicBezTo>
                  <a:lnTo>
                    <a:pt x="4821" y="3403"/>
                  </a:lnTo>
                  <a:cubicBezTo>
                    <a:pt x="4789" y="3498"/>
                    <a:pt x="4789" y="3624"/>
                    <a:pt x="4789" y="3719"/>
                  </a:cubicBezTo>
                  <a:cubicBezTo>
                    <a:pt x="4789" y="4286"/>
                    <a:pt x="5262" y="4758"/>
                    <a:pt x="5797" y="4758"/>
                  </a:cubicBezTo>
                  <a:cubicBezTo>
                    <a:pt x="6364" y="4758"/>
                    <a:pt x="6837" y="4286"/>
                    <a:pt x="6837" y="3719"/>
                  </a:cubicBezTo>
                  <a:cubicBezTo>
                    <a:pt x="6837" y="3529"/>
                    <a:pt x="6742" y="3340"/>
                    <a:pt x="6679" y="3183"/>
                  </a:cubicBezTo>
                  <a:lnTo>
                    <a:pt x="7593" y="1986"/>
                  </a:lnTo>
                  <a:cubicBezTo>
                    <a:pt x="7656" y="2049"/>
                    <a:pt x="7782" y="2049"/>
                    <a:pt x="7908" y="2049"/>
                  </a:cubicBezTo>
                  <a:cubicBezTo>
                    <a:pt x="8444" y="2049"/>
                    <a:pt x="8916" y="1576"/>
                    <a:pt x="8916" y="1009"/>
                  </a:cubicBezTo>
                  <a:cubicBezTo>
                    <a:pt x="8916" y="474"/>
                    <a:pt x="8444" y="1"/>
                    <a:pt x="79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4" name="Google Shape;10934;p81"/>
            <p:cNvSpPr/>
            <p:nvPr/>
          </p:nvSpPr>
          <p:spPr>
            <a:xfrm>
              <a:off x="-1333200" y="2770450"/>
              <a:ext cx="291450" cy="292225"/>
            </a:xfrm>
            <a:custGeom>
              <a:avLst/>
              <a:gdLst/>
              <a:ahLst/>
              <a:cxnLst/>
              <a:rect l="l" t="t" r="r" b="b"/>
              <a:pathLst>
                <a:path w="11658" h="11689" extrusionOk="0">
                  <a:moveTo>
                    <a:pt x="10586" y="725"/>
                  </a:moveTo>
                  <a:cubicBezTo>
                    <a:pt x="10807" y="725"/>
                    <a:pt x="10964" y="883"/>
                    <a:pt x="10964" y="1072"/>
                  </a:cubicBezTo>
                  <a:lnTo>
                    <a:pt x="10964" y="7593"/>
                  </a:lnTo>
                  <a:lnTo>
                    <a:pt x="631" y="7593"/>
                  </a:lnTo>
                  <a:lnTo>
                    <a:pt x="631" y="1072"/>
                  </a:lnTo>
                  <a:cubicBezTo>
                    <a:pt x="662" y="883"/>
                    <a:pt x="820" y="725"/>
                    <a:pt x="977" y="725"/>
                  </a:cubicBezTo>
                  <a:close/>
                  <a:moveTo>
                    <a:pt x="10996" y="8286"/>
                  </a:moveTo>
                  <a:lnTo>
                    <a:pt x="10996" y="8633"/>
                  </a:lnTo>
                  <a:cubicBezTo>
                    <a:pt x="10996" y="8822"/>
                    <a:pt x="10838" y="8980"/>
                    <a:pt x="10618" y="8980"/>
                  </a:cubicBezTo>
                  <a:lnTo>
                    <a:pt x="1009" y="8980"/>
                  </a:lnTo>
                  <a:cubicBezTo>
                    <a:pt x="820" y="8980"/>
                    <a:pt x="662" y="8822"/>
                    <a:pt x="662" y="8633"/>
                  </a:cubicBezTo>
                  <a:lnTo>
                    <a:pt x="662" y="8286"/>
                  </a:lnTo>
                  <a:close/>
                  <a:moveTo>
                    <a:pt x="6617" y="9641"/>
                  </a:moveTo>
                  <a:lnTo>
                    <a:pt x="6932" y="11027"/>
                  </a:lnTo>
                  <a:lnTo>
                    <a:pt x="4632" y="11027"/>
                  </a:lnTo>
                  <a:lnTo>
                    <a:pt x="4947" y="9641"/>
                  </a:lnTo>
                  <a:close/>
                  <a:moveTo>
                    <a:pt x="1009" y="1"/>
                  </a:moveTo>
                  <a:cubicBezTo>
                    <a:pt x="473" y="1"/>
                    <a:pt x="1" y="473"/>
                    <a:pt x="1" y="1040"/>
                  </a:cubicBezTo>
                  <a:lnTo>
                    <a:pt x="1" y="8570"/>
                  </a:lnTo>
                  <a:cubicBezTo>
                    <a:pt x="1" y="9137"/>
                    <a:pt x="473" y="9610"/>
                    <a:pt x="1009" y="9610"/>
                  </a:cubicBezTo>
                  <a:lnTo>
                    <a:pt x="4285" y="9610"/>
                  </a:lnTo>
                  <a:lnTo>
                    <a:pt x="3970" y="10996"/>
                  </a:lnTo>
                  <a:lnTo>
                    <a:pt x="3057" y="10996"/>
                  </a:lnTo>
                  <a:cubicBezTo>
                    <a:pt x="2868" y="10996"/>
                    <a:pt x="2710" y="11153"/>
                    <a:pt x="2710" y="11342"/>
                  </a:cubicBezTo>
                  <a:cubicBezTo>
                    <a:pt x="2710" y="11531"/>
                    <a:pt x="2868" y="11689"/>
                    <a:pt x="3057" y="11689"/>
                  </a:cubicBezTo>
                  <a:lnTo>
                    <a:pt x="8538" y="11689"/>
                  </a:lnTo>
                  <a:cubicBezTo>
                    <a:pt x="8727" y="11689"/>
                    <a:pt x="8885" y="11531"/>
                    <a:pt x="8885" y="11342"/>
                  </a:cubicBezTo>
                  <a:cubicBezTo>
                    <a:pt x="8885" y="11153"/>
                    <a:pt x="8727" y="10996"/>
                    <a:pt x="8538" y="10996"/>
                  </a:cubicBezTo>
                  <a:lnTo>
                    <a:pt x="7625" y="10996"/>
                  </a:lnTo>
                  <a:lnTo>
                    <a:pt x="7310" y="9610"/>
                  </a:lnTo>
                  <a:lnTo>
                    <a:pt x="10618" y="9610"/>
                  </a:lnTo>
                  <a:cubicBezTo>
                    <a:pt x="11185" y="9610"/>
                    <a:pt x="11657" y="9137"/>
                    <a:pt x="11657" y="8570"/>
                  </a:cubicBezTo>
                  <a:lnTo>
                    <a:pt x="11657" y="1040"/>
                  </a:lnTo>
                  <a:cubicBezTo>
                    <a:pt x="11657" y="473"/>
                    <a:pt x="11185" y="1"/>
                    <a:pt x="10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5" name="Google Shape;10935;p81"/>
          <p:cNvGrpSpPr/>
          <p:nvPr/>
        </p:nvGrpSpPr>
        <p:grpSpPr>
          <a:xfrm>
            <a:off x="2470009" y="1631256"/>
            <a:ext cx="423069" cy="420796"/>
            <a:chOff x="-5635200" y="2037975"/>
            <a:chExt cx="293025" cy="291450"/>
          </a:xfrm>
        </p:grpSpPr>
        <p:sp>
          <p:nvSpPr>
            <p:cNvPr id="10936" name="Google Shape;10936;p81"/>
            <p:cNvSpPr/>
            <p:nvPr/>
          </p:nvSpPr>
          <p:spPr>
            <a:xfrm>
              <a:off x="-5635200" y="2037975"/>
              <a:ext cx="293025" cy="291450"/>
            </a:xfrm>
            <a:custGeom>
              <a:avLst/>
              <a:gdLst/>
              <a:ahLst/>
              <a:cxnLst/>
              <a:rect l="l" t="t" r="r" b="b"/>
              <a:pathLst>
                <a:path w="11721" h="11658" extrusionOk="0">
                  <a:moveTo>
                    <a:pt x="2395" y="725"/>
                  </a:moveTo>
                  <a:cubicBezTo>
                    <a:pt x="2930" y="725"/>
                    <a:pt x="3403" y="1197"/>
                    <a:pt x="3403" y="1733"/>
                  </a:cubicBezTo>
                  <a:cubicBezTo>
                    <a:pt x="3403" y="2300"/>
                    <a:pt x="2930" y="2773"/>
                    <a:pt x="2395" y="2773"/>
                  </a:cubicBezTo>
                  <a:cubicBezTo>
                    <a:pt x="1828" y="2773"/>
                    <a:pt x="1355" y="2300"/>
                    <a:pt x="1355" y="1733"/>
                  </a:cubicBezTo>
                  <a:cubicBezTo>
                    <a:pt x="1355" y="1197"/>
                    <a:pt x="1828" y="725"/>
                    <a:pt x="2395" y="725"/>
                  </a:cubicBezTo>
                  <a:close/>
                  <a:moveTo>
                    <a:pt x="10303" y="725"/>
                  </a:moveTo>
                  <a:lnTo>
                    <a:pt x="10303" y="6585"/>
                  </a:lnTo>
                  <a:lnTo>
                    <a:pt x="10334" y="6585"/>
                  </a:lnTo>
                  <a:cubicBezTo>
                    <a:pt x="10334" y="6774"/>
                    <a:pt x="10177" y="6931"/>
                    <a:pt x="9988" y="6931"/>
                  </a:cubicBezTo>
                  <a:lnTo>
                    <a:pt x="4789" y="6931"/>
                  </a:lnTo>
                  <a:lnTo>
                    <a:pt x="4789" y="5167"/>
                  </a:lnTo>
                  <a:cubicBezTo>
                    <a:pt x="4789" y="4253"/>
                    <a:pt x="4285" y="3434"/>
                    <a:pt x="3498" y="3025"/>
                  </a:cubicBezTo>
                  <a:cubicBezTo>
                    <a:pt x="3844" y="2710"/>
                    <a:pt x="4096" y="2237"/>
                    <a:pt x="4096" y="1733"/>
                  </a:cubicBezTo>
                  <a:cubicBezTo>
                    <a:pt x="4096" y="1355"/>
                    <a:pt x="3970" y="977"/>
                    <a:pt x="3718" y="725"/>
                  </a:cubicBezTo>
                  <a:close/>
                  <a:moveTo>
                    <a:pt x="2710" y="3466"/>
                  </a:moveTo>
                  <a:cubicBezTo>
                    <a:pt x="3498" y="3623"/>
                    <a:pt x="4096" y="4316"/>
                    <a:pt x="4096" y="5167"/>
                  </a:cubicBezTo>
                  <a:lnTo>
                    <a:pt x="4096" y="7246"/>
                  </a:lnTo>
                  <a:cubicBezTo>
                    <a:pt x="4128" y="7435"/>
                    <a:pt x="3970" y="7593"/>
                    <a:pt x="3750" y="7593"/>
                  </a:cubicBezTo>
                  <a:cubicBezTo>
                    <a:pt x="3561" y="7593"/>
                    <a:pt x="3403" y="7750"/>
                    <a:pt x="3403" y="7971"/>
                  </a:cubicBezTo>
                  <a:lnTo>
                    <a:pt x="3403" y="10712"/>
                  </a:lnTo>
                  <a:cubicBezTo>
                    <a:pt x="3403" y="10901"/>
                    <a:pt x="3246" y="11058"/>
                    <a:pt x="3056" y="11058"/>
                  </a:cubicBezTo>
                  <a:lnTo>
                    <a:pt x="1670" y="11058"/>
                  </a:lnTo>
                  <a:cubicBezTo>
                    <a:pt x="1481" y="11058"/>
                    <a:pt x="1324" y="10901"/>
                    <a:pt x="1324" y="10712"/>
                  </a:cubicBezTo>
                  <a:lnTo>
                    <a:pt x="1324" y="7971"/>
                  </a:lnTo>
                  <a:cubicBezTo>
                    <a:pt x="1324" y="7750"/>
                    <a:pt x="1166" y="7593"/>
                    <a:pt x="977" y="7593"/>
                  </a:cubicBezTo>
                  <a:cubicBezTo>
                    <a:pt x="788" y="7593"/>
                    <a:pt x="631" y="7435"/>
                    <a:pt x="631" y="7246"/>
                  </a:cubicBezTo>
                  <a:lnTo>
                    <a:pt x="631" y="5167"/>
                  </a:lnTo>
                  <a:cubicBezTo>
                    <a:pt x="631" y="4316"/>
                    <a:pt x="1198" y="3623"/>
                    <a:pt x="1985" y="3466"/>
                  </a:cubicBezTo>
                  <a:lnTo>
                    <a:pt x="1985" y="5829"/>
                  </a:lnTo>
                  <a:cubicBezTo>
                    <a:pt x="1985" y="6018"/>
                    <a:pt x="2143" y="6175"/>
                    <a:pt x="2363" y="6175"/>
                  </a:cubicBezTo>
                  <a:cubicBezTo>
                    <a:pt x="2552" y="6175"/>
                    <a:pt x="2710" y="6018"/>
                    <a:pt x="2710" y="5829"/>
                  </a:cubicBezTo>
                  <a:lnTo>
                    <a:pt x="2710" y="3466"/>
                  </a:lnTo>
                  <a:close/>
                  <a:moveTo>
                    <a:pt x="2395" y="0"/>
                  </a:moveTo>
                  <a:cubicBezTo>
                    <a:pt x="1450" y="0"/>
                    <a:pt x="694" y="756"/>
                    <a:pt x="694" y="1702"/>
                  </a:cubicBezTo>
                  <a:cubicBezTo>
                    <a:pt x="694" y="2206"/>
                    <a:pt x="946" y="2678"/>
                    <a:pt x="1292" y="2993"/>
                  </a:cubicBezTo>
                  <a:cubicBezTo>
                    <a:pt x="536" y="3403"/>
                    <a:pt x="1" y="4222"/>
                    <a:pt x="1" y="5136"/>
                  </a:cubicBezTo>
                  <a:lnTo>
                    <a:pt x="1" y="7215"/>
                  </a:lnTo>
                  <a:cubicBezTo>
                    <a:pt x="1" y="7656"/>
                    <a:pt x="253" y="8034"/>
                    <a:pt x="662" y="8192"/>
                  </a:cubicBezTo>
                  <a:lnTo>
                    <a:pt x="662" y="10649"/>
                  </a:lnTo>
                  <a:cubicBezTo>
                    <a:pt x="662" y="11184"/>
                    <a:pt x="1135" y="11657"/>
                    <a:pt x="1670" y="11657"/>
                  </a:cubicBezTo>
                  <a:lnTo>
                    <a:pt x="3056" y="11657"/>
                  </a:lnTo>
                  <a:cubicBezTo>
                    <a:pt x="3624" y="11657"/>
                    <a:pt x="4096" y="11184"/>
                    <a:pt x="4096" y="10649"/>
                  </a:cubicBezTo>
                  <a:lnTo>
                    <a:pt x="4096" y="8192"/>
                  </a:lnTo>
                  <a:cubicBezTo>
                    <a:pt x="4348" y="8065"/>
                    <a:pt x="4600" y="7876"/>
                    <a:pt x="4726" y="7561"/>
                  </a:cubicBezTo>
                  <a:lnTo>
                    <a:pt x="9988" y="7561"/>
                  </a:lnTo>
                  <a:cubicBezTo>
                    <a:pt x="10555" y="7561"/>
                    <a:pt x="11027" y="7089"/>
                    <a:pt x="11027" y="6553"/>
                  </a:cubicBezTo>
                  <a:lnTo>
                    <a:pt x="11027" y="662"/>
                  </a:lnTo>
                  <a:lnTo>
                    <a:pt x="11374" y="662"/>
                  </a:lnTo>
                  <a:cubicBezTo>
                    <a:pt x="11563" y="662"/>
                    <a:pt x="11720" y="504"/>
                    <a:pt x="11720" y="315"/>
                  </a:cubicBezTo>
                  <a:cubicBezTo>
                    <a:pt x="11720" y="158"/>
                    <a:pt x="11563" y="0"/>
                    <a:pt x="11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81"/>
            <p:cNvSpPr/>
            <p:nvPr/>
          </p:nvSpPr>
          <p:spPr>
            <a:xfrm>
              <a:off x="-5496575" y="2072625"/>
              <a:ext cx="102425" cy="102425"/>
            </a:xfrm>
            <a:custGeom>
              <a:avLst/>
              <a:gdLst/>
              <a:ahLst/>
              <a:cxnLst/>
              <a:rect l="l" t="t" r="r" b="b"/>
              <a:pathLst>
                <a:path w="4097" h="4097" extrusionOk="0">
                  <a:moveTo>
                    <a:pt x="2395" y="725"/>
                  </a:moveTo>
                  <a:cubicBezTo>
                    <a:pt x="2867" y="851"/>
                    <a:pt x="3245" y="1229"/>
                    <a:pt x="3371" y="1733"/>
                  </a:cubicBezTo>
                  <a:lnTo>
                    <a:pt x="2395" y="1733"/>
                  </a:lnTo>
                  <a:lnTo>
                    <a:pt x="2395" y="725"/>
                  </a:lnTo>
                  <a:close/>
                  <a:moveTo>
                    <a:pt x="1733" y="757"/>
                  </a:moveTo>
                  <a:lnTo>
                    <a:pt x="1733" y="2080"/>
                  </a:lnTo>
                  <a:cubicBezTo>
                    <a:pt x="1733" y="2269"/>
                    <a:pt x="1891" y="2426"/>
                    <a:pt x="2080" y="2426"/>
                  </a:cubicBezTo>
                  <a:lnTo>
                    <a:pt x="3403" y="2426"/>
                  </a:lnTo>
                  <a:cubicBezTo>
                    <a:pt x="3245" y="3025"/>
                    <a:pt x="2741" y="3466"/>
                    <a:pt x="2080" y="3466"/>
                  </a:cubicBezTo>
                  <a:cubicBezTo>
                    <a:pt x="1324" y="3466"/>
                    <a:pt x="693" y="2836"/>
                    <a:pt x="693" y="2080"/>
                  </a:cubicBezTo>
                  <a:cubicBezTo>
                    <a:pt x="693" y="1418"/>
                    <a:pt x="1135" y="851"/>
                    <a:pt x="1733" y="757"/>
                  </a:cubicBezTo>
                  <a:close/>
                  <a:moveTo>
                    <a:pt x="2048" y="0"/>
                  </a:moveTo>
                  <a:cubicBezTo>
                    <a:pt x="883" y="0"/>
                    <a:pt x="0" y="914"/>
                    <a:pt x="0" y="2048"/>
                  </a:cubicBezTo>
                  <a:cubicBezTo>
                    <a:pt x="0" y="3182"/>
                    <a:pt x="946" y="4096"/>
                    <a:pt x="2048" y="4096"/>
                  </a:cubicBezTo>
                  <a:cubicBezTo>
                    <a:pt x="3182" y="4096"/>
                    <a:pt x="4096" y="3182"/>
                    <a:pt x="4096" y="2048"/>
                  </a:cubicBezTo>
                  <a:cubicBezTo>
                    <a:pt x="4096" y="914"/>
                    <a:pt x="3182" y="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8" name="Google Shape;10938;p81"/>
          <p:cNvGrpSpPr/>
          <p:nvPr/>
        </p:nvGrpSpPr>
        <p:grpSpPr>
          <a:xfrm>
            <a:off x="2468295" y="2140412"/>
            <a:ext cx="426499" cy="420796"/>
            <a:chOff x="-5637575" y="2397900"/>
            <a:chExt cx="295400" cy="291450"/>
          </a:xfrm>
        </p:grpSpPr>
        <p:sp>
          <p:nvSpPr>
            <p:cNvPr id="10939" name="Google Shape;10939;p81"/>
            <p:cNvSpPr/>
            <p:nvPr/>
          </p:nvSpPr>
          <p:spPr>
            <a:xfrm>
              <a:off x="-5575350" y="2547550"/>
              <a:ext cx="79575" cy="88250"/>
            </a:xfrm>
            <a:custGeom>
              <a:avLst/>
              <a:gdLst/>
              <a:ahLst/>
              <a:cxnLst/>
              <a:rect l="l" t="t" r="r" b="b"/>
              <a:pathLst>
                <a:path w="3183" h="3530" extrusionOk="0">
                  <a:moveTo>
                    <a:pt x="1088" y="1"/>
                  </a:moveTo>
                  <a:cubicBezTo>
                    <a:pt x="1001" y="1"/>
                    <a:pt x="915" y="32"/>
                    <a:pt x="852" y="95"/>
                  </a:cubicBezTo>
                  <a:lnTo>
                    <a:pt x="379" y="568"/>
                  </a:lnTo>
                  <a:cubicBezTo>
                    <a:pt x="1" y="978"/>
                    <a:pt x="1" y="1639"/>
                    <a:pt x="379" y="2017"/>
                  </a:cubicBezTo>
                  <a:cubicBezTo>
                    <a:pt x="584" y="2222"/>
                    <a:pt x="852" y="2324"/>
                    <a:pt x="1115" y="2324"/>
                  </a:cubicBezTo>
                  <a:cubicBezTo>
                    <a:pt x="1379" y="2324"/>
                    <a:pt x="1639" y="2222"/>
                    <a:pt x="1828" y="2017"/>
                  </a:cubicBezTo>
                  <a:cubicBezTo>
                    <a:pt x="1891" y="1970"/>
                    <a:pt x="1986" y="1946"/>
                    <a:pt x="2076" y="1946"/>
                  </a:cubicBezTo>
                  <a:cubicBezTo>
                    <a:pt x="2167" y="1946"/>
                    <a:pt x="2253" y="1970"/>
                    <a:pt x="2301" y="2017"/>
                  </a:cubicBezTo>
                  <a:cubicBezTo>
                    <a:pt x="2427" y="2143"/>
                    <a:pt x="2427" y="2395"/>
                    <a:pt x="2301" y="2490"/>
                  </a:cubicBezTo>
                  <a:lnTo>
                    <a:pt x="1828" y="2962"/>
                  </a:lnTo>
                  <a:cubicBezTo>
                    <a:pt x="1734" y="3088"/>
                    <a:pt x="1734" y="3340"/>
                    <a:pt x="1828" y="3435"/>
                  </a:cubicBezTo>
                  <a:cubicBezTo>
                    <a:pt x="1891" y="3498"/>
                    <a:pt x="1986" y="3529"/>
                    <a:pt x="2076" y="3529"/>
                  </a:cubicBezTo>
                  <a:cubicBezTo>
                    <a:pt x="2167" y="3529"/>
                    <a:pt x="2253" y="3498"/>
                    <a:pt x="2301" y="3435"/>
                  </a:cubicBezTo>
                  <a:lnTo>
                    <a:pt x="2773" y="2962"/>
                  </a:lnTo>
                  <a:cubicBezTo>
                    <a:pt x="3183" y="2584"/>
                    <a:pt x="3183" y="1923"/>
                    <a:pt x="2773" y="1513"/>
                  </a:cubicBezTo>
                  <a:cubicBezTo>
                    <a:pt x="2569" y="1293"/>
                    <a:pt x="2309" y="1182"/>
                    <a:pt x="2049" y="1182"/>
                  </a:cubicBezTo>
                  <a:cubicBezTo>
                    <a:pt x="1789" y="1182"/>
                    <a:pt x="1529" y="1293"/>
                    <a:pt x="1324" y="1513"/>
                  </a:cubicBezTo>
                  <a:cubicBezTo>
                    <a:pt x="1261" y="1576"/>
                    <a:pt x="1174" y="1608"/>
                    <a:pt x="1088" y="1608"/>
                  </a:cubicBezTo>
                  <a:cubicBezTo>
                    <a:pt x="1001" y="1608"/>
                    <a:pt x="915" y="1576"/>
                    <a:pt x="852" y="1513"/>
                  </a:cubicBezTo>
                  <a:cubicBezTo>
                    <a:pt x="726" y="1387"/>
                    <a:pt x="726" y="1167"/>
                    <a:pt x="852" y="1041"/>
                  </a:cubicBezTo>
                  <a:lnTo>
                    <a:pt x="1324" y="568"/>
                  </a:lnTo>
                  <a:cubicBezTo>
                    <a:pt x="1450" y="442"/>
                    <a:pt x="1450" y="221"/>
                    <a:pt x="1324" y="95"/>
                  </a:cubicBezTo>
                  <a:cubicBezTo>
                    <a:pt x="1261" y="32"/>
                    <a:pt x="1174" y="1"/>
                    <a:pt x="1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81"/>
            <p:cNvSpPr/>
            <p:nvPr/>
          </p:nvSpPr>
          <p:spPr>
            <a:xfrm>
              <a:off x="-5526500" y="2499525"/>
              <a:ext cx="85075" cy="81725"/>
            </a:xfrm>
            <a:custGeom>
              <a:avLst/>
              <a:gdLst/>
              <a:ahLst/>
              <a:cxnLst/>
              <a:rect l="l" t="t" r="r" b="b"/>
              <a:pathLst>
                <a:path w="3403" h="3269" extrusionOk="0">
                  <a:moveTo>
                    <a:pt x="1107" y="0"/>
                  </a:moveTo>
                  <a:cubicBezTo>
                    <a:pt x="1016" y="0"/>
                    <a:pt x="930" y="32"/>
                    <a:pt x="882" y="95"/>
                  </a:cubicBezTo>
                  <a:lnTo>
                    <a:pt x="410" y="567"/>
                  </a:lnTo>
                  <a:cubicBezTo>
                    <a:pt x="0" y="945"/>
                    <a:pt x="0" y="1638"/>
                    <a:pt x="410" y="2016"/>
                  </a:cubicBezTo>
                  <a:lnTo>
                    <a:pt x="882" y="2489"/>
                  </a:lnTo>
                  <a:lnTo>
                    <a:pt x="1355" y="2962"/>
                  </a:lnTo>
                  <a:cubicBezTo>
                    <a:pt x="1544" y="3166"/>
                    <a:pt x="1804" y="3269"/>
                    <a:pt x="2068" y="3269"/>
                  </a:cubicBezTo>
                  <a:cubicBezTo>
                    <a:pt x="2332" y="3269"/>
                    <a:pt x="2599" y="3166"/>
                    <a:pt x="2804" y="2962"/>
                  </a:cubicBezTo>
                  <a:lnTo>
                    <a:pt x="3277" y="2489"/>
                  </a:lnTo>
                  <a:cubicBezTo>
                    <a:pt x="3403" y="2363"/>
                    <a:pt x="3403" y="2142"/>
                    <a:pt x="3277" y="2016"/>
                  </a:cubicBezTo>
                  <a:cubicBezTo>
                    <a:pt x="3178" y="1918"/>
                    <a:pt x="3070" y="1870"/>
                    <a:pt x="2977" y="1870"/>
                  </a:cubicBezTo>
                  <a:cubicBezTo>
                    <a:pt x="2892" y="1870"/>
                    <a:pt x="2818" y="1910"/>
                    <a:pt x="2773" y="1985"/>
                  </a:cubicBezTo>
                  <a:lnTo>
                    <a:pt x="2300" y="2457"/>
                  </a:lnTo>
                  <a:cubicBezTo>
                    <a:pt x="2237" y="2520"/>
                    <a:pt x="2143" y="2552"/>
                    <a:pt x="2052" y="2552"/>
                  </a:cubicBezTo>
                  <a:cubicBezTo>
                    <a:pt x="1961" y="2552"/>
                    <a:pt x="1875" y="2520"/>
                    <a:pt x="1827" y="2457"/>
                  </a:cubicBezTo>
                  <a:lnTo>
                    <a:pt x="1575" y="2205"/>
                  </a:lnTo>
                  <a:lnTo>
                    <a:pt x="2300" y="1512"/>
                  </a:lnTo>
                  <a:cubicBezTo>
                    <a:pt x="2395" y="1386"/>
                    <a:pt x="2395" y="1134"/>
                    <a:pt x="2300" y="1040"/>
                  </a:cubicBezTo>
                  <a:cubicBezTo>
                    <a:pt x="2237" y="977"/>
                    <a:pt x="2143" y="945"/>
                    <a:pt x="2052" y="945"/>
                  </a:cubicBezTo>
                  <a:cubicBezTo>
                    <a:pt x="1961" y="945"/>
                    <a:pt x="1875" y="977"/>
                    <a:pt x="1827" y="1040"/>
                  </a:cubicBezTo>
                  <a:lnTo>
                    <a:pt x="1103" y="1733"/>
                  </a:lnTo>
                  <a:lnTo>
                    <a:pt x="882" y="1512"/>
                  </a:lnTo>
                  <a:cubicBezTo>
                    <a:pt x="756" y="1386"/>
                    <a:pt x="756" y="1166"/>
                    <a:pt x="882" y="1040"/>
                  </a:cubicBezTo>
                  <a:lnTo>
                    <a:pt x="1355" y="567"/>
                  </a:lnTo>
                  <a:cubicBezTo>
                    <a:pt x="1449" y="441"/>
                    <a:pt x="1449" y="221"/>
                    <a:pt x="1355" y="95"/>
                  </a:cubicBezTo>
                  <a:cubicBezTo>
                    <a:pt x="1292" y="32"/>
                    <a:pt x="1197" y="0"/>
                    <a:pt x="11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81"/>
            <p:cNvSpPr/>
            <p:nvPr/>
          </p:nvSpPr>
          <p:spPr>
            <a:xfrm>
              <a:off x="-5480050" y="2456975"/>
              <a:ext cx="80375" cy="75650"/>
            </a:xfrm>
            <a:custGeom>
              <a:avLst/>
              <a:gdLst/>
              <a:ahLst/>
              <a:cxnLst/>
              <a:rect l="l" t="t" r="r" b="b"/>
              <a:pathLst>
                <a:path w="3215" h="3026" extrusionOk="0">
                  <a:moveTo>
                    <a:pt x="1100" y="686"/>
                  </a:moveTo>
                  <a:cubicBezTo>
                    <a:pt x="1190" y="686"/>
                    <a:pt x="1277" y="710"/>
                    <a:pt x="1324" y="757"/>
                  </a:cubicBezTo>
                  <a:lnTo>
                    <a:pt x="2332" y="1765"/>
                  </a:lnTo>
                  <a:cubicBezTo>
                    <a:pt x="2490" y="1860"/>
                    <a:pt x="2490" y="2112"/>
                    <a:pt x="2332" y="2238"/>
                  </a:cubicBezTo>
                  <a:cubicBezTo>
                    <a:pt x="2269" y="2285"/>
                    <a:pt x="2183" y="2309"/>
                    <a:pt x="2096" y="2309"/>
                  </a:cubicBezTo>
                  <a:cubicBezTo>
                    <a:pt x="2009" y="2309"/>
                    <a:pt x="1923" y="2285"/>
                    <a:pt x="1860" y="2238"/>
                  </a:cubicBezTo>
                  <a:lnTo>
                    <a:pt x="852" y="1229"/>
                  </a:lnTo>
                  <a:cubicBezTo>
                    <a:pt x="757" y="1135"/>
                    <a:pt x="757" y="883"/>
                    <a:pt x="852" y="757"/>
                  </a:cubicBezTo>
                  <a:cubicBezTo>
                    <a:pt x="915" y="710"/>
                    <a:pt x="1009" y="686"/>
                    <a:pt x="1100" y="686"/>
                  </a:cubicBezTo>
                  <a:close/>
                  <a:moveTo>
                    <a:pt x="1119" y="1"/>
                  </a:moveTo>
                  <a:cubicBezTo>
                    <a:pt x="852" y="1"/>
                    <a:pt x="584" y="95"/>
                    <a:pt x="379" y="284"/>
                  </a:cubicBezTo>
                  <a:cubicBezTo>
                    <a:pt x="1" y="694"/>
                    <a:pt x="1" y="1356"/>
                    <a:pt x="379" y="1765"/>
                  </a:cubicBezTo>
                  <a:lnTo>
                    <a:pt x="1387" y="2742"/>
                  </a:lnTo>
                  <a:cubicBezTo>
                    <a:pt x="1576" y="2931"/>
                    <a:pt x="1836" y="3025"/>
                    <a:pt x="2100" y="3025"/>
                  </a:cubicBezTo>
                  <a:cubicBezTo>
                    <a:pt x="2364" y="3025"/>
                    <a:pt x="2632" y="2931"/>
                    <a:pt x="2836" y="2742"/>
                  </a:cubicBezTo>
                  <a:cubicBezTo>
                    <a:pt x="3214" y="2332"/>
                    <a:pt x="3214" y="1671"/>
                    <a:pt x="2836" y="1293"/>
                  </a:cubicBezTo>
                  <a:lnTo>
                    <a:pt x="1860" y="284"/>
                  </a:lnTo>
                  <a:cubicBezTo>
                    <a:pt x="1655" y="95"/>
                    <a:pt x="1387" y="1"/>
                    <a:pt x="1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81"/>
            <p:cNvSpPr/>
            <p:nvPr/>
          </p:nvSpPr>
          <p:spPr>
            <a:xfrm>
              <a:off x="-5637575" y="2397900"/>
              <a:ext cx="295400" cy="291450"/>
            </a:xfrm>
            <a:custGeom>
              <a:avLst/>
              <a:gdLst/>
              <a:ahLst/>
              <a:cxnLst/>
              <a:rect l="l" t="t" r="r" b="b"/>
              <a:pathLst>
                <a:path w="11816" h="11658" extrusionOk="0">
                  <a:moveTo>
                    <a:pt x="9185" y="1479"/>
                  </a:moveTo>
                  <a:cubicBezTo>
                    <a:pt x="9245" y="1479"/>
                    <a:pt x="9245" y="1482"/>
                    <a:pt x="9263" y="1482"/>
                  </a:cubicBezTo>
                  <a:cubicBezTo>
                    <a:pt x="9421" y="1482"/>
                    <a:pt x="9579" y="1513"/>
                    <a:pt x="9673" y="1545"/>
                  </a:cubicBezTo>
                  <a:lnTo>
                    <a:pt x="9106" y="2143"/>
                  </a:lnTo>
                  <a:cubicBezTo>
                    <a:pt x="8980" y="2269"/>
                    <a:pt x="8980" y="2490"/>
                    <a:pt x="9106" y="2616"/>
                  </a:cubicBezTo>
                  <a:cubicBezTo>
                    <a:pt x="9153" y="2679"/>
                    <a:pt x="9240" y="2710"/>
                    <a:pt x="9330" y="2710"/>
                  </a:cubicBezTo>
                  <a:cubicBezTo>
                    <a:pt x="9421" y="2710"/>
                    <a:pt x="9515" y="2679"/>
                    <a:pt x="9579" y="2616"/>
                  </a:cubicBezTo>
                  <a:lnTo>
                    <a:pt x="10146" y="2017"/>
                  </a:lnTo>
                  <a:cubicBezTo>
                    <a:pt x="10272" y="2175"/>
                    <a:pt x="10303" y="2332"/>
                    <a:pt x="10303" y="2553"/>
                  </a:cubicBezTo>
                  <a:lnTo>
                    <a:pt x="10146" y="5325"/>
                  </a:lnTo>
                  <a:cubicBezTo>
                    <a:pt x="10114" y="5798"/>
                    <a:pt x="9925" y="6239"/>
                    <a:pt x="9515" y="6554"/>
                  </a:cubicBezTo>
                  <a:lnTo>
                    <a:pt x="9484" y="6585"/>
                  </a:lnTo>
                  <a:lnTo>
                    <a:pt x="8570" y="7499"/>
                  </a:lnTo>
                  <a:cubicBezTo>
                    <a:pt x="5231" y="10902"/>
                    <a:pt x="5829" y="10303"/>
                    <a:pt x="5199" y="10902"/>
                  </a:cubicBezTo>
                  <a:cubicBezTo>
                    <a:pt x="5136" y="10949"/>
                    <a:pt x="5050" y="10972"/>
                    <a:pt x="4963" y="10972"/>
                  </a:cubicBezTo>
                  <a:cubicBezTo>
                    <a:pt x="4876" y="10972"/>
                    <a:pt x="4790" y="10949"/>
                    <a:pt x="4727" y="10902"/>
                  </a:cubicBezTo>
                  <a:lnTo>
                    <a:pt x="820" y="6995"/>
                  </a:lnTo>
                  <a:cubicBezTo>
                    <a:pt x="694" y="6869"/>
                    <a:pt x="694" y="6648"/>
                    <a:pt x="820" y="6522"/>
                  </a:cubicBezTo>
                  <a:lnTo>
                    <a:pt x="5262" y="2112"/>
                  </a:lnTo>
                  <a:cubicBezTo>
                    <a:pt x="5577" y="1797"/>
                    <a:pt x="5987" y="1639"/>
                    <a:pt x="6365" y="1608"/>
                  </a:cubicBezTo>
                  <a:cubicBezTo>
                    <a:pt x="8503" y="1495"/>
                    <a:pt x="9033" y="1479"/>
                    <a:pt x="9185" y="1479"/>
                  </a:cubicBezTo>
                  <a:close/>
                  <a:moveTo>
                    <a:pt x="11422" y="1"/>
                  </a:moveTo>
                  <a:cubicBezTo>
                    <a:pt x="11335" y="1"/>
                    <a:pt x="11248" y="32"/>
                    <a:pt x="11185" y="95"/>
                  </a:cubicBezTo>
                  <a:lnTo>
                    <a:pt x="10240" y="1041"/>
                  </a:lnTo>
                  <a:cubicBezTo>
                    <a:pt x="9958" y="871"/>
                    <a:pt x="9650" y="752"/>
                    <a:pt x="9316" y="752"/>
                  </a:cubicBezTo>
                  <a:cubicBezTo>
                    <a:pt x="9278" y="752"/>
                    <a:pt x="9239" y="754"/>
                    <a:pt x="9200" y="757"/>
                  </a:cubicBezTo>
                  <a:lnTo>
                    <a:pt x="6428" y="883"/>
                  </a:lnTo>
                  <a:cubicBezTo>
                    <a:pt x="5829" y="915"/>
                    <a:pt x="5262" y="1167"/>
                    <a:pt x="4853" y="1608"/>
                  </a:cubicBezTo>
                  <a:lnTo>
                    <a:pt x="379" y="6018"/>
                  </a:lnTo>
                  <a:cubicBezTo>
                    <a:pt x="1" y="6396"/>
                    <a:pt x="1" y="7058"/>
                    <a:pt x="379" y="7468"/>
                  </a:cubicBezTo>
                  <a:lnTo>
                    <a:pt x="4286" y="11374"/>
                  </a:lnTo>
                  <a:cubicBezTo>
                    <a:pt x="4490" y="11563"/>
                    <a:pt x="4758" y="11658"/>
                    <a:pt x="5022" y="11658"/>
                  </a:cubicBezTo>
                  <a:cubicBezTo>
                    <a:pt x="5286" y="11658"/>
                    <a:pt x="5546" y="11563"/>
                    <a:pt x="5735" y="11374"/>
                  </a:cubicBezTo>
                  <a:lnTo>
                    <a:pt x="9137" y="7972"/>
                  </a:lnTo>
                  <a:lnTo>
                    <a:pt x="10051" y="7058"/>
                  </a:lnTo>
                  <a:cubicBezTo>
                    <a:pt x="10555" y="6648"/>
                    <a:pt x="10870" y="6018"/>
                    <a:pt x="10902" y="5388"/>
                  </a:cubicBezTo>
                  <a:lnTo>
                    <a:pt x="11059" y="2584"/>
                  </a:lnTo>
                  <a:cubicBezTo>
                    <a:pt x="11059" y="2238"/>
                    <a:pt x="10996" y="1828"/>
                    <a:pt x="10776" y="1545"/>
                  </a:cubicBezTo>
                  <a:lnTo>
                    <a:pt x="11721" y="600"/>
                  </a:lnTo>
                  <a:cubicBezTo>
                    <a:pt x="11815" y="442"/>
                    <a:pt x="11815" y="221"/>
                    <a:pt x="11658" y="95"/>
                  </a:cubicBezTo>
                  <a:cubicBezTo>
                    <a:pt x="11595" y="32"/>
                    <a:pt x="11508" y="1"/>
                    <a:pt x="114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81"/>
          <p:cNvGrpSpPr/>
          <p:nvPr/>
        </p:nvGrpSpPr>
        <p:grpSpPr>
          <a:xfrm>
            <a:off x="2481958" y="2660397"/>
            <a:ext cx="423033" cy="421914"/>
            <a:chOff x="-5635975" y="2757075"/>
            <a:chExt cx="293000" cy="292225"/>
          </a:xfrm>
        </p:grpSpPr>
        <p:sp>
          <p:nvSpPr>
            <p:cNvPr id="10944" name="Google Shape;10944;p81"/>
            <p:cNvSpPr/>
            <p:nvPr/>
          </p:nvSpPr>
          <p:spPr>
            <a:xfrm>
              <a:off x="-5635975" y="2757075"/>
              <a:ext cx="293000" cy="292225"/>
            </a:xfrm>
            <a:custGeom>
              <a:avLst/>
              <a:gdLst/>
              <a:ahLst/>
              <a:cxnLst/>
              <a:rect l="l" t="t" r="r" b="b"/>
              <a:pathLst>
                <a:path w="11720" h="11689" extrusionOk="0">
                  <a:moveTo>
                    <a:pt x="10649" y="693"/>
                  </a:moveTo>
                  <a:cubicBezTo>
                    <a:pt x="10838" y="693"/>
                    <a:pt x="10995" y="851"/>
                    <a:pt x="10995" y="1040"/>
                  </a:cubicBezTo>
                  <a:lnTo>
                    <a:pt x="10995" y="7593"/>
                  </a:lnTo>
                  <a:lnTo>
                    <a:pt x="693" y="7593"/>
                  </a:lnTo>
                  <a:lnTo>
                    <a:pt x="693" y="1040"/>
                  </a:lnTo>
                  <a:cubicBezTo>
                    <a:pt x="725" y="851"/>
                    <a:pt x="882" y="693"/>
                    <a:pt x="1040" y="693"/>
                  </a:cubicBezTo>
                  <a:close/>
                  <a:moveTo>
                    <a:pt x="10995" y="8223"/>
                  </a:moveTo>
                  <a:lnTo>
                    <a:pt x="10995" y="8569"/>
                  </a:lnTo>
                  <a:cubicBezTo>
                    <a:pt x="11027" y="8821"/>
                    <a:pt x="10869" y="8916"/>
                    <a:pt x="10680" y="8916"/>
                  </a:cubicBezTo>
                  <a:lnTo>
                    <a:pt x="1040" y="8916"/>
                  </a:lnTo>
                  <a:cubicBezTo>
                    <a:pt x="851" y="8916"/>
                    <a:pt x="693" y="8758"/>
                    <a:pt x="693" y="8569"/>
                  </a:cubicBezTo>
                  <a:lnTo>
                    <a:pt x="693" y="8223"/>
                  </a:lnTo>
                  <a:close/>
                  <a:moveTo>
                    <a:pt x="6679" y="9641"/>
                  </a:moveTo>
                  <a:lnTo>
                    <a:pt x="6994" y="11027"/>
                  </a:lnTo>
                  <a:lnTo>
                    <a:pt x="4694" y="11027"/>
                  </a:lnTo>
                  <a:lnTo>
                    <a:pt x="5009" y="9641"/>
                  </a:lnTo>
                  <a:close/>
                  <a:moveTo>
                    <a:pt x="1040" y="0"/>
                  </a:moveTo>
                  <a:cubicBezTo>
                    <a:pt x="473" y="0"/>
                    <a:pt x="0" y="473"/>
                    <a:pt x="0" y="1008"/>
                  </a:cubicBezTo>
                  <a:lnTo>
                    <a:pt x="0" y="8569"/>
                  </a:lnTo>
                  <a:cubicBezTo>
                    <a:pt x="0" y="9137"/>
                    <a:pt x="473" y="9609"/>
                    <a:pt x="1040" y="9609"/>
                  </a:cubicBezTo>
                  <a:lnTo>
                    <a:pt x="4316" y="9609"/>
                  </a:lnTo>
                  <a:lnTo>
                    <a:pt x="4001" y="10964"/>
                  </a:lnTo>
                  <a:lnTo>
                    <a:pt x="3087" y="10964"/>
                  </a:lnTo>
                  <a:cubicBezTo>
                    <a:pt x="2898" y="10964"/>
                    <a:pt x="2741" y="11121"/>
                    <a:pt x="2741" y="11342"/>
                  </a:cubicBezTo>
                  <a:cubicBezTo>
                    <a:pt x="2741" y="11531"/>
                    <a:pt x="2898" y="11688"/>
                    <a:pt x="3087" y="11688"/>
                  </a:cubicBezTo>
                  <a:lnTo>
                    <a:pt x="8569" y="11688"/>
                  </a:lnTo>
                  <a:cubicBezTo>
                    <a:pt x="8758" y="11688"/>
                    <a:pt x="8916" y="11531"/>
                    <a:pt x="8916" y="11342"/>
                  </a:cubicBezTo>
                  <a:cubicBezTo>
                    <a:pt x="8916" y="11121"/>
                    <a:pt x="8758" y="10964"/>
                    <a:pt x="8569" y="10964"/>
                  </a:cubicBezTo>
                  <a:lnTo>
                    <a:pt x="7656" y="10964"/>
                  </a:lnTo>
                  <a:lnTo>
                    <a:pt x="7341" y="9609"/>
                  </a:lnTo>
                  <a:lnTo>
                    <a:pt x="10649" y="9609"/>
                  </a:lnTo>
                  <a:cubicBezTo>
                    <a:pt x="11216" y="9609"/>
                    <a:pt x="11688" y="9137"/>
                    <a:pt x="11688" y="8569"/>
                  </a:cubicBezTo>
                  <a:lnTo>
                    <a:pt x="11688" y="1008"/>
                  </a:lnTo>
                  <a:cubicBezTo>
                    <a:pt x="11720" y="473"/>
                    <a:pt x="11247" y="0"/>
                    <a:pt x="10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81"/>
            <p:cNvSpPr/>
            <p:nvPr/>
          </p:nvSpPr>
          <p:spPr>
            <a:xfrm>
              <a:off x="-5584800" y="2790150"/>
              <a:ext cx="189850" cy="138050"/>
            </a:xfrm>
            <a:custGeom>
              <a:avLst/>
              <a:gdLst/>
              <a:ahLst/>
              <a:cxnLst/>
              <a:rect l="l" t="t" r="r" b="b"/>
              <a:pathLst>
                <a:path w="7594" h="5522" extrusionOk="0">
                  <a:moveTo>
                    <a:pt x="2994" y="725"/>
                  </a:moveTo>
                  <a:lnTo>
                    <a:pt x="2332" y="1387"/>
                  </a:lnTo>
                  <a:lnTo>
                    <a:pt x="1230" y="1387"/>
                  </a:lnTo>
                  <a:lnTo>
                    <a:pt x="1891" y="725"/>
                  </a:lnTo>
                  <a:close/>
                  <a:moveTo>
                    <a:pt x="3781" y="882"/>
                  </a:moveTo>
                  <a:lnTo>
                    <a:pt x="4349" y="1418"/>
                  </a:lnTo>
                  <a:lnTo>
                    <a:pt x="3246" y="1418"/>
                  </a:lnTo>
                  <a:lnTo>
                    <a:pt x="3781" y="882"/>
                  </a:lnTo>
                  <a:close/>
                  <a:moveTo>
                    <a:pt x="5735" y="756"/>
                  </a:moveTo>
                  <a:lnTo>
                    <a:pt x="6396" y="1418"/>
                  </a:lnTo>
                  <a:lnTo>
                    <a:pt x="5294" y="1418"/>
                  </a:lnTo>
                  <a:lnTo>
                    <a:pt x="4632" y="756"/>
                  </a:lnTo>
                  <a:close/>
                  <a:moveTo>
                    <a:pt x="2175" y="2080"/>
                  </a:moveTo>
                  <a:lnTo>
                    <a:pt x="2868" y="3749"/>
                  </a:lnTo>
                  <a:lnTo>
                    <a:pt x="1198" y="2080"/>
                  </a:lnTo>
                  <a:close/>
                  <a:moveTo>
                    <a:pt x="6396" y="2080"/>
                  </a:moveTo>
                  <a:lnTo>
                    <a:pt x="4727" y="3749"/>
                  </a:lnTo>
                  <a:lnTo>
                    <a:pt x="5420" y="2080"/>
                  </a:lnTo>
                  <a:close/>
                  <a:moveTo>
                    <a:pt x="4664" y="2080"/>
                  </a:moveTo>
                  <a:lnTo>
                    <a:pt x="3781" y="4253"/>
                  </a:lnTo>
                  <a:lnTo>
                    <a:pt x="2931" y="2080"/>
                  </a:lnTo>
                  <a:close/>
                  <a:moveTo>
                    <a:pt x="1734" y="0"/>
                  </a:moveTo>
                  <a:cubicBezTo>
                    <a:pt x="1671" y="0"/>
                    <a:pt x="1545" y="32"/>
                    <a:pt x="1513" y="126"/>
                  </a:cubicBezTo>
                  <a:lnTo>
                    <a:pt x="127" y="1513"/>
                  </a:lnTo>
                  <a:cubicBezTo>
                    <a:pt x="1" y="1670"/>
                    <a:pt x="1" y="1859"/>
                    <a:pt x="127" y="2017"/>
                  </a:cubicBezTo>
                  <a:lnTo>
                    <a:pt x="3561" y="5451"/>
                  </a:lnTo>
                  <a:cubicBezTo>
                    <a:pt x="3624" y="5498"/>
                    <a:pt x="3711" y="5522"/>
                    <a:pt x="3797" y="5522"/>
                  </a:cubicBezTo>
                  <a:cubicBezTo>
                    <a:pt x="3884" y="5522"/>
                    <a:pt x="3970" y="5498"/>
                    <a:pt x="4033" y="5451"/>
                  </a:cubicBezTo>
                  <a:lnTo>
                    <a:pt x="7468" y="2017"/>
                  </a:lnTo>
                  <a:cubicBezTo>
                    <a:pt x="7594" y="1891"/>
                    <a:pt x="7594" y="1702"/>
                    <a:pt x="7499" y="1544"/>
                  </a:cubicBezTo>
                  <a:lnTo>
                    <a:pt x="7468" y="1513"/>
                  </a:lnTo>
                  <a:lnTo>
                    <a:pt x="6081" y="126"/>
                  </a:lnTo>
                  <a:cubicBezTo>
                    <a:pt x="6018" y="32"/>
                    <a:pt x="5924" y="0"/>
                    <a:pt x="58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6" name="Google Shape;10946;p81"/>
          <p:cNvGrpSpPr/>
          <p:nvPr/>
        </p:nvGrpSpPr>
        <p:grpSpPr>
          <a:xfrm>
            <a:off x="5165893" y="1631256"/>
            <a:ext cx="423069" cy="420796"/>
            <a:chOff x="-3854375" y="2046625"/>
            <a:chExt cx="293025" cy="291450"/>
          </a:xfrm>
        </p:grpSpPr>
        <p:sp>
          <p:nvSpPr>
            <p:cNvPr id="10947" name="Google Shape;10947;p81"/>
            <p:cNvSpPr/>
            <p:nvPr/>
          </p:nvSpPr>
          <p:spPr>
            <a:xfrm>
              <a:off x="-3854375" y="2046625"/>
              <a:ext cx="293025" cy="291450"/>
            </a:xfrm>
            <a:custGeom>
              <a:avLst/>
              <a:gdLst/>
              <a:ahLst/>
              <a:cxnLst/>
              <a:rect l="l" t="t" r="r" b="b"/>
              <a:pathLst>
                <a:path w="11721" h="11658" extrusionOk="0">
                  <a:moveTo>
                    <a:pt x="7624" y="694"/>
                  </a:moveTo>
                  <a:cubicBezTo>
                    <a:pt x="9515" y="694"/>
                    <a:pt x="11058" y="2206"/>
                    <a:pt x="11058" y="4096"/>
                  </a:cubicBezTo>
                  <a:cubicBezTo>
                    <a:pt x="11058" y="5987"/>
                    <a:pt x="9515" y="7530"/>
                    <a:pt x="7624" y="7530"/>
                  </a:cubicBezTo>
                  <a:cubicBezTo>
                    <a:pt x="5734" y="7530"/>
                    <a:pt x="4190" y="5987"/>
                    <a:pt x="4190" y="4096"/>
                  </a:cubicBezTo>
                  <a:cubicBezTo>
                    <a:pt x="4190" y="2206"/>
                    <a:pt x="5734" y="694"/>
                    <a:pt x="7624" y="694"/>
                  </a:cubicBezTo>
                  <a:close/>
                  <a:moveTo>
                    <a:pt x="3336" y="8066"/>
                  </a:moveTo>
                  <a:cubicBezTo>
                    <a:pt x="3426" y="8066"/>
                    <a:pt x="3513" y="8098"/>
                    <a:pt x="3560" y="8161"/>
                  </a:cubicBezTo>
                  <a:cubicBezTo>
                    <a:pt x="3686" y="8287"/>
                    <a:pt x="3686" y="8507"/>
                    <a:pt x="3560" y="8633"/>
                  </a:cubicBezTo>
                  <a:lnTo>
                    <a:pt x="1323" y="10870"/>
                  </a:lnTo>
                  <a:cubicBezTo>
                    <a:pt x="1260" y="10933"/>
                    <a:pt x="1174" y="10964"/>
                    <a:pt x="1087" y="10964"/>
                  </a:cubicBezTo>
                  <a:cubicBezTo>
                    <a:pt x="1001" y="10964"/>
                    <a:pt x="914" y="10933"/>
                    <a:pt x="851" y="10870"/>
                  </a:cubicBezTo>
                  <a:cubicBezTo>
                    <a:pt x="725" y="10744"/>
                    <a:pt x="725" y="10523"/>
                    <a:pt x="851" y="10397"/>
                  </a:cubicBezTo>
                  <a:lnTo>
                    <a:pt x="3088" y="8161"/>
                  </a:lnTo>
                  <a:cubicBezTo>
                    <a:pt x="3151" y="8098"/>
                    <a:pt x="3245" y="8066"/>
                    <a:pt x="3336" y="8066"/>
                  </a:cubicBezTo>
                  <a:close/>
                  <a:moveTo>
                    <a:pt x="7624" y="1"/>
                  </a:moveTo>
                  <a:cubicBezTo>
                    <a:pt x="5356" y="1"/>
                    <a:pt x="3529" y="1860"/>
                    <a:pt x="3529" y="4096"/>
                  </a:cubicBezTo>
                  <a:cubicBezTo>
                    <a:pt x="3529" y="5136"/>
                    <a:pt x="3875" y="6050"/>
                    <a:pt x="4505" y="6743"/>
                  </a:cubicBezTo>
                  <a:lnTo>
                    <a:pt x="3812" y="7467"/>
                  </a:lnTo>
                  <a:cubicBezTo>
                    <a:pt x="3661" y="7386"/>
                    <a:pt x="3500" y="7347"/>
                    <a:pt x="3342" y="7347"/>
                  </a:cubicBezTo>
                  <a:cubicBezTo>
                    <a:pt x="3074" y="7347"/>
                    <a:pt x="2813" y="7458"/>
                    <a:pt x="2615" y="7656"/>
                  </a:cubicBezTo>
                  <a:lnTo>
                    <a:pt x="378" y="9893"/>
                  </a:lnTo>
                  <a:cubicBezTo>
                    <a:pt x="0" y="10271"/>
                    <a:pt x="0" y="10964"/>
                    <a:pt x="378" y="11343"/>
                  </a:cubicBezTo>
                  <a:cubicBezTo>
                    <a:pt x="567" y="11532"/>
                    <a:pt x="851" y="11658"/>
                    <a:pt x="1103" y="11658"/>
                  </a:cubicBezTo>
                  <a:cubicBezTo>
                    <a:pt x="1355" y="11658"/>
                    <a:pt x="1607" y="11532"/>
                    <a:pt x="1796" y="11343"/>
                  </a:cubicBezTo>
                  <a:lnTo>
                    <a:pt x="4033" y="9106"/>
                  </a:lnTo>
                  <a:cubicBezTo>
                    <a:pt x="4348" y="8791"/>
                    <a:pt x="4442" y="8318"/>
                    <a:pt x="4253" y="7909"/>
                  </a:cubicBezTo>
                  <a:lnTo>
                    <a:pt x="4947" y="7215"/>
                  </a:lnTo>
                  <a:cubicBezTo>
                    <a:pt x="5671" y="7814"/>
                    <a:pt x="6616" y="8192"/>
                    <a:pt x="7593" y="8192"/>
                  </a:cubicBezTo>
                  <a:cubicBezTo>
                    <a:pt x="9861" y="8192"/>
                    <a:pt x="11689" y="6333"/>
                    <a:pt x="11689" y="4096"/>
                  </a:cubicBezTo>
                  <a:cubicBezTo>
                    <a:pt x="11720" y="1828"/>
                    <a:pt x="9861" y="1"/>
                    <a:pt x="76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81"/>
            <p:cNvSpPr/>
            <p:nvPr/>
          </p:nvSpPr>
          <p:spPr>
            <a:xfrm>
              <a:off x="-3714975" y="2080500"/>
              <a:ext cx="103200" cy="119750"/>
            </a:xfrm>
            <a:custGeom>
              <a:avLst/>
              <a:gdLst/>
              <a:ahLst/>
              <a:cxnLst/>
              <a:rect l="l" t="t" r="r" b="b"/>
              <a:pathLst>
                <a:path w="4128" h="4790" extrusionOk="0">
                  <a:moveTo>
                    <a:pt x="2048" y="694"/>
                  </a:moveTo>
                  <a:cubicBezTo>
                    <a:pt x="2458" y="694"/>
                    <a:pt x="2710" y="1009"/>
                    <a:pt x="2710" y="1387"/>
                  </a:cubicBezTo>
                  <a:cubicBezTo>
                    <a:pt x="2710" y="1765"/>
                    <a:pt x="2395" y="2048"/>
                    <a:pt x="2048" y="2048"/>
                  </a:cubicBezTo>
                  <a:cubicBezTo>
                    <a:pt x="1702" y="2048"/>
                    <a:pt x="1387" y="1733"/>
                    <a:pt x="1387" y="1387"/>
                  </a:cubicBezTo>
                  <a:cubicBezTo>
                    <a:pt x="1355" y="1009"/>
                    <a:pt x="1670" y="694"/>
                    <a:pt x="2048" y="694"/>
                  </a:cubicBezTo>
                  <a:close/>
                  <a:moveTo>
                    <a:pt x="2363" y="2741"/>
                  </a:moveTo>
                  <a:cubicBezTo>
                    <a:pt x="2931" y="2741"/>
                    <a:pt x="3403" y="3214"/>
                    <a:pt x="3403" y="3781"/>
                  </a:cubicBezTo>
                  <a:lnTo>
                    <a:pt x="3403" y="4128"/>
                  </a:lnTo>
                  <a:lnTo>
                    <a:pt x="662" y="4128"/>
                  </a:lnTo>
                  <a:lnTo>
                    <a:pt x="662" y="3781"/>
                  </a:lnTo>
                  <a:cubicBezTo>
                    <a:pt x="662" y="3214"/>
                    <a:pt x="1135" y="2741"/>
                    <a:pt x="1702" y="2741"/>
                  </a:cubicBezTo>
                  <a:close/>
                  <a:moveTo>
                    <a:pt x="2048" y="1"/>
                  </a:moveTo>
                  <a:cubicBezTo>
                    <a:pt x="1292" y="1"/>
                    <a:pt x="662" y="631"/>
                    <a:pt x="662" y="1387"/>
                  </a:cubicBezTo>
                  <a:cubicBezTo>
                    <a:pt x="662" y="1702"/>
                    <a:pt x="788" y="2017"/>
                    <a:pt x="977" y="2237"/>
                  </a:cubicBezTo>
                  <a:cubicBezTo>
                    <a:pt x="410" y="2521"/>
                    <a:pt x="1" y="3119"/>
                    <a:pt x="1" y="3781"/>
                  </a:cubicBezTo>
                  <a:lnTo>
                    <a:pt x="1" y="4443"/>
                  </a:lnTo>
                  <a:cubicBezTo>
                    <a:pt x="1" y="4632"/>
                    <a:pt x="158" y="4789"/>
                    <a:pt x="347" y="4789"/>
                  </a:cubicBezTo>
                  <a:lnTo>
                    <a:pt x="3781" y="4789"/>
                  </a:lnTo>
                  <a:cubicBezTo>
                    <a:pt x="3970" y="4789"/>
                    <a:pt x="4128" y="4632"/>
                    <a:pt x="4128" y="4443"/>
                  </a:cubicBezTo>
                  <a:lnTo>
                    <a:pt x="4128" y="3781"/>
                  </a:lnTo>
                  <a:cubicBezTo>
                    <a:pt x="4096" y="3119"/>
                    <a:pt x="3718" y="2521"/>
                    <a:pt x="3120" y="2237"/>
                  </a:cubicBezTo>
                  <a:cubicBezTo>
                    <a:pt x="3309" y="2017"/>
                    <a:pt x="3435" y="1733"/>
                    <a:pt x="3435" y="1387"/>
                  </a:cubicBezTo>
                  <a:cubicBezTo>
                    <a:pt x="3435" y="631"/>
                    <a:pt x="2805"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9" name="Google Shape;10949;p81"/>
          <p:cNvGrpSpPr/>
          <p:nvPr/>
        </p:nvGrpSpPr>
        <p:grpSpPr>
          <a:xfrm>
            <a:off x="5164756" y="2138717"/>
            <a:ext cx="425343" cy="424188"/>
            <a:chOff x="-3854375" y="2405000"/>
            <a:chExt cx="294600" cy="293800"/>
          </a:xfrm>
        </p:grpSpPr>
        <p:sp>
          <p:nvSpPr>
            <p:cNvPr id="10950" name="Google Shape;10950;p81"/>
            <p:cNvSpPr/>
            <p:nvPr/>
          </p:nvSpPr>
          <p:spPr>
            <a:xfrm>
              <a:off x="-3854375" y="2405000"/>
              <a:ext cx="294600" cy="293800"/>
            </a:xfrm>
            <a:custGeom>
              <a:avLst/>
              <a:gdLst/>
              <a:ahLst/>
              <a:cxnLst/>
              <a:rect l="l" t="t" r="r" b="b"/>
              <a:pathLst>
                <a:path w="11784" h="11752" extrusionOk="0">
                  <a:moveTo>
                    <a:pt x="6994" y="694"/>
                  </a:moveTo>
                  <a:lnTo>
                    <a:pt x="6994" y="1103"/>
                  </a:lnTo>
                  <a:cubicBezTo>
                    <a:pt x="6994" y="1261"/>
                    <a:pt x="7120" y="1387"/>
                    <a:pt x="7278" y="1418"/>
                  </a:cubicBezTo>
                  <a:cubicBezTo>
                    <a:pt x="7467" y="1481"/>
                    <a:pt x="7719" y="1576"/>
                    <a:pt x="7908" y="1702"/>
                  </a:cubicBezTo>
                  <a:cubicBezTo>
                    <a:pt x="7954" y="1736"/>
                    <a:pt x="8009" y="1750"/>
                    <a:pt x="8066" y="1750"/>
                  </a:cubicBezTo>
                  <a:cubicBezTo>
                    <a:pt x="8164" y="1750"/>
                    <a:pt x="8269" y="1710"/>
                    <a:pt x="8349" y="1670"/>
                  </a:cubicBezTo>
                  <a:lnTo>
                    <a:pt x="8664" y="1355"/>
                  </a:lnTo>
                  <a:lnTo>
                    <a:pt x="9137" y="1828"/>
                  </a:lnTo>
                  <a:lnTo>
                    <a:pt x="8822" y="2143"/>
                  </a:lnTo>
                  <a:cubicBezTo>
                    <a:pt x="8696" y="2269"/>
                    <a:pt x="8696" y="2426"/>
                    <a:pt x="8759" y="2584"/>
                  </a:cubicBezTo>
                  <a:cubicBezTo>
                    <a:pt x="8885" y="2773"/>
                    <a:pt x="8979" y="2962"/>
                    <a:pt x="9042" y="3214"/>
                  </a:cubicBezTo>
                  <a:cubicBezTo>
                    <a:pt x="9074" y="3372"/>
                    <a:pt x="9200" y="3466"/>
                    <a:pt x="9357" y="3466"/>
                  </a:cubicBezTo>
                  <a:lnTo>
                    <a:pt x="9798" y="3466"/>
                  </a:lnTo>
                  <a:lnTo>
                    <a:pt x="9798" y="4159"/>
                  </a:lnTo>
                  <a:lnTo>
                    <a:pt x="9357" y="4159"/>
                  </a:lnTo>
                  <a:cubicBezTo>
                    <a:pt x="9200" y="4159"/>
                    <a:pt x="9074" y="4222"/>
                    <a:pt x="9042" y="4380"/>
                  </a:cubicBezTo>
                  <a:cubicBezTo>
                    <a:pt x="9011" y="4569"/>
                    <a:pt x="8885" y="4821"/>
                    <a:pt x="8759" y="5010"/>
                  </a:cubicBezTo>
                  <a:cubicBezTo>
                    <a:pt x="8696" y="5136"/>
                    <a:pt x="8727" y="5325"/>
                    <a:pt x="8822" y="5451"/>
                  </a:cubicBezTo>
                  <a:lnTo>
                    <a:pt x="9137" y="5766"/>
                  </a:lnTo>
                  <a:lnTo>
                    <a:pt x="8664" y="6238"/>
                  </a:lnTo>
                  <a:lnTo>
                    <a:pt x="8349" y="5923"/>
                  </a:lnTo>
                  <a:cubicBezTo>
                    <a:pt x="8275" y="5850"/>
                    <a:pt x="8191" y="5819"/>
                    <a:pt x="8101" y="5819"/>
                  </a:cubicBezTo>
                  <a:cubicBezTo>
                    <a:pt x="8038" y="5819"/>
                    <a:pt x="7973" y="5834"/>
                    <a:pt x="7908" y="5860"/>
                  </a:cubicBezTo>
                  <a:cubicBezTo>
                    <a:pt x="7719" y="5986"/>
                    <a:pt x="7498" y="6081"/>
                    <a:pt x="7278" y="6144"/>
                  </a:cubicBezTo>
                  <a:cubicBezTo>
                    <a:pt x="7120" y="6175"/>
                    <a:pt x="6994" y="6301"/>
                    <a:pt x="6994" y="6459"/>
                  </a:cubicBezTo>
                  <a:lnTo>
                    <a:pt x="6994" y="6900"/>
                  </a:lnTo>
                  <a:lnTo>
                    <a:pt x="6333" y="6900"/>
                  </a:lnTo>
                  <a:lnTo>
                    <a:pt x="6333" y="6459"/>
                  </a:lnTo>
                  <a:cubicBezTo>
                    <a:pt x="6333" y="6301"/>
                    <a:pt x="6207" y="6207"/>
                    <a:pt x="6049" y="6144"/>
                  </a:cubicBezTo>
                  <a:cubicBezTo>
                    <a:pt x="5860" y="6112"/>
                    <a:pt x="5608" y="5986"/>
                    <a:pt x="5419" y="5860"/>
                  </a:cubicBezTo>
                  <a:cubicBezTo>
                    <a:pt x="5374" y="5838"/>
                    <a:pt x="5322" y="5828"/>
                    <a:pt x="5267" y="5828"/>
                  </a:cubicBezTo>
                  <a:cubicBezTo>
                    <a:pt x="5167" y="5828"/>
                    <a:pt x="5059" y="5862"/>
                    <a:pt x="4978" y="5923"/>
                  </a:cubicBezTo>
                  <a:lnTo>
                    <a:pt x="4663" y="6238"/>
                  </a:lnTo>
                  <a:lnTo>
                    <a:pt x="4190" y="5766"/>
                  </a:lnTo>
                  <a:lnTo>
                    <a:pt x="4505" y="5451"/>
                  </a:lnTo>
                  <a:cubicBezTo>
                    <a:pt x="4631" y="5325"/>
                    <a:pt x="4631" y="5167"/>
                    <a:pt x="4568" y="5010"/>
                  </a:cubicBezTo>
                  <a:cubicBezTo>
                    <a:pt x="4442" y="4821"/>
                    <a:pt x="4348" y="4632"/>
                    <a:pt x="4285" y="4380"/>
                  </a:cubicBezTo>
                  <a:cubicBezTo>
                    <a:pt x="4253" y="4254"/>
                    <a:pt x="4127" y="4159"/>
                    <a:pt x="4001" y="4159"/>
                  </a:cubicBezTo>
                  <a:lnTo>
                    <a:pt x="3529" y="4159"/>
                  </a:lnTo>
                  <a:lnTo>
                    <a:pt x="3529" y="3466"/>
                  </a:lnTo>
                  <a:lnTo>
                    <a:pt x="3970" y="3466"/>
                  </a:lnTo>
                  <a:cubicBezTo>
                    <a:pt x="4127" y="3466"/>
                    <a:pt x="4253" y="3372"/>
                    <a:pt x="4285" y="3214"/>
                  </a:cubicBezTo>
                  <a:cubicBezTo>
                    <a:pt x="4316" y="2993"/>
                    <a:pt x="4442" y="2773"/>
                    <a:pt x="4568" y="2584"/>
                  </a:cubicBezTo>
                  <a:cubicBezTo>
                    <a:pt x="4631" y="2458"/>
                    <a:pt x="4600" y="2269"/>
                    <a:pt x="4505" y="2143"/>
                  </a:cubicBezTo>
                  <a:lnTo>
                    <a:pt x="4190" y="1828"/>
                  </a:lnTo>
                  <a:lnTo>
                    <a:pt x="4663" y="1355"/>
                  </a:lnTo>
                  <a:lnTo>
                    <a:pt x="4978" y="1670"/>
                  </a:lnTo>
                  <a:cubicBezTo>
                    <a:pt x="5046" y="1738"/>
                    <a:pt x="5122" y="1769"/>
                    <a:pt x="5203" y="1769"/>
                  </a:cubicBezTo>
                  <a:cubicBezTo>
                    <a:pt x="5273" y="1769"/>
                    <a:pt x="5346" y="1746"/>
                    <a:pt x="5419" y="1702"/>
                  </a:cubicBezTo>
                  <a:cubicBezTo>
                    <a:pt x="5608" y="1576"/>
                    <a:pt x="5829" y="1513"/>
                    <a:pt x="6049" y="1418"/>
                  </a:cubicBezTo>
                  <a:cubicBezTo>
                    <a:pt x="6207" y="1387"/>
                    <a:pt x="6333" y="1261"/>
                    <a:pt x="6333" y="1103"/>
                  </a:cubicBezTo>
                  <a:lnTo>
                    <a:pt x="6333" y="694"/>
                  </a:lnTo>
                  <a:close/>
                  <a:moveTo>
                    <a:pt x="10964" y="4821"/>
                  </a:moveTo>
                  <a:lnTo>
                    <a:pt x="9830" y="8255"/>
                  </a:lnTo>
                  <a:lnTo>
                    <a:pt x="2773" y="8255"/>
                  </a:lnTo>
                  <a:lnTo>
                    <a:pt x="2143" y="4821"/>
                  </a:lnTo>
                  <a:lnTo>
                    <a:pt x="3686" y="4821"/>
                  </a:lnTo>
                  <a:cubicBezTo>
                    <a:pt x="3718" y="4947"/>
                    <a:pt x="3781" y="5010"/>
                    <a:pt x="3812" y="5136"/>
                  </a:cubicBezTo>
                  <a:lnTo>
                    <a:pt x="3466" y="5482"/>
                  </a:lnTo>
                  <a:cubicBezTo>
                    <a:pt x="3340" y="5608"/>
                    <a:pt x="3340" y="5829"/>
                    <a:pt x="3466" y="5955"/>
                  </a:cubicBezTo>
                  <a:lnTo>
                    <a:pt x="4442" y="6932"/>
                  </a:lnTo>
                  <a:cubicBezTo>
                    <a:pt x="4505" y="6995"/>
                    <a:pt x="4592" y="7026"/>
                    <a:pt x="4679" y="7026"/>
                  </a:cubicBezTo>
                  <a:cubicBezTo>
                    <a:pt x="4765" y="7026"/>
                    <a:pt x="4852" y="6995"/>
                    <a:pt x="4915" y="6932"/>
                  </a:cubicBezTo>
                  <a:lnTo>
                    <a:pt x="5262" y="6585"/>
                  </a:lnTo>
                  <a:cubicBezTo>
                    <a:pt x="5356" y="6617"/>
                    <a:pt x="5451" y="6680"/>
                    <a:pt x="5577" y="6711"/>
                  </a:cubicBezTo>
                  <a:lnTo>
                    <a:pt x="5577" y="7215"/>
                  </a:lnTo>
                  <a:cubicBezTo>
                    <a:pt x="5577" y="7404"/>
                    <a:pt x="5734" y="7562"/>
                    <a:pt x="5923" y="7562"/>
                  </a:cubicBezTo>
                  <a:lnTo>
                    <a:pt x="7309" y="7562"/>
                  </a:lnTo>
                  <a:cubicBezTo>
                    <a:pt x="7498" y="7562"/>
                    <a:pt x="7656" y="7404"/>
                    <a:pt x="7656" y="7215"/>
                  </a:cubicBezTo>
                  <a:lnTo>
                    <a:pt x="7656" y="6711"/>
                  </a:lnTo>
                  <a:cubicBezTo>
                    <a:pt x="7782" y="6680"/>
                    <a:pt x="7876" y="6617"/>
                    <a:pt x="7971" y="6585"/>
                  </a:cubicBezTo>
                  <a:lnTo>
                    <a:pt x="8349" y="6932"/>
                  </a:lnTo>
                  <a:cubicBezTo>
                    <a:pt x="8396" y="6995"/>
                    <a:pt x="8483" y="7026"/>
                    <a:pt x="8574" y="7026"/>
                  </a:cubicBezTo>
                  <a:cubicBezTo>
                    <a:pt x="8664" y="7026"/>
                    <a:pt x="8759" y="6995"/>
                    <a:pt x="8822" y="6932"/>
                  </a:cubicBezTo>
                  <a:lnTo>
                    <a:pt x="9798" y="5955"/>
                  </a:lnTo>
                  <a:cubicBezTo>
                    <a:pt x="9924" y="5829"/>
                    <a:pt x="9924" y="5608"/>
                    <a:pt x="9798" y="5482"/>
                  </a:cubicBezTo>
                  <a:lnTo>
                    <a:pt x="9452" y="5136"/>
                  </a:lnTo>
                  <a:cubicBezTo>
                    <a:pt x="9483" y="5041"/>
                    <a:pt x="9515" y="4947"/>
                    <a:pt x="9546" y="4821"/>
                  </a:cubicBezTo>
                  <a:close/>
                  <a:moveTo>
                    <a:pt x="3907" y="10334"/>
                  </a:moveTo>
                  <a:cubicBezTo>
                    <a:pt x="4096" y="10366"/>
                    <a:pt x="4253" y="10523"/>
                    <a:pt x="4253" y="10681"/>
                  </a:cubicBezTo>
                  <a:cubicBezTo>
                    <a:pt x="4253" y="10870"/>
                    <a:pt x="4096" y="11027"/>
                    <a:pt x="3907" y="11027"/>
                  </a:cubicBezTo>
                  <a:cubicBezTo>
                    <a:pt x="3686" y="11027"/>
                    <a:pt x="3529" y="10870"/>
                    <a:pt x="3529" y="10681"/>
                  </a:cubicBezTo>
                  <a:cubicBezTo>
                    <a:pt x="3529" y="10492"/>
                    <a:pt x="3686" y="10334"/>
                    <a:pt x="3907" y="10334"/>
                  </a:cubicBezTo>
                  <a:close/>
                  <a:moveTo>
                    <a:pt x="8664" y="10334"/>
                  </a:moveTo>
                  <a:cubicBezTo>
                    <a:pt x="8853" y="10366"/>
                    <a:pt x="9011" y="10523"/>
                    <a:pt x="9011" y="10681"/>
                  </a:cubicBezTo>
                  <a:cubicBezTo>
                    <a:pt x="9011" y="10870"/>
                    <a:pt x="8853" y="11027"/>
                    <a:pt x="8664" y="11027"/>
                  </a:cubicBezTo>
                  <a:cubicBezTo>
                    <a:pt x="8444" y="11027"/>
                    <a:pt x="8286" y="10870"/>
                    <a:pt x="8286" y="10681"/>
                  </a:cubicBezTo>
                  <a:cubicBezTo>
                    <a:pt x="8286" y="10492"/>
                    <a:pt x="8444" y="10334"/>
                    <a:pt x="8664" y="10334"/>
                  </a:cubicBezTo>
                  <a:close/>
                  <a:moveTo>
                    <a:pt x="5892" y="0"/>
                  </a:moveTo>
                  <a:cubicBezTo>
                    <a:pt x="5703" y="0"/>
                    <a:pt x="5545" y="158"/>
                    <a:pt x="5545" y="379"/>
                  </a:cubicBezTo>
                  <a:lnTo>
                    <a:pt x="5545" y="883"/>
                  </a:lnTo>
                  <a:cubicBezTo>
                    <a:pt x="5419" y="914"/>
                    <a:pt x="5356" y="946"/>
                    <a:pt x="5230" y="1009"/>
                  </a:cubicBezTo>
                  <a:lnTo>
                    <a:pt x="4883" y="631"/>
                  </a:lnTo>
                  <a:cubicBezTo>
                    <a:pt x="4820" y="583"/>
                    <a:pt x="4734" y="560"/>
                    <a:pt x="4647" y="560"/>
                  </a:cubicBezTo>
                  <a:cubicBezTo>
                    <a:pt x="4561" y="560"/>
                    <a:pt x="4474" y="583"/>
                    <a:pt x="4411" y="631"/>
                  </a:cubicBezTo>
                  <a:lnTo>
                    <a:pt x="3434" y="1639"/>
                  </a:lnTo>
                  <a:cubicBezTo>
                    <a:pt x="3308" y="1733"/>
                    <a:pt x="3308" y="1985"/>
                    <a:pt x="3434" y="2111"/>
                  </a:cubicBezTo>
                  <a:lnTo>
                    <a:pt x="3781" y="2458"/>
                  </a:lnTo>
                  <a:cubicBezTo>
                    <a:pt x="3718" y="2521"/>
                    <a:pt x="3686" y="2647"/>
                    <a:pt x="3655" y="2773"/>
                  </a:cubicBezTo>
                  <a:lnTo>
                    <a:pt x="3151" y="2773"/>
                  </a:lnTo>
                  <a:cubicBezTo>
                    <a:pt x="2930" y="2773"/>
                    <a:pt x="2773" y="2930"/>
                    <a:pt x="2773" y="3119"/>
                  </a:cubicBezTo>
                  <a:lnTo>
                    <a:pt x="2773" y="4159"/>
                  </a:lnTo>
                  <a:lnTo>
                    <a:pt x="1985" y="4159"/>
                  </a:lnTo>
                  <a:lnTo>
                    <a:pt x="1765" y="2930"/>
                  </a:lnTo>
                  <a:cubicBezTo>
                    <a:pt x="1670" y="2458"/>
                    <a:pt x="1197" y="2111"/>
                    <a:pt x="693" y="2111"/>
                  </a:cubicBezTo>
                  <a:lnTo>
                    <a:pt x="347" y="2111"/>
                  </a:lnTo>
                  <a:cubicBezTo>
                    <a:pt x="158" y="2111"/>
                    <a:pt x="0" y="2269"/>
                    <a:pt x="0" y="2458"/>
                  </a:cubicBezTo>
                  <a:cubicBezTo>
                    <a:pt x="0" y="2647"/>
                    <a:pt x="158" y="2804"/>
                    <a:pt x="347" y="2804"/>
                  </a:cubicBezTo>
                  <a:lnTo>
                    <a:pt x="693" y="2804"/>
                  </a:lnTo>
                  <a:cubicBezTo>
                    <a:pt x="882" y="2804"/>
                    <a:pt x="1103" y="2930"/>
                    <a:pt x="1103" y="3088"/>
                  </a:cubicBezTo>
                  <a:lnTo>
                    <a:pt x="2080" y="8570"/>
                  </a:lnTo>
                  <a:cubicBezTo>
                    <a:pt x="1891" y="8759"/>
                    <a:pt x="1765" y="9042"/>
                    <a:pt x="1765" y="9357"/>
                  </a:cubicBezTo>
                  <a:cubicBezTo>
                    <a:pt x="1765" y="9861"/>
                    <a:pt x="2143" y="10366"/>
                    <a:pt x="2867" y="10366"/>
                  </a:cubicBezTo>
                  <a:cubicBezTo>
                    <a:pt x="2836" y="10492"/>
                    <a:pt x="2836" y="10618"/>
                    <a:pt x="2836" y="10712"/>
                  </a:cubicBezTo>
                  <a:cubicBezTo>
                    <a:pt x="2836" y="11279"/>
                    <a:pt x="3308" y="11752"/>
                    <a:pt x="3844" y="11752"/>
                  </a:cubicBezTo>
                  <a:cubicBezTo>
                    <a:pt x="4411" y="11752"/>
                    <a:pt x="4883" y="11279"/>
                    <a:pt x="4883" y="10712"/>
                  </a:cubicBezTo>
                  <a:cubicBezTo>
                    <a:pt x="4883" y="10618"/>
                    <a:pt x="4820" y="10492"/>
                    <a:pt x="4820" y="10366"/>
                  </a:cubicBezTo>
                  <a:lnTo>
                    <a:pt x="7719" y="10366"/>
                  </a:lnTo>
                  <a:cubicBezTo>
                    <a:pt x="7656" y="10492"/>
                    <a:pt x="7656" y="10618"/>
                    <a:pt x="7656" y="10712"/>
                  </a:cubicBezTo>
                  <a:cubicBezTo>
                    <a:pt x="7656" y="11279"/>
                    <a:pt x="8129" y="11752"/>
                    <a:pt x="8696" y="11752"/>
                  </a:cubicBezTo>
                  <a:cubicBezTo>
                    <a:pt x="9231" y="11752"/>
                    <a:pt x="9735" y="11279"/>
                    <a:pt x="9735" y="10712"/>
                  </a:cubicBezTo>
                  <a:cubicBezTo>
                    <a:pt x="9735" y="10618"/>
                    <a:pt x="9672" y="10492"/>
                    <a:pt x="9672" y="10366"/>
                  </a:cubicBezTo>
                  <a:lnTo>
                    <a:pt x="10082" y="10366"/>
                  </a:lnTo>
                  <a:cubicBezTo>
                    <a:pt x="10271" y="10366"/>
                    <a:pt x="10428" y="10208"/>
                    <a:pt x="10428" y="10019"/>
                  </a:cubicBezTo>
                  <a:cubicBezTo>
                    <a:pt x="10428" y="9830"/>
                    <a:pt x="10271" y="9672"/>
                    <a:pt x="10082" y="9672"/>
                  </a:cubicBezTo>
                  <a:lnTo>
                    <a:pt x="2867" y="9672"/>
                  </a:lnTo>
                  <a:cubicBezTo>
                    <a:pt x="2678" y="9672"/>
                    <a:pt x="2521" y="9515"/>
                    <a:pt x="2521" y="9294"/>
                  </a:cubicBezTo>
                  <a:cubicBezTo>
                    <a:pt x="2521" y="9137"/>
                    <a:pt x="2678" y="8948"/>
                    <a:pt x="2867" y="8948"/>
                  </a:cubicBezTo>
                  <a:lnTo>
                    <a:pt x="10082" y="8948"/>
                  </a:lnTo>
                  <a:cubicBezTo>
                    <a:pt x="10239" y="8948"/>
                    <a:pt x="10334" y="8885"/>
                    <a:pt x="10397" y="8727"/>
                  </a:cubicBezTo>
                  <a:lnTo>
                    <a:pt x="11720" y="4663"/>
                  </a:lnTo>
                  <a:cubicBezTo>
                    <a:pt x="11783" y="4537"/>
                    <a:pt x="11720" y="4411"/>
                    <a:pt x="11689" y="4348"/>
                  </a:cubicBezTo>
                  <a:cubicBezTo>
                    <a:pt x="11563" y="4191"/>
                    <a:pt x="11405" y="4191"/>
                    <a:pt x="11279" y="4191"/>
                  </a:cubicBezTo>
                  <a:lnTo>
                    <a:pt x="10397" y="4191"/>
                  </a:lnTo>
                  <a:lnTo>
                    <a:pt x="10397" y="3119"/>
                  </a:lnTo>
                  <a:cubicBezTo>
                    <a:pt x="10397" y="2930"/>
                    <a:pt x="10239" y="2773"/>
                    <a:pt x="10019" y="2773"/>
                  </a:cubicBezTo>
                  <a:lnTo>
                    <a:pt x="9515" y="2773"/>
                  </a:lnTo>
                  <a:cubicBezTo>
                    <a:pt x="9483" y="2647"/>
                    <a:pt x="9452" y="2584"/>
                    <a:pt x="9389" y="2458"/>
                  </a:cubicBezTo>
                  <a:lnTo>
                    <a:pt x="9767" y="2080"/>
                  </a:lnTo>
                  <a:cubicBezTo>
                    <a:pt x="9861" y="1985"/>
                    <a:pt x="9861" y="1733"/>
                    <a:pt x="9767" y="1607"/>
                  </a:cubicBezTo>
                  <a:lnTo>
                    <a:pt x="8759" y="631"/>
                  </a:lnTo>
                  <a:cubicBezTo>
                    <a:pt x="8711" y="568"/>
                    <a:pt x="8625" y="536"/>
                    <a:pt x="8534" y="536"/>
                  </a:cubicBezTo>
                  <a:cubicBezTo>
                    <a:pt x="8444" y="536"/>
                    <a:pt x="8349" y="568"/>
                    <a:pt x="8286" y="631"/>
                  </a:cubicBezTo>
                  <a:lnTo>
                    <a:pt x="7939" y="1009"/>
                  </a:lnTo>
                  <a:cubicBezTo>
                    <a:pt x="7876" y="946"/>
                    <a:pt x="7750" y="914"/>
                    <a:pt x="7624" y="883"/>
                  </a:cubicBezTo>
                  <a:lnTo>
                    <a:pt x="7624" y="379"/>
                  </a:lnTo>
                  <a:cubicBezTo>
                    <a:pt x="7624" y="158"/>
                    <a:pt x="7467" y="0"/>
                    <a:pt x="72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81"/>
            <p:cNvSpPr/>
            <p:nvPr/>
          </p:nvSpPr>
          <p:spPr>
            <a:xfrm>
              <a:off x="-3731500" y="2458550"/>
              <a:ext cx="84300" cy="84300"/>
            </a:xfrm>
            <a:custGeom>
              <a:avLst/>
              <a:gdLst/>
              <a:ahLst/>
              <a:cxnLst/>
              <a:rect l="l" t="t" r="r" b="b"/>
              <a:pathLst>
                <a:path w="3372" h="3372" extrusionOk="0">
                  <a:moveTo>
                    <a:pt x="1701" y="631"/>
                  </a:moveTo>
                  <a:cubicBezTo>
                    <a:pt x="2237" y="631"/>
                    <a:pt x="2709" y="1103"/>
                    <a:pt x="2709" y="1639"/>
                  </a:cubicBezTo>
                  <a:cubicBezTo>
                    <a:pt x="2709" y="2206"/>
                    <a:pt x="2237" y="2679"/>
                    <a:pt x="1701" y="2679"/>
                  </a:cubicBezTo>
                  <a:cubicBezTo>
                    <a:pt x="1134" y="2679"/>
                    <a:pt x="662" y="2206"/>
                    <a:pt x="662" y="1639"/>
                  </a:cubicBezTo>
                  <a:cubicBezTo>
                    <a:pt x="662" y="1103"/>
                    <a:pt x="1134" y="631"/>
                    <a:pt x="1701" y="631"/>
                  </a:cubicBezTo>
                  <a:close/>
                  <a:moveTo>
                    <a:pt x="1701" y="1"/>
                  </a:moveTo>
                  <a:cubicBezTo>
                    <a:pt x="756" y="1"/>
                    <a:pt x="0" y="725"/>
                    <a:pt x="0" y="1702"/>
                  </a:cubicBezTo>
                  <a:cubicBezTo>
                    <a:pt x="0" y="2647"/>
                    <a:pt x="756" y="3372"/>
                    <a:pt x="1701" y="3372"/>
                  </a:cubicBezTo>
                  <a:cubicBezTo>
                    <a:pt x="2646" y="3372"/>
                    <a:pt x="3371" y="2647"/>
                    <a:pt x="3371" y="1702"/>
                  </a:cubicBezTo>
                  <a:cubicBezTo>
                    <a:pt x="3371" y="725"/>
                    <a:pt x="2646" y="1"/>
                    <a:pt x="17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81"/>
          <p:cNvGrpSpPr/>
          <p:nvPr/>
        </p:nvGrpSpPr>
        <p:grpSpPr>
          <a:xfrm>
            <a:off x="5178961" y="2659838"/>
            <a:ext cx="420796" cy="423033"/>
            <a:chOff x="-3852025" y="2764950"/>
            <a:chExt cx="291450" cy="293000"/>
          </a:xfrm>
        </p:grpSpPr>
        <p:sp>
          <p:nvSpPr>
            <p:cNvPr id="10953" name="Google Shape;10953;p81"/>
            <p:cNvSpPr/>
            <p:nvPr/>
          </p:nvSpPr>
          <p:spPr>
            <a:xfrm>
              <a:off x="-3852025" y="2764950"/>
              <a:ext cx="291450" cy="293000"/>
            </a:xfrm>
            <a:custGeom>
              <a:avLst/>
              <a:gdLst/>
              <a:ahLst/>
              <a:cxnLst/>
              <a:rect l="l" t="t" r="r" b="b"/>
              <a:pathLst>
                <a:path w="11658" h="11720" extrusionOk="0">
                  <a:moveTo>
                    <a:pt x="4380" y="693"/>
                  </a:moveTo>
                  <a:cubicBezTo>
                    <a:pt x="6774" y="693"/>
                    <a:pt x="8161" y="1355"/>
                    <a:pt x="8161" y="1733"/>
                  </a:cubicBezTo>
                  <a:cubicBezTo>
                    <a:pt x="8161" y="2080"/>
                    <a:pt x="6774" y="2741"/>
                    <a:pt x="4380" y="2741"/>
                  </a:cubicBezTo>
                  <a:cubicBezTo>
                    <a:pt x="1986" y="2741"/>
                    <a:pt x="599" y="2080"/>
                    <a:pt x="599" y="1733"/>
                  </a:cubicBezTo>
                  <a:cubicBezTo>
                    <a:pt x="631" y="1355"/>
                    <a:pt x="2017" y="693"/>
                    <a:pt x="4380" y="693"/>
                  </a:cubicBezTo>
                  <a:close/>
                  <a:moveTo>
                    <a:pt x="8224" y="2710"/>
                  </a:moveTo>
                  <a:lnTo>
                    <a:pt x="8224" y="4190"/>
                  </a:lnTo>
                  <a:lnTo>
                    <a:pt x="7845" y="4190"/>
                  </a:lnTo>
                  <a:cubicBezTo>
                    <a:pt x="7815" y="4189"/>
                    <a:pt x="7784" y="4189"/>
                    <a:pt x="7753" y="4189"/>
                  </a:cubicBezTo>
                  <a:cubicBezTo>
                    <a:pt x="6625" y="4189"/>
                    <a:pt x="5622" y="4748"/>
                    <a:pt x="4947" y="5545"/>
                  </a:cubicBezTo>
                  <a:cubicBezTo>
                    <a:pt x="4743" y="5555"/>
                    <a:pt x="4544" y="5560"/>
                    <a:pt x="4352" y="5560"/>
                  </a:cubicBezTo>
                  <a:cubicBezTo>
                    <a:pt x="2081" y="5560"/>
                    <a:pt x="662" y="4912"/>
                    <a:pt x="662" y="4505"/>
                  </a:cubicBezTo>
                  <a:lnTo>
                    <a:pt x="662" y="2710"/>
                  </a:lnTo>
                  <a:cubicBezTo>
                    <a:pt x="1639" y="3308"/>
                    <a:pt x="3246" y="3466"/>
                    <a:pt x="4443" y="3466"/>
                  </a:cubicBezTo>
                  <a:cubicBezTo>
                    <a:pt x="5577" y="3466"/>
                    <a:pt x="7215" y="3308"/>
                    <a:pt x="8224" y="2710"/>
                  </a:cubicBezTo>
                  <a:close/>
                  <a:moveTo>
                    <a:pt x="631" y="5514"/>
                  </a:moveTo>
                  <a:cubicBezTo>
                    <a:pt x="1639" y="6081"/>
                    <a:pt x="3309" y="6238"/>
                    <a:pt x="4474" y="6238"/>
                  </a:cubicBezTo>
                  <a:cubicBezTo>
                    <a:pt x="4222" y="6711"/>
                    <a:pt x="4065" y="7309"/>
                    <a:pt x="4065" y="7939"/>
                  </a:cubicBezTo>
                  <a:lnTo>
                    <a:pt x="4065" y="8286"/>
                  </a:lnTo>
                  <a:cubicBezTo>
                    <a:pt x="1860" y="8223"/>
                    <a:pt x="631" y="7624"/>
                    <a:pt x="631" y="7278"/>
                  </a:cubicBezTo>
                  <a:lnTo>
                    <a:pt x="631" y="5514"/>
                  </a:lnTo>
                  <a:close/>
                  <a:moveTo>
                    <a:pt x="631" y="8223"/>
                  </a:moveTo>
                  <a:cubicBezTo>
                    <a:pt x="1576" y="8759"/>
                    <a:pt x="3120" y="8979"/>
                    <a:pt x="4222" y="8979"/>
                  </a:cubicBezTo>
                  <a:cubicBezTo>
                    <a:pt x="4474" y="9798"/>
                    <a:pt x="4947" y="10460"/>
                    <a:pt x="5609" y="10964"/>
                  </a:cubicBezTo>
                  <a:cubicBezTo>
                    <a:pt x="5199" y="11005"/>
                    <a:pt x="4802" y="11024"/>
                    <a:pt x="4424" y="11024"/>
                  </a:cubicBezTo>
                  <a:cubicBezTo>
                    <a:pt x="2216" y="11024"/>
                    <a:pt x="631" y="10391"/>
                    <a:pt x="631" y="9987"/>
                  </a:cubicBezTo>
                  <a:lnTo>
                    <a:pt x="631" y="8223"/>
                  </a:lnTo>
                  <a:close/>
                  <a:moveTo>
                    <a:pt x="7814" y="4852"/>
                  </a:moveTo>
                  <a:cubicBezTo>
                    <a:pt x="9515" y="4852"/>
                    <a:pt x="10933" y="6238"/>
                    <a:pt x="10933" y="7939"/>
                  </a:cubicBezTo>
                  <a:cubicBezTo>
                    <a:pt x="10964" y="9641"/>
                    <a:pt x="9547" y="11027"/>
                    <a:pt x="7814" y="11027"/>
                  </a:cubicBezTo>
                  <a:cubicBezTo>
                    <a:pt x="6113" y="11027"/>
                    <a:pt x="4726" y="9641"/>
                    <a:pt x="4726" y="7939"/>
                  </a:cubicBezTo>
                  <a:cubicBezTo>
                    <a:pt x="4726" y="6238"/>
                    <a:pt x="6113" y="4852"/>
                    <a:pt x="7814" y="4852"/>
                  </a:cubicBezTo>
                  <a:close/>
                  <a:moveTo>
                    <a:pt x="4411" y="0"/>
                  </a:moveTo>
                  <a:cubicBezTo>
                    <a:pt x="3277" y="0"/>
                    <a:pt x="2206" y="158"/>
                    <a:pt x="1418" y="410"/>
                  </a:cubicBezTo>
                  <a:cubicBezTo>
                    <a:pt x="253" y="819"/>
                    <a:pt x="1" y="1323"/>
                    <a:pt x="1" y="1733"/>
                  </a:cubicBezTo>
                  <a:lnTo>
                    <a:pt x="1" y="9987"/>
                  </a:lnTo>
                  <a:cubicBezTo>
                    <a:pt x="1" y="10334"/>
                    <a:pt x="253" y="10901"/>
                    <a:pt x="1418" y="11279"/>
                  </a:cubicBezTo>
                  <a:cubicBezTo>
                    <a:pt x="2269" y="11562"/>
                    <a:pt x="3309" y="11720"/>
                    <a:pt x="4411" y="11720"/>
                  </a:cubicBezTo>
                  <a:cubicBezTo>
                    <a:pt x="5199" y="11720"/>
                    <a:pt x="5955" y="11657"/>
                    <a:pt x="6617" y="11531"/>
                  </a:cubicBezTo>
                  <a:cubicBezTo>
                    <a:pt x="7026" y="11657"/>
                    <a:pt x="7404" y="11720"/>
                    <a:pt x="7845" y="11720"/>
                  </a:cubicBezTo>
                  <a:cubicBezTo>
                    <a:pt x="9925" y="11720"/>
                    <a:pt x="11658" y="10019"/>
                    <a:pt x="11658" y="7939"/>
                  </a:cubicBezTo>
                  <a:cubicBezTo>
                    <a:pt x="11626" y="6175"/>
                    <a:pt x="10397" y="4757"/>
                    <a:pt x="8822" y="4316"/>
                  </a:cubicBezTo>
                  <a:lnTo>
                    <a:pt x="8822" y="1733"/>
                  </a:lnTo>
                  <a:cubicBezTo>
                    <a:pt x="8822" y="1355"/>
                    <a:pt x="8602" y="819"/>
                    <a:pt x="7404" y="410"/>
                  </a:cubicBezTo>
                  <a:cubicBezTo>
                    <a:pt x="6585" y="158"/>
                    <a:pt x="5514" y="0"/>
                    <a:pt x="4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81"/>
            <p:cNvSpPr/>
            <p:nvPr/>
          </p:nvSpPr>
          <p:spPr>
            <a:xfrm>
              <a:off x="-3707100" y="2937425"/>
              <a:ext cx="103200" cy="67775"/>
            </a:xfrm>
            <a:custGeom>
              <a:avLst/>
              <a:gdLst/>
              <a:ahLst/>
              <a:cxnLst/>
              <a:rect l="l" t="t" r="r" b="b"/>
              <a:pathLst>
                <a:path w="4128" h="2711" extrusionOk="0">
                  <a:moveTo>
                    <a:pt x="3785" y="1"/>
                  </a:moveTo>
                  <a:cubicBezTo>
                    <a:pt x="3695" y="1"/>
                    <a:pt x="3608" y="32"/>
                    <a:pt x="3561" y="95"/>
                  </a:cubicBezTo>
                  <a:lnTo>
                    <a:pt x="1733" y="1923"/>
                  </a:lnTo>
                  <a:lnTo>
                    <a:pt x="599" y="757"/>
                  </a:lnTo>
                  <a:cubicBezTo>
                    <a:pt x="536" y="710"/>
                    <a:pt x="450" y="686"/>
                    <a:pt x="363" y="686"/>
                  </a:cubicBezTo>
                  <a:cubicBezTo>
                    <a:pt x="276" y="686"/>
                    <a:pt x="190" y="710"/>
                    <a:pt x="127" y="757"/>
                  </a:cubicBezTo>
                  <a:cubicBezTo>
                    <a:pt x="1" y="883"/>
                    <a:pt x="1" y="1135"/>
                    <a:pt x="127" y="1229"/>
                  </a:cubicBezTo>
                  <a:lnTo>
                    <a:pt x="1513" y="2616"/>
                  </a:lnTo>
                  <a:cubicBezTo>
                    <a:pt x="1560" y="2679"/>
                    <a:pt x="1647" y="2710"/>
                    <a:pt x="1737" y="2710"/>
                  </a:cubicBezTo>
                  <a:cubicBezTo>
                    <a:pt x="1828" y="2710"/>
                    <a:pt x="1922" y="2679"/>
                    <a:pt x="1985" y="2616"/>
                  </a:cubicBezTo>
                  <a:lnTo>
                    <a:pt x="4033" y="568"/>
                  </a:lnTo>
                  <a:cubicBezTo>
                    <a:pt x="4128" y="442"/>
                    <a:pt x="4128" y="221"/>
                    <a:pt x="4033" y="95"/>
                  </a:cubicBezTo>
                  <a:cubicBezTo>
                    <a:pt x="3970" y="32"/>
                    <a:pt x="3876" y="1"/>
                    <a:pt x="37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55" name="Google Shape;10955;p81"/>
          <p:cNvSpPr/>
          <p:nvPr/>
        </p:nvSpPr>
        <p:spPr>
          <a:xfrm>
            <a:off x="7900991" y="1681753"/>
            <a:ext cx="421914" cy="319549"/>
          </a:xfrm>
          <a:custGeom>
            <a:avLst/>
            <a:gdLst/>
            <a:ahLst/>
            <a:cxnLst/>
            <a:rect l="l" t="t" r="r" b="b"/>
            <a:pathLst>
              <a:path w="11689" h="8853" extrusionOk="0">
                <a:moveTo>
                  <a:pt x="1040" y="2709"/>
                </a:moveTo>
                <a:cubicBezTo>
                  <a:pt x="1229" y="2709"/>
                  <a:pt x="1386" y="2867"/>
                  <a:pt x="1386" y="3056"/>
                </a:cubicBezTo>
                <a:lnTo>
                  <a:pt x="1386" y="5828"/>
                </a:lnTo>
                <a:cubicBezTo>
                  <a:pt x="1386" y="6017"/>
                  <a:pt x="1229" y="6175"/>
                  <a:pt x="1040" y="6175"/>
                </a:cubicBezTo>
                <a:cubicBezTo>
                  <a:pt x="819" y="6175"/>
                  <a:pt x="662" y="6017"/>
                  <a:pt x="662" y="5828"/>
                </a:cubicBezTo>
                <a:lnTo>
                  <a:pt x="662" y="3056"/>
                </a:lnTo>
                <a:cubicBezTo>
                  <a:pt x="662" y="2867"/>
                  <a:pt x="819" y="2709"/>
                  <a:pt x="1040" y="2709"/>
                </a:cubicBezTo>
                <a:close/>
                <a:moveTo>
                  <a:pt x="9641" y="1449"/>
                </a:moveTo>
                <a:lnTo>
                  <a:pt x="9641" y="7435"/>
                </a:lnTo>
                <a:lnTo>
                  <a:pt x="2079" y="5545"/>
                </a:lnTo>
                <a:lnTo>
                  <a:pt x="2079" y="3340"/>
                </a:lnTo>
                <a:lnTo>
                  <a:pt x="9641" y="1449"/>
                </a:lnTo>
                <a:close/>
                <a:moveTo>
                  <a:pt x="3466" y="6616"/>
                </a:moveTo>
                <a:lnTo>
                  <a:pt x="6112" y="7278"/>
                </a:lnTo>
                <a:cubicBezTo>
                  <a:pt x="5954" y="7845"/>
                  <a:pt x="5450" y="8223"/>
                  <a:pt x="4820" y="8223"/>
                </a:cubicBezTo>
                <a:cubicBezTo>
                  <a:pt x="4064" y="8223"/>
                  <a:pt x="3434" y="7593"/>
                  <a:pt x="3434" y="6837"/>
                </a:cubicBezTo>
                <a:cubicBezTo>
                  <a:pt x="3434" y="6774"/>
                  <a:pt x="3434" y="6679"/>
                  <a:pt x="3466" y="6616"/>
                </a:cubicBezTo>
                <a:close/>
                <a:moveTo>
                  <a:pt x="10680" y="662"/>
                </a:moveTo>
                <a:cubicBezTo>
                  <a:pt x="10869" y="662"/>
                  <a:pt x="11027" y="819"/>
                  <a:pt x="11027" y="1008"/>
                </a:cubicBezTo>
                <a:lnTo>
                  <a:pt x="11027" y="7876"/>
                </a:lnTo>
                <a:cubicBezTo>
                  <a:pt x="11027" y="8065"/>
                  <a:pt x="10869" y="8223"/>
                  <a:pt x="10680" y="8223"/>
                </a:cubicBezTo>
                <a:cubicBezTo>
                  <a:pt x="10491" y="8223"/>
                  <a:pt x="10334" y="8065"/>
                  <a:pt x="10334" y="7876"/>
                </a:cubicBezTo>
                <a:lnTo>
                  <a:pt x="10334" y="1008"/>
                </a:lnTo>
                <a:cubicBezTo>
                  <a:pt x="10334" y="819"/>
                  <a:pt x="10491" y="662"/>
                  <a:pt x="10680" y="662"/>
                </a:cubicBezTo>
                <a:close/>
                <a:moveTo>
                  <a:pt x="10680" y="0"/>
                </a:moveTo>
                <a:cubicBezTo>
                  <a:pt x="10208" y="0"/>
                  <a:pt x="9798" y="315"/>
                  <a:pt x="9704" y="756"/>
                </a:cubicBezTo>
                <a:lnTo>
                  <a:pt x="1985" y="2678"/>
                </a:lnTo>
                <a:cubicBezTo>
                  <a:pt x="1827" y="2331"/>
                  <a:pt x="1449" y="2048"/>
                  <a:pt x="1040" y="2048"/>
                </a:cubicBezTo>
                <a:cubicBezTo>
                  <a:pt x="473" y="2048"/>
                  <a:pt x="0" y="2520"/>
                  <a:pt x="0" y="3056"/>
                </a:cubicBezTo>
                <a:lnTo>
                  <a:pt x="0" y="5828"/>
                </a:lnTo>
                <a:cubicBezTo>
                  <a:pt x="0" y="6364"/>
                  <a:pt x="473" y="6837"/>
                  <a:pt x="1040" y="6837"/>
                </a:cubicBezTo>
                <a:cubicBezTo>
                  <a:pt x="1449" y="6837"/>
                  <a:pt x="1827" y="6616"/>
                  <a:pt x="1985" y="6206"/>
                </a:cubicBezTo>
                <a:lnTo>
                  <a:pt x="2804" y="6427"/>
                </a:lnTo>
                <a:cubicBezTo>
                  <a:pt x="2772" y="6522"/>
                  <a:pt x="2772" y="6679"/>
                  <a:pt x="2772" y="6805"/>
                </a:cubicBezTo>
                <a:cubicBezTo>
                  <a:pt x="2772" y="7939"/>
                  <a:pt x="3655" y="8853"/>
                  <a:pt x="4820" y="8853"/>
                </a:cubicBezTo>
                <a:cubicBezTo>
                  <a:pt x="5324" y="8853"/>
                  <a:pt x="5828" y="8664"/>
                  <a:pt x="6175" y="8317"/>
                </a:cubicBezTo>
                <a:cubicBezTo>
                  <a:pt x="6459" y="8065"/>
                  <a:pt x="6648" y="7719"/>
                  <a:pt x="6774" y="7341"/>
                </a:cubicBezTo>
                <a:lnTo>
                  <a:pt x="9704" y="8065"/>
                </a:lnTo>
                <a:cubicBezTo>
                  <a:pt x="9798" y="8506"/>
                  <a:pt x="10208" y="8821"/>
                  <a:pt x="10680" y="8821"/>
                </a:cubicBezTo>
                <a:cubicBezTo>
                  <a:pt x="11216" y="8821"/>
                  <a:pt x="11688" y="8349"/>
                  <a:pt x="11688" y="7782"/>
                </a:cubicBezTo>
                <a:lnTo>
                  <a:pt x="11688" y="945"/>
                </a:lnTo>
                <a:cubicBezTo>
                  <a:pt x="11688" y="473"/>
                  <a:pt x="11279" y="0"/>
                  <a:pt x="10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81"/>
          <p:cNvSpPr/>
          <p:nvPr/>
        </p:nvSpPr>
        <p:spPr>
          <a:xfrm>
            <a:off x="7900991" y="2140284"/>
            <a:ext cx="421914" cy="420759"/>
          </a:xfrm>
          <a:custGeom>
            <a:avLst/>
            <a:gdLst/>
            <a:ahLst/>
            <a:cxnLst/>
            <a:rect l="l" t="t" r="r" b="b"/>
            <a:pathLst>
              <a:path w="11689" h="11657" extrusionOk="0">
                <a:moveTo>
                  <a:pt x="5860" y="662"/>
                </a:moveTo>
                <a:cubicBezTo>
                  <a:pt x="6080" y="662"/>
                  <a:pt x="6238" y="851"/>
                  <a:pt x="6238" y="1040"/>
                </a:cubicBezTo>
                <a:lnTo>
                  <a:pt x="6238" y="1386"/>
                </a:lnTo>
                <a:lnTo>
                  <a:pt x="756" y="1386"/>
                </a:lnTo>
                <a:lnTo>
                  <a:pt x="756" y="1040"/>
                </a:lnTo>
                <a:cubicBezTo>
                  <a:pt x="725" y="851"/>
                  <a:pt x="882" y="662"/>
                  <a:pt x="1071" y="662"/>
                </a:cubicBezTo>
                <a:close/>
                <a:moveTo>
                  <a:pt x="6175" y="2048"/>
                </a:moveTo>
                <a:lnTo>
                  <a:pt x="6175" y="3686"/>
                </a:lnTo>
                <a:cubicBezTo>
                  <a:pt x="5639" y="3686"/>
                  <a:pt x="5198" y="4096"/>
                  <a:pt x="5198" y="4663"/>
                </a:cubicBezTo>
                <a:cubicBezTo>
                  <a:pt x="4820" y="4694"/>
                  <a:pt x="4505" y="4883"/>
                  <a:pt x="4348" y="5261"/>
                </a:cubicBezTo>
                <a:lnTo>
                  <a:pt x="3592" y="4505"/>
                </a:lnTo>
                <a:cubicBezTo>
                  <a:pt x="3403" y="4300"/>
                  <a:pt x="3135" y="4198"/>
                  <a:pt x="2867" y="4198"/>
                </a:cubicBezTo>
                <a:cubicBezTo>
                  <a:pt x="2599" y="4198"/>
                  <a:pt x="2331" y="4300"/>
                  <a:pt x="2142" y="4505"/>
                </a:cubicBezTo>
                <a:cubicBezTo>
                  <a:pt x="1733" y="4883"/>
                  <a:pt x="1733" y="5576"/>
                  <a:pt x="2142" y="5954"/>
                </a:cubicBezTo>
                <a:lnTo>
                  <a:pt x="4505" y="8317"/>
                </a:lnTo>
                <a:lnTo>
                  <a:pt x="4316" y="8317"/>
                </a:lnTo>
                <a:cubicBezTo>
                  <a:pt x="3875" y="8317"/>
                  <a:pt x="3466" y="8601"/>
                  <a:pt x="3308" y="9042"/>
                </a:cubicBezTo>
                <a:lnTo>
                  <a:pt x="725" y="9042"/>
                </a:lnTo>
                <a:lnTo>
                  <a:pt x="725" y="8979"/>
                </a:lnTo>
                <a:lnTo>
                  <a:pt x="725" y="2048"/>
                </a:lnTo>
                <a:close/>
                <a:moveTo>
                  <a:pt x="7640" y="3907"/>
                </a:moveTo>
                <a:cubicBezTo>
                  <a:pt x="7727" y="3907"/>
                  <a:pt x="7813" y="3938"/>
                  <a:pt x="7876" y="4001"/>
                </a:cubicBezTo>
                <a:lnTo>
                  <a:pt x="8664" y="4789"/>
                </a:lnTo>
                <a:cubicBezTo>
                  <a:pt x="9325" y="5450"/>
                  <a:pt x="9861" y="6238"/>
                  <a:pt x="10113" y="7026"/>
                </a:cubicBezTo>
                <a:lnTo>
                  <a:pt x="7530" y="9609"/>
                </a:lnTo>
                <a:lnTo>
                  <a:pt x="4222" y="9609"/>
                </a:lnTo>
                <a:cubicBezTo>
                  <a:pt x="4033" y="9609"/>
                  <a:pt x="3875" y="9451"/>
                  <a:pt x="3875" y="9262"/>
                </a:cubicBezTo>
                <a:cubicBezTo>
                  <a:pt x="3875" y="9073"/>
                  <a:pt x="4033" y="8916"/>
                  <a:pt x="4222" y="8916"/>
                </a:cubicBezTo>
                <a:lnTo>
                  <a:pt x="5230" y="8916"/>
                </a:lnTo>
                <a:cubicBezTo>
                  <a:pt x="5387" y="8916"/>
                  <a:pt x="5513" y="8821"/>
                  <a:pt x="5545" y="8695"/>
                </a:cubicBezTo>
                <a:cubicBezTo>
                  <a:pt x="5608" y="8601"/>
                  <a:pt x="5608" y="8443"/>
                  <a:pt x="5482" y="8349"/>
                </a:cubicBezTo>
                <a:lnTo>
                  <a:pt x="2520" y="5387"/>
                </a:lnTo>
                <a:cubicBezTo>
                  <a:pt x="2394" y="5293"/>
                  <a:pt x="2394" y="5041"/>
                  <a:pt x="2520" y="4915"/>
                </a:cubicBezTo>
                <a:cubicBezTo>
                  <a:pt x="2583" y="4868"/>
                  <a:pt x="2670" y="4844"/>
                  <a:pt x="2757" y="4844"/>
                </a:cubicBezTo>
                <a:cubicBezTo>
                  <a:pt x="2843" y="4844"/>
                  <a:pt x="2930" y="4868"/>
                  <a:pt x="2993" y="4915"/>
                </a:cubicBezTo>
                <a:lnTo>
                  <a:pt x="4442" y="6395"/>
                </a:lnTo>
                <a:lnTo>
                  <a:pt x="5450" y="7372"/>
                </a:lnTo>
                <a:cubicBezTo>
                  <a:pt x="5498" y="7435"/>
                  <a:pt x="5584" y="7467"/>
                  <a:pt x="5675" y="7467"/>
                </a:cubicBezTo>
                <a:cubicBezTo>
                  <a:pt x="5765" y="7467"/>
                  <a:pt x="5860" y="7435"/>
                  <a:pt x="5923" y="7372"/>
                </a:cubicBezTo>
                <a:cubicBezTo>
                  <a:pt x="6017" y="7246"/>
                  <a:pt x="6017" y="7026"/>
                  <a:pt x="5923" y="6900"/>
                </a:cubicBezTo>
                <a:lnTo>
                  <a:pt x="4915" y="5923"/>
                </a:lnTo>
                <a:cubicBezTo>
                  <a:pt x="4820" y="5797"/>
                  <a:pt x="4820" y="5545"/>
                  <a:pt x="4915" y="5450"/>
                </a:cubicBezTo>
                <a:cubicBezTo>
                  <a:pt x="4978" y="5387"/>
                  <a:pt x="5072" y="5356"/>
                  <a:pt x="5163" y="5356"/>
                </a:cubicBezTo>
                <a:cubicBezTo>
                  <a:pt x="5253" y="5356"/>
                  <a:pt x="5340" y="5387"/>
                  <a:pt x="5387" y="5450"/>
                </a:cubicBezTo>
                <a:lnTo>
                  <a:pt x="6396" y="6427"/>
                </a:lnTo>
                <a:cubicBezTo>
                  <a:pt x="6443" y="6490"/>
                  <a:pt x="6529" y="6522"/>
                  <a:pt x="6620" y="6522"/>
                </a:cubicBezTo>
                <a:cubicBezTo>
                  <a:pt x="6711" y="6522"/>
                  <a:pt x="6805" y="6490"/>
                  <a:pt x="6868" y="6427"/>
                </a:cubicBezTo>
                <a:cubicBezTo>
                  <a:pt x="6963" y="6301"/>
                  <a:pt x="6963" y="6080"/>
                  <a:pt x="6868" y="5954"/>
                </a:cubicBezTo>
                <a:lnTo>
                  <a:pt x="5860" y="4978"/>
                </a:lnTo>
                <a:cubicBezTo>
                  <a:pt x="5765" y="4852"/>
                  <a:pt x="5765" y="4631"/>
                  <a:pt x="5860" y="4505"/>
                </a:cubicBezTo>
                <a:cubicBezTo>
                  <a:pt x="5923" y="4442"/>
                  <a:pt x="6017" y="4411"/>
                  <a:pt x="6108" y="4411"/>
                </a:cubicBezTo>
                <a:cubicBezTo>
                  <a:pt x="6199" y="4411"/>
                  <a:pt x="6285" y="4442"/>
                  <a:pt x="6333" y="4505"/>
                </a:cubicBezTo>
                <a:lnTo>
                  <a:pt x="7341" y="5482"/>
                </a:lnTo>
                <a:cubicBezTo>
                  <a:pt x="7388" y="5545"/>
                  <a:pt x="7475" y="5576"/>
                  <a:pt x="7565" y="5576"/>
                </a:cubicBezTo>
                <a:cubicBezTo>
                  <a:pt x="7656" y="5576"/>
                  <a:pt x="7750" y="5545"/>
                  <a:pt x="7813" y="5482"/>
                </a:cubicBezTo>
                <a:cubicBezTo>
                  <a:pt x="7908" y="5356"/>
                  <a:pt x="7908" y="5135"/>
                  <a:pt x="7813" y="5009"/>
                </a:cubicBezTo>
                <a:lnTo>
                  <a:pt x="7341" y="4537"/>
                </a:lnTo>
                <a:cubicBezTo>
                  <a:pt x="7278" y="4348"/>
                  <a:pt x="7278" y="4096"/>
                  <a:pt x="7404" y="4001"/>
                </a:cubicBezTo>
                <a:cubicBezTo>
                  <a:pt x="7467" y="3938"/>
                  <a:pt x="7553" y="3907"/>
                  <a:pt x="7640" y="3907"/>
                </a:cubicBezTo>
                <a:close/>
                <a:moveTo>
                  <a:pt x="10554" y="7624"/>
                </a:moveTo>
                <a:lnTo>
                  <a:pt x="10806" y="7845"/>
                </a:lnTo>
                <a:cubicBezTo>
                  <a:pt x="10964" y="8002"/>
                  <a:pt x="10964" y="8191"/>
                  <a:pt x="10806" y="8317"/>
                </a:cubicBezTo>
                <a:lnTo>
                  <a:pt x="8853" y="10239"/>
                </a:lnTo>
                <a:cubicBezTo>
                  <a:pt x="8806" y="10302"/>
                  <a:pt x="8719" y="10334"/>
                  <a:pt x="8628" y="10334"/>
                </a:cubicBezTo>
                <a:cubicBezTo>
                  <a:pt x="8538" y="10334"/>
                  <a:pt x="8443" y="10302"/>
                  <a:pt x="8380" y="10239"/>
                </a:cubicBezTo>
                <a:lnTo>
                  <a:pt x="8160" y="10019"/>
                </a:lnTo>
                <a:lnTo>
                  <a:pt x="10554" y="7624"/>
                </a:lnTo>
                <a:close/>
                <a:moveTo>
                  <a:pt x="3277" y="9672"/>
                </a:moveTo>
                <a:cubicBezTo>
                  <a:pt x="3434" y="10050"/>
                  <a:pt x="3781" y="10334"/>
                  <a:pt x="4222" y="10334"/>
                </a:cubicBezTo>
                <a:lnTo>
                  <a:pt x="6143" y="10334"/>
                </a:lnTo>
                <a:lnTo>
                  <a:pt x="6143" y="10680"/>
                </a:lnTo>
                <a:lnTo>
                  <a:pt x="6175" y="10680"/>
                </a:lnTo>
                <a:cubicBezTo>
                  <a:pt x="6175" y="10869"/>
                  <a:pt x="6017" y="11027"/>
                  <a:pt x="5828" y="11027"/>
                </a:cubicBezTo>
                <a:lnTo>
                  <a:pt x="1040" y="11027"/>
                </a:lnTo>
                <a:cubicBezTo>
                  <a:pt x="819" y="11027"/>
                  <a:pt x="662" y="10869"/>
                  <a:pt x="662" y="10680"/>
                </a:cubicBezTo>
                <a:lnTo>
                  <a:pt x="662" y="9672"/>
                </a:lnTo>
                <a:close/>
                <a:moveTo>
                  <a:pt x="1040" y="0"/>
                </a:moveTo>
                <a:cubicBezTo>
                  <a:pt x="473" y="0"/>
                  <a:pt x="0" y="473"/>
                  <a:pt x="0" y="1040"/>
                </a:cubicBezTo>
                <a:lnTo>
                  <a:pt x="0" y="10649"/>
                </a:lnTo>
                <a:cubicBezTo>
                  <a:pt x="0" y="11184"/>
                  <a:pt x="473" y="11657"/>
                  <a:pt x="1040" y="11657"/>
                </a:cubicBezTo>
                <a:lnTo>
                  <a:pt x="5828" y="11657"/>
                </a:lnTo>
                <a:cubicBezTo>
                  <a:pt x="6396" y="11657"/>
                  <a:pt x="6868" y="11184"/>
                  <a:pt x="6868" y="10649"/>
                </a:cubicBezTo>
                <a:lnTo>
                  <a:pt x="6868" y="10334"/>
                </a:lnTo>
                <a:lnTo>
                  <a:pt x="7467" y="10334"/>
                </a:lnTo>
                <a:lnTo>
                  <a:pt x="7876" y="10775"/>
                </a:lnTo>
                <a:cubicBezTo>
                  <a:pt x="8081" y="10964"/>
                  <a:pt x="8349" y="11058"/>
                  <a:pt x="8613" y="11058"/>
                </a:cubicBezTo>
                <a:cubicBezTo>
                  <a:pt x="8877" y="11058"/>
                  <a:pt x="9136" y="10964"/>
                  <a:pt x="9325" y="10775"/>
                </a:cubicBezTo>
                <a:lnTo>
                  <a:pt x="11279" y="8821"/>
                </a:lnTo>
                <a:cubicBezTo>
                  <a:pt x="11688" y="8443"/>
                  <a:pt x="11688" y="7782"/>
                  <a:pt x="11310" y="7372"/>
                </a:cubicBezTo>
                <a:lnTo>
                  <a:pt x="10869" y="6931"/>
                </a:lnTo>
                <a:cubicBezTo>
                  <a:pt x="10554" y="6080"/>
                  <a:pt x="10082" y="5261"/>
                  <a:pt x="9420" y="4505"/>
                </a:cubicBezTo>
                <a:lnTo>
                  <a:pt x="8380" y="3466"/>
                </a:lnTo>
                <a:cubicBezTo>
                  <a:pt x="8191" y="3277"/>
                  <a:pt x="7931" y="3182"/>
                  <a:pt x="7668" y="3182"/>
                </a:cubicBezTo>
                <a:cubicBezTo>
                  <a:pt x="7404" y="3182"/>
                  <a:pt x="7136" y="3277"/>
                  <a:pt x="6931" y="3466"/>
                </a:cubicBezTo>
                <a:lnTo>
                  <a:pt x="6868" y="3560"/>
                </a:lnTo>
                <a:lnTo>
                  <a:pt x="6868" y="1040"/>
                </a:lnTo>
                <a:cubicBezTo>
                  <a:pt x="6868" y="473"/>
                  <a:pt x="6396" y="0"/>
                  <a:pt x="5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57" name="Google Shape;10957;p81"/>
          <p:cNvGrpSpPr/>
          <p:nvPr/>
        </p:nvGrpSpPr>
        <p:grpSpPr>
          <a:xfrm>
            <a:off x="7901550" y="2660398"/>
            <a:ext cx="420796" cy="421914"/>
            <a:chOff x="-2060175" y="2768875"/>
            <a:chExt cx="291450" cy="292225"/>
          </a:xfrm>
        </p:grpSpPr>
        <p:sp>
          <p:nvSpPr>
            <p:cNvPr id="10958" name="Google Shape;10958;p81"/>
            <p:cNvSpPr/>
            <p:nvPr/>
          </p:nvSpPr>
          <p:spPr>
            <a:xfrm>
              <a:off x="-2060175" y="2768875"/>
              <a:ext cx="291450" cy="292225"/>
            </a:xfrm>
            <a:custGeom>
              <a:avLst/>
              <a:gdLst/>
              <a:ahLst/>
              <a:cxnLst/>
              <a:rect l="l" t="t" r="r" b="b"/>
              <a:pathLst>
                <a:path w="11658" h="11689" extrusionOk="0">
                  <a:moveTo>
                    <a:pt x="10649" y="662"/>
                  </a:moveTo>
                  <a:cubicBezTo>
                    <a:pt x="10838" y="662"/>
                    <a:pt x="10996" y="820"/>
                    <a:pt x="10996" y="1009"/>
                  </a:cubicBezTo>
                  <a:cubicBezTo>
                    <a:pt x="10996" y="1198"/>
                    <a:pt x="10838" y="1355"/>
                    <a:pt x="10649" y="1355"/>
                  </a:cubicBezTo>
                  <a:lnTo>
                    <a:pt x="1040" y="1355"/>
                  </a:lnTo>
                  <a:cubicBezTo>
                    <a:pt x="851" y="1355"/>
                    <a:pt x="694" y="1198"/>
                    <a:pt x="694" y="1009"/>
                  </a:cubicBezTo>
                  <a:cubicBezTo>
                    <a:pt x="694" y="820"/>
                    <a:pt x="851" y="662"/>
                    <a:pt x="1040" y="662"/>
                  </a:cubicBezTo>
                  <a:close/>
                  <a:moveTo>
                    <a:pt x="10303" y="2049"/>
                  </a:moveTo>
                  <a:lnTo>
                    <a:pt x="10303" y="7908"/>
                  </a:lnTo>
                  <a:cubicBezTo>
                    <a:pt x="10334" y="8097"/>
                    <a:pt x="10177" y="8255"/>
                    <a:pt x="9988" y="8255"/>
                  </a:cubicBezTo>
                  <a:lnTo>
                    <a:pt x="1702" y="8255"/>
                  </a:lnTo>
                  <a:cubicBezTo>
                    <a:pt x="1513" y="8255"/>
                    <a:pt x="1355" y="8097"/>
                    <a:pt x="1355" y="7908"/>
                  </a:cubicBezTo>
                  <a:lnTo>
                    <a:pt x="1355" y="2049"/>
                  </a:lnTo>
                  <a:close/>
                  <a:moveTo>
                    <a:pt x="5797" y="10271"/>
                  </a:moveTo>
                  <a:cubicBezTo>
                    <a:pt x="5986" y="10271"/>
                    <a:pt x="6144" y="10429"/>
                    <a:pt x="6144" y="10618"/>
                  </a:cubicBezTo>
                  <a:cubicBezTo>
                    <a:pt x="6144" y="10807"/>
                    <a:pt x="5986" y="10964"/>
                    <a:pt x="5797" y="10964"/>
                  </a:cubicBezTo>
                  <a:cubicBezTo>
                    <a:pt x="5608" y="10964"/>
                    <a:pt x="5451" y="10807"/>
                    <a:pt x="5451" y="10618"/>
                  </a:cubicBezTo>
                  <a:cubicBezTo>
                    <a:pt x="5451" y="10429"/>
                    <a:pt x="5608" y="10271"/>
                    <a:pt x="5797" y="10271"/>
                  </a:cubicBezTo>
                  <a:close/>
                  <a:moveTo>
                    <a:pt x="1040" y="1"/>
                  </a:moveTo>
                  <a:cubicBezTo>
                    <a:pt x="473" y="1"/>
                    <a:pt x="1" y="473"/>
                    <a:pt x="1" y="1009"/>
                  </a:cubicBezTo>
                  <a:cubicBezTo>
                    <a:pt x="1" y="1450"/>
                    <a:pt x="284" y="1828"/>
                    <a:pt x="694" y="1986"/>
                  </a:cubicBezTo>
                  <a:lnTo>
                    <a:pt x="694" y="7908"/>
                  </a:lnTo>
                  <a:cubicBezTo>
                    <a:pt x="694" y="8444"/>
                    <a:pt x="1166" y="8917"/>
                    <a:pt x="1702" y="8917"/>
                  </a:cubicBezTo>
                  <a:lnTo>
                    <a:pt x="5482" y="8917"/>
                  </a:lnTo>
                  <a:lnTo>
                    <a:pt x="5482" y="9673"/>
                  </a:lnTo>
                  <a:cubicBezTo>
                    <a:pt x="5104" y="9830"/>
                    <a:pt x="4821" y="10177"/>
                    <a:pt x="4821" y="10649"/>
                  </a:cubicBezTo>
                  <a:cubicBezTo>
                    <a:pt x="4821" y="11216"/>
                    <a:pt x="5293" y="11689"/>
                    <a:pt x="5829" y="11689"/>
                  </a:cubicBezTo>
                  <a:cubicBezTo>
                    <a:pt x="6396" y="11689"/>
                    <a:pt x="6869" y="11216"/>
                    <a:pt x="6869" y="10649"/>
                  </a:cubicBezTo>
                  <a:cubicBezTo>
                    <a:pt x="6869" y="10240"/>
                    <a:pt x="6585" y="9830"/>
                    <a:pt x="6207" y="9673"/>
                  </a:cubicBezTo>
                  <a:lnTo>
                    <a:pt x="6207" y="8917"/>
                  </a:lnTo>
                  <a:lnTo>
                    <a:pt x="10019" y="8917"/>
                  </a:lnTo>
                  <a:cubicBezTo>
                    <a:pt x="10555" y="8917"/>
                    <a:pt x="11027" y="8444"/>
                    <a:pt x="11027" y="7908"/>
                  </a:cubicBezTo>
                  <a:lnTo>
                    <a:pt x="11027" y="1986"/>
                  </a:lnTo>
                  <a:cubicBezTo>
                    <a:pt x="11405" y="1828"/>
                    <a:pt x="11657" y="1450"/>
                    <a:pt x="11657" y="1009"/>
                  </a:cubicBezTo>
                  <a:cubicBezTo>
                    <a:pt x="11657" y="473"/>
                    <a:pt x="11185" y="1"/>
                    <a:pt x="106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81"/>
            <p:cNvSpPr/>
            <p:nvPr/>
          </p:nvSpPr>
          <p:spPr>
            <a:xfrm>
              <a:off x="-2008975" y="2855525"/>
              <a:ext cx="189050" cy="84500"/>
            </a:xfrm>
            <a:custGeom>
              <a:avLst/>
              <a:gdLst/>
              <a:ahLst/>
              <a:cxnLst/>
              <a:rect l="l" t="t" r="r" b="b"/>
              <a:pathLst>
                <a:path w="7562" h="3380" extrusionOk="0">
                  <a:moveTo>
                    <a:pt x="6553" y="0"/>
                  </a:moveTo>
                  <a:cubicBezTo>
                    <a:pt x="6144" y="0"/>
                    <a:pt x="6081" y="504"/>
                    <a:pt x="6427" y="662"/>
                  </a:cubicBezTo>
                  <a:lnTo>
                    <a:pt x="4474" y="2584"/>
                  </a:lnTo>
                  <a:lnTo>
                    <a:pt x="2647" y="788"/>
                  </a:lnTo>
                  <a:cubicBezTo>
                    <a:pt x="2584" y="725"/>
                    <a:pt x="2497" y="693"/>
                    <a:pt x="2410" y="693"/>
                  </a:cubicBezTo>
                  <a:cubicBezTo>
                    <a:pt x="2324" y="693"/>
                    <a:pt x="2237" y="725"/>
                    <a:pt x="2174" y="788"/>
                  </a:cubicBezTo>
                  <a:lnTo>
                    <a:pt x="126" y="2836"/>
                  </a:lnTo>
                  <a:cubicBezTo>
                    <a:pt x="0" y="2930"/>
                    <a:pt x="0" y="3182"/>
                    <a:pt x="126" y="3308"/>
                  </a:cubicBezTo>
                  <a:cubicBezTo>
                    <a:pt x="189" y="3356"/>
                    <a:pt x="276" y="3379"/>
                    <a:pt x="363" y="3379"/>
                  </a:cubicBezTo>
                  <a:cubicBezTo>
                    <a:pt x="449" y="3379"/>
                    <a:pt x="536" y="3356"/>
                    <a:pt x="599" y="3308"/>
                  </a:cubicBezTo>
                  <a:lnTo>
                    <a:pt x="2426" y="1481"/>
                  </a:lnTo>
                  <a:lnTo>
                    <a:pt x="4222" y="3308"/>
                  </a:lnTo>
                  <a:cubicBezTo>
                    <a:pt x="4285" y="3356"/>
                    <a:pt x="4372" y="3379"/>
                    <a:pt x="4458" y="3379"/>
                  </a:cubicBezTo>
                  <a:cubicBezTo>
                    <a:pt x="4545" y="3379"/>
                    <a:pt x="4632" y="3356"/>
                    <a:pt x="4695" y="3308"/>
                  </a:cubicBezTo>
                  <a:lnTo>
                    <a:pt x="6900" y="1134"/>
                  </a:lnTo>
                  <a:cubicBezTo>
                    <a:pt x="6931" y="1260"/>
                    <a:pt x="7057" y="1355"/>
                    <a:pt x="7215" y="1355"/>
                  </a:cubicBezTo>
                  <a:cubicBezTo>
                    <a:pt x="7404" y="1355"/>
                    <a:pt x="7562" y="1197"/>
                    <a:pt x="7562" y="1008"/>
                  </a:cubicBezTo>
                  <a:lnTo>
                    <a:pt x="7562" y="347"/>
                  </a:lnTo>
                  <a:cubicBezTo>
                    <a:pt x="7562" y="158"/>
                    <a:pt x="7467"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0" name="Google Shape;10960;p81"/>
          <p:cNvGrpSpPr/>
          <p:nvPr/>
        </p:nvGrpSpPr>
        <p:grpSpPr>
          <a:xfrm>
            <a:off x="1915160" y="3232071"/>
            <a:ext cx="421914" cy="420796"/>
            <a:chOff x="-937025" y="2064750"/>
            <a:chExt cx="292225" cy="291450"/>
          </a:xfrm>
        </p:grpSpPr>
        <p:sp>
          <p:nvSpPr>
            <p:cNvPr id="10961" name="Google Shape;10961;p81"/>
            <p:cNvSpPr/>
            <p:nvPr/>
          </p:nvSpPr>
          <p:spPr>
            <a:xfrm>
              <a:off x="-834625" y="2134850"/>
              <a:ext cx="86650" cy="85075"/>
            </a:xfrm>
            <a:custGeom>
              <a:avLst/>
              <a:gdLst/>
              <a:ahLst/>
              <a:cxnLst/>
              <a:rect l="l" t="t" r="r" b="b"/>
              <a:pathLst>
                <a:path w="3466" h="3403" extrusionOk="0">
                  <a:moveTo>
                    <a:pt x="1702" y="599"/>
                  </a:moveTo>
                  <a:cubicBezTo>
                    <a:pt x="1922" y="599"/>
                    <a:pt x="2080" y="788"/>
                    <a:pt x="2080" y="977"/>
                  </a:cubicBezTo>
                  <a:cubicBezTo>
                    <a:pt x="2080" y="1166"/>
                    <a:pt x="1922" y="1324"/>
                    <a:pt x="1702" y="1324"/>
                  </a:cubicBezTo>
                  <a:cubicBezTo>
                    <a:pt x="1512" y="1324"/>
                    <a:pt x="1355" y="1166"/>
                    <a:pt x="1355" y="977"/>
                  </a:cubicBezTo>
                  <a:cubicBezTo>
                    <a:pt x="1355" y="788"/>
                    <a:pt x="1512" y="599"/>
                    <a:pt x="1702" y="599"/>
                  </a:cubicBezTo>
                  <a:close/>
                  <a:moveTo>
                    <a:pt x="1765" y="2048"/>
                  </a:moveTo>
                  <a:cubicBezTo>
                    <a:pt x="2174" y="2048"/>
                    <a:pt x="2584" y="2300"/>
                    <a:pt x="2741" y="2710"/>
                  </a:cubicBezTo>
                  <a:lnTo>
                    <a:pt x="756" y="2710"/>
                  </a:lnTo>
                  <a:cubicBezTo>
                    <a:pt x="914" y="2300"/>
                    <a:pt x="1292" y="2048"/>
                    <a:pt x="1765" y="2048"/>
                  </a:cubicBezTo>
                  <a:close/>
                  <a:moveTo>
                    <a:pt x="1702" y="0"/>
                  </a:moveTo>
                  <a:cubicBezTo>
                    <a:pt x="1166" y="0"/>
                    <a:pt x="693" y="441"/>
                    <a:pt x="693" y="1009"/>
                  </a:cubicBezTo>
                  <a:cubicBezTo>
                    <a:pt x="693" y="1198"/>
                    <a:pt x="788" y="1387"/>
                    <a:pt x="851" y="1576"/>
                  </a:cubicBezTo>
                  <a:cubicBezTo>
                    <a:pt x="347" y="1891"/>
                    <a:pt x="0" y="2426"/>
                    <a:pt x="0" y="3056"/>
                  </a:cubicBezTo>
                  <a:cubicBezTo>
                    <a:pt x="0" y="3245"/>
                    <a:pt x="158" y="3403"/>
                    <a:pt x="347" y="3403"/>
                  </a:cubicBezTo>
                  <a:lnTo>
                    <a:pt x="3088" y="3403"/>
                  </a:lnTo>
                  <a:cubicBezTo>
                    <a:pt x="3308" y="3403"/>
                    <a:pt x="3466" y="3245"/>
                    <a:pt x="3466" y="3056"/>
                  </a:cubicBezTo>
                  <a:cubicBezTo>
                    <a:pt x="3434" y="2426"/>
                    <a:pt x="3088" y="1828"/>
                    <a:pt x="2584" y="1576"/>
                  </a:cubicBezTo>
                  <a:cubicBezTo>
                    <a:pt x="2710" y="1387"/>
                    <a:pt x="2741" y="1198"/>
                    <a:pt x="2741" y="1009"/>
                  </a:cubicBezTo>
                  <a:cubicBezTo>
                    <a:pt x="2741" y="441"/>
                    <a:pt x="2269" y="0"/>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81"/>
            <p:cNvSpPr/>
            <p:nvPr/>
          </p:nvSpPr>
          <p:spPr>
            <a:xfrm>
              <a:off x="-936225" y="2304975"/>
              <a:ext cx="289850" cy="51225"/>
            </a:xfrm>
            <a:custGeom>
              <a:avLst/>
              <a:gdLst/>
              <a:ahLst/>
              <a:cxnLst/>
              <a:rect l="l" t="t" r="r" b="b"/>
              <a:pathLst>
                <a:path w="11594" h="2049" extrusionOk="0">
                  <a:moveTo>
                    <a:pt x="3056" y="662"/>
                  </a:moveTo>
                  <a:cubicBezTo>
                    <a:pt x="3277" y="662"/>
                    <a:pt x="3434" y="820"/>
                    <a:pt x="3434" y="1009"/>
                  </a:cubicBezTo>
                  <a:cubicBezTo>
                    <a:pt x="3434" y="1229"/>
                    <a:pt x="3277" y="1387"/>
                    <a:pt x="3056" y="1387"/>
                  </a:cubicBezTo>
                  <a:lnTo>
                    <a:pt x="1008" y="1387"/>
                  </a:lnTo>
                  <a:cubicBezTo>
                    <a:pt x="819" y="1387"/>
                    <a:pt x="662" y="1229"/>
                    <a:pt x="662" y="1009"/>
                  </a:cubicBezTo>
                  <a:cubicBezTo>
                    <a:pt x="662" y="820"/>
                    <a:pt x="819" y="662"/>
                    <a:pt x="1008" y="662"/>
                  </a:cubicBezTo>
                  <a:close/>
                  <a:moveTo>
                    <a:pt x="10586" y="693"/>
                  </a:moveTo>
                  <a:cubicBezTo>
                    <a:pt x="10775" y="693"/>
                    <a:pt x="10932" y="851"/>
                    <a:pt x="10932" y="1072"/>
                  </a:cubicBezTo>
                  <a:cubicBezTo>
                    <a:pt x="10901" y="1229"/>
                    <a:pt x="10775" y="1387"/>
                    <a:pt x="10586" y="1387"/>
                  </a:cubicBezTo>
                  <a:lnTo>
                    <a:pt x="4001" y="1387"/>
                  </a:lnTo>
                  <a:cubicBezTo>
                    <a:pt x="4096" y="1166"/>
                    <a:pt x="4096" y="914"/>
                    <a:pt x="4001" y="693"/>
                  </a:cubicBezTo>
                  <a:close/>
                  <a:moveTo>
                    <a:pt x="1008" y="0"/>
                  </a:moveTo>
                  <a:cubicBezTo>
                    <a:pt x="473" y="0"/>
                    <a:pt x="0" y="473"/>
                    <a:pt x="0" y="1009"/>
                  </a:cubicBezTo>
                  <a:cubicBezTo>
                    <a:pt x="0" y="1576"/>
                    <a:pt x="473" y="2048"/>
                    <a:pt x="1008" y="2048"/>
                  </a:cubicBezTo>
                  <a:lnTo>
                    <a:pt x="10586" y="2048"/>
                  </a:lnTo>
                  <a:cubicBezTo>
                    <a:pt x="11121" y="2048"/>
                    <a:pt x="11594" y="1576"/>
                    <a:pt x="11594" y="1009"/>
                  </a:cubicBezTo>
                  <a:cubicBezTo>
                    <a:pt x="11594" y="473"/>
                    <a:pt x="11121"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81"/>
            <p:cNvSpPr/>
            <p:nvPr/>
          </p:nvSpPr>
          <p:spPr>
            <a:xfrm>
              <a:off x="-937025" y="2064750"/>
              <a:ext cx="292225" cy="223125"/>
            </a:xfrm>
            <a:custGeom>
              <a:avLst/>
              <a:gdLst/>
              <a:ahLst/>
              <a:cxnLst/>
              <a:rect l="l" t="t" r="r" b="b"/>
              <a:pathLst>
                <a:path w="11689" h="8925" extrusionOk="0">
                  <a:moveTo>
                    <a:pt x="3813" y="662"/>
                  </a:moveTo>
                  <a:cubicBezTo>
                    <a:pt x="4002" y="662"/>
                    <a:pt x="4159" y="820"/>
                    <a:pt x="4159" y="1009"/>
                  </a:cubicBezTo>
                  <a:lnTo>
                    <a:pt x="4159" y="1355"/>
                  </a:lnTo>
                  <a:lnTo>
                    <a:pt x="3813" y="1355"/>
                  </a:lnTo>
                  <a:cubicBezTo>
                    <a:pt x="3246" y="1355"/>
                    <a:pt x="2773" y="1828"/>
                    <a:pt x="2773" y="2395"/>
                  </a:cubicBezTo>
                  <a:lnTo>
                    <a:pt x="2773" y="4978"/>
                  </a:lnTo>
                  <a:lnTo>
                    <a:pt x="2080" y="5703"/>
                  </a:lnTo>
                  <a:lnTo>
                    <a:pt x="2080" y="5199"/>
                  </a:lnTo>
                  <a:cubicBezTo>
                    <a:pt x="2080" y="4978"/>
                    <a:pt x="1922" y="4821"/>
                    <a:pt x="1702" y="4821"/>
                  </a:cubicBezTo>
                  <a:lnTo>
                    <a:pt x="1040" y="4821"/>
                  </a:lnTo>
                  <a:cubicBezTo>
                    <a:pt x="851" y="4821"/>
                    <a:pt x="694" y="4663"/>
                    <a:pt x="694" y="4474"/>
                  </a:cubicBezTo>
                  <a:lnTo>
                    <a:pt x="694" y="1009"/>
                  </a:lnTo>
                  <a:cubicBezTo>
                    <a:pt x="694" y="820"/>
                    <a:pt x="851" y="662"/>
                    <a:pt x="1040" y="662"/>
                  </a:cubicBezTo>
                  <a:close/>
                  <a:moveTo>
                    <a:pt x="10649" y="662"/>
                  </a:moveTo>
                  <a:cubicBezTo>
                    <a:pt x="10838" y="662"/>
                    <a:pt x="10996" y="820"/>
                    <a:pt x="10996" y="1009"/>
                  </a:cubicBezTo>
                  <a:lnTo>
                    <a:pt x="10996" y="4474"/>
                  </a:lnTo>
                  <a:cubicBezTo>
                    <a:pt x="10996" y="4695"/>
                    <a:pt x="10838" y="4852"/>
                    <a:pt x="10649" y="4852"/>
                  </a:cubicBezTo>
                  <a:lnTo>
                    <a:pt x="9893" y="4852"/>
                  </a:lnTo>
                  <a:cubicBezTo>
                    <a:pt x="9704" y="4852"/>
                    <a:pt x="9547" y="5010"/>
                    <a:pt x="9547" y="5199"/>
                  </a:cubicBezTo>
                  <a:lnTo>
                    <a:pt x="9547" y="5703"/>
                  </a:lnTo>
                  <a:lnTo>
                    <a:pt x="8885" y="5010"/>
                  </a:lnTo>
                  <a:lnTo>
                    <a:pt x="8885" y="2395"/>
                  </a:lnTo>
                  <a:cubicBezTo>
                    <a:pt x="8885" y="1859"/>
                    <a:pt x="8412" y="1387"/>
                    <a:pt x="7845" y="1387"/>
                  </a:cubicBezTo>
                  <a:lnTo>
                    <a:pt x="7499" y="1387"/>
                  </a:lnTo>
                  <a:lnTo>
                    <a:pt x="7499" y="1009"/>
                  </a:lnTo>
                  <a:cubicBezTo>
                    <a:pt x="7499" y="820"/>
                    <a:pt x="7656" y="662"/>
                    <a:pt x="7845" y="662"/>
                  </a:cubicBezTo>
                  <a:close/>
                  <a:moveTo>
                    <a:pt x="7845" y="2048"/>
                  </a:moveTo>
                  <a:cubicBezTo>
                    <a:pt x="8066" y="2048"/>
                    <a:pt x="8223" y="2206"/>
                    <a:pt x="8223" y="2395"/>
                  </a:cubicBezTo>
                  <a:lnTo>
                    <a:pt x="8223" y="6522"/>
                  </a:lnTo>
                  <a:cubicBezTo>
                    <a:pt x="8223" y="6742"/>
                    <a:pt x="8066" y="6900"/>
                    <a:pt x="7845" y="6900"/>
                  </a:cubicBezTo>
                  <a:lnTo>
                    <a:pt x="6711" y="6900"/>
                  </a:lnTo>
                  <a:cubicBezTo>
                    <a:pt x="6585" y="6900"/>
                    <a:pt x="6491" y="6931"/>
                    <a:pt x="6428" y="7057"/>
                  </a:cubicBezTo>
                  <a:lnTo>
                    <a:pt x="5798" y="8003"/>
                  </a:lnTo>
                  <a:lnTo>
                    <a:pt x="5167" y="7057"/>
                  </a:lnTo>
                  <a:cubicBezTo>
                    <a:pt x="5104" y="6963"/>
                    <a:pt x="5010" y="6900"/>
                    <a:pt x="4915" y="6900"/>
                  </a:cubicBezTo>
                  <a:lnTo>
                    <a:pt x="3750" y="6900"/>
                  </a:lnTo>
                  <a:cubicBezTo>
                    <a:pt x="3561" y="6900"/>
                    <a:pt x="3403" y="6742"/>
                    <a:pt x="3403" y="6522"/>
                  </a:cubicBezTo>
                  <a:lnTo>
                    <a:pt x="3403" y="2395"/>
                  </a:lnTo>
                  <a:cubicBezTo>
                    <a:pt x="3403" y="2206"/>
                    <a:pt x="3561" y="2048"/>
                    <a:pt x="3750" y="2048"/>
                  </a:cubicBezTo>
                  <a:close/>
                  <a:moveTo>
                    <a:pt x="1009" y="0"/>
                  </a:moveTo>
                  <a:cubicBezTo>
                    <a:pt x="473" y="0"/>
                    <a:pt x="1" y="473"/>
                    <a:pt x="1" y="1009"/>
                  </a:cubicBezTo>
                  <a:lnTo>
                    <a:pt x="1" y="4474"/>
                  </a:lnTo>
                  <a:cubicBezTo>
                    <a:pt x="1" y="5041"/>
                    <a:pt x="473" y="5514"/>
                    <a:pt x="1009" y="5514"/>
                  </a:cubicBezTo>
                  <a:lnTo>
                    <a:pt x="1355" y="5514"/>
                  </a:lnTo>
                  <a:lnTo>
                    <a:pt x="1355" y="6522"/>
                  </a:lnTo>
                  <a:cubicBezTo>
                    <a:pt x="1355" y="6736"/>
                    <a:pt x="1544" y="6877"/>
                    <a:pt x="1724" y="6877"/>
                  </a:cubicBezTo>
                  <a:cubicBezTo>
                    <a:pt x="1809" y="6877"/>
                    <a:pt x="1893" y="6845"/>
                    <a:pt x="1954" y="6774"/>
                  </a:cubicBezTo>
                  <a:lnTo>
                    <a:pt x="2742" y="5986"/>
                  </a:lnTo>
                  <a:lnTo>
                    <a:pt x="2742" y="6522"/>
                  </a:lnTo>
                  <a:cubicBezTo>
                    <a:pt x="2742" y="7089"/>
                    <a:pt x="3214" y="7562"/>
                    <a:pt x="3781" y="7562"/>
                  </a:cubicBezTo>
                  <a:lnTo>
                    <a:pt x="4726" y="7562"/>
                  </a:lnTo>
                  <a:lnTo>
                    <a:pt x="5545" y="8759"/>
                  </a:lnTo>
                  <a:cubicBezTo>
                    <a:pt x="5608" y="8869"/>
                    <a:pt x="5719" y="8924"/>
                    <a:pt x="5825" y="8924"/>
                  </a:cubicBezTo>
                  <a:cubicBezTo>
                    <a:pt x="5931" y="8924"/>
                    <a:pt x="6034" y="8869"/>
                    <a:pt x="6081" y="8759"/>
                  </a:cubicBezTo>
                  <a:lnTo>
                    <a:pt x="6932" y="7562"/>
                  </a:lnTo>
                  <a:lnTo>
                    <a:pt x="7877" y="7562"/>
                  </a:lnTo>
                  <a:cubicBezTo>
                    <a:pt x="8412" y="7562"/>
                    <a:pt x="8885" y="7089"/>
                    <a:pt x="8885" y="6522"/>
                  </a:cubicBezTo>
                  <a:lnTo>
                    <a:pt x="8885" y="5986"/>
                  </a:lnTo>
                  <a:lnTo>
                    <a:pt x="9673" y="6774"/>
                  </a:lnTo>
                  <a:cubicBezTo>
                    <a:pt x="9733" y="6845"/>
                    <a:pt x="9817" y="6877"/>
                    <a:pt x="9903" y="6877"/>
                  </a:cubicBezTo>
                  <a:cubicBezTo>
                    <a:pt x="10083" y="6877"/>
                    <a:pt x="10271" y="6736"/>
                    <a:pt x="10271" y="6522"/>
                  </a:cubicBezTo>
                  <a:lnTo>
                    <a:pt x="10271" y="5514"/>
                  </a:lnTo>
                  <a:lnTo>
                    <a:pt x="10649" y="5514"/>
                  </a:lnTo>
                  <a:cubicBezTo>
                    <a:pt x="11216" y="5514"/>
                    <a:pt x="11689" y="5041"/>
                    <a:pt x="11689" y="4474"/>
                  </a:cubicBezTo>
                  <a:lnTo>
                    <a:pt x="11689" y="1009"/>
                  </a:lnTo>
                  <a:cubicBezTo>
                    <a:pt x="11689" y="441"/>
                    <a:pt x="11216" y="0"/>
                    <a:pt x="10649" y="0"/>
                  </a:cubicBezTo>
                  <a:lnTo>
                    <a:pt x="7845" y="0"/>
                  </a:lnTo>
                  <a:cubicBezTo>
                    <a:pt x="7310" y="0"/>
                    <a:pt x="6837" y="473"/>
                    <a:pt x="6837" y="1009"/>
                  </a:cubicBezTo>
                  <a:lnTo>
                    <a:pt x="6837" y="1387"/>
                  </a:lnTo>
                  <a:lnTo>
                    <a:pt x="4789" y="1387"/>
                  </a:lnTo>
                  <a:lnTo>
                    <a:pt x="4789" y="1009"/>
                  </a:lnTo>
                  <a:cubicBezTo>
                    <a:pt x="4789" y="473"/>
                    <a:pt x="4317"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4" name="Google Shape;10964;p81"/>
          <p:cNvGrpSpPr/>
          <p:nvPr/>
        </p:nvGrpSpPr>
        <p:grpSpPr>
          <a:xfrm>
            <a:off x="3018323" y="1630697"/>
            <a:ext cx="421951" cy="421914"/>
            <a:chOff x="-5276050" y="2037975"/>
            <a:chExt cx="292250" cy="292225"/>
          </a:xfrm>
        </p:grpSpPr>
        <p:sp>
          <p:nvSpPr>
            <p:cNvPr id="10965" name="Google Shape;10965;p81"/>
            <p:cNvSpPr/>
            <p:nvPr/>
          </p:nvSpPr>
          <p:spPr>
            <a:xfrm>
              <a:off x="-5102775" y="2211250"/>
              <a:ext cx="51225" cy="49650"/>
            </a:xfrm>
            <a:custGeom>
              <a:avLst/>
              <a:gdLst/>
              <a:ahLst/>
              <a:cxnLst/>
              <a:rect l="l" t="t" r="r" b="b"/>
              <a:pathLst>
                <a:path w="2049" h="1986" extrusionOk="0">
                  <a:moveTo>
                    <a:pt x="343" y="0"/>
                  </a:moveTo>
                  <a:cubicBezTo>
                    <a:pt x="253" y="0"/>
                    <a:pt x="158" y="32"/>
                    <a:pt x="95" y="95"/>
                  </a:cubicBezTo>
                  <a:cubicBezTo>
                    <a:pt x="1" y="189"/>
                    <a:pt x="1" y="441"/>
                    <a:pt x="95" y="536"/>
                  </a:cubicBezTo>
                  <a:lnTo>
                    <a:pt x="536" y="977"/>
                  </a:lnTo>
                  <a:lnTo>
                    <a:pt x="95" y="1418"/>
                  </a:lnTo>
                  <a:cubicBezTo>
                    <a:pt x="1" y="1544"/>
                    <a:pt x="1" y="1765"/>
                    <a:pt x="95" y="1891"/>
                  </a:cubicBezTo>
                  <a:cubicBezTo>
                    <a:pt x="158" y="1954"/>
                    <a:pt x="253" y="1985"/>
                    <a:pt x="343" y="1985"/>
                  </a:cubicBezTo>
                  <a:cubicBezTo>
                    <a:pt x="434" y="1985"/>
                    <a:pt x="521" y="1954"/>
                    <a:pt x="568" y="1891"/>
                  </a:cubicBezTo>
                  <a:lnTo>
                    <a:pt x="1009" y="1450"/>
                  </a:lnTo>
                  <a:lnTo>
                    <a:pt x="1450" y="1891"/>
                  </a:lnTo>
                  <a:cubicBezTo>
                    <a:pt x="1513" y="1954"/>
                    <a:pt x="1600" y="1985"/>
                    <a:pt x="1686" y="1985"/>
                  </a:cubicBezTo>
                  <a:cubicBezTo>
                    <a:pt x="1773" y="1985"/>
                    <a:pt x="1860" y="1954"/>
                    <a:pt x="1923" y="1891"/>
                  </a:cubicBezTo>
                  <a:cubicBezTo>
                    <a:pt x="2049" y="1765"/>
                    <a:pt x="2049" y="1544"/>
                    <a:pt x="1923" y="1418"/>
                  </a:cubicBezTo>
                  <a:lnTo>
                    <a:pt x="1482" y="977"/>
                  </a:lnTo>
                  <a:lnTo>
                    <a:pt x="1923" y="536"/>
                  </a:lnTo>
                  <a:cubicBezTo>
                    <a:pt x="2049" y="441"/>
                    <a:pt x="2049" y="189"/>
                    <a:pt x="1923" y="95"/>
                  </a:cubicBezTo>
                  <a:cubicBezTo>
                    <a:pt x="1860" y="32"/>
                    <a:pt x="1773" y="0"/>
                    <a:pt x="1686" y="0"/>
                  </a:cubicBezTo>
                  <a:cubicBezTo>
                    <a:pt x="1600" y="0"/>
                    <a:pt x="1513" y="32"/>
                    <a:pt x="1450" y="95"/>
                  </a:cubicBezTo>
                  <a:lnTo>
                    <a:pt x="1009" y="504"/>
                  </a:lnTo>
                  <a:lnTo>
                    <a:pt x="568" y="95"/>
                  </a:lnTo>
                  <a:cubicBezTo>
                    <a:pt x="521" y="32"/>
                    <a:pt x="434" y="0"/>
                    <a:pt x="3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81"/>
            <p:cNvSpPr/>
            <p:nvPr/>
          </p:nvSpPr>
          <p:spPr>
            <a:xfrm>
              <a:off x="-5224050" y="2107875"/>
              <a:ext cx="51200" cy="49825"/>
            </a:xfrm>
            <a:custGeom>
              <a:avLst/>
              <a:gdLst/>
              <a:ahLst/>
              <a:cxnLst/>
              <a:rect l="l" t="t" r="r" b="b"/>
              <a:pathLst>
                <a:path w="2048" h="1993" extrusionOk="0">
                  <a:moveTo>
                    <a:pt x="351" y="0"/>
                  </a:moveTo>
                  <a:cubicBezTo>
                    <a:pt x="260" y="0"/>
                    <a:pt x="173" y="24"/>
                    <a:pt x="126" y="71"/>
                  </a:cubicBezTo>
                  <a:cubicBezTo>
                    <a:pt x="0" y="197"/>
                    <a:pt x="0" y="449"/>
                    <a:pt x="126" y="544"/>
                  </a:cubicBezTo>
                  <a:lnTo>
                    <a:pt x="536" y="985"/>
                  </a:lnTo>
                  <a:lnTo>
                    <a:pt x="126" y="1426"/>
                  </a:lnTo>
                  <a:cubicBezTo>
                    <a:pt x="0" y="1552"/>
                    <a:pt x="0" y="1772"/>
                    <a:pt x="126" y="1898"/>
                  </a:cubicBezTo>
                  <a:cubicBezTo>
                    <a:pt x="173" y="1961"/>
                    <a:pt x="260" y="1993"/>
                    <a:pt x="351" y="1993"/>
                  </a:cubicBezTo>
                  <a:cubicBezTo>
                    <a:pt x="441" y="1993"/>
                    <a:pt x="536" y="1961"/>
                    <a:pt x="599" y="1898"/>
                  </a:cubicBezTo>
                  <a:lnTo>
                    <a:pt x="1008" y="1457"/>
                  </a:lnTo>
                  <a:lnTo>
                    <a:pt x="1449" y="1898"/>
                  </a:lnTo>
                  <a:cubicBezTo>
                    <a:pt x="1512" y="1961"/>
                    <a:pt x="1599" y="1993"/>
                    <a:pt x="1686" y="1993"/>
                  </a:cubicBezTo>
                  <a:cubicBezTo>
                    <a:pt x="1772" y="1993"/>
                    <a:pt x="1859" y="1961"/>
                    <a:pt x="1922" y="1898"/>
                  </a:cubicBezTo>
                  <a:cubicBezTo>
                    <a:pt x="2048" y="1772"/>
                    <a:pt x="2048" y="1520"/>
                    <a:pt x="1922" y="1426"/>
                  </a:cubicBezTo>
                  <a:lnTo>
                    <a:pt x="1481" y="985"/>
                  </a:lnTo>
                  <a:lnTo>
                    <a:pt x="1922" y="544"/>
                  </a:lnTo>
                  <a:cubicBezTo>
                    <a:pt x="2048" y="449"/>
                    <a:pt x="2048" y="197"/>
                    <a:pt x="1922" y="71"/>
                  </a:cubicBezTo>
                  <a:cubicBezTo>
                    <a:pt x="1875" y="24"/>
                    <a:pt x="1788" y="0"/>
                    <a:pt x="1697" y="0"/>
                  </a:cubicBezTo>
                  <a:cubicBezTo>
                    <a:pt x="1607" y="0"/>
                    <a:pt x="1512" y="24"/>
                    <a:pt x="1449" y="71"/>
                  </a:cubicBezTo>
                  <a:lnTo>
                    <a:pt x="1008" y="512"/>
                  </a:lnTo>
                  <a:lnTo>
                    <a:pt x="599" y="71"/>
                  </a:lnTo>
                  <a:cubicBezTo>
                    <a:pt x="536" y="24"/>
                    <a:pt x="441"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81"/>
            <p:cNvSpPr/>
            <p:nvPr/>
          </p:nvSpPr>
          <p:spPr>
            <a:xfrm>
              <a:off x="-5276050" y="2037975"/>
              <a:ext cx="292250" cy="292225"/>
            </a:xfrm>
            <a:custGeom>
              <a:avLst/>
              <a:gdLst/>
              <a:ahLst/>
              <a:cxnLst/>
              <a:rect l="l" t="t" r="r" b="b"/>
              <a:pathLst>
                <a:path w="11690" h="11689" extrusionOk="0">
                  <a:moveTo>
                    <a:pt x="10334" y="3119"/>
                  </a:moveTo>
                  <a:cubicBezTo>
                    <a:pt x="10712" y="3119"/>
                    <a:pt x="11028" y="3403"/>
                    <a:pt x="11028" y="3781"/>
                  </a:cubicBezTo>
                  <a:cubicBezTo>
                    <a:pt x="11028" y="4190"/>
                    <a:pt x="10712" y="4442"/>
                    <a:pt x="10334" y="4442"/>
                  </a:cubicBezTo>
                  <a:cubicBezTo>
                    <a:pt x="9956" y="4442"/>
                    <a:pt x="9673" y="4127"/>
                    <a:pt x="9673" y="3781"/>
                  </a:cubicBezTo>
                  <a:cubicBezTo>
                    <a:pt x="9673" y="3403"/>
                    <a:pt x="9988" y="3119"/>
                    <a:pt x="10334" y="3119"/>
                  </a:cubicBezTo>
                  <a:close/>
                  <a:moveTo>
                    <a:pt x="4443" y="7593"/>
                  </a:moveTo>
                  <a:cubicBezTo>
                    <a:pt x="4853" y="7593"/>
                    <a:pt x="5105" y="7908"/>
                    <a:pt x="5105" y="8255"/>
                  </a:cubicBezTo>
                  <a:cubicBezTo>
                    <a:pt x="5105" y="8664"/>
                    <a:pt x="4790" y="8948"/>
                    <a:pt x="4443" y="8948"/>
                  </a:cubicBezTo>
                  <a:cubicBezTo>
                    <a:pt x="4065" y="8948"/>
                    <a:pt x="3781" y="8633"/>
                    <a:pt x="3781" y="8255"/>
                  </a:cubicBezTo>
                  <a:cubicBezTo>
                    <a:pt x="3781" y="7876"/>
                    <a:pt x="4096" y="7593"/>
                    <a:pt x="4443" y="7593"/>
                  </a:cubicBezTo>
                  <a:close/>
                  <a:moveTo>
                    <a:pt x="5829" y="725"/>
                  </a:moveTo>
                  <a:cubicBezTo>
                    <a:pt x="7341" y="725"/>
                    <a:pt x="8822" y="1386"/>
                    <a:pt x="9799" y="2521"/>
                  </a:cubicBezTo>
                  <a:cubicBezTo>
                    <a:pt x="9326" y="2710"/>
                    <a:pt x="8980" y="3245"/>
                    <a:pt x="8980" y="3781"/>
                  </a:cubicBezTo>
                  <a:cubicBezTo>
                    <a:pt x="8980" y="3718"/>
                    <a:pt x="8917" y="3623"/>
                    <a:pt x="8885" y="3560"/>
                  </a:cubicBezTo>
                  <a:lnTo>
                    <a:pt x="8854" y="3497"/>
                  </a:lnTo>
                  <a:lnTo>
                    <a:pt x="8192" y="2836"/>
                  </a:lnTo>
                  <a:cubicBezTo>
                    <a:pt x="8129" y="2773"/>
                    <a:pt x="8035" y="2741"/>
                    <a:pt x="7944" y="2741"/>
                  </a:cubicBezTo>
                  <a:cubicBezTo>
                    <a:pt x="7853" y="2741"/>
                    <a:pt x="7767" y="2773"/>
                    <a:pt x="7719" y="2836"/>
                  </a:cubicBezTo>
                  <a:cubicBezTo>
                    <a:pt x="7593" y="2962"/>
                    <a:pt x="7593" y="3182"/>
                    <a:pt x="7719" y="3308"/>
                  </a:cubicBezTo>
                  <a:lnTo>
                    <a:pt x="7814" y="3434"/>
                  </a:lnTo>
                  <a:cubicBezTo>
                    <a:pt x="6869" y="3466"/>
                    <a:pt x="5987" y="3875"/>
                    <a:pt x="5262" y="4568"/>
                  </a:cubicBezTo>
                  <a:cubicBezTo>
                    <a:pt x="4600" y="5230"/>
                    <a:pt x="4254" y="6081"/>
                    <a:pt x="4159" y="6963"/>
                  </a:cubicBezTo>
                  <a:cubicBezTo>
                    <a:pt x="3561" y="7120"/>
                    <a:pt x="3151" y="7656"/>
                    <a:pt x="3151" y="8318"/>
                  </a:cubicBezTo>
                  <a:cubicBezTo>
                    <a:pt x="3151" y="9074"/>
                    <a:pt x="3781" y="9704"/>
                    <a:pt x="4506" y="9704"/>
                  </a:cubicBezTo>
                  <a:cubicBezTo>
                    <a:pt x="5262" y="9704"/>
                    <a:pt x="5892" y="9074"/>
                    <a:pt x="5892" y="8318"/>
                  </a:cubicBezTo>
                  <a:cubicBezTo>
                    <a:pt x="5892" y="7687"/>
                    <a:pt x="5451" y="7120"/>
                    <a:pt x="4884" y="6963"/>
                  </a:cubicBezTo>
                  <a:cubicBezTo>
                    <a:pt x="5042" y="5482"/>
                    <a:pt x="6302" y="4222"/>
                    <a:pt x="7814" y="4127"/>
                  </a:cubicBezTo>
                  <a:lnTo>
                    <a:pt x="7814" y="4127"/>
                  </a:lnTo>
                  <a:lnTo>
                    <a:pt x="7751" y="4222"/>
                  </a:lnTo>
                  <a:cubicBezTo>
                    <a:pt x="7625" y="4348"/>
                    <a:pt x="7625" y="4568"/>
                    <a:pt x="7751" y="4694"/>
                  </a:cubicBezTo>
                  <a:cubicBezTo>
                    <a:pt x="7814" y="4757"/>
                    <a:pt x="7901" y="4789"/>
                    <a:pt x="7987" y="4789"/>
                  </a:cubicBezTo>
                  <a:cubicBezTo>
                    <a:pt x="8074" y="4789"/>
                    <a:pt x="8161" y="4757"/>
                    <a:pt x="8224" y="4694"/>
                  </a:cubicBezTo>
                  <a:lnTo>
                    <a:pt x="8885" y="4033"/>
                  </a:lnTo>
                  <a:cubicBezTo>
                    <a:pt x="8980" y="3938"/>
                    <a:pt x="9011" y="3875"/>
                    <a:pt x="9011" y="3781"/>
                  </a:cubicBezTo>
                  <a:cubicBezTo>
                    <a:pt x="9011" y="4537"/>
                    <a:pt x="9641" y="5167"/>
                    <a:pt x="10397" y="5167"/>
                  </a:cubicBezTo>
                  <a:cubicBezTo>
                    <a:pt x="10618" y="5167"/>
                    <a:pt x="10807" y="5136"/>
                    <a:pt x="11028" y="5010"/>
                  </a:cubicBezTo>
                  <a:cubicBezTo>
                    <a:pt x="11059" y="5293"/>
                    <a:pt x="11091" y="5545"/>
                    <a:pt x="11091" y="5829"/>
                  </a:cubicBezTo>
                  <a:cubicBezTo>
                    <a:pt x="11028" y="8696"/>
                    <a:pt x="8696" y="11027"/>
                    <a:pt x="5829" y="11027"/>
                  </a:cubicBezTo>
                  <a:cubicBezTo>
                    <a:pt x="2994" y="11027"/>
                    <a:pt x="694" y="8696"/>
                    <a:pt x="694" y="5829"/>
                  </a:cubicBezTo>
                  <a:cubicBezTo>
                    <a:pt x="694" y="2993"/>
                    <a:pt x="2994" y="725"/>
                    <a:pt x="5829" y="725"/>
                  </a:cubicBezTo>
                  <a:close/>
                  <a:moveTo>
                    <a:pt x="5829" y="0"/>
                  </a:moveTo>
                  <a:cubicBezTo>
                    <a:pt x="2584" y="0"/>
                    <a:pt x="1" y="2615"/>
                    <a:pt x="1" y="5829"/>
                  </a:cubicBezTo>
                  <a:cubicBezTo>
                    <a:pt x="1" y="7404"/>
                    <a:pt x="599" y="8853"/>
                    <a:pt x="1702" y="9956"/>
                  </a:cubicBezTo>
                  <a:cubicBezTo>
                    <a:pt x="2773" y="11058"/>
                    <a:pt x="4254" y="11689"/>
                    <a:pt x="5829" y="11689"/>
                  </a:cubicBezTo>
                  <a:cubicBezTo>
                    <a:pt x="6617" y="11689"/>
                    <a:pt x="7341" y="11531"/>
                    <a:pt x="8098" y="11216"/>
                  </a:cubicBezTo>
                  <a:cubicBezTo>
                    <a:pt x="8822" y="10901"/>
                    <a:pt x="9452" y="10523"/>
                    <a:pt x="9956" y="9956"/>
                  </a:cubicBezTo>
                  <a:cubicBezTo>
                    <a:pt x="10492" y="9420"/>
                    <a:pt x="10901" y="8790"/>
                    <a:pt x="11217" y="8128"/>
                  </a:cubicBezTo>
                  <a:cubicBezTo>
                    <a:pt x="11532" y="7404"/>
                    <a:pt x="11689" y="6616"/>
                    <a:pt x="11689" y="5829"/>
                  </a:cubicBezTo>
                  <a:cubicBezTo>
                    <a:pt x="11689" y="5356"/>
                    <a:pt x="11658" y="4884"/>
                    <a:pt x="11532" y="4442"/>
                  </a:cubicBezTo>
                  <a:cubicBezTo>
                    <a:pt x="11595" y="4253"/>
                    <a:pt x="11689" y="4033"/>
                    <a:pt x="11689" y="3781"/>
                  </a:cubicBezTo>
                  <a:cubicBezTo>
                    <a:pt x="11689" y="3119"/>
                    <a:pt x="11217" y="2552"/>
                    <a:pt x="10586" y="2458"/>
                  </a:cubicBezTo>
                  <a:cubicBezTo>
                    <a:pt x="9484" y="945"/>
                    <a:pt x="7719"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68" name="Google Shape;10968;p81"/>
          <p:cNvSpPr/>
          <p:nvPr/>
        </p:nvSpPr>
        <p:spPr>
          <a:xfrm>
            <a:off x="3014690" y="2152917"/>
            <a:ext cx="429891" cy="395493"/>
          </a:xfrm>
          <a:custGeom>
            <a:avLst/>
            <a:gdLst/>
            <a:ahLst/>
            <a:cxnLst/>
            <a:rect l="l" t="t" r="r" b="b"/>
            <a:pathLst>
              <a:path w="11910" h="10957" extrusionOk="0">
                <a:moveTo>
                  <a:pt x="7325" y="654"/>
                </a:moveTo>
                <a:cubicBezTo>
                  <a:pt x="7412" y="654"/>
                  <a:pt x="7498" y="686"/>
                  <a:pt x="7561" y="749"/>
                </a:cubicBezTo>
                <a:lnTo>
                  <a:pt x="10995" y="4088"/>
                </a:lnTo>
                <a:cubicBezTo>
                  <a:pt x="11122" y="4246"/>
                  <a:pt x="11122" y="4466"/>
                  <a:pt x="10995" y="4592"/>
                </a:cubicBezTo>
                <a:lnTo>
                  <a:pt x="10082" y="5506"/>
                </a:lnTo>
                <a:lnTo>
                  <a:pt x="7404" y="2859"/>
                </a:lnTo>
                <a:cubicBezTo>
                  <a:pt x="7215" y="2670"/>
                  <a:pt x="6955" y="2576"/>
                  <a:pt x="6691" y="2576"/>
                </a:cubicBezTo>
                <a:cubicBezTo>
                  <a:pt x="6427" y="2576"/>
                  <a:pt x="6159" y="2670"/>
                  <a:pt x="5955" y="2859"/>
                </a:cubicBezTo>
                <a:lnTo>
                  <a:pt x="4978" y="3805"/>
                </a:lnTo>
                <a:cubicBezTo>
                  <a:pt x="4915" y="3868"/>
                  <a:pt x="4828" y="3899"/>
                  <a:pt x="4742" y="3899"/>
                </a:cubicBezTo>
                <a:cubicBezTo>
                  <a:pt x="4655" y="3899"/>
                  <a:pt x="4568" y="3868"/>
                  <a:pt x="4505" y="3805"/>
                </a:cubicBezTo>
                <a:cubicBezTo>
                  <a:pt x="4379" y="3679"/>
                  <a:pt x="4379" y="3458"/>
                  <a:pt x="4505" y="3332"/>
                </a:cubicBezTo>
                <a:lnTo>
                  <a:pt x="5955" y="1883"/>
                </a:lnTo>
                <a:lnTo>
                  <a:pt x="7089" y="749"/>
                </a:lnTo>
                <a:cubicBezTo>
                  <a:pt x="7152" y="686"/>
                  <a:pt x="7239" y="654"/>
                  <a:pt x="7325" y="654"/>
                </a:cubicBezTo>
                <a:close/>
                <a:moveTo>
                  <a:pt x="2808" y="5183"/>
                </a:moveTo>
                <a:cubicBezTo>
                  <a:pt x="2899" y="5183"/>
                  <a:pt x="2993" y="5207"/>
                  <a:pt x="3056" y="5254"/>
                </a:cubicBezTo>
                <a:cubicBezTo>
                  <a:pt x="3151" y="5380"/>
                  <a:pt x="3151" y="5632"/>
                  <a:pt x="3056" y="5726"/>
                </a:cubicBezTo>
                <a:lnTo>
                  <a:pt x="2048" y="6735"/>
                </a:lnTo>
                <a:cubicBezTo>
                  <a:pt x="2001" y="6782"/>
                  <a:pt x="1914" y="6805"/>
                  <a:pt x="1824" y="6805"/>
                </a:cubicBezTo>
                <a:cubicBezTo>
                  <a:pt x="1733" y="6805"/>
                  <a:pt x="1639" y="6782"/>
                  <a:pt x="1576" y="6735"/>
                </a:cubicBezTo>
                <a:cubicBezTo>
                  <a:pt x="1449" y="6609"/>
                  <a:pt x="1449" y="6357"/>
                  <a:pt x="1576" y="6262"/>
                </a:cubicBezTo>
                <a:lnTo>
                  <a:pt x="2584" y="5254"/>
                </a:lnTo>
                <a:cubicBezTo>
                  <a:pt x="2631" y="5207"/>
                  <a:pt x="2718" y="5183"/>
                  <a:pt x="2808" y="5183"/>
                </a:cubicBezTo>
                <a:close/>
                <a:moveTo>
                  <a:pt x="3785" y="6167"/>
                </a:moveTo>
                <a:cubicBezTo>
                  <a:pt x="3875" y="6167"/>
                  <a:pt x="3970" y="6199"/>
                  <a:pt x="4033" y="6262"/>
                </a:cubicBezTo>
                <a:cubicBezTo>
                  <a:pt x="4159" y="6357"/>
                  <a:pt x="4159" y="6609"/>
                  <a:pt x="4033" y="6735"/>
                </a:cubicBezTo>
                <a:lnTo>
                  <a:pt x="3056" y="7711"/>
                </a:lnTo>
                <a:cubicBezTo>
                  <a:pt x="2993" y="7774"/>
                  <a:pt x="2899" y="7806"/>
                  <a:pt x="2808" y="7806"/>
                </a:cubicBezTo>
                <a:cubicBezTo>
                  <a:pt x="2718" y="7806"/>
                  <a:pt x="2631" y="7774"/>
                  <a:pt x="2584" y="7711"/>
                </a:cubicBezTo>
                <a:cubicBezTo>
                  <a:pt x="2395" y="7554"/>
                  <a:pt x="2395" y="7365"/>
                  <a:pt x="2584" y="7239"/>
                </a:cubicBezTo>
                <a:lnTo>
                  <a:pt x="3560" y="6262"/>
                </a:lnTo>
                <a:cubicBezTo>
                  <a:pt x="3608" y="6199"/>
                  <a:pt x="3694" y="6167"/>
                  <a:pt x="3785" y="6167"/>
                </a:cubicBezTo>
                <a:close/>
                <a:moveTo>
                  <a:pt x="4730" y="7113"/>
                </a:moveTo>
                <a:cubicBezTo>
                  <a:pt x="4821" y="7113"/>
                  <a:pt x="4915" y="7144"/>
                  <a:pt x="4978" y="7207"/>
                </a:cubicBezTo>
                <a:cubicBezTo>
                  <a:pt x="5073" y="7302"/>
                  <a:pt x="5073" y="7554"/>
                  <a:pt x="4978" y="7680"/>
                </a:cubicBezTo>
                <a:lnTo>
                  <a:pt x="4001" y="8656"/>
                </a:lnTo>
                <a:cubicBezTo>
                  <a:pt x="3938" y="8719"/>
                  <a:pt x="3844" y="8751"/>
                  <a:pt x="3749" y="8751"/>
                </a:cubicBezTo>
                <a:cubicBezTo>
                  <a:pt x="3655" y="8751"/>
                  <a:pt x="3560" y="8719"/>
                  <a:pt x="3497" y="8656"/>
                </a:cubicBezTo>
                <a:cubicBezTo>
                  <a:pt x="3403" y="8530"/>
                  <a:pt x="3403" y="8310"/>
                  <a:pt x="3497" y="8184"/>
                </a:cubicBezTo>
                <a:lnTo>
                  <a:pt x="4505" y="7207"/>
                </a:lnTo>
                <a:cubicBezTo>
                  <a:pt x="4553" y="7144"/>
                  <a:pt x="4639" y="7113"/>
                  <a:pt x="4730" y="7113"/>
                </a:cubicBezTo>
                <a:close/>
                <a:moveTo>
                  <a:pt x="4100" y="969"/>
                </a:moveTo>
                <a:cubicBezTo>
                  <a:pt x="4190" y="969"/>
                  <a:pt x="4285" y="1001"/>
                  <a:pt x="4348" y="1064"/>
                </a:cubicBezTo>
                <a:lnTo>
                  <a:pt x="5041" y="1725"/>
                </a:lnTo>
                <a:lnTo>
                  <a:pt x="3938" y="2828"/>
                </a:lnTo>
                <a:cubicBezTo>
                  <a:pt x="3560" y="3206"/>
                  <a:pt x="3560" y="3899"/>
                  <a:pt x="3938" y="4277"/>
                </a:cubicBezTo>
                <a:cubicBezTo>
                  <a:pt x="4143" y="4482"/>
                  <a:pt x="4411" y="4584"/>
                  <a:pt x="4675" y="4584"/>
                </a:cubicBezTo>
                <a:cubicBezTo>
                  <a:pt x="4939" y="4584"/>
                  <a:pt x="5199" y="4482"/>
                  <a:pt x="5388" y="4277"/>
                </a:cubicBezTo>
                <a:lnTo>
                  <a:pt x="6396" y="3332"/>
                </a:lnTo>
                <a:cubicBezTo>
                  <a:pt x="6443" y="3269"/>
                  <a:pt x="6530" y="3238"/>
                  <a:pt x="6620" y="3238"/>
                </a:cubicBezTo>
                <a:cubicBezTo>
                  <a:pt x="6711" y="3238"/>
                  <a:pt x="6805" y="3269"/>
                  <a:pt x="6868" y="3332"/>
                </a:cubicBezTo>
                <a:lnTo>
                  <a:pt x="10334" y="6735"/>
                </a:lnTo>
                <a:cubicBezTo>
                  <a:pt x="10491" y="6829"/>
                  <a:pt x="10491" y="7113"/>
                  <a:pt x="10365" y="7239"/>
                </a:cubicBezTo>
                <a:cubicBezTo>
                  <a:pt x="10302" y="7302"/>
                  <a:pt x="10216" y="7333"/>
                  <a:pt x="10129" y="7333"/>
                </a:cubicBezTo>
                <a:cubicBezTo>
                  <a:pt x="10042" y="7333"/>
                  <a:pt x="9956" y="7302"/>
                  <a:pt x="9893" y="7239"/>
                </a:cubicBezTo>
                <a:lnTo>
                  <a:pt x="8444" y="5789"/>
                </a:lnTo>
                <a:cubicBezTo>
                  <a:pt x="8381" y="5726"/>
                  <a:pt x="8286" y="5695"/>
                  <a:pt x="8195" y="5695"/>
                </a:cubicBezTo>
                <a:cubicBezTo>
                  <a:pt x="8105" y="5695"/>
                  <a:pt x="8018" y="5726"/>
                  <a:pt x="7971" y="5789"/>
                </a:cubicBezTo>
                <a:cubicBezTo>
                  <a:pt x="7845" y="5884"/>
                  <a:pt x="7845" y="6136"/>
                  <a:pt x="7971" y="6262"/>
                </a:cubicBezTo>
                <a:lnTo>
                  <a:pt x="9420" y="7711"/>
                </a:lnTo>
                <a:cubicBezTo>
                  <a:pt x="9546" y="7837"/>
                  <a:pt x="9546" y="8058"/>
                  <a:pt x="9420" y="8184"/>
                </a:cubicBezTo>
                <a:cubicBezTo>
                  <a:pt x="9357" y="8247"/>
                  <a:pt x="9271" y="8278"/>
                  <a:pt x="9184" y="8278"/>
                </a:cubicBezTo>
                <a:cubicBezTo>
                  <a:pt x="9097" y="8278"/>
                  <a:pt x="9011" y="8247"/>
                  <a:pt x="8948" y="8184"/>
                </a:cubicBezTo>
                <a:lnTo>
                  <a:pt x="7498" y="6735"/>
                </a:lnTo>
                <a:cubicBezTo>
                  <a:pt x="7435" y="6672"/>
                  <a:pt x="7341" y="6640"/>
                  <a:pt x="7250" y="6640"/>
                </a:cubicBezTo>
                <a:cubicBezTo>
                  <a:pt x="7160" y="6640"/>
                  <a:pt x="7073" y="6672"/>
                  <a:pt x="7026" y="6735"/>
                </a:cubicBezTo>
                <a:cubicBezTo>
                  <a:pt x="6900" y="6829"/>
                  <a:pt x="6900" y="7081"/>
                  <a:pt x="7026" y="7176"/>
                </a:cubicBezTo>
                <a:lnTo>
                  <a:pt x="8475" y="8656"/>
                </a:lnTo>
                <a:cubicBezTo>
                  <a:pt x="8601" y="8751"/>
                  <a:pt x="8601" y="9003"/>
                  <a:pt x="8475" y="9129"/>
                </a:cubicBezTo>
                <a:cubicBezTo>
                  <a:pt x="8412" y="9176"/>
                  <a:pt x="8325" y="9200"/>
                  <a:pt x="8239" y="9200"/>
                </a:cubicBezTo>
                <a:cubicBezTo>
                  <a:pt x="8152" y="9200"/>
                  <a:pt x="8066" y="9176"/>
                  <a:pt x="8003" y="9129"/>
                </a:cubicBezTo>
                <a:lnTo>
                  <a:pt x="6459" y="7648"/>
                </a:lnTo>
                <a:cubicBezTo>
                  <a:pt x="6270" y="7459"/>
                  <a:pt x="6018" y="7396"/>
                  <a:pt x="5797" y="7396"/>
                </a:cubicBezTo>
                <a:cubicBezTo>
                  <a:pt x="5797" y="7144"/>
                  <a:pt x="5671" y="6924"/>
                  <a:pt x="5482" y="6735"/>
                </a:cubicBezTo>
                <a:cubicBezTo>
                  <a:pt x="5293" y="6514"/>
                  <a:pt x="5041" y="6451"/>
                  <a:pt x="4821" y="6388"/>
                </a:cubicBezTo>
                <a:cubicBezTo>
                  <a:pt x="4821" y="6167"/>
                  <a:pt x="4694" y="5947"/>
                  <a:pt x="4505" y="5726"/>
                </a:cubicBezTo>
                <a:cubicBezTo>
                  <a:pt x="4285" y="5537"/>
                  <a:pt x="4064" y="5474"/>
                  <a:pt x="3812" y="5411"/>
                </a:cubicBezTo>
                <a:cubicBezTo>
                  <a:pt x="3812" y="5191"/>
                  <a:pt x="3718" y="4939"/>
                  <a:pt x="3497" y="4750"/>
                </a:cubicBezTo>
                <a:cubicBezTo>
                  <a:pt x="3308" y="4561"/>
                  <a:pt x="3048" y="4466"/>
                  <a:pt x="2785" y="4466"/>
                </a:cubicBezTo>
                <a:cubicBezTo>
                  <a:pt x="2521" y="4466"/>
                  <a:pt x="2253" y="4561"/>
                  <a:pt x="2048" y="4750"/>
                </a:cubicBezTo>
                <a:lnTo>
                  <a:pt x="1544" y="5254"/>
                </a:lnTo>
                <a:lnTo>
                  <a:pt x="819" y="4561"/>
                </a:lnTo>
                <a:cubicBezTo>
                  <a:pt x="725" y="4435"/>
                  <a:pt x="725" y="4183"/>
                  <a:pt x="819" y="4088"/>
                </a:cubicBezTo>
                <a:lnTo>
                  <a:pt x="3875" y="1064"/>
                </a:lnTo>
                <a:cubicBezTo>
                  <a:pt x="3923" y="1001"/>
                  <a:pt x="4009" y="969"/>
                  <a:pt x="4100" y="969"/>
                </a:cubicBezTo>
                <a:close/>
                <a:moveTo>
                  <a:pt x="5718" y="8089"/>
                </a:moveTo>
                <a:cubicBezTo>
                  <a:pt x="5805" y="8089"/>
                  <a:pt x="5892" y="8121"/>
                  <a:pt x="5955" y="8184"/>
                </a:cubicBezTo>
                <a:cubicBezTo>
                  <a:pt x="6081" y="8310"/>
                  <a:pt x="6081" y="8530"/>
                  <a:pt x="5955" y="8656"/>
                </a:cubicBezTo>
                <a:lnTo>
                  <a:pt x="4978" y="9633"/>
                </a:lnTo>
                <a:cubicBezTo>
                  <a:pt x="4915" y="9696"/>
                  <a:pt x="4821" y="9728"/>
                  <a:pt x="4730" y="9728"/>
                </a:cubicBezTo>
                <a:cubicBezTo>
                  <a:pt x="4639" y="9728"/>
                  <a:pt x="4553" y="9696"/>
                  <a:pt x="4505" y="9633"/>
                </a:cubicBezTo>
                <a:cubicBezTo>
                  <a:pt x="4379" y="9507"/>
                  <a:pt x="4379" y="9286"/>
                  <a:pt x="4505" y="9160"/>
                </a:cubicBezTo>
                <a:lnTo>
                  <a:pt x="5482" y="8184"/>
                </a:lnTo>
                <a:cubicBezTo>
                  <a:pt x="5545" y="8121"/>
                  <a:pt x="5632" y="8089"/>
                  <a:pt x="5718" y="8089"/>
                </a:cubicBezTo>
                <a:close/>
                <a:moveTo>
                  <a:pt x="6616" y="8877"/>
                </a:moveTo>
                <a:lnTo>
                  <a:pt x="7467" y="9665"/>
                </a:lnTo>
                <a:cubicBezTo>
                  <a:pt x="7593" y="9759"/>
                  <a:pt x="7593" y="9980"/>
                  <a:pt x="7435" y="10106"/>
                </a:cubicBezTo>
                <a:cubicBezTo>
                  <a:pt x="7388" y="10169"/>
                  <a:pt x="7286" y="10200"/>
                  <a:pt x="7179" y="10200"/>
                </a:cubicBezTo>
                <a:cubicBezTo>
                  <a:pt x="7073" y="10200"/>
                  <a:pt x="6963" y="10169"/>
                  <a:pt x="6900" y="10106"/>
                </a:cubicBezTo>
                <a:lnTo>
                  <a:pt x="6207" y="9412"/>
                </a:lnTo>
                <a:lnTo>
                  <a:pt x="6427" y="9160"/>
                </a:lnTo>
                <a:cubicBezTo>
                  <a:pt x="6522" y="9097"/>
                  <a:pt x="6585" y="8971"/>
                  <a:pt x="6616" y="8877"/>
                </a:cubicBezTo>
                <a:close/>
                <a:moveTo>
                  <a:pt x="7309" y="0"/>
                </a:moveTo>
                <a:cubicBezTo>
                  <a:pt x="7042" y="0"/>
                  <a:pt x="6774" y="103"/>
                  <a:pt x="6585" y="308"/>
                </a:cubicBezTo>
                <a:lnTo>
                  <a:pt x="5608" y="1284"/>
                </a:lnTo>
                <a:lnTo>
                  <a:pt x="4852" y="560"/>
                </a:lnTo>
                <a:cubicBezTo>
                  <a:pt x="4656" y="394"/>
                  <a:pt x="4409" y="307"/>
                  <a:pt x="4163" y="307"/>
                </a:cubicBezTo>
                <a:cubicBezTo>
                  <a:pt x="3897" y="307"/>
                  <a:pt x="3631" y="409"/>
                  <a:pt x="3434" y="623"/>
                </a:cubicBezTo>
                <a:lnTo>
                  <a:pt x="410" y="3647"/>
                </a:lnTo>
                <a:cubicBezTo>
                  <a:pt x="0" y="4025"/>
                  <a:pt x="0" y="4718"/>
                  <a:pt x="410" y="5096"/>
                </a:cubicBezTo>
                <a:lnTo>
                  <a:pt x="1103" y="5821"/>
                </a:lnTo>
                <a:cubicBezTo>
                  <a:pt x="725" y="6199"/>
                  <a:pt x="725" y="6829"/>
                  <a:pt x="1103" y="7239"/>
                </a:cubicBezTo>
                <a:cubicBezTo>
                  <a:pt x="1292" y="7428"/>
                  <a:pt x="1544" y="7491"/>
                  <a:pt x="1765" y="7554"/>
                </a:cubicBezTo>
                <a:cubicBezTo>
                  <a:pt x="1765" y="7774"/>
                  <a:pt x="1891" y="8026"/>
                  <a:pt x="2080" y="8215"/>
                </a:cubicBezTo>
                <a:cubicBezTo>
                  <a:pt x="2300" y="8404"/>
                  <a:pt x="2521" y="8499"/>
                  <a:pt x="2773" y="8530"/>
                </a:cubicBezTo>
                <a:cubicBezTo>
                  <a:pt x="2773" y="8751"/>
                  <a:pt x="2867" y="9003"/>
                  <a:pt x="3088" y="9192"/>
                </a:cubicBezTo>
                <a:cubicBezTo>
                  <a:pt x="3277" y="9381"/>
                  <a:pt x="3497" y="9475"/>
                  <a:pt x="3749" y="9507"/>
                </a:cubicBezTo>
                <a:cubicBezTo>
                  <a:pt x="3749" y="9759"/>
                  <a:pt x="3875" y="9980"/>
                  <a:pt x="4064" y="10169"/>
                </a:cubicBezTo>
                <a:cubicBezTo>
                  <a:pt x="4253" y="10373"/>
                  <a:pt x="4521" y="10476"/>
                  <a:pt x="4789" y="10476"/>
                </a:cubicBezTo>
                <a:cubicBezTo>
                  <a:pt x="5057" y="10476"/>
                  <a:pt x="5325" y="10373"/>
                  <a:pt x="5514" y="10169"/>
                </a:cubicBezTo>
                <a:lnTo>
                  <a:pt x="5766" y="9948"/>
                </a:lnTo>
                <a:lnTo>
                  <a:pt x="6459" y="10673"/>
                </a:lnTo>
                <a:cubicBezTo>
                  <a:pt x="6664" y="10862"/>
                  <a:pt x="6939" y="10956"/>
                  <a:pt x="7219" y="10956"/>
                </a:cubicBezTo>
                <a:cubicBezTo>
                  <a:pt x="7498" y="10956"/>
                  <a:pt x="7782" y="10862"/>
                  <a:pt x="8003" y="10673"/>
                </a:cubicBezTo>
                <a:cubicBezTo>
                  <a:pt x="8192" y="10452"/>
                  <a:pt x="8286" y="10232"/>
                  <a:pt x="8318" y="9980"/>
                </a:cubicBezTo>
                <a:cubicBezTo>
                  <a:pt x="8538" y="9980"/>
                  <a:pt x="8790" y="9885"/>
                  <a:pt x="8979" y="9665"/>
                </a:cubicBezTo>
                <a:cubicBezTo>
                  <a:pt x="9168" y="9475"/>
                  <a:pt x="9263" y="9255"/>
                  <a:pt x="9294" y="9003"/>
                </a:cubicBezTo>
                <a:cubicBezTo>
                  <a:pt x="9546" y="9003"/>
                  <a:pt x="9767" y="8877"/>
                  <a:pt x="9956" y="8688"/>
                </a:cubicBezTo>
                <a:cubicBezTo>
                  <a:pt x="10176" y="8499"/>
                  <a:pt x="10239" y="8247"/>
                  <a:pt x="10271" y="8026"/>
                </a:cubicBezTo>
                <a:cubicBezTo>
                  <a:pt x="10523" y="8026"/>
                  <a:pt x="10743" y="7900"/>
                  <a:pt x="10964" y="7711"/>
                </a:cubicBezTo>
                <a:cubicBezTo>
                  <a:pt x="11342" y="7302"/>
                  <a:pt x="11342" y="6640"/>
                  <a:pt x="10964" y="6262"/>
                </a:cubicBezTo>
                <a:lnTo>
                  <a:pt x="10680" y="5978"/>
                </a:lnTo>
                <a:lnTo>
                  <a:pt x="11594" y="5065"/>
                </a:lnTo>
                <a:cubicBezTo>
                  <a:pt x="11909" y="4687"/>
                  <a:pt x="11909" y="4057"/>
                  <a:pt x="11468" y="3647"/>
                </a:cubicBezTo>
                <a:lnTo>
                  <a:pt x="8034" y="308"/>
                </a:lnTo>
                <a:cubicBezTo>
                  <a:pt x="7845" y="103"/>
                  <a:pt x="7577" y="0"/>
                  <a:pt x="7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9" name="Google Shape;10969;p81"/>
          <p:cNvSpPr/>
          <p:nvPr/>
        </p:nvSpPr>
        <p:spPr>
          <a:xfrm>
            <a:off x="3030609" y="2660806"/>
            <a:ext cx="421914" cy="420759"/>
          </a:xfrm>
          <a:custGeom>
            <a:avLst/>
            <a:gdLst/>
            <a:ahLst/>
            <a:cxnLst/>
            <a:rect l="l" t="t" r="r" b="b"/>
            <a:pathLst>
              <a:path w="11689" h="11657" extrusionOk="0">
                <a:moveTo>
                  <a:pt x="5797" y="2111"/>
                </a:moveTo>
                <a:cubicBezTo>
                  <a:pt x="6175" y="2111"/>
                  <a:pt x="6459" y="2426"/>
                  <a:pt x="6459" y="2773"/>
                </a:cubicBezTo>
                <a:cubicBezTo>
                  <a:pt x="6459" y="3151"/>
                  <a:pt x="6175" y="3466"/>
                  <a:pt x="5797" y="3466"/>
                </a:cubicBezTo>
                <a:cubicBezTo>
                  <a:pt x="5388" y="3466"/>
                  <a:pt x="5104" y="3151"/>
                  <a:pt x="5104" y="2773"/>
                </a:cubicBezTo>
                <a:cubicBezTo>
                  <a:pt x="5104" y="2426"/>
                  <a:pt x="5419" y="2111"/>
                  <a:pt x="5797" y="2111"/>
                </a:cubicBezTo>
                <a:close/>
                <a:moveTo>
                  <a:pt x="6112" y="4159"/>
                </a:moveTo>
                <a:cubicBezTo>
                  <a:pt x="6648" y="4159"/>
                  <a:pt x="7120" y="4631"/>
                  <a:pt x="7120" y="5198"/>
                </a:cubicBezTo>
                <a:lnTo>
                  <a:pt x="7120" y="5545"/>
                </a:lnTo>
                <a:lnTo>
                  <a:pt x="4379" y="5545"/>
                </a:lnTo>
                <a:lnTo>
                  <a:pt x="4379" y="5198"/>
                </a:lnTo>
                <a:cubicBezTo>
                  <a:pt x="4411" y="4600"/>
                  <a:pt x="4884" y="4159"/>
                  <a:pt x="5419" y="4159"/>
                </a:cubicBezTo>
                <a:close/>
                <a:moveTo>
                  <a:pt x="10586" y="662"/>
                </a:moveTo>
                <a:cubicBezTo>
                  <a:pt x="10775" y="662"/>
                  <a:pt x="10932" y="819"/>
                  <a:pt x="10932" y="1008"/>
                </a:cubicBezTo>
                <a:lnTo>
                  <a:pt x="10932" y="5860"/>
                </a:lnTo>
                <a:lnTo>
                  <a:pt x="10996" y="5860"/>
                </a:lnTo>
                <a:cubicBezTo>
                  <a:pt x="10996" y="6049"/>
                  <a:pt x="10838" y="6207"/>
                  <a:pt x="10617" y="6207"/>
                </a:cubicBezTo>
                <a:lnTo>
                  <a:pt x="9483" y="6207"/>
                </a:lnTo>
                <a:cubicBezTo>
                  <a:pt x="9326" y="5829"/>
                  <a:pt x="8979" y="5545"/>
                  <a:pt x="8507" y="5545"/>
                </a:cubicBezTo>
                <a:lnTo>
                  <a:pt x="7845" y="5545"/>
                </a:lnTo>
                <a:lnTo>
                  <a:pt x="7845" y="5198"/>
                </a:lnTo>
                <a:cubicBezTo>
                  <a:pt x="7845" y="4505"/>
                  <a:pt x="7435" y="3938"/>
                  <a:pt x="6837" y="3655"/>
                </a:cubicBezTo>
                <a:cubicBezTo>
                  <a:pt x="7057" y="3403"/>
                  <a:pt x="7152" y="3151"/>
                  <a:pt x="7152" y="2773"/>
                </a:cubicBezTo>
                <a:cubicBezTo>
                  <a:pt x="7152" y="2048"/>
                  <a:pt x="6522" y="1418"/>
                  <a:pt x="5797" y="1418"/>
                </a:cubicBezTo>
                <a:cubicBezTo>
                  <a:pt x="5041" y="1418"/>
                  <a:pt x="4411" y="2048"/>
                  <a:pt x="4411" y="2773"/>
                </a:cubicBezTo>
                <a:cubicBezTo>
                  <a:pt x="4411" y="3088"/>
                  <a:pt x="4537" y="3403"/>
                  <a:pt x="4726" y="3655"/>
                </a:cubicBezTo>
                <a:cubicBezTo>
                  <a:pt x="4127" y="3938"/>
                  <a:pt x="3749" y="4505"/>
                  <a:pt x="3749" y="5198"/>
                </a:cubicBezTo>
                <a:lnTo>
                  <a:pt x="3749" y="5545"/>
                </a:lnTo>
                <a:lnTo>
                  <a:pt x="3056" y="5545"/>
                </a:lnTo>
                <a:cubicBezTo>
                  <a:pt x="2647" y="5545"/>
                  <a:pt x="2237" y="5829"/>
                  <a:pt x="2080" y="6207"/>
                </a:cubicBezTo>
                <a:lnTo>
                  <a:pt x="977" y="6207"/>
                </a:lnTo>
                <a:cubicBezTo>
                  <a:pt x="788" y="6207"/>
                  <a:pt x="630" y="6049"/>
                  <a:pt x="630" y="5860"/>
                </a:cubicBezTo>
                <a:lnTo>
                  <a:pt x="630" y="1008"/>
                </a:lnTo>
                <a:cubicBezTo>
                  <a:pt x="630" y="819"/>
                  <a:pt x="788" y="662"/>
                  <a:pt x="977" y="662"/>
                </a:cubicBezTo>
                <a:close/>
                <a:moveTo>
                  <a:pt x="8538" y="6175"/>
                </a:moveTo>
                <a:cubicBezTo>
                  <a:pt x="8759" y="6175"/>
                  <a:pt x="8916" y="6333"/>
                  <a:pt x="8916" y="6522"/>
                </a:cubicBezTo>
                <a:cubicBezTo>
                  <a:pt x="8853" y="6711"/>
                  <a:pt x="8696" y="6868"/>
                  <a:pt x="8538" y="6868"/>
                </a:cubicBezTo>
                <a:lnTo>
                  <a:pt x="3088" y="6868"/>
                </a:lnTo>
                <a:cubicBezTo>
                  <a:pt x="2867" y="6868"/>
                  <a:pt x="2710" y="6711"/>
                  <a:pt x="2710" y="6522"/>
                </a:cubicBezTo>
                <a:cubicBezTo>
                  <a:pt x="2710" y="6333"/>
                  <a:pt x="2867" y="6175"/>
                  <a:pt x="3088" y="6175"/>
                </a:cubicBezTo>
                <a:close/>
                <a:moveTo>
                  <a:pt x="8160" y="7593"/>
                </a:moveTo>
                <a:lnTo>
                  <a:pt x="7561" y="11027"/>
                </a:lnTo>
                <a:lnTo>
                  <a:pt x="4033" y="11027"/>
                </a:lnTo>
                <a:lnTo>
                  <a:pt x="3466" y="7593"/>
                </a:lnTo>
                <a:close/>
                <a:moveTo>
                  <a:pt x="1008" y="0"/>
                </a:moveTo>
                <a:cubicBezTo>
                  <a:pt x="473" y="0"/>
                  <a:pt x="0" y="473"/>
                  <a:pt x="0" y="1008"/>
                </a:cubicBezTo>
                <a:lnTo>
                  <a:pt x="0" y="5860"/>
                </a:lnTo>
                <a:cubicBezTo>
                  <a:pt x="0" y="6396"/>
                  <a:pt x="473" y="6868"/>
                  <a:pt x="1008" y="6868"/>
                </a:cubicBezTo>
                <a:lnTo>
                  <a:pt x="2111" y="6868"/>
                </a:lnTo>
                <a:cubicBezTo>
                  <a:pt x="2237" y="7183"/>
                  <a:pt x="2489" y="7435"/>
                  <a:pt x="2804" y="7498"/>
                </a:cubicBezTo>
                <a:lnTo>
                  <a:pt x="3434" y="11373"/>
                </a:lnTo>
                <a:cubicBezTo>
                  <a:pt x="3466" y="11531"/>
                  <a:pt x="3592" y="11657"/>
                  <a:pt x="3781" y="11657"/>
                </a:cubicBezTo>
                <a:lnTo>
                  <a:pt x="7877" y="11657"/>
                </a:lnTo>
                <a:cubicBezTo>
                  <a:pt x="8034" y="11657"/>
                  <a:pt x="8192" y="11531"/>
                  <a:pt x="8223" y="11373"/>
                </a:cubicBezTo>
                <a:lnTo>
                  <a:pt x="8853" y="7498"/>
                </a:lnTo>
                <a:cubicBezTo>
                  <a:pt x="9168" y="7435"/>
                  <a:pt x="9420" y="7183"/>
                  <a:pt x="9546" y="6868"/>
                </a:cubicBezTo>
                <a:lnTo>
                  <a:pt x="10680" y="6868"/>
                </a:lnTo>
                <a:cubicBezTo>
                  <a:pt x="11216" y="6868"/>
                  <a:pt x="11689" y="6396"/>
                  <a:pt x="11689" y="5860"/>
                </a:cubicBezTo>
                <a:lnTo>
                  <a:pt x="11689" y="1008"/>
                </a:lnTo>
                <a:cubicBezTo>
                  <a:pt x="11657" y="473"/>
                  <a:pt x="11185" y="0"/>
                  <a:pt x="10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70" name="Google Shape;10970;p81"/>
          <p:cNvGrpSpPr/>
          <p:nvPr/>
        </p:nvGrpSpPr>
        <p:grpSpPr>
          <a:xfrm>
            <a:off x="5777136" y="1631256"/>
            <a:ext cx="324133" cy="420796"/>
            <a:chOff x="-3462150" y="2046625"/>
            <a:chExt cx="224500" cy="291450"/>
          </a:xfrm>
        </p:grpSpPr>
        <p:sp>
          <p:nvSpPr>
            <p:cNvPr id="10971" name="Google Shape;10971;p81"/>
            <p:cNvSpPr/>
            <p:nvPr/>
          </p:nvSpPr>
          <p:spPr>
            <a:xfrm>
              <a:off x="-3425125" y="2253000"/>
              <a:ext cx="51225" cy="50425"/>
            </a:xfrm>
            <a:custGeom>
              <a:avLst/>
              <a:gdLst/>
              <a:ahLst/>
              <a:cxnLst/>
              <a:rect l="l" t="t" r="r" b="b"/>
              <a:pathLst>
                <a:path w="2049" h="2017" extrusionOk="0">
                  <a:moveTo>
                    <a:pt x="1009" y="662"/>
                  </a:moveTo>
                  <a:cubicBezTo>
                    <a:pt x="1198" y="662"/>
                    <a:pt x="1355" y="819"/>
                    <a:pt x="1355" y="1008"/>
                  </a:cubicBezTo>
                  <a:cubicBezTo>
                    <a:pt x="1355" y="1197"/>
                    <a:pt x="1166" y="1355"/>
                    <a:pt x="1009" y="1355"/>
                  </a:cubicBezTo>
                  <a:cubicBezTo>
                    <a:pt x="820" y="1355"/>
                    <a:pt x="662" y="1197"/>
                    <a:pt x="662" y="1008"/>
                  </a:cubicBezTo>
                  <a:cubicBezTo>
                    <a:pt x="662" y="819"/>
                    <a:pt x="820" y="662"/>
                    <a:pt x="1009" y="662"/>
                  </a:cubicBezTo>
                  <a:close/>
                  <a:moveTo>
                    <a:pt x="1009" y="0"/>
                  </a:moveTo>
                  <a:cubicBezTo>
                    <a:pt x="473" y="0"/>
                    <a:pt x="0" y="441"/>
                    <a:pt x="0" y="1008"/>
                  </a:cubicBezTo>
                  <a:cubicBezTo>
                    <a:pt x="0" y="1575"/>
                    <a:pt x="473" y="2016"/>
                    <a:pt x="1009" y="2016"/>
                  </a:cubicBezTo>
                  <a:cubicBezTo>
                    <a:pt x="1576" y="2016"/>
                    <a:pt x="2048" y="1575"/>
                    <a:pt x="2048" y="1008"/>
                  </a:cubicBezTo>
                  <a:cubicBezTo>
                    <a:pt x="2048" y="441"/>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81"/>
            <p:cNvSpPr/>
            <p:nvPr/>
          </p:nvSpPr>
          <p:spPr>
            <a:xfrm>
              <a:off x="-3425125" y="2116725"/>
              <a:ext cx="51225" cy="49650"/>
            </a:xfrm>
            <a:custGeom>
              <a:avLst/>
              <a:gdLst/>
              <a:ahLst/>
              <a:cxnLst/>
              <a:rect l="l" t="t" r="r" b="b"/>
              <a:pathLst>
                <a:path w="2049" h="1986" extrusionOk="0">
                  <a:moveTo>
                    <a:pt x="343" y="1"/>
                  </a:moveTo>
                  <a:cubicBezTo>
                    <a:pt x="252" y="1"/>
                    <a:pt x="158" y="32"/>
                    <a:pt x="95" y="95"/>
                  </a:cubicBezTo>
                  <a:cubicBezTo>
                    <a:pt x="0" y="190"/>
                    <a:pt x="0" y="442"/>
                    <a:pt x="95" y="536"/>
                  </a:cubicBezTo>
                  <a:lnTo>
                    <a:pt x="536" y="977"/>
                  </a:lnTo>
                  <a:lnTo>
                    <a:pt x="95" y="1418"/>
                  </a:lnTo>
                  <a:cubicBezTo>
                    <a:pt x="0" y="1544"/>
                    <a:pt x="0" y="1765"/>
                    <a:pt x="95" y="1891"/>
                  </a:cubicBezTo>
                  <a:cubicBezTo>
                    <a:pt x="158" y="1954"/>
                    <a:pt x="252" y="1986"/>
                    <a:pt x="343" y="1986"/>
                  </a:cubicBezTo>
                  <a:cubicBezTo>
                    <a:pt x="434" y="1986"/>
                    <a:pt x="520" y="1954"/>
                    <a:pt x="568" y="1891"/>
                  </a:cubicBezTo>
                  <a:lnTo>
                    <a:pt x="1009" y="1450"/>
                  </a:lnTo>
                  <a:lnTo>
                    <a:pt x="1450" y="1891"/>
                  </a:lnTo>
                  <a:cubicBezTo>
                    <a:pt x="1513" y="1954"/>
                    <a:pt x="1599" y="1986"/>
                    <a:pt x="1686" y="1986"/>
                  </a:cubicBezTo>
                  <a:cubicBezTo>
                    <a:pt x="1773" y="1986"/>
                    <a:pt x="1859" y="1954"/>
                    <a:pt x="1922" y="1891"/>
                  </a:cubicBezTo>
                  <a:cubicBezTo>
                    <a:pt x="2048" y="1765"/>
                    <a:pt x="2048" y="1544"/>
                    <a:pt x="1922" y="1418"/>
                  </a:cubicBezTo>
                  <a:lnTo>
                    <a:pt x="1481" y="977"/>
                  </a:lnTo>
                  <a:lnTo>
                    <a:pt x="1922" y="536"/>
                  </a:lnTo>
                  <a:cubicBezTo>
                    <a:pt x="2048" y="442"/>
                    <a:pt x="2048" y="190"/>
                    <a:pt x="1922" y="95"/>
                  </a:cubicBezTo>
                  <a:cubicBezTo>
                    <a:pt x="1859" y="32"/>
                    <a:pt x="1773" y="1"/>
                    <a:pt x="1686" y="1"/>
                  </a:cubicBezTo>
                  <a:cubicBezTo>
                    <a:pt x="1599" y="1"/>
                    <a:pt x="1513" y="32"/>
                    <a:pt x="1450" y="95"/>
                  </a:cubicBezTo>
                  <a:lnTo>
                    <a:pt x="1009" y="505"/>
                  </a:lnTo>
                  <a:lnTo>
                    <a:pt x="568" y="95"/>
                  </a:lnTo>
                  <a:cubicBezTo>
                    <a:pt x="520" y="32"/>
                    <a:pt x="434" y="1"/>
                    <a:pt x="3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81"/>
            <p:cNvSpPr/>
            <p:nvPr/>
          </p:nvSpPr>
          <p:spPr>
            <a:xfrm>
              <a:off x="-3425125" y="2185250"/>
              <a:ext cx="51225" cy="49650"/>
            </a:xfrm>
            <a:custGeom>
              <a:avLst/>
              <a:gdLst/>
              <a:ahLst/>
              <a:cxnLst/>
              <a:rect l="l" t="t" r="r" b="b"/>
              <a:pathLst>
                <a:path w="2049" h="1986" extrusionOk="0">
                  <a:moveTo>
                    <a:pt x="343" y="1"/>
                  </a:moveTo>
                  <a:cubicBezTo>
                    <a:pt x="252" y="1"/>
                    <a:pt x="158" y="32"/>
                    <a:pt x="95" y="95"/>
                  </a:cubicBezTo>
                  <a:cubicBezTo>
                    <a:pt x="0" y="221"/>
                    <a:pt x="0" y="442"/>
                    <a:pt x="95" y="568"/>
                  </a:cubicBezTo>
                  <a:lnTo>
                    <a:pt x="536" y="1009"/>
                  </a:lnTo>
                  <a:lnTo>
                    <a:pt x="95" y="1418"/>
                  </a:lnTo>
                  <a:cubicBezTo>
                    <a:pt x="0" y="1544"/>
                    <a:pt x="0" y="1796"/>
                    <a:pt x="95" y="1891"/>
                  </a:cubicBezTo>
                  <a:cubicBezTo>
                    <a:pt x="158" y="1954"/>
                    <a:pt x="252" y="1985"/>
                    <a:pt x="343" y="1985"/>
                  </a:cubicBezTo>
                  <a:cubicBezTo>
                    <a:pt x="434" y="1985"/>
                    <a:pt x="520" y="1954"/>
                    <a:pt x="568" y="1891"/>
                  </a:cubicBezTo>
                  <a:lnTo>
                    <a:pt x="1009" y="1481"/>
                  </a:lnTo>
                  <a:lnTo>
                    <a:pt x="1450" y="1891"/>
                  </a:lnTo>
                  <a:cubicBezTo>
                    <a:pt x="1513" y="1954"/>
                    <a:pt x="1599" y="1985"/>
                    <a:pt x="1686" y="1985"/>
                  </a:cubicBezTo>
                  <a:cubicBezTo>
                    <a:pt x="1773" y="1985"/>
                    <a:pt x="1859" y="1954"/>
                    <a:pt x="1922" y="1891"/>
                  </a:cubicBezTo>
                  <a:cubicBezTo>
                    <a:pt x="2048" y="1796"/>
                    <a:pt x="2048" y="1544"/>
                    <a:pt x="1922" y="1418"/>
                  </a:cubicBezTo>
                  <a:lnTo>
                    <a:pt x="1481" y="1009"/>
                  </a:lnTo>
                  <a:lnTo>
                    <a:pt x="1922" y="568"/>
                  </a:lnTo>
                  <a:cubicBezTo>
                    <a:pt x="2048" y="410"/>
                    <a:pt x="2048" y="221"/>
                    <a:pt x="1922" y="95"/>
                  </a:cubicBezTo>
                  <a:cubicBezTo>
                    <a:pt x="1859" y="32"/>
                    <a:pt x="1773" y="1"/>
                    <a:pt x="1686" y="1"/>
                  </a:cubicBezTo>
                  <a:cubicBezTo>
                    <a:pt x="1599" y="1"/>
                    <a:pt x="1513" y="32"/>
                    <a:pt x="1450" y="95"/>
                  </a:cubicBezTo>
                  <a:lnTo>
                    <a:pt x="1009" y="536"/>
                  </a:lnTo>
                  <a:lnTo>
                    <a:pt x="568" y="95"/>
                  </a:lnTo>
                  <a:cubicBezTo>
                    <a:pt x="520" y="32"/>
                    <a:pt x="434" y="1"/>
                    <a:pt x="3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81"/>
            <p:cNvSpPr/>
            <p:nvPr/>
          </p:nvSpPr>
          <p:spPr>
            <a:xfrm>
              <a:off x="-3462150" y="2046625"/>
              <a:ext cx="224500" cy="291450"/>
            </a:xfrm>
            <a:custGeom>
              <a:avLst/>
              <a:gdLst/>
              <a:ahLst/>
              <a:cxnLst/>
              <a:rect l="l" t="t" r="r" b="b"/>
              <a:pathLst>
                <a:path w="8980" h="11658" extrusionOk="0">
                  <a:moveTo>
                    <a:pt x="5924" y="694"/>
                  </a:moveTo>
                  <a:cubicBezTo>
                    <a:pt x="6113" y="694"/>
                    <a:pt x="6270" y="851"/>
                    <a:pt x="6270" y="1040"/>
                  </a:cubicBezTo>
                  <a:cubicBezTo>
                    <a:pt x="6270" y="1229"/>
                    <a:pt x="6113" y="1387"/>
                    <a:pt x="5924" y="1387"/>
                  </a:cubicBezTo>
                  <a:lnTo>
                    <a:pt x="3151" y="1387"/>
                  </a:lnTo>
                  <a:cubicBezTo>
                    <a:pt x="2962" y="1387"/>
                    <a:pt x="2805" y="1229"/>
                    <a:pt x="2805" y="1040"/>
                  </a:cubicBezTo>
                  <a:cubicBezTo>
                    <a:pt x="2805" y="851"/>
                    <a:pt x="2962" y="694"/>
                    <a:pt x="3151" y="694"/>
                  </a:cubicBezTo>
                  <a:close/>
                  <a:moveTo>
                    <a:pt x="8034" y="1356"/>
                  </a:moveTo>
                  <a:cubicBezTo>
                    <a:pt x="8255" y="1356"/>
                    <a:pt x="8413" y="1513"/>
                    <a:pt x="8413" y="1702"/>
                  </a:cubicBezTo>
                  <a:lnTo>
                    <a:pt x="8413" y="10649"/>
                  </a:lnTo>
                  <a:lnTo>
                    <a:pt x="8287" y="10649"/>
                  </a:lnTo>
                  <a:cubicBezTo>
                    <a:pt x="8287" y="10838"/>
                    <a:pt x="8129" y="10996"/>
                    <a:pt x="7940" y="10996"/>
                  </a:cubicBezTo>
                  <a:lnTo>
                    <a:pt x="1103" y="10996"/>
                  </a:lnTo>
                  <a:cubicBezTo>
                    <a:pt x="914" y="10996"/>
                    <a:pt x="757" y="10838"/>
                    <a:pt x="757" y="10649"/>
                  </a:cubicBezTo>
                  <a:lnTo>
                    <a:pt x="757" y="1702"/>
                  </a:lnTo>
                  <a:cubicBezTo>
                    <a:pt x="757" y="1513"/>
                    <a:pt x="914" y="1356"/>
                    <a:pt x="1103" y="1356"/>
                  </a:cubicBezTo>
                  <a:lnTo>
                    <a:pt x="2206" y="1356"/>
                  </a:lnTo>
                  <a:cubicBezTo>
                    <a:pt x="2364" y="1734"/>
                    <a:pt x="2742" y="2017"/>
                    <a:pt x="3214" y="2017"/>
                  </a:cubicBezTo>
                  <a:lnTo>
                    <a:pt x="5955" y="2017"/>
                  </a:lnTo>
                  <a:cubicBezTo>
                    <a:pt x="6396" y="2017"/>
                    <a:pt x="6774" y="1734"/>
                    <a:pt x="6932" y="1356"/>
                  </a:cubicBezTo>
                  <a:close/>
                  <a:moveTo>
                    <a:pt x="3120" y="1"/>
                  </a:moveTo>
                  <a:cubicBezTo>
                    <a:pt x="2679" y="1"/>
                    <a:pt x="2301" y="284"/>
                    <a:pt x="2143" y="694"/>
                  </a:cubicBezTo>
                  <a:lnTo>
                    <a:pt x="1040" y="694"/>
                  </a:lnTo>
                  <a:cubicBezTo>
                    <a:pt x="473" y="694"/>
                    <a:pt x="1" y="1166"/>
                    <a:pt x="1" y="1702"/>
                  </a:cubicBezTo>
                  <a:lnTo>
                    <a:pt x="1" y="10649"/>
                  </a:lnTo>
                  <a:cubicBezTo>
                    <a:pt x="1" y="11185"/>
                    <a:pt x="473" y="11658"/>
                    <a:pt x="1040" y="11658"/>
                  </a:cubicBezTo>
                  <a:lnTo>
                    <a:pt x="7877" y="11658"/>
                  </a:lnTo>
                  <a:cubicBezTo>
                    <a:pt x="8444" y="11658"/>
                    <a:pt x="8917" y="11185"/>
                    <a:pt x="8917" y="10649"/>
                  </a:cubicBezTo>
                  <a:lnTo>
                    <a:pt x="8917" y="1702"/>
                  </a:lnTo>
                  <a:cubicBezTo>
                    <a:pt x="8980" y="1166"/>
                    <a:pt x="8507" y="694"/>
                    <a:pt x="7971" y="694"/>
                  </a:cubicBezTo>
                  <a:lnTo>
                    <a:pt x="6869" y="694"/>
                  </a:lnTo>
                  <a:cubicBezTo>
                    <a:pt x="6711" y="284"/>
                    <a:pt x="6365"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5" name="Google Shape;10975;p81"/>
            <p:cNvSpPr/>
            <p:nvPr/>
          </p:nvSpPr>
          <p:spPr>
            <a:xfrm>
              <a:off x="-3358175" y="2133275"/>
              <a:ext cx="86650" cy="18125"/>
            </a:xfrm>
            <a:custGeom>
              <a:avLst/>
              <a:gdLst/>
              <a:ahLst/>
              <a:cxnLst/>
              <a:rect l="l" t="t" r="r" b="b"/>
              <a:pathLst>
                <a:path w="3466" h="725" extrusionOk="0">
                  <a:moveTo>
                    <a:pt x="347" y="0"/>
                  </a:moveTo>
                  <a:cubicBezTo>
                    <a:pt x="158" y="0"/>
                    <a:pt x="0" y="158"/>
                    <a:pt x="0" y="378"/>
                  </a:cubicBezTo>
                  <a:cubicBezTo>
                    <a:pt x="0" y="567"/>
                    <a:pt x="158" y="725"/>
                    <a:pt x="347" y="725"/>
                  </a:cubicBezTo>
                  <a:lnTo>
                    <a:pt x="3088" y="725"/>
                  </a:lnTo>
                  <a:cubicBezTo>
                    <a:pt x="3308" y="725"/>
                    <a:pt x="3466" y="567"/>
                    <a:pt x="3466" y="378"/>
                  </a:cubicBezTo>
                  <a:cubicBezTo>
                    <a:pt x="3466" y="158"/>
                    <a:pt x="3308"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6" name="Google Shape;10976;p81"/>
            <p:cNvSpPr/>
            <p:nvPr/>
          </p:nvSpPr>
          <p:spPr>
            <a:xfrm>
              <a:off x="-3358175" y="2201800"/>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088" y="693"/>
                  </a:lnTo>
                  <a:cubicBezTo>
                    <a:pt x="3308" y="693"/>
                    <a:pt x="3466" y="536"/>
                    <a:pt x="3466" y="347"/>
                  </a:cubicBezTo>
                  <a:cubicBezTo>
                    <a:pt x="3466" y="158"/>
                    <a:pt x="3308"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81"/>
            <p:cNvSpPr/>
            <p:nvPr/>
          </p:nvSpPr>
          <p:spPr>
            <a:xfrm>
              <a:off x="-3358175" y="2270325"/>
              <a:ext cx="86650" cy="18125"/>
            </a:xfrm>
            <a:custGeom>
              <a:avLst/>
              <a:gdLst/>
              <a:ahLst/>
              <a:cxnLst/>
              <a:rect l="l" t="t" r="r" b="b"/>
              <a:pathLst>
                <a:path w="3466" h="725" extrusionOk="0">
                  <a:moveTo>
                    <a:pt x="347" y="0"/>
                  </a:moveTo>
                  <a:cubicBezTo>
                    <a:pt x="158" y="0"/>
                    <a:pt x="0" y="158"/>
                    <a:pt x="0" y="347"/>
                  </a:cubicBezTo>
                  <a:cubicBezTo>
                    <a:pt x="0" y="567"/>
                    <a:pt x="158" y="725"/>
                    <a:pt x="347" y="725"/>
                  </a:cubicBezTo>
                  <a:lnTo>
                    <a:pt x="3088" y="725"/>
                  </a:lnTo>
                  <a:cubicBezTo>
                    <a:pt x="3308" y="725"/>
                    <a:pt x="3466" y="567"/>
                    <a:pt x="3466" y="347"/>
                  </a:cubicBezTo>
                  <a:cubicBezTo>
                    <a:pt x="3466" y="158"/>
                    <a:pt x="3308"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8" name="Google Shape;10978;p81"/>
          <p:cNvGrpSpPr/>
          <p:nvPr/>
        </p:nvGrpSpPr>
        <p:grpSpPr>
          <a:xfrm>
            <a:off x="5752700" y="2139276"/>
            <a:ext cx="373006" cy="423069"/>
            <a:chOff x="-3478675" y="2405775"/>
            <a:chExt cx="258350" cy="293025"/>
          </a:xfrm>
        </p:grpSpPr>
        <p:sp>
          <p:nvSpPr>
            <p:cNvPr id="10979" name="Google Shape;10979;p81"/>
            <p:cNvSpPr/>
            <p:nvPr/>
          </p:nvSpPr>
          <p:spPr>
            <a:xfrm>
              <a:off x="-3478675" y="2405775"/>
              <a:ext cx="258350" cy="293025"/>
            </a:xfrm>
            <a:custGeom>
              <a:avLst/>
              <a:gdLst/>
              <a:ahLst/>
              <a:cxnLst/>
              <a:rect l="l" t="t" r="r" b="b"/>
              <a:pathLst>
                <a:path w="10334" h="11721" extrusionOk="0">
                  <a:moveTo>
                    <a:pt x="6018" y="694"/>
                  </a:moveTo>
                  <a:cubicBezTo>
                    <a:pt x="6175" y="694"/>
                    <a:pt x="6301" y="757"/>
                    <a:pt x="6333" y="915"/>
                  </a:cubicBezTo>
                  <a:lnTo>
                    <a:pt x="6490" y="1450"/>
                  </a:lnTo>
                  <a:lnTo>
                    <a:pt x="3781" y="1450"/>
                  </a:lnTo>
                  <a:lnTo>
                    <a:pt x="3970" y="915"/>
                  </a:lnTo>
                  <a:cubicBezTo>
                    <a:pt x="4033" y="757"/>
                    <a:pt x="4127" y="694"/>
                    <a:pt x="4285" y="694"/>
                  </a:cubicBezTo>
                  <a:close/>
                  <a:moveTo>
                    <a:pt x="9326" y="2049"/>
                  </a:moveTo>
                  <a:cubicBezTo>
                    <a:pt x="9546" y="2049"/>
                    <a:pt x="9704" y="2206"/>
                    <a:pt x="9704" y="2427"/>
                  </a:cubicBezTo>
                  <a:lnTo>
                    <a:pt x="9704" y="2773"/>
                  </a:lnTo>
                  <a:lnTo>
                    <a:pt x="756" y="2773"/>
                  </a:lnTo>
                  <a:lnTo>
                    <a:pt x="756" y="2427"/>
                  </a:lnTo>
                  <a:cubicBezTo>
                    <a:pt x="756" y="2206"/>
                    <a:pt x="914" y="2049"/>
                    <a:pt x="1103" y="2049"/>
                  </a:cubicBezTo>
                  <a:close/>
                  <a:moveTo>
                    <a:pt x="8916" y="3498"/>
                  </a:moveTo>
                  <a:lnTo>
                    <a:pt x="8317" y="10681"/>
                  </a:lnTo>
                  <a:cubicBezTo>
                    <a:pt x="8317" y="10839"/>
                    <a:pt x="8160" y="10996"/>
                    <a:pt x="7971" y="10996"/>
                  </a:cubicBezTo>
                  <a:lnTo>
                    <a:pt x="2363" y="10996"/>
                  </a:lnTo>
                  <a:cubicBezTo>
                    <a:pt x="2174" y="10996"/>
                    <a:pt x="2048" y="10902"/>
                    <a:pt x="2016" y="10681"/>
                  </a:cubicBezTo>
                  <a:lnTo>
                    <a:pt x="1418" y="3498"/>
                  </a:lnTo>
                  <a:close/>
                  <a:moveTo>
                    <a:pt x="4285" y="1"/>
                  </a:moveTo>
                  <a:cubicBezTo>
                    <a:pt x="3875" y="1"/>
                    <a:pt x="3466" y="285"/>
                    <a:pt x="3308" y="726"/>
                  </a:cubicBezTo>
                  <a:lnTo>
                    <a:pt x="3088" y="1450"/>
                  </a:lnTo>
                  <a:lnTo>
                    <a:pt x="1040" y="1450"/>
                  </a:lnTo>
                  <a:cubicBezTo>
                    <a:pt x="473" y="1450"/>
                    <a:pt x="0" y="1923"/>
                    <a:pt x="0" y="2458"/>
                  </a:cubicBezTo>
                  <a:lnTo>
                    <a:pt x="0" y="3120"/>
                  </a:lnTo>
                  <a:cubicBezTo>
                    <a:pt x="0" y="3341"/>
                    <a:pt x="158" y="3498"/>
                    <a:pt x="347" y="3498"/>
                  </a:cubicBezTo>
                  <a:lnTo>
                    <a:pt x="725" y="3498"/>
                  </a:lnTo>
                  <a:lnTo>
                    <a:pt x="1292" y="10776"/>
                  </a:lnTo>
                  <a:cubicBezTo>
                    <a:pt x="1355" y="11311"/>
                    <a:pt x="1764" y="11721"/>
                    <a:pt x="2331" y="11721"/>
                  </a:cubicBezTo>
                  <a:lnTo>
                    <a:pt x="7908" y="11721"/>
                  </a:lnTo>
                  <a:cubicBezTo>
                    <a:pt x="8475" y="11721"/>
                    <a:pt x="8916" y="11311"/>
                    <a:pt x="8948" y="10776"/>
                  </a:cubicBezTo>
                  <a:lnTo>
                    <a:pt x="9546" y="3498"/>
                  </a:lnTo>
                  <a:lnTo>
                    <a:pt x="9893" y="3498"/>
                  </a:lnTo>
                  <a:cubicBezTo>
                    <a:pt x="10082" y="3498"/>
                    <a:pt x="10239" y="3341"/>
                    <a:pt x="10239" y="3120"/>
                  </a:cubicBezTo>
                  <a:lnTo>
                    <a:pt x="10239" y="2458"/>
                  </a:lnTo>
                  <a:cubicBezTo>
                    <a:pt x="10334" y="1860"/>
                    <a:pt x="9861" y="1450"/>
                    <a:pt x="9294" y="1450"/>
                  </a:cubicBezTo>
                  <a:lnTo>
                    <a:pt x="7246" y="1450"/>
                  </a:lnTo>
                  <a:lnTo>
                    <a:pt x="7026" y="726"/>
                  </a:lnTo>
                  <a:cubicBezTo>
                    <a:pt x="6868" y="285"/>
                    <a:pt x="6490" y="1"/>
                    <a:pt x="60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81"/>
            <p:cNvSpPr/>
            <p:nvPr/>
          </p:nvSpPr>
          <p:spPr>
            <a:xfrm>
              <a:off x="-3408575" y="2509750"/>
              <a:ext cx="17350" cy="154400"/>
            </a:xfrm>
            <a:custGeom>
              <a:avLst/>
              <a:gdLst/>
              <a:ahLst/>
              <a:cxnLst/>
              <a:rect l="l" t="t" r="r" b="b"/>
              <a:pathLst>
                <a:path w="694" h="6176" extrusionOk="0">
                  <a:moveTo>
                    <a:pt x="347" y="1"/>
                  </a:moveTo>
                  <a:cubicBezTo>
                    <a:pt x="158" y="1"/>
                    <a:pt x="0" y="158"/>
                    <a:pt x="0" y="347"/>
                  </a:cubicBezTo>
                  <a:lnTo>
                    <a:pt x="0" y="5829"/>
                  </a:lnTo>
                  <a:cubicBezTo>
                    <a:pt x="0" y="6018"/>
                    <a:pt x="158" y="6176"/>
                    <a:pt x="347" y="6176"/>
                  </a:cubicBezTo>
                  <a:cubicBezTo>
                    <a:pt x="536" y="6176"/>
                    <a:pt x="693" y="6018"/>
                    <a:pt x="693" y="5829"/>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81"/>
            <p:cNvSpPr/>
            <p:nvPr/>
          </p:nvSpPr>
          <p:spPr>
            <a:xfrm>
              <a:off x="-33574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81"/>
            <p:cNvSpPr/>
            <p:nvPr/>
          </p:nvSpPr>
          <p:spPr>
            <a:xfrm>
              <a:off x="-33062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83" name="Google Shape;10983;p81"/>
          <p:cNvGrpSpPr/>
          <p:nvPr/>
        </p:nvGrpSpPr>
        <p:grpSpPr>
          <a:xfrm>
            <a:off x="5815218" y="2660398"/>
            <a:ext cx="271831" cy="421914"/>
            <a:chOff x="-3443250" y="2765725"/>
            <a:chExt cx="188275" cy="292225"/>
          </a:xfrm>
        </p:grpSpPr>
        <p:sp>
          <p:nvSpPr>
            <p:cNvPr id="10984" name="Google Shape;10984;p81"/>
            <p:cNvSpPr/>
            <p:nvPr/>
          </p:nvSpPr>
          <p:spPr>
            <a:xfrm>
              <a:off x="-3443250" y="2765725"/>
              <a:ext cx="188275" cy="292225"/>
            </a:xfrm>
            <a:custGeom>
              <a:avLst/>
              <a:gdLst/>
              <a:ahLst/>
              <a:cxnLst/>
              <a:rect l="l" t="t" r="r" b="b"/>
              <a:pathLst>
                <a:path w="7531" h="11689" extrusionOk="0">
                  <a:moveTo>
                    <a:pt x="6491" y="662"/>
                  </a:moveTo>
                  <a:cubicBezTo>
                    <a:pt x="6711" y="662"/>
                    <a:pt x="6869" y="820"/>
                    <a:pt x="6869" y="1009"/>
                  </a:cubicBezTo>
                  <a:lnTo>
                    <a:pt x="6869" y="7908"/>
                  </a:lnTo>
                  <a:cubicBezTo>
                    <a:pt x="6869" y="8097"/>
                    <a:pt x="6711" y="8255"/>
                    <a:pt x="6491" y="8255"/>
                  </a:cubicBezTo>
                  <a:lnTo>
                    <a:pt x="1040" y="8255"/>
                  </a:lnTo>
                  <a:cubicBezTo>
                    <a:pt x="851" y="8255"/>
                    <a:pt x="694" y="8097"/>
                    <a:pt x="694" y="7908"/>
                  </a:cubicBezTo>
                  <a:lnTo>
                    <a:pt x="694" y="1009"/>
                  </a:lnTo>
                  <a:cubicBezTo>
                    <a:pt x="694" y="820"/>
                    <a:pt x="851" y="662"/>
                    <a:pt x="1040" y="662"/>
                  </a:cubicBezTo>
                  <a:close/>
                  <a:moveTo>
                    <a:pt x="4821" y="8948"/>
                  </a:moveTo>
                  <a:lnTo>
                    <a:pt x="4821" y="10996"/>
                  </a:lnTo>
                  <a:lnTo>
                    <a:pt x="2773" y="10996"/>
                  </a:lnTo>
                  <a:lnTo>
                    <a:pt x="2773" y="8948"/>
                  </a:lnTo>
                  <a:close/>
                  <a:moveTo>
                    <a:pt x="1040" y="1"/>
                  </a:moveTo>
                  <a:cubicBezTo>
                    <a:pt x="473" y="1"/>
                    <a:pt x="1" y="473"/>
                    <a:pt x="1" y="1009"/>
                  </a:cubicBezTo>
                  <a:lnTo>
                    <a:pt x="1" y="7908"/>
                  </a:lnTo>
                  <a:cubicBezTo>
                    <a:pt x="1" y="8475"/>
                    <a:pt x="473" y="8917"/>
                    <a:pt x="1040" y="8917"/>
                  </a:cubicBezTo>
                  <a:lnTo>
                    <a:pt x="2049" y="8917"/>
                  </a:lnTo>
                  <a:lnTo>
                    <a:pt x="2049" y="10964"/>
                  </a:lnTo>
                  <a:lnTo>
                    <a:pt x="1040" y="10964"/>
                  </a:lnTo>
                  <a:cubicBezTo>
                    <a:pt x="851" y="10964"/>
                    <a:pt x="694" y="11122"/>
                    <a:pt x="694" y="11342"/>
                  </a:cubicBezTo>
                  <a:cubicBezTo>
                    <a:pt x="694" y="11531"/>
                    <a:pt x="851" y="11689"/>
                    <a:pt x="1040" y="11689"/>
                  </a:cubicBezTo>
                  <a:lnTo>
                    <a:pt x="6491" y="11689"/>
                  </a:lnTo>
                  <a:cubicBezTo>
                    <a:pt x="6711" y="11689"/>
                    <a:pt x="6869" y="11531"/>
                    <a:pt x="6869" y="11342"/>
                  </a:cubicBezTo>
                  <a:cubicBezTo>
                    <a:pt x="6869" y="11122"/>
                    <a:pt x="6711" y="10964"/>
                    <a:pt x="6491" y="10964"/>
                  </a:cubicBezTo>
                  <a:lnTo>
                    <a:pt x="5483" y="10964"/>
                  </a:lnTo>
                  <a:lnTo>
                    <a:pt x="5483" y="8917"/>
                  </a:lnTo>
                  <a:lnTo>
                    <a:pt x="6491" y="8917"/>
                  </a:lnTo>
                  <a:cubicBezTo>
                    <a:pt x="7058" y="8917"/>
                    <a:pt x="7531" y="8475"/>
                    <a:pt x="7531" y="7908"/>
                  </a:cubicBezTo>
                  <a:lnTo>
                    <a:pt x="7531" y="1009"/>
                  </a:lnTo>
                  <a:cubicBezTo>
                    <a:pt x="7531" y="442"/>
                    <a:pt x="7089"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81"/>
            <p:cNvSpPr/>
            <p:nvPr/>
          </p:nvSpPr>
          <p:spPr>
            <a:xfrm>
              <a:off x="-3411725" y="2799375"/>
              <a:ext cx="124450" cy="86100"/>
            </a:xfrm>
            <a:custGeom>
              <a:avLst/>
              <a:gdLst/>
              <a:ahLst/>
              <a:cxnLst/>
              <a:rect l="l" t="t" r="r" b="b"/>
              <a:pathLst>
                <a:path w="4978" h="3444" extrusionOk="0">
                  <a:moveTo>
                    <a:pt x="1859" y="1144"/>
                  </a:moveTo>
                  <a:lnTo>
                    <a:pt x="2678" y="2750"/>
                  </a:lnTo>
                  <a:lnTo>
                    <a:pt x="1040" y="2750"/>
                  </a:lnTo>
                  <a:lnTo>
                    <a:pt x="1859" y="1144"/>
                  </a:lnTo>
                  <a:close/>
                  <a:moveTo>
                    <a:pt x="3151" y="1049"/>
                  </a:moveTo>
                  <a:lnTo>
                    <a:pt x="4033" y="2782"/>
                  </a:lnTo>
                  <a:lnTo>
                    <a:pt x="3403" y="2782"/>
                  </a:lnTo>
                  <a:lnTo>
                    <a:pt x="3403" y="2750"/>
                  </a:lnTo>
                  <a:lnTo>
                    <a:pt x="2804" y="1553"/>
                  </a:lnTo>
                  <a:lnTo>
                    <a:pt x="3151" y="1049"/>
                  </a:lnTo>
                  <a:close/>
                  <a:moveTo>
                    <a:pt x="3213" y="1"/>
                  </a:moveTo>
                  <a:cubicBezTo>
                    <a:pt x="3110" y="1"/>
                    <a:pt x="3003" y="48"/>
                    <a:pt x="2930" y="135"/>
                  </a:cubicBezTo>
                  <a:lnTo>
                    <a:pt x="2457" y="829"/>
                  </a:lnTo>
                  <a:lnTo>
                    <a:pt x="2142" y="198"/>
                  </a:lnTo>
                  <a:cubicBezTo>
                    <a:pt x="2079" y="72"/>
                    <a:pt x="1961" y="9"/>
                    <a:pt x="1839" y="9"/>
                  </a:cubicBezTo>
                  <a:cubicBezTo>
                    <a:pt x="1717" y="9"/>
                    <a:pt x="1591" y="72"/>
                    <a:pt x="1512" y="198"/>
                  </a:cubicBezTo>
                  <a:lnTo>
                    <a:pt x="126" y="2939"/>
                  </a:lnTo>
                  <a:cubicBezTo>
                    <a:pt x="0" y="3191"/>
                    <a:pt x="158" y="3443"/>
                    <a:pt x="441" y="3443"/>
                  </a:cubicBezTo>
                  <a:lnTo>
                    <a:pt x="4537" y="3443"/>
                  </a:lnTo>
                  <a:cubicBezTo>
                    <a:pt x="4757" y="3443"/>
                    <a:pt x="4978" y="3191"/>
                    <a:pt x="4852" y="2939"/>
                  </a:cubicBezTo>
                  <a:lnTo>
                    <a:pt x="3497" y="198"/>
                  </a:lnTo>
                  <a:cubicBezTo>
                    <a:pt x="3446" y="63"/>
                    <a:pt x="3332" y="1"/>
                    <a:pt x="32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81"/>
            <p:cNvSpPr/>
            <p:nvPr/>
          </p:nvSpPr>
          <p:spPr>
            <a:xfrm>
              <a:off x="-3392825" y="290357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81"/>
            <p:cNvSpPr/>
            <p:nvPr/>
          </p:nvSpPr>
          <p:spPr>
            <a:xfrm>
              <a:off x="-3392825" y="293822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88" name="Google Shape;10988;p81"/>
          <p:cNvGrpSpPr/>
          <p:nvPr/>
        </p:nvGrpSpPr>
        <p:grpSpPr>
          <a:xfrm>
            <a:off x="844114" y="3230934"/>
            <a:ext cx="371887" cy="423069"/>
            <a:chOff x="-1684475" y="2049000"/>
            <a:chExt cx="257575" cy="293025"/>
          </a:xfrm>
        </p:grpSpPr>
        <p:sp>
          <p:nvSpPr>
            <p:cNvPr id="10989" name="Google Shape;10989;p81"/>
            <p:cNvSpPr/>
            <p:nvPr/>
          </p:nvSpPr>
          <p:spPr>
            <a:xfrm>
              <a:off x="-1684475" y="2049000"/>
              <a:ext cx="257575" cy="293025"/>
            </a:xfrm>
            <a:custGeom>
              <a:avLst/>
              <a:gdLst/>
              <a:ahLst/>
              <a:cxnLst/>
              <a:rect l="l" t="t" r="r" b="b"/>
              <a:pathLst>
                <a:path w="10303" h="11721" extrusionOk="0">
                  <a:moveTo>
                    <a:pt x="1355" y="693"/>
                  </a:moveTo>
                  <a:lnTo>
                    <a:pt x="1355" y="1387"/>
                  </a:lnTo>
                  <a:lnTo>
                    <a:pt x="694" y="1387"/>
                  </a:lnTo>
                  <a:lnTo>
                    <a:pt x="694" y="693"/>
                  </a:lnTo>
                  <a:close/>
                  <a:moveTo>
                    <a:pt x="9546" y="693"/>
                  </a:moveTo>
                  <a:lnTo>
                    <a:pt x="9546" y="1387"/>
                  </a:lnTo>
                  <a:lnTo>
                    <a:pt x="8885" y="1387"/>
                  </a:lnTo>
                  <a:lnTo>
                    <a:pt x="8885" y="693"/>
                  </a:lnTo>
                  <a:close/>
                  <a:moveTo>
                    <a:pt x="8223" y="1387"/>
                  </a:moveTo>
                  <a:lnTo>
                    <a:pt x="8223" y="1733"/>
                  </a:lnTo>
                  <a:cubicBezTo>
                    <a:pt x="8223" y="1922"/>
                    <a:pt x="8381" y="2080"/>
                    <a:pt x="8570" y="2080"/>
                  </a:cubicBezTo>
                  <a:lnTo>
                    <a:pt x="8916" y="2080"/>
                  </a:lnTo>
                  <a:lnTo>
                    <a:pt x="8916" y="9641"/>
                  </a:lnTo>
                  <a:lnTo>
                    <a:pt x="8538" y="9641"/>
                  </a:lnTo>
                  <a:cubicBezTo>
                    <a:pt x="8349" y="9641"/>
                    <a:pt x="8192" y="9798"/>
                    <a:pt x="8192" y="9987"/>
                  </a:cubicBezTo>
                  <a:lnTo>
                    <a:pt x="8192" y="10365"/>
                  </a:lnTo>
                  <a:lnTo>
                    <a:pt x="2080" y="10365"/>
                  </a:lnTo>
                  <a:lnTo>
                    <a:pt x="2080" y="9987"/>
                  </a:lnTo>
                  <a:cubicBezTo>
                    <a:pt x="2080" y="9798"/>
                    <a:pt x="1922" y="9641"/>
                    <a:pt x="1733" y="9641"/>
                  </a:cubicBezTo>
                  <a:lnTo>
                    <a:pt x="1355" y="9641"/>
                  </a:lnTo>
                  <a:lnTo>
                    <a:pt x="1355" y="2080"/>
                  </a:lnTo>
                  <a:lnTo>
                    <a:pt x="1733" y="2080"/>
                  </a:lnTo>
                  <a:cubicBezTo>
                    <a:pt x="1922" y="2080"/>
                    <a:pt x="2080" y="1922"/>
                    <a:pt x="2080" y="1733"/>
                  </a:cubicBezTo>
                  <a:lnTo>
                    <a:pt x="2080" y="1387"/>
                  </a:lnTo>
                  <a:close/>
                  <a:moveTo>
                    <a:pt x="1355" y="10365"/>
                  </a:moveTo>
                  <a:lnTo>
                    <a:pt x="1355" y="11027"/>
                  </a:lnTo>
                  <a:lnTo>
                    <a:pt x="694" y="11027"/>
                  </a:lnTo>
                  <a:lnTo>
                    <a:pt x="694" y="10365"/>
                  </a:lnTo>
                  <a:close/>
                  <a:moveTo>
                    <a:pt x="9609" y="10365"/>
                  </a:moveTo>
                  <a:lnTo>
                    <a:pt x="9609" y="11027"/>
                  </a:lnTo>
                  <a:lnTo>
                    <a:pt x="8916" y="11027"/>
                  </a:lnTo>
                  <a:lnTo>
                    <a:pt x="8916" y="10365"/>
                  </a:lnTo>
                  <a:close/>
                  <a:moveTo>
                    <a:pt x="347" y="0"/>
                  </a:moveTo>
                  <a:cubicBezTo>
                    <a:pt x="158" y="0"/>
                    <a:pt x="0" y="158"/>
                    <a:pt x="0" y="347"/>
                  </a:cubicBezTo>
                  <a:lnTo>
                    <a:pt x="0" y="1733"/>
                  </a:lnTo>
                  <a:cubicBezTo>
                    <a:pt x="0" y="1922"/>
                    <a:pt x="158" y="2080"/>
                    <a:pt x="347" y="2080"/>
                  </a:cubicBezTo>
                  <a:lnTo>
                    <a:pt x="694" y="2080"/>
                  </a:lnTo>
                  <a:lnTo>
                    <a:pt x="694" y="9641"/>
                  </a:lnTo>
                  <a:lnTo>
                    <a:pt x="347" y="9641"/>
                  </a:lnTo>
                  <a:cubicBezTo>
                    <a:pt x="158" y="9641"/>
                    <a:pt x="0" y="9798"/>
                    <a:pt x="0" y="9987"/>
                  </a:cubicBezTo>
                  <a:lnTo>
                    <a:pt x="0" y="11374"/>
                  </a:lnTo>
                  <a:cubicBezTo>
                    <a:pt x="0" y="11563"/>
                    <a:pt x="158" y="11720"/>
                    <a:pt x="347" y="11720"/>
                  </a:cubicBezTo>
                  <a:lnTo>
                    <a:pt x="1733" y="11720"/>
                  </a:lnTo>
                  <a:cubicBezTo>
                    <a:pt x="1922" y="11720"/>
                    <a:pt x="2080" y="11563"/>
                    <a:pt x="2080" y="11374"/>
                  </a:cubicBezTo>
                  <a:lnTo>
                    <a:pt x="2080" y="11027"/>
                  </a:lnTo>
                  <a:lnTo>
                    <a:pt x="8223" y="11027"/>
                  </a:lnTo>
                  <a:lnTo>
                    <a:pt x="8223" y="11374"/>
                  </a:lnTo>
                  <a:cubicBezTo>
                    <a:pt x="8223" y="11563"/>
                    <a:pt x="8381" y="11720"/>
                    <a:pt x="8570" y="11720"/>
                  </a:cubicBezTo>
                  <a:lnTo>
                    <a:pt x="9956" y="11720"/>
                  </a:lnTo>
                  <a:cubicBezTo>
                    <a:pt x="10145" y="11720"/>
                    <a:pt x="10303" y="11563"/>
                    <a:pt x="10303" y="11374"/>
                  </a:cubicBezTo>
                  <a:lnTo>
                    <a:pt x="10303" y="9987"/>
                  </a:lnTo>
                  <a:cubicBezTo>
                    <a:pt x="10303" y="9798"/>
                    <a:pt x="10145" y="9641"/>
                    <a:pt x="9956" y="9641"/>
                  </a:cubicBezTo>
                  <a:lnTo>
                    <a:pt x="9609" y="9641"/>
                  </a:lnTo>
                  <a:lnTo>
                    <a:pt x="9609" y="2080"/>
                  </a:lnTo>
                  <a:lnTo>
                    <a:pt x="9924" y="2080"/>
                  </a:lnTo>
                  <a:cubicBezTo>
                    <a:pt x="10113" y="2080"/>
                    <a:pt x="10271" y="1922"/>
                    <a:pt x="10271" y="1733"/>
                  </a:cubicBezTo>
                  <a:lnTo>
                    <a:pt x="10271" y="347"/>
                  </a:lnTo>
                  <a:cubicBezTo>
                    <a:pt x="10271" y="158"/>
                    <a:pt x="10113" y="0"/>
                    <a:pt x="9924" y="0"/>
                  </a:cubicBezTo>
                  <a:lnTo>
                    <a:pt x="8538" y="0"/>
                  </a:lnTo>
                  <a:cubicBezTo>
                    <a:pt x="8349" y="0"/>
                    <a:pt x="8192" y="158"/>
                    <a:pt x="8192" y="347"/>
                  </a:cubicBezTo>
                  <a:lnTo>
                    <a:pt x="8192" y="693"/>
                  </a:lnTo>
                  <a:lnTo>
                    <a:pt x="2080" y="693"/>
                  </a:lnTo>
                  <a:lnTo>
                    <a:pt x="2080" y="347"/>
                  </a:lnTo>
                  <a:cubicBezTo>
                    <a:pt x="2080" y="158"/>
                    <a:pt x="1922"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81"/>
            <p:cNvSpPr/>
            <p:nvPr/>
          </p:nvSpPr>
          <p:spPr>
            <a:xfrm>
              <a:off x="-1615950" y="2238800"/>
              <a:ext cx="120525" cy="18150"/>
            </a:xfrm>
            <a:custGeom>
              <a:avLst/>
              <a:gdLst/>
              <a:ahLst/>
              <a:cxnLst/>
              <a:rect l="l" t="t" r="r" b="b"/>
              <a:pathLst>
                <a:path w="4821" h="726" extrusionOk="0">
                  <a:moveTo>
                    <a:pt x="347" y="1"/>
                  </a:moveTo>
                  <a:cubicBezTo>
                    <a:pt x="158" y="1"/>
                    <a:pt x="0" y="159"/>
                    <a:pt x="0" y="348"/>
                  </a:cubicBezTo>
                  <a:cubicBezTo>
                    <a:pt x="0" y="568"/>
                    <a:pt x="158" y="726"/>
                    <a:pt x="347" y="726"/>
                  </a:cubicBezTo>
                  <a:lnTo>
                    <a:pt x="4443" y="726"/>
                  </a:lnTo>
                  <a:cubicBezTo>
                    <a:pt x="4663" y="726"/>
                    <a:pt x="4821" y="568"/>
                    <a:pt x="4821" y="348"/>
                  </a:cubicBezTo>
                  <a:cubicBezTo>
                    <a:pt x="4821" y="159"/>
                    <a:pt x="4663"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81"/>
            <p:cNvSpPr/>
            <p:nvPr/>
          </p:nvSpPr>
          <p:spPr>
            <a:xfrm>
              <a:off x="-1615950" y="2273475"/>
              <a:ext cx="120525" cy="17350"/>
            </a:xfrm>
            <a:custGeom>
              <a:avLst/>
              <a:gdLst/>
              <a:ahLst/>
              <a:cxnLst/>
              <a:rect l="l" t="t" r="r" b="b"/>
              <a:pathLst>
                <a:path w="4821" h="694" extrusionOk="0">
                  <a:moveTo>
                    <a:pt x="347" y="0"/>
                  </a:moveTo>
                  <a:cubicBezTo>
                    <a:pt x="158" y="0"/>
                    <a:pt x="0" y="158"/>
                    <a:pt x="0" y="347"/>
                  </a:cubicBezTo>
                  <a:cubicBezTo>
                    <a:pt x="0" y="536"/>
                    <a:pt x="158" y="693"/>
                    <a:pt x="347" y="693"/>
                  </a:cubicBezTo>
                  <a:lnTo>
                    <a:pt x="4443" y="693"/>
                  </a:lnTo>
                  <a:cubicBezTo>
                    <a:pt x="4663" y="693"/>
                    <a:pt x="4821" y="536"/>
                    <a:pt x="4821" y="347"/>
                  </a:cubicBezTo>
                  <a:cubicBezTo>
                    <a:pt x="4821" y="158"/>
                    <a:pt x="4663"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81"/>
            <p:cNvSpPr/>
            <p:nvPr/>
          </p:nvSpPr>
          <p:spPr>
            <a:xfrm>
              <a:off x="-1630925" y="2100975"/>
              <a:ext cx="153625" cy="116600"/>
            </a:xfrm>
            <a:custGeom>
              <a:avLst/>
              <a:gdLst/>
              <a:ahLst/>
              <a:cxnLst/>
              <a:rect l="l" t="t" r="r" b="b"/>
              <a:pathLst>
                <a:path w="6145" h="4664" extrusionOk="0">
                  <a:moveTo>
                    <a:pt x="4695" y="662"/>
                  </a:moveTo>
                  <a:lnTo>
                    <a:pt x="2994" y="1985"/>
                  </a:lnTo>
                  <a:lnTo>
                    <a:pt x="1261" y="662"/>
                  </a:lnTo>
                  <a:close/>
                  <a:moveTo>
                    <a:pt x="599" y="1040"/>
                  </a:moveTo>
                  <a:lnTo>
                    <a:pt x="2427" y="2395"/>
                  </a:lnTo>
                  <a:lnTo>
                    <a:pt x="599" y="3781"/>
                  </a:lnTo>
                  <a:lnTo>
                    <a:pt x="599" y="1040"/>
                  </a:lnTo>
                  <a:close/>
                  <a:moveTo>
                    <a:pt x="5357" y="1040"/>
                  </a:moveTo>
                  <a:lnTo>
                    <a:pt x="5357" y="3781"/>
                  </a:lnTo>
                  <a:lnTo>
                    <a:pt x="3561" y="2395"/>
                  </a:lnTo>
                  <a:lnTo>
                    <a:pt x="5357" y="1040"/>
                  </a:lnTo>
                  <a:close/>
                  <a:moveTo>
                    <a:pt x="2994" y="2836"/>
                  </a:moveTo>
                  <a:lnTo>
                    <a:pt x="4695" y="4128"/>
                  </a:lnTo>
                  <a:lnTo>
                    <a:pt x="1292" y="4128"/>
                  </a:lnTo>
                  <a:lnTo>
                    <a:pt x="2994" y="2836"/>
                  </a:lnTo>
                  <a:close/>
                  <a:moveTo>
                    <a:pt x="316" y="1"/>
                  </a:moveTo>
                  <a:cubicBezTo>
                    <a:pt x="158" y="1"/>
                    <a:pt x="1" y="127"/>
                    <a:pt x="1" y="284"/>
                  </a:cubicBezTo>
                  <a:lnTo>
                    <a:pt x="1" y="4380"/>
                  </a:lnTo>
                  <a:cubicBezTo>
                    <a:pt x="64" y="4506"/>
                    <a:pt x="127" y="4600"/>
                    <a:pt x="253" y="4663"/>
                  </a:cubicBezTo>
                  <a:lnTo>
                    <a:pt x="5798" y="4663"/>
                  </a:lnTo>
                  <a:cubicBezTo>
                    <a:pt x="5955" y="4663"/>
                    <a:pt x="6113" y="4537"/>
                    <a:pt x="6144" y="4317"/>
                  </a:cubicBezTo>
                  <a:lnTo>
                    <a:pt x="6081" y="316"/>
                  </a:lnTo>
                  <a:cubicBezTo>
                    <a:pt x="6081" y="158"/>
                    <a:pt x="5955" y="32"/>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993" name="Google Shape;10993;p81"/>
          <p:cNvSpPr/>
          <p:nvPr/>
        </p:nvSpPr>
        <p:spPr>
          <a:xfrm>
            <a:off x="2472295" y="3231775"/>
            <a:ext cx="440106" cy="421373"/>
          </a:xfrm>
          <a:custGeom>
            <a:avLst/>
            <a:gdLst/>
            <a:ahLst/>
            <a:cxnLst/>
            <a:rect l="l" t="t" r="r" b="b"/>
            <a:pathLst>
              <a:path w="12193" h="11674" extrusionOk="0">
                <a:moveTo>
                  <a:pt x="9483" y="1174"/>
                </a:moveTo>
                <a:lnTo>
                  <a:pt x="9483" y="2308"/>
                </a:lnTo>
                <a:cubicBezTo>
                  <a:pt x="9483" y="2497"/>
                  <a:pt x="9641" y="2655"/>
                  <a:pt x="9830" y="2655"/>
                </a:cubicBezTo>
                <a:lnTo>
                  <a:pt x="10901" y="2655"/>
                </a:lnTo>
                <a:lnTo>
                  <a:pt x="9515" y="4041"/>
                </a:lnTo>
                <a:lnTo>
                  <a:pt x="8097" y="4041"/>
                </a:lnTo>
                <a:lnTo>
                  <a:pt x="8097" y="2560"/>
                </a:lnTo>
                <a:lnTo>
                  <a:pt x="9483" y="1174"/>
                </a:lnTo>
                <a:close/>
                <a:moveTo>
                  <a:pt x="4885" y="6181"/>
                </a:moveTo>
                <a:cubicBezTo>
                  <a:pt x="5033" y="6181"/>
                  <a:pt x="5183" y="6212"/>
                  <a:pt x="5325" y="6278"/>
                </a:cubicBezTo>
                <a:lnTo>
                  <a:pt x="4600" y="7003"/>
                </a:lnTo>
                <a:cubicBezTo>
                  <a:pt x="4474" y="7129"/>
                  <a:pt x="4474" y="7349"/>
                  <a:pt x="4600" y="7475"/>
                </a:cubicBezTo>
                <a:cubicBezTo>
                  <a:pt x="4663" y="7538"/>
                  <a:pt x="4750" y="7570"/>
                  <a:pt x="4836" y="7570"/>
                </a:cubicBezTo>
                <a:cubicBezTo>
                  <a:pt x="4923" y="7570"/>
                  <a:pt x="5010" y="7538"/>
                  <a:pt x="5073" y="7475"/>
                </a:cubicBezTo>
                <a:lnTo>
                  <a:pt x="5797" y="6751"/>
                </a:lnTo>
                <a:lnTo>
                  <a:pt x="5797" y="6751"/>
                </a:lnTo>
                <a:cubicBezTo>
                  <a:pt x="5986" y="7160"/>
                  <a:pt x="5892" y="7633"/>
                  <a:pt x="5577" y="7948"/>
                </a:cubicBezTo>
                <a:cubicBezTo>
                  <a:pt x="5388" y="8137"/>
                  <a:pt x="5128" y="8231"/>
                  <a:pt x="4864" y="8231"/>
                </a:cubicBezTo>
                <a:cubicBezTo>
                  <a:pt x="4600" y="8231"/>
                  <a:pt x="4332" y="8137"/>
                  <a:pt x="4127" y="7948"/>
                </a:cubicBezTo>
                <a:cubicBezTo>
                  <a:pt x="3749" y="7538"/>
                  <a:pt x="3749" y="6877"/>
                  <a:pt x="4127" y="6499"/>
                </a:cubicBezTo>
                <a:cubicBezTo>
                  <a:pt x="4333" y="6293"/>
                  <a:pt x="4606" y="6181"/>
                  <a:pt x="4885" y="6181"/>
                </a:cubicBezTo>
                <a:close/>
                <a:moveTo>
                  <a:pt x="4897" y="4831"/>
                </a:moveTo>
                <a:cubicBezTo>
                  <a:pt x="5396" y="4831"/>
                  <a:pt x="5890" y="4990"/>
                  <a:pt x="6301" y="5301"/>
                </a:cubicBezTo>
                <a:lnTo>
                  <a:pt x="5829" y="5774"/>
                </a:lnTo>
                <a:cubicBezTo>
                  <a:pt x="5553" y="5590"/>
                  <a:pt x="5233" y="5499"/>
                  <a:pt x="4911" y="5499"/>
                </a:cubicBezTo>
                <a:cubicBezTo>
                  <a:pt x="4460" y="5499"/>
                  <a:pt x="4004" y="5677"/>
                  <a:pt x="3655" y="6026"/>
                </a:cubicBezTo>
                <a:cubicBezTo>
                  <a:pt x="2993" y="6688"/>
                  <a:pt x="2993" y="7790"/>
                  <a:pt x="3655" y="8420"/>
                </a:cubicBezTo>
                <a:cubicBezTo>
                  <a:pt x="3986" y="8751"/>
                  <a:pt x="4427" y="8917"/>
                  <a:pt x="4864" y="8917"/>
                </a:cubicBezTo>
                <a:cubicBezTo>
                  <a:pt x="5301" y="8917"/>
                  <a:pt x="5734" y="8751"/>
                  <a:pt x="6049" y="8420"/>
                </a:cubicBezTo>
                <a:cubicBezTo>
                  <a:pt x="6648" y="7822"/>
                  <a:pt x="6742" y="6908"/>
                  <a:pt x="6301" y="6246"/>
                </a:cubicBezTo>
                <a:lnTo>
                  <a:pt x="6774" y="5774"/>
                </a:lnTo>
                <a:lnTo>
                  <a:pt x="6774" y="5774"/>
                </a:lnTo>
                <a:cubicBezTo>
                  <a:pt x="7467" y="6719"/>
                  <a:pt x="7404" y="8074"/>
                  <a:pt x="6585" y="8924"/>
                </a:cubicBezTo>
                <a:cubicBezTo>
                  <a:pt x="6112" y="9397"/>
                  <a:pt x="5498" y="9633"/>
                  <a:pt x="4883" y="9633"/>
                </a:cubicBezTo>
                <a:cubicBezTo>
                  <a:pt x="4269" y="9633"/>
                  <a:pt x="3655" y="9397"/>
                  <a:pt x="3182" y="8924"/>
                </a:cubicBezTo>
                <a:cubicBezTo>
                  <a:pt x="2237" y="7979"/>
                  <a:pt x="2237" y="6499"/>
                  <a:pt x="3182" y="5553"/>
                </a:cubicBezTo>
                <a:cubicBezTo>
                  <a:pt x="3667" y="5068"/>
                  <a:pt x="4286" y="4831"/>
                  <a:pt x="4897" y="4831"/>
                </a:cubicBezTo>
                <a:close/>
                <a:moveTo>
                  <a:pt x="4873" y="3463"/>
                </a:moveTo>
                <a:cubicBezTo>
                  <a:pt x="5728" y="3463"/>
                  <a:pt x="6583" y="3748"/>
                  <a:pt x="7278" y="4325"/>
                </a:cubicBezTo>
                <a:lnTo>
                  <a:pt x="6805" y="4797"/>
                </a:lnTo>
                <a:cubicBezTo>
                  <a:pt x="6228" y="4353"/>
                  <a:pt x="5533" y="4125"/>
                  <a:pt x="4844" y="4125"/>
                </a:cubicBezTo>
                <a:cubicBezTo>
                  <a:pt x="4065" y="4125"/>
                  <a:pt x="3294" y="4416"/>
                  <a:pt x="2710" y="5018"/>
                </a:cubicBezTo>
                <a:cubicBezTo>
                  <a:pt x="1481" y="6246"/>
                  <a:pt x="1481" y="8168"/>
                  <a:pt x="2710" y="9397"/>
                </a:cubicBezTo>
                <a:cubicBezTo>
                  <a:pt x="3324" y="10011"/>
                  <a:pt x="4112" y="10318"/>
                  <a:pt x="4899" y="10318"/>
                </a:cubicBezTo>
                <a:cubicBezTo>
                  <a:pt x="5687" y="10318"/>
                  <a:pt x="6474" y="10011"/>
                  <a:pt x="7089" y="9397"/>
                </a:cubicBezTo>
                <a:cubicBezTo>
                  <a:pt x="8223" y="8263"/>
                  <a:pt x="8255" y="6467"/>
                  <a:pt x="7309" y="5301"/>
                </a:cubicBezTo>
                <a:lnTo>
                  <a:pt x="7782" y="4829"/>
                </a:lnTo>
                <a:lnTo>
                  <a:pt x="7782" y="4829"/>
                </a:lnTo>
                <a:cubicBezTo>
                  <a:pt x="8979" y="6278"/>
                  <a:pt x="8885" y="8483"/>
                  <a:pt x="7530" y="9870"/>
                </a:cubicBezTo>
                <a:cubicBezTo>
                  <a:pt x="6790" y="10594"/>
                  <a:pt x="5821" y="10956"/>
                  <a:pt x="4856" y="10956"/>
                </a:cubicBezTo>
                <a:cubicBezTo>
                  <a:pt x="3891" y="10956"/>
                  <a:pt x="2930" y="10594"/>
                  <a:pt x="2206" y="9870"/>
                </a:cubicBezTo>
                <a:cubicBezTo>
                  <a:pt x="756" y="8420"/>
                  <a:pt x="756" y="6026"/>
                  <a:pt x="2206" y="4545"/>
                </a:cubicBezTo>
                <a:cubicBezTo>
                  <a:pt x="2941" y="3827"/>
                  <a:pt x="3907" y="3463"/>
                  <a:pt x="4873" y="3463"/>
                </a:cubicBezTo>
                <a:close/>
                <a:moveTo>
                  <a:pt x="9899" y="0"/>
                </a:moveTo>
                <a:cubicBezTo>
                  <a:pt x="9813" y="0"/>
                  <a:pt x="9722" y="32"/>
                  <a:pt x="9641" y="103"/>
                </a:cubicBezTo>
                <a:lnTo>
                  <a:pt x="7561" y="2182"/>
                </a:lnTo>
                <a:cubicBezTo>
                  <a:pt x="7467" y="2277"/>
                  <a:pt x="7435" y="2340"/>
                  <a:pt x="7435" y="2434"/>
                </a:cubicBezTo>
                <a:lnTo>
                  <a:pt x="7435" y="3600"/>
                </a:lnTo>
                <a:cubicBezTo>
                  <a:pt x="6670" y="3071"/>
                  <a:pt x="5769" y="2807"/>
                  <a:pt x="4868" y="2807"/>
                </a:cubicBezTo>
                <a:cubicBezTo>
                  <a:pt x="3731" y="2807"/>
                  <a:pt x="2595" y="3229"/>
                  <a:pt x="1733" y="4073"/>
                </a:cubicBezTo>
                <a:cubicBezTo>
                  <a:pt x="0" y="5805"/>
                  <a:pt x="0" y="8641"/>
                  <a:pt x="1733" y="10374"/>
                </a:cubicBezTo>
                <a:cubicBezTo>
                  <a:pt x="2599" y="11240"/>
                  <a:pt x="3741" y="11673"/>
                  <a:pt x="4883" y="11673"/>
                </a:cubicBezTo>
                <a:cubicBezTo>
                  <a:pt x="6026" y="11673"/>
                  <a:pt x="7168" y="11240"/>
                  <a:pt x="8034" y="10374"/>
                </a:cubicBezTo>
                <a:cubicBezTo>
                  <a:pt x="9578" y="8861"/>
                  <a:pt x="9735" y="6436"/>
                  <a:pt x="8538" y="4703"/>
                </a:cubicBezTo>
                <a:lnTo>
                  <a:pt x="9672" y="4703"/>
                </a:lnTo>
                <a:cubicBezTo>
                  <a:pt x="9767" y="4703"/>
                  <a:pt x="9893" y="4671"/>
                  <a:pt x="9924" y="4608"/>
                </a:cubicBezTo>
                <a:lnTo>
                  <a:pt x="12004" y="2497"/>
                </a:lnTo>
                <a:cubicBezTo>
                  <a:pt x="12193" y="2308"/>
                  <a:pt x="12035" y="1962"/>
                  <a:pt x="11783" y="1962"/>
                </a:cubicBezTo>
                <a:lnTo>
                  <a:pt x="10239" y="1962"/>
                </a:lnTo>
                <a:lnTo>
                  <a:pt x="10239" y="355"/>
                </a:lnTo>
                <a:cubicBezTo>
                  <a:pt x="10239" y="141"/>
                  <a:pt x="10080" y="0"/>
                  <a:pt x="9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994" name="Google Shape;10994;p81"/>
          <p:cNvGrpSpPr/>
          <p:nvPr/>
        </p:nvGrpSpPr>
        <p:grpSpPr>
          <a:xfrm>
            <a:off x="4134007" y="3231514"/>
            <a:ext cx="420796" cy="421914"/>
            <a:chOff x="-1700225" y="2768875"/>
            <a:chExt cx="291450" cy="292225"/>
          </a:xfrm>
        </p:grpSpPr>
        <p:sp>
          <p:nvSpPr>
            <p:cNvPr id="10995" name="Google Shape;10995;p81"/>
            <p:cNvSpPr/>
            <p:nvPr/>
          </p:nvSpPr>
          <p:spPr>
            <a:xfrm>
              <a:off x="-1700225" y="2768875"/>
              <a:ext cx="291450" cy="292225"/>
            </a:xfrm>
            <a:custGeom>
              <a:avLst/>
              <a:gdLst/>
              <a:ahLst/>
              <a:cxnLst/>
              <a:rect l="l" t="t" r="r" b="b"/>
              <a:pathLst>
                <a:path w="11658" h="11689" extrusionOk="0">
                  <a:moveTo>
                    <a:pt x="10617" y="662"/>
                  </a:moveTo>
                  <a:cubicBezTo>
                    <a:pt x="10806" y="662"/>
                    <a:pt x="10964" y="820"/>
                    <a:pt x="10964" y="1009"/>
                  </a:cubicBezTo>
                  <a:lnTo>
                    <a:pt x="10964" y="2710"/>
                  </a:lnTo>
                  <a:lnTo>
                    <a:pt x="662" y="2710"/>
                  </a:lnTo>
                  <a:lnTo>
                    <a:pt x="662" y="1009"/>
                  </a:lnTo>
                  <a:cubicBezTo>
                    <a:pt x="662" y="820"/>
                    <a:pt x="819" y="662"/>
                    <a:pt x="1008" y="662"/>
                  </a:cubicBezTo>
                  <a:close/>
                  <a:moveTo>
                    <a:pt x="10933" y="3372"/>
                  </a:moveTo>
                  <a:lnTo>
                    <a:pt x="10933" y="9232"/>
                  </a:lnTo>
                  <a:cubicBezTo>
                    <a:pt x="10964" y="9484"/>
                    <a:pt x="10806" y="9610"/>
                    <a:pt x="10617" y="9610"/>
                  </a:cubicBezTo>
                  <a:lnTo>
                    <a:pt x="8916" y="9610"/>
                  </a:lnTo>
                  <a:lnTo>
                    <a:pt x="8570" y="9232"/>
                  </a:lnTo>
                  <a:cubicBezTo>
                    <a:pt x="8601" y="9169"/>
                    <a:pt x="8664" y="9043"/>
                    <a:pt x="8696" y="8917"/>
                  </a:cubicBezTo>
                  <a:lnTo>
                    <a:pt x="9200" y="8917"/>
                  </a:lnTo>
                  <a:cubicBezTo>
                    <a:pt x="9389" y="8917"/>
                    <a:pt x="9546" y="8759"/>
                    <a:pt x="9546" y="8570"/>
                  </a:cubicBezTo>
                  <a:lnTo>
                    <a:pt x="9546" y="7184"/>
                  </a:lnTo>
                  <a:cubicBezTo>
                    <a:pt x="9546" y="6995"/>
                    <a:pt x="9389" y="6837"/>
                    <a:pt x="9200" y="6837"/>
                  </a:cubicBezTo>
                  <a:lnTo>
                    <a:pt x="8696" y="6837"/>
                  </a:lnTo>
                  <a:cubicBezTo>
                    <a:pt x="8664" y="6711"/>
                    <a:pt x="8601" y="6648"/>
                    <a:pt x="8570" y="6522"/>
                  </a:cubicBezTo>
                  <a:lnTo>
                    <a:pt x="8916" y="6176"/>
                  </a:lnTo>
                  <a:cubicBezTo>
                    <a:pt x="9042" y="6050"/>
                    <a:pt x="9042" y="5798"/>
                    <a:pt x="8916" y="5703"/>
                  </a:cubicBezTo>
                  <a:lnTo>
                    <a:pt x="7940" y="4695"/>
                  </a:lnTo>
                  <a:cubicBezTo>
                    <a:pt x="7877" y="4648"/>
                    <a:pt x="7790" y="4624"/>
                    <a:pt x="7703" y="4624"/>
                  </a:cubicBezTo>
                  <a:cubicBezTo>
                    <a:pt x="7617" y="4624"/>
                    <a:pt x="7530" y="4648"/>
                    <a:pt x="7467" y="4695"/>
                  </a:cubicBezTo>
                  <a:lnTo>
                    <a:pt x="7120" y="5073"/>
                  </a:lnTo>
                  <a:cubicBezTo>
                    <a:pt x="7026" y="5041"/>
                    <a:pt x="6931" y="4978"/>
                    <a:pt x="6805" y="4947"/>
                  </a:cubicBezTo>
                  <a:lnTo>
                    <a:pt x="6805" y="4443"/>
                  </a:lnTo>
                  <a:cubicBezTo>
                    <a:pt x="6805" y="4222"/>
                    <a:pt x="6648" y="4065"/>
                    <a:pt x="6459" y="4065"/>
                  </a:cubicBezTo>
                  <a:lnTo>
                    <a:pt x="5073" y="4065"/>
                  </a:lnTo>
                  <a:cubicBezTo>
                    <a:pt x="4884" y="4065"/>
                    <a:pt x="4726" y="4222"/>
                    <a:pt x="4726" y="4443"/>
                  </a:cubicBezTo>
                  <a:lnTo>
                    <a:pt x="4726" y="4947"/>
                  </a:lnTo>
                  <a:cubicBezTo>
                    <a:pt x="4600" y="4978"/>
                    <a:pt x="4506" y="5010"/>
                    <a:pt x="4411" y="5073"/>
                  </a:cubicBezTo>
                  <a:lnTo>
                    <a:pt x="4033" y="4695"/>
                  </a:lnTo>
                  <a:cubicBezTo>
                    <a:pt x="3986" y="4648"/>
                    <a:pt x="3899" y="4624"/>
                    <a:pt x="3808" y="4624"/>
                  </a:cubicBezTo>
                  <a:cubicBezTo>
                    <a:pt x="3718" y="4624"/>
                    <a:pt x="3623" y="4648"/>
                    <a:pt x="3560" y="4695"/>
                  </a:cubicBezTo>
                  <a:lnTo>
                    <a:pt x="2584" y="5703"/>
                  </a:lnTo>
                  <a:cubicBezTo>
                    <a:pt x="2458" y="5829"/>
                    <a:pt x="2458" y="6050"/>
                    <a:pt x="2584" y="6176"/>
                  </a:cubicBezTo>
                  <a:lnTo>
                    <a:pt x="2930" y="6522"/>
                  </a:lnTo>
                  <a:cubicBezTo>
                    <a:pt x="2899" y="6585"/>
                    <a:pt x="2867" y="6711"/>
                    <a:pt x="2836" y="6837"/>
                  </a:cubicBezTo>
                  <a:lnTo>
                    <a:pt x="2300" y="6837"/>
                  </a:lnTo>
                  <a:cubicBezTo>
                    <a:pt x="2111" y="6837"/>
                    <a:pt x="1954" y="6995"/>
                    <a:pt x="1954" y="7184"/>
                  </a:cubicBezTo>
                  <a:lnTo>
                    <a:pt x="1954" y="8570"/>
                  </a:lnTo>
                  <a:cubicBezTo>
                    <a:pt x="1954" y="8759"/>
                    <a:pt x="2111" y="8917"/>
                    <a:pt x="2300" y="8917"/>
                  </a:cubicBezTo>
                  <a:lnTo>
                    <a:pt x="2836" y="8917"/>
                  </a:lnTo>
                  <a:cubicBezTo>
                    <a:pt x="2867" y="9043"/>
                    <a:pt x="2899" y="9137"/>
                    <a:pt x="2930" y="9232"/>
                  </a:cubicBezTo>
                  <a:lnTo>
                    <a:pt x="2584" y="9610"/>
                  </a:lnTo>
                  <a:lnTo>
                    <a:pt x="977" y="9610"/>
                  </a:lnTo>
                  <a:cubicBezTo>
                    <a:pt x="788" y="9610"/>
                    <a:pt x="630" y="9452"/>
                    <a:pt x="630" y="9232"/>
                  </a:cubicBezTo>
                  <a:lnTo>
                    <a:pt x="630" y="3372"/>
                  </a:lnTo>
                  <a:close/>
                  <a:moveTo>
                    <a:pt x="6112" y="4726"/>
                  </a:moveTo>
                  <a:lnTo>
                    <a:pt x="6112" y="5136"/>
                  </a:lnTo>
                  <a:cubicBezTo>
                    <a:pt x="6112" y="5294"/>
                    <a:pt x="6207" y="5420"/>
                    <a:pt x="6364" y="5451"/>
                  </a:cubicBezTo>
                  <a:cubicBezTo>
                    <a:pt x="6553" y="5514"/>
                    <a:pt x="6805" y="5609"/>
                    <a:pt x="6994" y="5735"/>
                  </a:cubicBezTo>
                  <a:cubicBezTo>
                    <a:pt x="7041" y="5769"/>
                    <a:pt x="7096" y="5783"/>
                    <a:pt x="7153" y="5783"/>
                  </a:cubicBezTo>
                  <a:cubicBezTo>
                    <a:pt x="7251" y="5783"/>
                    <a:pt x="7356" y="5743"/>
                    <a:pt x="7435" y="5703"/>
                  </a:cubicBezTo>
                  <a:lnTo>
                    <a:pt x="7751" y="5388"/>
                  </a:lnTo>
                  <a:lnTo>
                    <a:pt x="8223" y="5861"/>
                  </a:lnTo>
                  <a:lnTo>
                    <a:pt x="7908" y="6176"/>
                  </a:lnTo>
                  <a:cubicBezTo>
                    <a:pt x="7782" y="6302"/>
                    <a:pt x="7782" y="6459"/>
                    <a:pt x="7877" y="6617"/>
                  </a:cubicBezTo>
                  <a:cubicBezTo>
                    <a:pt x="7971" y="6806"/>
                    <a:pt x="8066" y="6995"/>
                    <a:pt x="8129" y="7247"/>
                  </a:cubicBezTo>
                  <a:cubicBezTo>
                    <a:pt x="8192" y="7404"/>
                    <a:pt x="8286" y="7499"/>
                    <a:pt x="8444" y="7499"/>
                  </a:cubicBezTo>
                  <a:lnTo>
                    <a:pt x="8885" y="7499"/>
                  </a:lnTo>
                  <a:lnTo>
                    <a:pt x="8885" y="8192"/>
                  </a:lnTo>
                  <a:lnTo>
                    <a:pt x="8444" y="8192"/>
                  </a:lnTo>
                  <a:cubicBezTo>
                    <a:pt x="8286" y="8192"/>
                    <a:pt x="8192" y="8286"/>
                    <a:pt x="8129" y="8444"/>
                  </a:cubicBezTo>
                  <a:cubicBezTo>
                    <a:pt x="8097" y="8665"/>
                    <a:pt x="7971" y="8885"/>
                    <a:pt x="7877" y="9074"/>
                  </a:cubicBezTo>
                  <a:cubicBezTo>
                    <a:pt x="7782" y="9200"/>
                    <a:pt x="7814" y="9389"/>
                    <a:pt x="7908" y="9515"/>
                  </a:cubicBezTo>
                  <a:lnTo>
                    <a:pt x="8223" y="9830"/>
                  </a:lnTo>
                  <a:lnTo>
                    <a:pt x="7751" y="10303"/>
                  </a:lnTo>
                  <a:lnTo>
                    <a:pt x="7435" y="9988"/>
                  </a:lnTo>
                  <a:cubicBezTo>
                    <a:pt x="7368" y="9920"/>
                    <a:pt x="7291" y="9889"/>
                    <a:pt x="7211" y="9889"/>
                  </a:cubicBezTo>
                  <a:cubicBezTo>
                    <a:pt x="7141" y="9889"/>
                    <a:pt x="7068" y="9912"/>
                    <a:pt x="6994" y="9956"/>
                  </a:cubicBezTo>
                  <a:cubicBezTo>
                    <a:pt x="6805" y="10082"/>
                    <a:pt x="6616" y="10145"/>
                    <a:pt x="6364" y="10208"/>
                  </a:cubicBezTo>
                  <a:cubicBezTo>
                    <a:pt x="6207" y="10271"/>
                    <a:pt x="6112" y="10366"/>
                    <a:pt x="6112" y="10555"/>
                  </a:cubicBezTo>
                  <a:lnTo>
                    <a:pt x="6112" y="10964"/>
                  </a:lnTo>
                  <a:lnTo>
                    <a:pt x="5419" y="10964"/>
                  </a:lnTo>
                  <a:lnTo>
                    <a:pt x="5419" y="10555"/>
                  </a:lnTo>
                  <a:cubicBezTo>
                    <a:pt x="5419" y="10366"/>
                    <a:pt x="5325" y="10271"/>
                    <a:pt x="5167" y="10208"/>
                  </a:cubicBezTo>
                  <a:cubicBezTo>
                    <a:pt x="4947" y="10177"/>
                    <a:pt x="4726" y="10051"/>
                    <a:pt x="4537" y="9956"/>
                  </a:cubicBezTo>
                  <a:cubicBezTo>
                    <a:pt x="4491" y="9921"/>
                    <a:pt x="4436" y="9908"/>
                    <a:pt x="4379" y="9908"/>
                  </a:cubicBezTo>
                  <a:cubicBezTo>
                    <a:pt x="4281" y="9908"/>
                    <a:pt x="4176" y="9948"/>
                    <a:pt x="4096" y="9988"/>
                  </a:cubicBezTo>
                  <a:lnTo>
                    <a:pt x="3781" y="10303"/>
                  </a:lnTo>
                  <a:lnTo>
                    <a:pt x="3308" y="9830"/>
                  </a:lnTo>
                  <a:lnTo>
                    <a:pt x="3623" y="9515"/>
                  </a:lnTo>
                  <a:cubicBezTo>
                    <a:pt x="3749" y="9389"/>
                    <a:pt x="3749" y="9232"/>
                    <a:pt x="3655" y="9074"/>
                  </a:cubicBezTo>
                  <a:cubicBezTo>
                    <a:pt x="3529" y="8885"/>
                    <a:pt x="3466" y="8696"/>
                    <a:pt x="3371" y="8444"/>
                  </a:cubicBezTo>
                  <a:cubicBezTo>
                    <a:pt x="3340" y="8286"/>
                    <a:pt x="3214" y="8192"/>
                    <a:pt x="3056" y="8192"/>
                  </a:cubicBezTo>
                  <a:lnTo>
                    <a:pt x="2647" y="8192"/>
                  </a:lnTo>
                  <a:lnTo>
                    <a:pt x="2647" y="7499"/>
                  </a:lnTo>
                  <a:lnTo>
                    <a:pt x="3056" y="7499"/>
                  </a:lnTo>
                  <a:cubicBezTo>
                    <a:pt x="3214" y="7499"/>
                    <a:pt x="3340" y="7404"/>
                    <a:pt x="3371" y="7247"/>
                  </a:cubicBezTo>
                  <a:cubicBezTo>
                    <a:pt x="3434" y="7026"/>
                    <a:pt x="3529" y="6806"/>
                    <a:pt x="3655" y="6617"/>
                  </a:cubicBezTo>
                  <a:cubicBezTo>
                    <a:pt x="3749" y="6491"/>
                    <a:pt x="3686" y="6302"/>
                    <a:pt x="3623" y="6176"/>
                  </a:cubicBezTo>
                  <a:lnTo>
                    <a:pt x="3308" y="5861"/>
                  </a:lnTo>
                  <a:lnTo>
                    <a:pt x="3781" y="5388"/>
                  </a:lnTo>
                  <a:lnTo>
                    <a:pt x="4096" y="5703"/>
                  </a:lnTo>
                  <a:cubicBezTo>
                    <a:pt x="4163" y="5771"/>
                    <a:pt x="4240" y="5802"/>
                    <a:pt x="4321" y="5802"/>
                  </a:cubicBezTo>
                  <a:cubicBezTo>
                    <a:pt x="4391" y="5802"/>
                    <a:pt x="4464" y="5778"/>
                    <a:pt x="4537" y="5735"/>
                  </a:cubicBezTo>
                  <a:cubicBezTo>
                    <a:pt x="4726" y="5609"/>
                    <a:pt x="4915" y="5546"/>
                    <a:pt x="5167" y="5451"/>
                  </a:cubicBezTo>
                  <a:cubicBezTo>
                    <a:pt x="5325" y="5420"/>
                    <a:pt x="5419" y="5294"/>
                    <a:pt x="5419" y="5136"/>
                  </a:cubicBezTo>
                  <a:lnTo>
                    <a:pt x="5419" y="4726"/>
                  </a:lnTo>
                  <a:close/>
                  <a:moveTo>
                    <a:pt x="1008" y="1"/>
                  </a:moveTo>
                  <a:cubicBezTo>
                    <a:pt x="473" y="1"/>
                    <a:pt x="0" y="473"/>
                    <a:pt x="0" y="1009"/>
                  </a:cubicBezTo>
                  <a:lnTo>
                    <a:pt x="0" y="9295"/>
                  </a:lnTo>
                  <a:cubicBezTo>
                    <a:pt x="0" y="9830"/>
                    <a:pt x="473" y="10303"/>
                    <a:pt x="1008" y="10303"/>
                  </a:cubicBezTo>
                  <a:lnTo>
                    <a:pt x="2867" y="10303"/>
                  </a:lnTo>
                  <a:lnTo>
                    <a:pt x="3623" y="11059"/>
                  </a:lnTo>
                  <a:cubicBezTo>
                    <a:pt x="3671" y="11122"/>
                    <a:pt x="3757" y="11153"/>
                    <a:pt x="3848" y="11153"/>
                  </a:cubicBezTo>
                  <a:cubicBezTo>
                    <a:pt x="3938" y="11153"/>
                    <a:pt x="4033" y="11122"/>
                    <a:pt x="4096" y="11059"/>
                  </a:cubicBezTo>
                  <a:lnTo>
                    <a:pt x="4442" y="10712"/>
                  </a:lnTo>
                  <a:cubicBezTo>
                    <a:pt x="4506" y="10744"/>
                    <a:pt x="4632" y="10775"/>
                    <a:pt x="4758" y="10807"/>
                  </a:cubicBezTo>
                  <a:lnTo>
                    <a:pt x="4758" y="11342"/>
                  </a:lnTo>
                  <a:cubicBezTo>
                    <a:pt x="4758" y="11531"/>
                    <a:pt x="4915" y="11689"/>
                    <a:pt x="5104" y="11689"/>
                  </a:cubicBezTo>
                  <a:lnTo>
                    <a:pt x="6490" y="11689"/>
                  </a:lnTo>
                  <a:cubicBezTo>
                    <a:pt x="6679" y="11689"/>
                    <a:pt x="6837" y="11531"/>
                    <a:pt x="6837" y="11342"/>
                  </a:cubicBezTo>
                  <a:lnTo>
                    <a:pt x="6837" y="10807"/>
                  </a:lnTo>
                  <a:cubicBezTo>
                    <a:pt x="6963" y="10775"/>
                    <a:pt x="7026" y="10744"/>
                    <a:pt x="7152" y="10712"/>
                  </a:cubicBezTo>
                  <a:lnTo>
                    <a:pt x="7498" y="11059"/>
                  </a:lnTo>
                  <a:cubicBezTo>
                    <a:pt x="7561" y="11122"/>
                    <a:pt x="7656" y="11153"/>
                    <a:pt x="7747" y="11153"/>
                  </a:cubicBezTo>
                  <a:cubicBezTo>
                    <a:pt x="7837" y="11153"/>
                    <a:pt x="7924" y="11122"/>
                    <a:pt x="7971" y="11059"/>
                  </a:cubicBezTo>
                  <a:lnTo>
                    <a:pt x="8727" y="10303"/>
                  </a:lnTo>
                  <a:lnTo>
                    <a:pt x="10617" y="10303"/>
                  </a:lnTo>
                  <a:cubicBezTo>
                    <a:pt x="11185" y="10303"/>
                    <a:pt x="11657" y="9830"/>
                    <a:pt x="11657" y="9295"/>
                  </a:cubicBezTo>
                  <a:lnTo>
                    <a:pt x="11657" y="1009"/>
                  </a:lnTo>
                  <a:cubicBezTo>
                    <a:pt x="11657" y="473"/>
                    <a:pt x="11216" y="1"/>
                    <a:pt x="106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6" name="Google Shape;10996;p81"/>
            <p:cNvSpPr/>
            <p:nvPr/>
          </p:nvSpPr>
          <p:spPr>
            <a:xfrm>
              <a:off x="-1667150" y="2801950"/>
              <a:ext cx="18150" cy="18150"/>
            </a:xfrm>
            <a:custGeom>
              <a:avLst/>
              <a:gdLst/>
              <a:ahLst/>
              <a:cxnLst/>
              <a:rect l="l" t="t" r="r" b="b"/>
              <a:pathLst>
                <a:path w="726" h="726" extrusionOk="0">
                  <a:moveTo>
                    <a:pt x="347" y="1"/>
                  </a:moveTo>
                  <a:cubicBezTo>
                    <a:pt x="158" y="1"/>
                    <a:pt x="1" y="158"/>
                    <a:pt x="1" y="347"/>
                  </a:cubicBezTo>
                  <a:cubicBezTo>
                    <a:pt x="1" y="536"/>
                    <a:pt x="158" y="726"/>
                    <a:pt x="347" y="726"/>
                  </a:cubicBezTo>
                  <a:cubicBezTo>
                    <a:pt x="568" y="726"/>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7" name="Google Shape;10997;p81"/>
            <p:cNvSpPr/>
            <p:nvPr/>
          </p:nvSpPr>
          <p:spPr>
            <a:xfrm>
              <a:off x="-1632500" y="2801950"/>
              <a:ext cx="17350" cy="18150"/>
            </a:xfrm>
            <a:custGeom>
              <a:avLst/>
              <a:gdLst/>
              <a:ahLst/>
              <a:cxnLst/>
              <a:rect l="l" t="t" r="r" b="b"/>
              <a:pathLst>
                <a:path w="694" h="726" extrusionOk="0">
                  <a:moveTo>
                    <a:pt x="347" y="1"/>
                  </a:moveTo>
                  <a:cubicBezTo>
                    <a:pt x="158" y="1"/>
                    <a:pt x="1" y="158"/>
                    <a:pt x="1" y="347"/>
                  </a:cubicBezTo>
                  <a:cubicBezTo>
                    <a:pt x="1" y="568"/>
                    <a:pt x="158" y="726"/>
                    <a:pt x="347" y="726"/>
                  </a:cubicBezTo>
                  <a:cubicBezTo>
                    <a:pt x="536" y="726"/>
                    <a:pt x="694" y="568"/>
                    <a:pt x="694"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81"/>
            <p:cNvSpPr/>
            <p:nvPr/>
          </p:nvSpPr>
          <p:spPr>
            <a:xfrm>
              <a:off x="-1597850" y="2801950"/>
              <a:ext cx="17375" cy="18150"/>
            </a:xfrm>
            <a:custGeom>
              <a:avLst/>
              <a:gdLst/>
              <a:ahLst/>
              <a:cxnLst/>
              <a:rect l="l" t="t" r="r" b="b"/>
              <a:pathLst>
                <a:path w="695" h="726" extrusionOk="0">
                  <a:moveTo>
                    <a:pt x="347" y="1"/>
                  </a:moveTo>
                  <a:cubicBezTo>
                    <a:pt x="158" y="1"/>
                    <a:pt x="1" y="158"/>
                    <a:pt x="1" y="347"/>
                  </a:cubicBezTo>
                  <a:cubicBezTo>
                    <a:pt x="1" y="568"/>
                    <a:pt x="158" y="726"/>
                    <a:pt x="347" y="726"/>
                  </a:cubicBezTo>
                  <a:cubicBezTo>
                    <a:pt x="537" y="726"/>
                    <a:pt x="694" y="568"/>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81"/>
            <p:cNvSpPr/>
            <p:nvPr/>
          </p:nvSpPr>
          <p:spPr>
            <a:xfrm>
              <a:off x="-1564750" y="2801950"/>
              <a:ext cx="120525" cy="18150"/>
            </a:xfrm>
            <a:custGeom>
              <a:avLst/>
              <a:gdLst/>
              <a:ahLst/>
              <a:cxnLst/>
              <a:rect l="l" t="t" r="r" b="b"/>
              <a:pathLst>
                <a:path w="4821" h="726" extrusionOk="0">
                  <a:moveTo>
                    <a:pt x="347" y="1"/>
                  </a:moveTo>
                  <a:cubicBezTo>
                    <a:pt x="158" y="1"/>
                    <a:pt x="0" y="158"/>
                    <a:pt x="0" y="347"/>
                  </a:cubicBezTo>
                  <a:cubicBezTo>
                    <a:pt x="32" y="568"/>
                    <a:pt x="189" y="726"/>
                    <a:pt x="347" y="726"/>
                  </a:cubicBezTo>
                  <a:lnTo>
                    <a:pt x="4442" y="726"/>
                  </a:lnTo>
                  <a:cubicBezTo>
                    <a:pt x="4663" y="726"/>
                    <a:pt x="4820" y="568"/>
                    <a:pt x="4820" y="347"/>
                  </a:cubicBezTo>
                  <a:cubicBezTo>
                    <a:pt x="4820" y="158"/>
                    <a:pt x="4663" y="1"/>
                    <a:pt x="4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81"/>
            <p:cNvSpPr/>
            <p:nvPr/>
          </p:nvSpPr>
          <p:spPr>
            <a:xfrm>
              <a:off x="-1597850" y="2924050"/>
              <a:ext cx="85100" cy="85075"/>
            </a:xfrm>
            <a:custGeom>
              <a:avLst/>
              <a:gdLst/>
              <a:ahLst/>
              <a:cxnLst/>
              <a:rect l="l" t="t" r="r" b="b"/>
              <a:pathLst>
                <a:path w="3404" h="3403" extrusionOk="0">
                  <a:moveTo>
                    <a:pt x="1671" y="662"/>
                  </a:moveTo>
                  <a:cubicBezTo>
                    <a:pt x="2238" y="662"/>
                    <a:pt x="2710" y="1134"/>
                    <a:pt x="2710" y="1701"/>
                  </a:cubicBezTo>
                  <a:cubicBezTo>
                    <a:pt x="2710" y="2237"/>
                    <a:pt x="2269" y="2710"/>
                    <a:pt x="1671" y="2710"/>
                  </a:cubicBezTo>
                  <a:cubicBezTo>
                    <a:pt x="1135" y="2710"/>
                    <a:pt x="663" y="2237"/>
                    <a:pt x="663" y="1701"/>
                  </a:cubicBezTo>
                  <a:cubicBezTo>
                    <a:pt x="663" y="1134"/>
                    <a:pt x="1135" y="662"/>
                    <a:pt x="1671" y="662"/>
                  </a:cubicBezTo>
                  <a:close/>
                  <a:moveTo>
                    <a:pt x="1671" y="0"/>
                  </a:moveTo>
                  <a:cubicBezTo>
                    <a:pt x="726" y="0"/>
                    <a:pt x="1" y="756"/>
                    <a:pt x="1" y="1701"/>
                  </a:cubicBezTo>
                  <a:cubicBezTo>
                    <a:pt x="1" y="2647"/>
                    <a:pt x="726" y="3403"/>
                    <a:pt x="1671" y="3403"/>
                  </a:cubicBezTo>
                  <a:cubicBezTo>
                    <a:pt x="2616" y="3403"/>
                    <a:pt x="3372" y="2647"/>
                    <a:pt x="3372" y="1701"/>
                  </a:cubicBezTo>
                  <a:cubicBezTo>
                    <a:pt x="3403" y="756"/>
                    <a:pt x="2616" y="0"/>
                    <a:pt x="1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1" name="Google Shape;11001;p81"/>
          <p:cNvGrpSpPr/>
          <p:nvPr/>
        </p:nvGrpSpPr>
        <p:grpSpPr>
          <a:xfrm>
            <a:off x="3602355" y="3230935"/>
            <a:ext cx="371887" cy="423069"/>
            <a:chOff x="-919700" y="2420750"/>
            <a:chExt cx="257575" cy="293025"/>
          </a:xfrm>
        </p:grpSpPr>
        <p:sp>
          <p:nvSpPr>
            <p:cNvPr id="11002" name="Google Shape;11002;p81"/>
            <p:cNvSpPr/>
            <p:nvPr/>
          </p:nvSpPr>
          <p:spPr>
            <a:xfrm>
              <a:off x="-884250" y="2490850"/>
              <a:ext cx="84300" cy="51225"/>
            </a:xfrm>
            <a:custGeom>
              <a:avLst/>
              <a:gdLst/>
              <a:ahLst/>
              <a:cxnLst/>
              <a:rect l="l" t="t" r="r" b="b"/>
              <a:pathLst>
                <a:path w="3372" h="2049" extrusionOk="0">
                  <a:moveTo>
                    <a:pt x="977" y="631"/>
                  </a:moveTo>
                  <a:cubicBezTo>
                    <a:pt x="1166" y="631"/>
                    <a:pt x="1324" y="788"/>
                    <a:pt x="1324" y="977"/>
                  </a:cubicBezTo>
                  <a:cubicBezTo>
                    <a:pt x="1324" y="1198"/>
                    <a:pt x="1166" y="1355"/>
                    <a:pt x="977" y="1355"/>
                  </a:cubicBezTo>
                  <a:cubicBezTo>
                    <a:pt x="788" y="1355"/>
                    <a:pt x="631" y="1198"/>
                    <a:pt x="631" y="977"/>
                  </a:cubicBezTo>
                  <a:cubicBezTo>
                    <a:pt x="631" y="788"/>
                    <a:pt x="788" y="631"/>
                    <a:pt x="977" y="631"/>
                  </a:cubicBezTo>
                  <a:close/>
                  <a:moveTo>
                    <a:pt x="2363" y="631"/>
                  </a:moveTo>
                  <a:cubicBezTo>
                    <a:pt x="2552" y="631"/>
                    <a:pt x="2710" y="788"/>
                    <a:pt x="2710" y="977"/>
                  </a:cubicBezTo>
                  <a:cubicBezTo>
                    <a:pt x="2710" y="1198"/>
                    <a:pt x="2552" y="1355"/>
                    <a:pt x="2363" y="1355"/>
                  </a:cubicBezTo>
                  <a:cubicBezTo>
                    <a:pt x="2174" y="1355"/>
                    <a:pt x="2017" y="1198"/>
                    <a:pt x="2017" y="977"/>
                  </a:cubicBezTo>
                  <a:cubicBezTo>
                    <a:pt x="2017" y="788"/>
                    <a:pt x="2174" y="631"/>
                    <a:pt x="2363" y="631"/>
                  </a:cubicBezTo>
                  <a:close/>
                  <a:moveTo>
                    <a:pt x="1009" y="1"/>
                  </a:moveTo>
                  <a:cubicBezTo>
                    <a:pt x="473" y="1"/>
                    <a:pt x="0" y="473"/>
                    <a:pt x="0" y="1040"/>
                  </a:cubicBezTo>
                  <a:cubicBezTo>
                    <a:pt x="0" y="1576"/>
                    <a:pt x="473" y="2048"/>
                    <a:pt x="1009" y="2048"/>
                  </a:cubicBezTo>
                  <a:cubicBezTo>
                    <a:pt x="1292" y="2048"/>
                    <a:pt x="1544" y="1922"/>
                    <a:pt x="1702" y="1765"/>
                  </a:cubicBezTo>
                  <a:cubicBezTo>
                    <a:pt x="1891" y="1922"/>
                    <a:pt x="2111" y="2048"/>
                    <a:pt x="2363" y="2048"/>
                  </a:cubicBezTo>
                  <a:cubicBezTo>
                    <a:pt x="2899" y="2048"/>
                    <a:pt x="3371" y="1576"/>
                    <a:pt x="3371" y="1040"/>
                  </a:cubicBezTo>
                  <a:cubicBezTo>
                    <a:pt x="3371" y="442"/>
                    <a:pt x="2899" y="1"/>
                    <a:pt x="2363" y="1"/>
                  </a:cubicBezTo>
                  <a:cubicBezTo>
                    <a:pt x="2080" y="1"/>
                    <a:pt x="1859" y="127"/>
                    <a:pt x="1702" y="284"/>
                  </a:cubicBezTo>
                  <a:cubicBezTo>
                    <a:pt x="1481" y="127"/>
                    <a:pt x="1261"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3" name="Google Shape;11003;p81"/>
            <p:cNvSpPr/>
            <p:nvPr/>
          </p:nvSpPr>
          <p:spPr>
            <a:xfrm>
              <a:off x="-919700" y="2420750"/>
              <a:ext cx="257575" cy="293025"/>
            </a:xfrm>
            <a:custGeom>
              <a:avLst/>
              <a:gdLst/>
              <a:ahLst/>
              <a:cxnLst/>
              <a:rect l="l" t="t" r="r" b="b"/>
              <a:pathLst>
                <a:path w="10303" h="11721" extrusionOk="0">
                  <a:moveTo>
                    <a:pt x="7152" y="694"/>
                  </a:moveTo>
                  <a:cubicBezTo>
                    <a:pt x="7373" y="694"/>
                    <a:pt x="7530" y="851"/>
                    <a:pt x="7530" y="1040"/>
                  </a:cubicBezTo>
                  <a:lnTo>
                    <a:pt x="7530" y="1418"/>
                  </a:lnTo>
                  <a:lnTo>
                    <a:pt x="662" y="1418"/>
                  </a:lnTo>
                  <a:lnTo>
                    <a:pt x="662" y="1040"/>
                  </a:lnTo>
                  <a:cubicBezTo>
                    <a:pt x="694" y="851"/>
                    <a:pt x="851" y="694"/>
                    <a:pt x="1009" y="694"/>
                  </a:cubicBezTo>
                  <a:close/>
                  <a:moveTo>
                    <a:pt x="7562" y="2111"/>
                  </a:moveTo>
                  <a:lnTo>
                    <a:pt x="7562" y="3403"/>
                  </a:lnTo>
                  <a:lnTo>
                    <a:pt x="7247" y="3088"/>
                  </a:lnTo>
                  <a:cubicBezTo>
                    <a:pt x="7042" y="2883"/>
                    <a:pt x="6784" y="2792"/>
                    <a:pt x="6528" y="2792"/>
                  </a:cubicBezTo>
                  <a:cubicBezTo>
                    <a:pt x="5999" y="2792"/>
                    <a:pt x="5483" y="3186"/>
                    <a:pt x="5483" y="3781"/>
                  </a:cubicBezTo>
                  <a:cubicBezTo>
                    <a:pt x="5483" y="4065"/>
                    <a:pt x="5577" y="4348"/>
                    <a:pt x="5798" y="4506"/>
                  </a:cubicBezTo>
                  <a:lnTo>
                    <a:pt x="6774" y="5482"/>
                  </a:lnTo>
                  <a:lnTo>
                    <a:pt x="1009" y="5482"/>
                  </a:lnTo>
                  <a:cubicBezTo>
                    <a:pt x="995" y="5485"/>
                    <a:pt x="982" y="5486"/>
                    <a:pt x="968" y="5486"/>
                  </a:cubicBezTo>
                  <a:cubicBezTo>
                    <a:pt x="825" y="5486"/>
                    <a:pt x="694" y="5340"/>
                    <a:pt x="694" y="5167"/>
                  </a:cubicBezTo>
                  <a:lnTo>
                    <a:pt x="694" y="2111"/>
                  </a:lnTo>
                  <a:close/>
                  <a:moveTo>
                    <a:pt x="8160" y="2584"/>
                  </a:moveTo>
                  <a:lnTo>
                    <a:pt x="9200" y="3624"/>
                  </a:lnTo>
                  <a:cubicBezTo>
                    <a:pt x="9421" y="3844"/>
                    <a:pt x="9515" y="4065"/>
                    <a:pt x="9515" y="4348"/>
                  </a:cubicBezTo>
                  <a:lnTo>
                    <a:pt x="9515" y="6900"/>
                  </a:lnTo>
                  <a:cubicBezTo>
                    <a:pt x="9515" y="7373"/>
                    <a:pt x="9358" y="7845"/>
                    <a:pt x="9043" y="8192"/>
                  </a:cubicBezTo>
                  <a:lnTo>
                    <a:pt x="5955" y="8192"/>
                  </a:lnTo>
                  <a:cubicBezTo>
                    <a:pt x="5640" y="7845"/>
                    <a:pt x="5483" y="7373"/>
                    <a:pt x="5483" y="6900"/>
                  </a:cubicBezTo>
                  <a:lnTo>
                    <a:pt x="5483" y="6144"/>
                  </a:lnTo>
                  <a:lnTo>
                    <a:pt x="6837" y="6144"/>
                  </a:lnTo>
                  <a:lnTo>
                    <a:pt x="6837" y="6207"/>
                  </a:lnTo>
                  <a:cubicBezTo>
                    <a:pt x="6837" y="6585"/>
                    <a:pt x="6900" y="6932"/>
                    <a:pt x="7089" y="7373"/>
                  </a:cubicBezTo>
                  <a:cubicBezTo>
                    <a:pt x="7135" y="7487"/>
                    <a:pt x="7263" y="7568"/>
                    <a:pt x="7403" y="7568"/>
                  </a:cubicBezTo>
                  <a:cubicBezTo>
                    <a:pt x="7455" y="7568"/>
                    <a:pt x="7510" y="7556"/>
                    <a:pt x="7562" y="7530"/>
                  </a:cubicBezTo>
                  <a:cubicBezTo>
                    <a:pt x="7719" y="7467"/>
                    <a:pt x="7782" y="7247"/>
                    <a:pt x="7719" y="7058"/>
                  </a:cubicBezTo>
                  <a:cubicBezTo>
                    <a:pt x="7593" y="6774"/>
                    <a:pt x="7530" y="6522"/>
                    <a:pt x="7530" y="6239"/>
                  </a:cubicBezTo>
                  <a:lnTo>
                    <a:pt x="7530" y="5451"/>
                  </a:lnTo>
                  <a:cubicBezTo>
                    <a:pt x="7530" y="5356"/>
                    <a:pt x="7467" y="5262"/>
                    <a:pt x="7404" y="5199"/>
                  </a:cubicBezTo>
                  <a:lnTo>
                    <a:pt x="6207" y="4033"/>
                  </a:lnTo>
                  <a:cubicBezTo>
                    <a:pt x="6018" y="3844"/>
                    <a:pt x="6144" y="3435"/>
                    <a:pt x="6459" y="3435"/>
                  </a:cubicBezTo>
                  <a:cubicBezTo>
                    <a:pt x="6522" y="3435"/>
                    <a:pt x="6648" y="3466"/>
                    <a:pt x="6680" y="3561"/>
                  </a:cubicBezTo>
                  <a:lnTo>
                    <a:pt x="8255" y="5136"/>
                  </a:lnTo>
                  <a:cubicBezTo>
                    <a:pt x="8318" y="5199"/>
                    <a:pt x="8413" y="5230"/>
                    <a:pt x="8503" y="5230"/>
                  </a:cubicBezTo>
                  <a:cubicBezTo>
                    <a:pt x="8594" y="5230"/>
                    <a:pt x="8680" y="5199"/>
                    <a:pt x="8728" y="5136"/>
                  </a:cubicBezTo>
                  <a:cubicBezTo>
                    <a:pt x="8854" y="5010"/>
                    <a:pt x="8854" y="4789"/>
                    <a:pt x="8728" y="4663"/>
                  </a:cubicBezTo>
                  <a:lnTo>
                    <a:pt x="8160" y="4065"/>
                  </a:lnTo>
                  <a:lnTo>
                    <a:pt x="8160" y="2584"/>
                  </a:lnTo>
                  <a:close/>
                  <a:moveTo>
                    <a:pt x="9295" y="8948"/>
                  </a:moveTo>
                  <a:cubicBezTo>
                    <a:pt x="9484" y="8948"/>
                    <a:pt x="9641" y="9105"/>
                    <a:pt x="9641" y="9295"/>
                  </a:cubicBezTo>
                  <a:lnTo>
                    <a:pt x="9641" y="10996"/>
                  </a:lnTo>
                  <a:lnTo>
                    <a:pt x="5514" y="10996"/>
                  </a:lnTo>
                  <a:lnTo>
                    <a:pt x="5514" y="9295"/>
                  </a:lnTo>
                  <a:cubicBezTo>
                    <a:pt x="5514" y="9105"/>
                    <a:pt x="5672" y="8948"/>
                    <a:pt x="5861" y="8948"/>
                  </a:cubicBezTo>
                  <a:close/>
                  <a:moveTo>
                    <a:pt x="1009" y="1"/>
                  </a:moveTo>
                  <a:cubicBezTo>
                    <a:pt x="473" y="1"/>
                    <a:pt x="1" y="473"/>
                    <a:pt x="1" y="1040"/>
                  </a:cubicBezTo>
                  <a:lnTo>
                    <a:pt x="1" y="5167"/>
                  </a:lnTo>
                  <a:cubicBezTo>
                    <a:pt x="1" y="5734"/>
                    <a:pt x="473" y="6207"/>
                    <a:pt x="1009" y="6207"/>
                  </a:cubicBezTo>
                  <a:lnTo>
                    <a:pt x="4789" y="6207"/>
                  </a:lnTo>
                  <a:lnTo>
                    <a:pt x="4789" y="6932"/>
                  </a:lnTo>
                  <a:cubicBezTo>
                    <a:pt x="4789" y="7499"/>
                    <a:pt x="4947" y="8003"/>
                    <a:pt x="5231" y="8444"/>
                  </a:cubicBezTo>
                  <a:cubicBezTo>
                    <a:pt x="4947" y="8633"/>
                    <a:pt x="4789" y="8948"/>
                    <a:pt x="4789" y="9295"/>
                  </a:cubicBezTo>
                  <a:lnTo>
                    <a:pt x="4789" y="11342"/>
                  </a:lnTo>
                  <a:cubicBezTo>
                    <a:pt x="4789" y="11563"/>
                    <a:pt x="4947" y="11720"/>
                    <a:pt x="5168" y="11720"/>
                  </a:cubicBezTo>
                  <a:lnTo>
                    <a:pt x="9956" y="11720"/>
                  </a:lnTo>
                  <a:cubicBezTo>
                    <a:pt x="10145" y="11720"/>
                    <a:pt x="10303" y="11563"/>
                    <a:pt x="10303" y="11342"/>
                  </a:cubicBezTo>
                  <a:lnTo>
                    <a:pt x="10303" y="9295"/>
                  </a:lnTo>
                  <a:cubicBezTo>
                    <a:pt x="10303" y="8948"/>
                    <a:pt x="10114" y="8633"/>
                    <a:pt x="9893" y="8444"/>
                  </a:cubicBezTo>
                  <a:cubicBezTo>
                    <a:pt x="10177" y="8003"/>
                    <a:pt x="10303" y="7499"/>
                    <a:pt x="10303" y="6932"/>
                  </a:cubicBezTo>
                  <a:lnTo>
                    <a:pt x="10303" y="4380"/>
                  </a:lnTo>
                  <a:lnTo>
                    <a:pt x="10271" y="4380"/>
                  </a:lnTo>
                  <a:cubicBezTo>
                    <a:pt x="10271" y="3907"/>
                    <a:pt x="10082" y="3466"/>
                    <a:pt x="9767" y="3151"/>
                  </a:cubicBezTo>
                  <a:lnTo>
                    <a:pt x="8224" y="1639"/>
                  </a:lnTo>
                  <a:lnTo>
                    <a:pt x="8224" y="1040"/>
                  </a:lnTo>
                  <a:cubicBezTo>
                    <a:pt x="8224" y="473"/>
                    <a:pt x="7751" y="1"/>
                    <a:pt x="72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81"/>
            <p:cNvSpPr/>
            <p:nvPr/>
          </p:nvSpPr>
          <p:spPr>
            <a:xfrm>
              <a:off x="-766100" y="2660975"/>
              <a:ext cx="18125" cy="18150"/>
            </a:xfrm>
            <a:custGeom>
              <a:avLst/>
              <a:gdLst/>
              <a:ahLst/>
              <a:cxnLst/>
              <a:rect l="l" t="t" r="r" b="b"/>
              <a:pathLst>
                <a:path w="725" h="726" extrusionOk="0">
                  <a:moveTo>
                    <a:pt x="347" y="1"/>
                  </a:moveTo>
                  <a:cubicBezTo>
                    <a:pt x="158" y="1"/>
                    <a:pt x="0" y="158"/>
                    <a:pt x="0" y="379"/>
                  </a:cubicBezTo>
                  <a:cubicBezTo>
                    <a:pt x="0" y="568"/>
                    <a:pt x="158" y="725"/>
                    <a:pt x="347" y="725"/>
                  </a:cubicBezTo>
                  <a:cubicBezTo>
                    <a:pt x="536" y="725"/>
                    <a:pt x="725" y="568"/>
                    <a:pt x="725"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5" name="Google Shape;11005;p81"/>
          <p:cNvGrpSpPr/>
          <p:nvPr/>
        </p:nvGrpSpPr>
        <p:grpSpPr>
          <a:xfrm>
            <a:off x="1937547" y="1645950"/>
            <a:ext cx="409531" cy="410617"/>
            <a:chOff x="6679825" y="2693700"/>
            <a:chExt cx="257875" cy="258575"/>
          </a:xfrm>
        </p:grpSpPr>
        <p:sp>
          <p:nvSpPr>
            <p:cNvPr id="11006" name="Google Shape;11006;p81"/>
            <p:cNvSpPr/>
            <p:nvPr/>
          </p:nvSpPr>
          <p:spPr>
            <a:xfrm>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81"/>
            <p:cNvSpPr/>
            <p:nvPr/>
          </p:nvSpPr>
          <p:spPr>
            <a:xfrm flipH="1">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8" name="Google Shape;11008;p81"/>
          <p:cNvGrpSpPr/>
          <p:nvPr/>
        </p:nvGrpSpPr>
        <p:grpSpPr>
          <a:xfrm>
            <a:off x="1927121" y="2142110"/>
            <a:ext cx="420531" cy="417262"/>
            <a:chOff x="6790450" y="3119050"/>
            <a:chExt cx="262750" cy="260675"/>
          </a:xfrm>
        </p:grpSpPr>
        <p:sp>
          <p:nvSpPr>
            <p:cNvPr id="11009" name="Google Shape;11009;p81"/>
            <p:cNvSpPr/>
            <p:nvPr/>
          </p:nvSpPr>
          <p:spPr>
            <a:xfrm>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81"/>
            <p:cNvSpPr/>
            <p:nvPr/>
          </p:nvSpPr>
          <p:spPr>
            <a:xfrm flipH="1">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1" name="Google Shape;11011;p81"/>
          <p:cNvGrpSpPr/>
          <p:nvPr/>
        </p:nvGrpSpPr>
        <p:grpSpPr>
          <a:xfrm>
            <a:off x="6853082" y="3755436"/>
            <a:ext cx="358093" cy="407391"/>
            <a:chOff x="7660859" y="2571753"/>
            <a:chExt cx="366561" cy="417024"/>
          </a:xfrm>
        </p:grpSpPr>
        <p:sp>
          <p:nvSpPr>
            <p:cNvPr id="11012" name="Google Shape;11012;p81"/>
            <p:cNvSpPr/>
            <p:nvPr/>
          </p:nvSpPr>
          <p:spPr>
            <a:xfrm>
              <a:off x="7770506" y="2633631"/>
              <a:ext cx="147259" cy="146633"/>
            </a:xfrm>
            <a:custGeom>
              <a:avLst/>
              <a:gdLst/>
              <a:ahLst/>
              <a:cxnLst/>
              <a:rect l="l" t="t" r="r" b="b"/>
              <a:pathLst>
                <a:path w="7056" h="7026" extrusionOk="0">
                  <a:moveTo>
                    <a:pt x="4114" y="2928"/>
                  </a:moveTo>
                  <a:lnTo>
                    <a:pt x="4114" y="4099"/>
                  </a:lnTo>
                  <a:lnTo>
                    <a:pt x="2943" y="4099"/>
                  </a:lnTo>
                  <a:lnTo>
                    <a:pt x="2943" y="2928"/>
                  </a:lnTo>
                  <a:close/>
                  <a:moveTo>
                    <a:pt x="2354" y="1"/>
                  </a:moveTo>
                  <a:cubicBezTo>
                    <a:pt x="2032" y="1"/>
                    <a:pt x="1771" y="263"/>
                    <a:pt x="1771" y="586"/>
                  </a:cubicBezTo>
                  <a:lnTo>
                    <a:pt x="1771" y="1757"/>
                  </a:lnTo>
                  <a:lnTo>
                    <a:pt x="618" y="1757"/>
                  </a:lnTo>
                  <a:cubicBezTo>
                    <a:pt x="301" y="1757"/>
                    <a:pt x="31" y="1999"/>
                    <a:pt x="17" y="2314"/>
                  </a:cubicBezTo>
                  <a:cubicBezTo>
                    <a:pt x="1" y="2650"/>
                    <a:pt x="268" y="2928"/>
                    <a:pt x="600" y="2928"/>
                  </a:cubicBezTo>
                  <a:lnTo>
                    <a:pt x="1771" y="2928"/>
                  </a:lnTo>
                  <a:lnTo>
                    <a:pt x="1771" y="4099"/>
                  </a:lnTo>
                  <a:lnTo>
                    <a:pt x="618" y="4099"/>
                  </a:lnTo>
                  <a:cubicBezTo>
                    <a:pt x="301" y="4099"/>
                    <a:pt x="31" y="4341"/>
                    <a:pt x="17" y="4656"/>
                  </a:cubicBezTo>
                  <a:cubicBezTo>
                    <a:pt x="1" y="4992"/>
                    <a:pt x="268" y="5270"/>
                    <a:pt x="600" y="5270"/>
                  </a:cubicBezTo>
                  <a:lnTo>
                    <a:pt x="1771" y="5270"/>
                  </a:lnTo>
                  <a:lnTo>
                    <a:pt x="1771" y="6423"/>
                  </a:lnTo>
                  <a:cubicBezTo>
                    <a:pt x="1771" y="6738"/>
                    <a:pt x="2014" y="7011"/>
                    <a:pt x="2329" y="7025"/>
                  </a:cubicBezTo>
                  <a:cubicBezTo>
                    <a:pt x="2338" y="7025"/>
                    <a:pt x="2348" y="7025"/>
                    <a:pt x="2357" y="7025"/>
                  </a:cubicBezTo>
                  <a:cubicBezTo>
                    <a:pt x="2680" y="7025"/>
                    <a:pt x="2943" y="6764"/>
                    <a:pt x="2943" y="6441"/>
                  </a:cubicBezTo>
                  <a:lnTo>
                    <a:pt x="2943" y="5270"/>
                  </a:lnTo>
                  <a:lnTo>
                    <a:pt x="4114" y="5270"/>
                  </a:lnTo>
                  <a:lnTo>
                    <a:pt x="4114" y="6423"/>
                  </a:lnTo>
                  <a:cubicBezTo>
                    <a:pt x="4114" y="6738"/>
                    <a:pt x="4356" y="7011"/>
                    <a:pt x="4671" y="7025"/>
                  </a:cubicBezTo>
                  <a:cubicBezTo>
                    <a:pt x="4680" y="7025"/>
                    <a:pt x="4690" y="7025"/>
                    <a:pt x="4699" y="7025"/>
                  </a:cubicBezTo>
                  <a:cubicBezTo>
                    <a:pt x="5023" y="7025"/>
                    <a:pt x="5285" y="6764"/>
                    <a:pt x="5285" y="6441"/>
                  </a:cubicBezTo>
                  <a:lnTo>
                    <a:pt x="5285" y="5270"/>
                  </a:lnTo>
                  <a:lnTo>
                    <a:pt x="6456" y="5270"/>
                  </a:lnTo>
                  <a:cubicBezTo>
                    <a:pt x="6788" y="5270"/>
                    <a:pt x="7056" y="4992"/>
                    <a:pt x="7040" y="4656"/>
                  </a:cubicBezTo>
                  <a:cubicBezTo>
                    <a:pt x="7025" y="4341"/>
                    <a:pt x="6753" y="4099"/>
                    <a:pt x="6438" y="4099"/>
                  </a:cubicBezTo>
                  <a:lnTo>
                    <a:pt x="5285" y="4099"/>
                  </a:lnTo>
                  <a:lnTo>
                    <a:pt x="5285" y="2928"/>
                  </a:lnTo>
                  <a:lnTo>
                    <a:pt x="6438" y="2928"/>
                  </a:lnTo>
                  <a:cubicBezTo>
                    <a:pt x="6753" y="2928"/>
                    <a:pt x="7025" y="2685"/>
                    <a:pt x="7040" y="2370"/>
                  </a:cubicBezTo>
                  <a:cubicBezTo>
                    <a:pt x="7056" y="2034"/>
                    <a:pt x="6788" y="1757"/>
                    <a:pt x="6456" y="1757"/>
                  </a:cubicBezTo>
                  <a:lnTo>
                    <a:pt x="5285" y="1757"/>
                  </a:lnTo>
                  <a:lnTo>
                    <a:pt x="5285" y="603"/>
                  </a:lnTo>
                  <a:cubicBezTo>
                    <a:pt x="5285" y="287"/>
                    <a:pt x="5042" y="16"/>
                    <a:pt x="4727" y="2"/>
                  </a:cubicBezTo>
                  <a:cubicBezTo>
                    <a:pt x="4717" y="1"/>
                    <a:pt x="4707" y="1"/>
                    <a:pt x="4696" y="1"/>
                  </a:cubicBezTo>
                  <a:cubicBezTo>
                    <a:pt x="4374" y="1"/>
                    <a:pt x="4114" y="263"/>
                    <a:pt x="4114" y="586"/>
                  </a:cubicBezTo>
                  <a:lnTo>
                    <a:pt x="4114" y="1757"/>
                  </a:lnTo>
                  <a:lnTo>
                    <a:pt x="2943" y="1757"/>
                  </a:lnTo>
                  <a:lnTo>
                    <a:pt x="2943" y="603"/>
                  </a:lnTo>
                  <a:cubicBezTo>
                    <a:pt x="2943" y="287"/>
                    <a:pt x="2700" y="16"/>
                    <a:pt x="2385" y="2"/>
                  </a:cubicBezTo>
                  <a:cubicBezTo>
                    <a:pt x="2375" y="1"/>
                    <a:pt x="2364" y="1"/>
                    <a:pt x="23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81"/>
            <p:cNvSpPr/>
            <p:nvPr/>
          </p:nvSpPr>
          <p:spPr>
            <a:xfrm>
              <a:off x="7730834" y="2792447"/>
              <a:ext cx="226648" cy="76781"/>
            </a:xfrm>
            <a:custGeom>
              <a:avLst/>
              <a:gdLst/>
              <a:ahLst/>
              <a:cxnLst/>
              <a:rect l="l" t="t" r="r" b="b"/>
              <a:pathLst>
                <a:path w="10860" h="3679" extrusionOk="0">
                  <a:moveTo>
                    <a:pt x="747" y="0"/>
                  </a:moveTo>
                  <a:cubicBezTo>
                    <a:pt x="280" y="0"/>
                    <a:pt x="0" y="520"/>
                    <a:pt x="258" y="910"/>
                  </a:cubicBezTo>
                  <a:cubicBezTo>
                    <a:pt x="1470" y="2730"/>
                    <a:pt x="3430" y="3678"/>
                    <a:pt x="5429" y="3678"/>
                  </a:cubicBezTo>
                  <a:cubicBezTo>
                    <a:pt x="7423" y="3678"/>
                    <a:pt x="9385" y="2733"/>
                    <a:pt x="10600" y="911"/>
                  </a:cubicBezTo>
                  <a:cubicBezTo>
                    <a:pt x="10860" y="523"/>
                    <a:pt x="10578" y="2"/>
                    <a:pt x="10116" y="2"/>
                  </a:cubicBezTo>
                  <a:cubicBezTo>
                    <a:pt x="10115" y="2"/>
                    <a:pt x="10114" y="2"/>
                    <a:pt x="10113" y="2"/>
                  </a:cubicBezTo>
                  <a:cubicBezTo>
                    <a:pt x="9924" y="2"/>
                    <a:pt x="9738" y="92"/>
                    <a:pt x="9625" y="262"/>
                  </a:cubicBezTo>
                  <a:cubicBezTo>
                    <a:pt x="8688" y="1668"/>
                    <a:pt x="7119" y="2507"/>
                    <a:pt x="5429" y="2507"/>
                  </a:cubicBezTo>
                  <a:cubicBezTo>
                    <a:pt x="3740" y="2507"/>
                    <a:pt x="2172" y="1668"/>
                    <a:pt x="1235" y="264"/>
                  </a:cubicBezTo>
                  <a:cubicBezTo>
                    <a:pt x="1125" y="101"/>
                    <a:pt x="943" y="0"/>
                    <a:pt x="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4" name="Google Shape;11014;p81"/>
            <p:cNvSpPr/>
            <p:nvPr/>
          </p:nvSpPr>
          <p:spPr>
            <a:xfrm>
              <a:off x="7660859" y="2571753"/>
              <a:ext cx="366561" cy="417024"/>
            </a:xfrm>
            <a:custGeom>
              <a:avLst/>
              <a:gdLst/>
              <a:ahLst/>
              <a:cxnLst/>
              <a:rect l="l" t="t" r="r" b="b"/>
              <a:pathLst>
                <a:path w="17564" h="19982" extrusionOk="0">
                  <a:moveTo>
                    <a:pt x="14636" y="1169"/>
                  </a:moveTo>
                  <a:cubicBezTo>
                    <a:pt x="15587" y="1169"/>
                    <a:pt x="16392" y="1992"/>
                    <a:pt x="16392" y="2965"/>
                  </a:cubicBezTo>
                  <a:lnTo>
                    <a:pt x="16392" y="14674"/>
                  </a:lnTo>
                  <a:cubicBezTo>
                    <a:pt x="16392" y="15643"/>
                    <a:pt x="15607" y="16431"/>
                    <a:pt x="14636" y="16431"/>
                  </a:cubicBezTo>
                  <a:lnTo>
                    <a:pt x="11124" y="16431"/>
                  </a:lnTo>
                  <a:cubicBezTo>
                    <a:pt x="10967" y="16431"/>
                    <a:pt x="10816" y="16493"/>
                    <a:pt x="10707" y="16604"/>
                  </a:cubicBezTo>
                  <a:lnTo>
                    <a:pt x="8782" y="18561"/>
                  </a:lnTo>
                  <a:lnTo>
                    <a:pt x="6857" y="16604"/>
                  </a:lnTo>
                  <a:cubicBezTo>
                    <a:pt x="6748" y="16493"/>
                    <a:pt x="6597" y="16431"/>
                    <a:pt x="6440" y="16431"/>
                  </a:cubicBezTo>
                  <a:lnTo>
                    <a:pt x="2928" y="16431"/>
                  </a:lnTo>
                  <a:cubicBezTo>
                    <a:pt x="1959" y="16431"/>
                    <a:pt x="1172" y="15643"/>
                    <a:pt x="1172" y="14674"/>
                  </a:cubicBezTo>
                  <a:lnTo>
                    <a:pt x="1172" y="2965"/>
                  </a:lnTo>
                  <a:cubicBezTo>
                    <a:pt x="1172" y="1992"/>
                    <a:pt x="1977" y="1169"/>
                    <a:pt x="2928" y="1169"/>
                  </a:cubicBezTo>
                  <a:close/>
                  <a:moveTo>
                    <a:pt x="2928" y="0"/>
                  </a:moveTo>
                  <a:cubicBezTo>
                    <a:pt x="1310" y="0"/>
                    <a:pt x="1" y="1346"/>
                    <a:pt x="1" y="2965"/>
                  </a:cubicBezTo>
                  <a:lnTo>
                    <a:pt x="1" y="14674"/>
                  </a:lnTo>
                  <a:cubicBezTo>
                    <a:pt x="1" y="16291"/>
                    <a:pt x="1312" y="17600"/>
                    <a:pt x="2928" y="17600"/>
                  </a:cubicBezTo>
                  <a:lnTo>
                    <a:pt x="6196" y="17600"/>
                  </a:lnTo>
                  <a:lnTo>
                    <a:pt x="8365" y="19806"/>
                  </a:lnTo>
                  <a:cubicBezTo>
                    <a:pt x="8474" y="19919"/>
                    <a:pt x="8625" y="19981"/>
                    <a:pt x="8782" y="19981"/>
                  </a:cubicBezTo>
                  <a:cubicBezTo>
                    <a:pt x="8940" y="19981"/>
                    <a:pt x="9090" y="19919"/>
                    <a:pt x="9200" y="19806"/>
                  </a:cubicBezTo>
                  <a:lnTo>
                    <a:pt x="11370" y="17600"/>
                  </a:lnTo>
                  <a:lnTo>
                    <a:pt x="14636" y="17600"/>
                  </a:lnTo>
                  <a:cubicBezTo>
                    <a:pt x="16251" y="17600"/>
                    <a:pt x="17563" y="16287"/>
                    <a:pt x="17563" y="14674"/>
                  </a:cubicBezTo>
                  <a:lnTo>
                    <a:pt x="17563" y="2965"/>
                  </a:lnTo>
                  <a:cubicBezTo>
                    <a:pt x="17563" y="1348"/>
                    <a:pt x="16254" y="0"/>
                    <a:pt x="14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5" name="Google Shape;11015;p81"/>
          <p:cNvGrpSpPr/>
          <p:nvPr/>
        </p:nvGrpSpPr>
        <p:grpSpPr>
          <a:xfrm>
            <a:off x="4387763" y="3755436"/>
            <a:ext cx="407391" cy="407391"/>
            <a:chOff x="5566722" y="2571753"/>
            <a:chExt cx="417024" cy="417024"/>
          </a:xfrm>
        </p:grpSpPr>
        <p:sp>
          <p:nvSpPr>
            <p:cNvPr id="11016" name="Google Shape;11016;p81"/>
            <p:cNvSpPr/>
            <p:nvPr/>
          </p:nvSpPr>
          <p:spPr>
            <a:xfrm>
              <a:off x="5566722" y="2571753"/>
              <a:ext cx="417024" cy="417024"/>
            </a:xfrm>
            <a:custGeom>
              <a:avLst/>
              <a:gdLst/>
              <a:ahLst/>
              <a:cxnLst/>
              <a:rect l="l" t="t" r="r" b="b"/>
              <a:pathLst>
                <a:path w="19982" h="19982" extrusionOk="0">
                  <a:moveTo>
                    <a:pt x="9990" y="1171"/>
                  </a:moveTo>
                  <a:cubicBezTo>
                    <a:pt x="14855" y="1171"/>
                    <a:pt x="18810" y="5127"/>
                    <a:pt x="18810" y="9991"/>
                  </a:cubicBezTo>
                  <a:cubicBezTo>
                    <a:pt x="18810" y="14854"/>
                    <a:pt x="14855" y="18810"/>
                    <a:pt x="9990" y="18810"/>
                  </a:cubicBezTo>
                  <a:cubicBezTo>
                    <a:pt x="5127" y="18810"/>
                    <a:pt x="1170" y="14854"/>
                    <a:pt x="1170" y="9991"/>
                  </a:cubicBezTo>
                  <a:cubicBezTo>
                    <a:pt x="1170" y="5127"/>
                    <a:pt x="5127" y="1171"/>
                    <a:pt x="9990" y="1171"/>
                  </a:cubicBezTo>
                  <a:close/>
                  <a:moveTo>
                    <a:pt x="9990" y="0"/>
                  </a:moveTo>
                  <a:cubicBezTo>
                    <a:pt x="4488" y="0"/>
                    <a:pt x="0" y="4490"/>
                    <a:pt x="0" y="9990"/>
                  </a:cubicBezTo>
                  <a:cubicBezTo>
                    <a:pt x="0" y="15493"/>
                    <a:pt x="4490" y="19981"/>
                    <a:pt x="9990" y="19981"/>
                  </a:cubicBezTo>
                  <a:cubicBezTo>
                    <a:pt x="15492" y="19981"/>
                    <a:pt x="19981" y="15491"/>
                    <a:pt x="19981" y="9990"/>
                  </a:cubicBezTo>
                  <a:cubicBezTo>
                    <a:pt x="19981" y="4488"/>
                    <a:pt x="15492" y="0"/>
                    <a:pt x="99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81"/>
            <p:cNvSpPr/>
            <p:nvPr/>
          </p:nvSpPr>
          <p:spPr>
            <a:xfrm>
              <a:off x="5653037" y="2658069"/>
              <a:ext cx="207719" cy="243052"/>
            </a:xfrm>
            <a:custGeom>
              <a:avLst/>
              <a:gdLst/>
              <a:ahLst/>
              <a:cxnLst/>
              <a:rect l="l" t="t" r="r" b="b"/>
              <a:pathLst>
                <a:path w="9953" h="11646" extrusionOk="0">
                  <a:moveTo>
                    <a:pt x="8782" y="1300"/>
                  </a:moveTo>
                  <a:lnTo>
                    <a:pt x="8782" y="2448"/>
                  </a:lnTo>
                  <a:lnTo>
                    <a:pt x="4099" y="3384"/>
                  </a:lnTo>
                  <a:lnTo>
                    <a:pt x="4099" y="2236"/>
                  </a:lnTo>
                  <a:lnTo>
                    <a:pt x="8782" y="1300"/>
                  </a:lnTo>
                  <a:close/>
                  <a:moveTo>
                    <a:pt x="8782" y="7304"/>
                  </a:moveTo>
                  <a:lnTo>
                    <a:pt x="8782" y="8447"/>
                  </a:lnTo>
                  <a:cubicBezTo>
                    <a:pt x="8782" y="8766"/>
                    <a:pt x="8591" y="9047"/>
                    <a:pt x="8295" y="9165"/>
                  </a:cubicBezTo>
                  <a:cubicBezTo>
                    <a:pt x="8163" y="9218"/>
                    <a:pt x="7987" y="9306"/>
                    <a:pt x="7782" y="9306"/>
                  </a:cubicBezTo>
                  <a:cubicBezTo>
                    <a:pt x="7653" y="9306"/>
                    <a:pt x="7513" y="9271"/>
                    <a:pt x="7365" y="9171"/>
                  </a:cubicBezTo>
                  <a:cubicBezTo>
                    <a:pt x="6850" y="8824"/>
                    <a:pt x="6937" y="8042"/>
                    <a:pt x="7512" y="7812"/>
                  </a:cubicBezTo>
                  <a:lnTo>
                    <a:pt x="8782" y="7304"/>
                  </a:lnTo>
                  <a:close/>
                  <a:moveTo>
                    <a:pt x="2928" y="8475"/>
                  </a:moveTo>
                  <a:lnTo>
                    <a:pt x="2928" y="9618"/>
                  </a:lnTo>
                  <a:cubicBezTo>
                    <a:pt x="2928" y="9937"/>
                    <a:pt x="2737" y="10218"/>
                    <a:pt x="2442" y="10336"/>
                  </a:cubicBezTo>
                  <a:cubicBezTo>
                    <a:pt x="2308" y="10389"/>
                    <a:pt x="2132" y="10476"/>
                    <a:pt x="1928" y="10476"/>
                  </a:cubicBezTo>
                  <a:cubicBezTo>
                    <a:pt x="1799" y="10476"/>
                    <a:pt x="1659" y="10442"/>
                    <a:pt x="1511" y="10342"/>
                  </a:cubicBezTo>
                  <a:cubicBezTo>
                    <a:pt x="996" y="9993"/>
                    <a:pt x="1083" y="9213"/>
                    <a:pt x="1658" y="8983"/>
                  </a:cubicBezTo>
                  <a:lnTo>
                    <a:pt x="2928" y="8475"/>
                  </a:lnTo>
                  <a:close/>
                  <a:moveTo>
                    <a:pt x="9369" y="1"/>
                  </a:moveTo>
                  <a:cubicBezTo>
                    <a:pt x="9330" y="1"/>
                    <a:pt x="9291" y="4"/>
                    <a:pt x="9252" y="12"/>
                  </a:cubicBezTo>
                  <a:lnTo>
                    <a:pt x="3399" y="1182"/>
                  </a:lnTo>
                  <a:cubicBezTo>
                    <a:pt x="3124" y="1237"/>
                    <a:pt x="2928" y="1477"/>
                    <a:pt x="2928" y="1757"/>
                  </a:cubicBezTo>
                  <a:lnTo>
                    <a:pt x="2928" y="7214"/>
                  </a:lnTo>
                  <a:lnTo>
                    <a:pt x="1223" y="7897"/>
                  </a:lnTo>
                  <a:cubicBezTo>
                    <a:pt x="480" y="8192"/>
                    <a:pt x="0" y="8902"/>
                    <a:pt x="0" y="9701"/>
                  </a:cubicBezTo>
                  <a:cubicBezTo>
                    <a:pt x="0" y="10782"/>
                    <a:pt x="880" y="11645"/>
                    <a:pt x="1944" y="11645"/>
                  </a:cubicBezTo>
                  <a:cubicBezTo>
                    <a:pt x="2362" y="11645"/>
                    <a:pt x="2624" y="11523"/>
                    <a:pt x="2877" y="11423"/>
                  </a:cubicBezTo>
                  <a:cubicBezTo>
                    <a:pt x="3618" y="11125"/>
                    <a:pt x="4099" y="10418"/>
                    <a:pt x="4099" y="9618"/>
                  </a:cubicBezTo>
                  <a:lnTo>
                    <a:pt x="4099" y="4578"/>
                  </a:lnTo>
                  <a:lnTo>
                    <a:pt x="8782" y="3641"/>
                  </a:lnTo>
                  <a:lnTo>
                    <a:pt x="8782" y="6043"/>
                  </a:lnTo>
                  <a:lnTo>
                    <a:pt x="7076" y="6726"/>
                  </a:lnTo>
                  <a:cubicBezTo>
                    <a:pt x="6335" y="7023"/>
                    <a:pt x="5854" y="7731"/>
                    <a:pt x="5854" y="8530"/>
                  </a:cubicBezTo>
                  <a:cubicBezTo>
                    <a:pt x="5854" y="9611"/>
                    <a:pt x="6733" y="10476"/>
                    <a:pt x="7798" y="10476"/>
                  </a:cubicBezTo>
                  <a:cubicBezTo>
                    <a:pt x="8216" y="10476"/>
                    <a:pt x="8477" y="10354"/>
                    <a:pt x="8730" y="10251"/>
                  </a:cubicBezTo>
                  <a:cubicBezTo>
                    <a:pt x="9473" y="9956"/>
                    <a:pt x="9953" y="9247"/>
                    <a:pt x="9953" y="8447"/>
                  </a:cubicBezTo>
                  <a:lnTo>
                    <a:pt x="9953" y="586"/>
                  </a:lnTo>
                  <a:cubicBezTo>
                    <a:pt x="9953" y="410"/>
                    <a:pt x="9873" y="244"/>
                    <a:pt x="9739" y="133"/>
                  </a:cubicBezTo>
                  <a:cubicBezTo>
                    <a:pt x="9633" y="47"/>
                    <a:pt x="9503" y="1"/>
                    <a:pt x="93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8" name="Google Shape;11018;p81"/>
          <p:cNvGrpSpPr/>
          <p:nvPr/>
        </p:nvGrpSpPr>
        <p:grpSpPr>
          <a:xfrm>
            <a:off x="5004096" y="3857692"/>
            <a:ext cx="407381" cy="202880"/>
            <a:chOff x="6090251" y="2676413"/>
            <a:chExt cx="417014" cy="207677"/>
          </a:xfrm>
        </p:grpSpPr>
        <p:sp>
          <p:nvSpPr>
            <p:cNvPr id="11019" name="Google Shape;11019;p81"/>
            <p:cNvSpPr/>
            <p:nvPr/>
          </p:nvSpPr>
          <p:spPr>
            <a:xfrm>
              <a:off x="6237672" y="2725248"/>
              <a:ext cx="61086" cy="158842"/>
            </a:xfrm>
            <a:custGeom>
              <a:avLst/>
              <a:gdLst/>
              <a:ahLst/>
              <a:cxnLst/>
              <a:rect l="l" t="t" r="r" b="b"/>
              <a:pathLst>
                <a:path w="2927" h="7611" extrusionOk="0">
                  <a:moveTo>
                    <a:pt x="1463" y="1172"/>
                  </a:moveTo>
                  <a:cubicBezTo>
                    <a:pt x="1624" y="1172"/>
                    <a:pt x="1757" y="1303"/>
                    <a:pt x="1757" y="1465"/>
                  </a:cubicBezTo>
                  <a:lnTo>
                    <a:pt x="1757" y="6148"/>
                  </a:lnTo>
                  <a:cubicBezTo>
                    <a:pt x="1757" y="6309"/>
                    <a:pt x="1624" y="6440"/>
                    <a:pt x="1463" y="6440"/>
                  </a:cubicBezTo>
                  <a:cubicBezTo>
                    <a:pt x="1302" y="6440"/>
                    <a:pt x="1171" y="6309"/>
                    <a:pt x="1171" y="6148"/>
                  </a:cubicBezTo>
                  <a:lnTo>
                    <a:pt x="1171" y="1465"/>
                  </a:lnTo>
                  <a:cubicBezTo>
                    <a:pt x="1171" y="1303"/>
                    <a:pt x="1302" y="1172"/>
                    <a:pt x="1463" y="1172"/>
                  </a:cubicBezTo>
                  <a:close/>
                  <a:moveTo>
                    <a:pt x="1463" y="1"/>
                  </a:moveTo>
                  <a:cubicBezTo>
                    <a:pt x="657" y="1"/>
                    <a:pt x="0" y="657"/>
                    <a:pt x="0" y="1465"/>
                  </a:cubicBezTo>
                  <a:lnTo>
                    <a:pt x="0" y="6148"/>
                  </a:lnTo>
                  <a:cubicBezTo>
                    <a:pt x="0" y="6955"/>
                    <a:pt x="657" y="7611"/>
                    <a:pt x="1463" y="7611"/>
                  </a:cubicBezTo>
                  <a:cubicBezTo>
                    <a:pt x="2270" y="7611"/>
                    <a:pt x="2926" y="6955"/>
                    <a:pt x="2926" y="6148"/>
                  </a:cubicBezTo>
                  <a:lnTo>
                    <a:pt x="2926" y="1465"/>
                  </a:lnTo>
                  <a:cubicBezTo>
                    <a:pt x="2926" y="657"/>
                    <a:pt x="2270" y="1"/>
                    <a:pt x="14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81"/>
            <p:cNvSpPr/>
            <p:nvPr/>
          </p:nvSpPr>
          <p:spPr>
            <a:xfrm>
              <a:off x="6446178" y="2761915"/>
              <a:ext cx="61086" cy="61086"/>
            </a:xfrm>
            <a:custGeom>
              <a:avLst/>
              <a:gdLst/>
              <a:ahLst/>
              <a:cxnLst/>
              <a:rect l="l" t="t" r="r" b="b"/>
              <a:pathLst>
                <a:path w="2927" h="2927" extrusionOk="0">
                  <a:moveTo>
                    <a:pt x="1464" y="1171"/>
                  </a:moveTo>
                  <a:cubicBezTo>
                    <a:pt x="1625" y="1171"/>
                    <a:pt x="1756" y="1302"/>
                    <a:pt x="1756" y="1463"/>
                  </a:cubicBezTo>
                  <a:cubicBezTo>
                    <a:pt x="1756" y="1626"/>
                    <a:pt x="1625" y="1757"/>
                    <a:pt x="1464" y="1757"/>
                  </a:cubicBezTo>
                  <a:cubicBezTo>
                    <a:pt x="1303" y="1757"/>
                    <a:pt x="1170" y="1626"/>
                    <a:pt x="1170" y="1463"/>
                  </a:cubicBezTo>
                  <a:cubicBezTo>
                    <a:pt x="1170" y="1302"/>
                    <a:pt x="1303" y="1171"/>
                    <a:pt x="1464" y="1171"/>
                  </a:cubicBezTo>
                  <a:close/>
                  <a:moveTo>
                    <a:pt x="1464" y="0"/>
                  </a:moveTo>
                  <a:cubicBezTo>
                    <a:pt x="657" y="0"/>
                    <a:pt x="1" y="657"/>
                    <a:pt x="1" y="1463"/>
                  </a:cubicBezTo>
                  <a:cubicBezTo>
                    <a:pt x="1" y="2270"/>
                    <a:pt x="657" y="2926"/>
                    <a:pt x="1464" y="2926"/>
                  </a:cubicBezTo>
                  <a:cubicBezTo>
                    <a:pt x="2270" y="2926"/>
                    <a:pt x="2927" y="2270"/>
                    <a:pt x="2927" y="1463"/>
                  </a:cubicBezTo>
                  <a:cubicBezTo>
                    <a:pt x="2927" y="657"/>
                    <a:pt x="2270" y="0"/>
                    <a:pt x="14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81"/>
            <p:cNvSpPr/>
            <p:nvPr/>
          </p:nvSpPr>
          <p:spPr>
            <a:xfrm>
              <a:off x="6311758" y="2676413"/>
              <a:ext cx="135446" cy="207677"/>
            </a:xfrm>
            <a:custGeom>
              <a:avLst/>
              <a:gdLst/>
              <a:ahLst/>
              <a:cxnLst/>
              <a:rect l="l" t="t" r="r" b="b"/>
              <a:pathLst>
                <a:path w="6490" h="9951" extrusionOk="0">
                  <a:moveTo>
                    <a:pt x="1466" y="1171"/>
                  </a:moveTo>
                  <a:cubicBezTo>
                    <a:pt x="1627" y="1171"/>
                    <a:pt x="1757" y="1302"/>
                    <a:pt x="1757" y="1463"/>
                  </a:cubicBezTo>
                  <a:lnTo>
                    <a:pt x="1757" y="6026"/>
                  </a:lnTo>
                  <a:lnTo>
                    <a:pt x="4186" y="3598"/>
                  </a:lnTo>
                  <a:cubicBezTo>
                    <a:pt x="4243" y="3541"/>
                    <a:pt x="4318" y="3512"/>
                    <a:pt x="4392" y="3512"/>
                  </a:cubicBezTo>
                  <a:cubicBezTo>
                    <a:pt x="4467" y="3512"/>
                    <a:pt x="4542" y="3541"/>
                    <a:pt x="4598" y="3598"/>
                  </a:cubicBezTo>
                  <a:cubicBezTo>
                    <a:pt x="4713" y="3712"/>
                    <a:pt x="4713" y="3897"/>
                    <a:pt x="4598" y="4012"/>
                  </a:cubicBezTo>
                  <a:lnTo>
                    <a:pt x="3247" y="5364"/>
                  </a:lnTo>
                  <a:lnTo>
                    <a:pt x="5221" y="8325"/>
                  </a:lnTo>
                  <a:cubicBezTo>
                    <a:pt x="5280" y="8414"/>
                    <a:pt x="5274" y="8500"/>
                    <a:pt x="5265" y="8546"/>
                  </a:cubicBezTo>
                  <a:cubicBezTo>
                    <a:pt x="5257" y="8591"/>
                    <a:pt x="5228" y="8674"/>
                    <a:pt x="5140" y="8732"/>
                  </a:cubicBezTo>
                  <a:cubicBezTo>
                    <a:pt x="5090" y="8764"/>
                    <a:pt x="5037" y="8780"/>
                    <a:pt x="4979" y="8780"/>
                  </a:cubicBezTo>
                  <a:cubicBezTo>
                    <a:pt x="4880" y="8780"/>
                    <a:pt x="4788" y="8732"/>
                    <a:pt x="4735" y="8651"/>
                  </a:cubicBezTo>
                  <a:lnTo>
                    <a:pt x="2824" y="5787"/>
                  </a:lnTo>
                  <a:lnTo>
                    <a:pt x="1757" y="6853"/>
                  </a:lnTo>
                  <a:lnTo>
                    <a:pt x="1757" y="8488"/>
                  </a:lnTo>
                  <a:cubicBezTo>
                    <a:pt x="1757" y="8649"/>
                    <a:pt x="1627" y="8782"/>
                    <a:pt x="1466" y="8782"/>
                  </a:cubicBezTo>
                  <a:cubicBezTo>
                    <a:pt x="1305" y="8782"/>
                    <a:pt x="1172" y="8649"/>
                    <a:pt x="1172" y="8488"/>
                  </a:cubicBezTo>
                  <a:lnTo>
                    <a:pt x="1172" y="1463"/>
                  </a:lnTo>
                  <a:cubicBezTo>
                    <a:pt x="1172" y="1302"/>
                    <a:pt x="1305" y="1171"/>
                    <a:pt x="1466" y="1171"/>
                  </a:cubicBezTo>
                  <a:close/>
                  <a:moveTo>
                    <a:pt x="1466" y="0"/>
                  </a:moveTo>
                  <a:cubicBezTo>
                    <a:pt x="659" y="0"/>
                    <a:pt x="1" y="657"/>
                    <a:pt x="1" y="1463"/>
                  </a:cubicBezTo>
                  <a:lnTo>
                    <a:pt x="1" y="8488"/>
                  </a:lnTo>
                  <a:cubicBezTo>
                    <a:pt x="1" y="9295"/>
                    <a:pt x="659" y="9951"/>
                    <a:pt x="1466" y="9951"/>
                  </a:cubicBezTo>
                  <a:cubicBezTo>
                    <a:pt x="2272" y="9951"/>
                    <a:pt x="2929" y="9295"/>
                    <a:pt x="2929" y="8488"/>
                  </a:cubicBezTo>
                  <a:lnTo>
                    <a:pt x="2929" y="8053"/>
                  </a:lnTo>
                  <a:lnTo>
                    <a:pt x="3760" y="9300"/>
                  </a:lnTo>
                  <a:cubicBezTo>
                    <a:pt x="4032" y="9709"/>
                    <a:pt x="4487" y="9951"/>
                    <a:pt x="4979" y="9951"/>
                  </a:cubicBezTo>
                  <a:cubicBezTo>
                    <a:pt x="5269" y="9951"/>
                    <a:pt x="5548" y="9866"/>
                    <a:pt x="5789" y="9705"/>
                  </a:cubicBezTo>
                  <a:cubicBezTo>
                    <a:pt x="6114" y="9489"/>
                    <a:pt x="6336" y="9158"/>
                    <a:pt x="6413" y="8775"/>
                  </a:cubicBezTo>
                  <a:cubicBezTo>
                    <a:pt x="6490" y="8391"/>
                    <a:pt x="6412" y="8001"/>
                    <a:pt x="6196" y="7676"/>
                  </a:cubicBezTo>
                  <a:lnTo>
                    <a:pt x="4754" y="5512"/>
                  </a:lnTo>
                  <a:lnTo>
                    <a:pt x="5426" y="4840"/>
                  </a:lnTo>
                  <a:cubicBezTo>
                    <a:pt x="5998" y="4269"/>
                    <a:pt x="5998" y="3340"/>
                    <a:pt x="5426" y="2771"/>
                  </a:cubicBezTo>
                  <a:cubicBezTo>
                    <a:pt x="5142" y="2485"/>
                    <a:pt x="4767" y="2342"/>
                    <a:pt x="4392" y="2342"/>
                  </a:cubicBezTo>
                  <a:cubicBezTo>
                    <a:pt x="4017" y="2342"/>
                    <a:pt x="3642" y="2485"/>
                    <a:pt x="3357" y="2771"/>
                  </a:cubicBezTo>
                  <a:lnTo>
                    <a:pt x="2929" y="3199"/>
                  </a:lnTo>
                  <a:lnTo>
                    <a:pt x="2929" y="1463"/>
                  </a:lnTo>
                  <a:cubicBezTo>
                    <a:pt x="2929" y="657"/>
                    <a:pt x="2272" y="0"/>
                    <a:pt x="1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81"/>
            <p:cNvSpPr/>
            <p:nvPr/>
          </p:nvSpPr>
          <p:spPr>
            <a:xfrm>
              <a:off x="6090251" y="2676413"/>
              <a:ext cx="135405" cy="207677"/>
            </a:xfrm>
            <a:custGeom>
              <a:avLst/>
              <a:gdLst/>
              <a:ahLst/>
              <a:cxnLst/>
              <a:rect l="l" t="t" r="r" b="b"/>
              <a:pathLst>
                <a:path w="6488" h="9951" extrusionOk="0">
                  <a:moveTo>
                    <a:pt x="1464" y="1171"/>
                  </a:moveTo>
                  <a:cubicBezTo>
                    <a:pt x="1625" y="1171"/>
                    <a:pt x="1757" y="1302"/>
                    <a:pt x="1757" y="1463"/>
                  </a:cubicBezTo>
                  <a:lnTo>
                    <a:pt x="1757" y="6026"/>
                  </a:lnTo>
                  <a:lnTo>
                    <a:pt x="4184" y="3598"/>
                  </a:lnTo>
                  <a:cubicBezTo>
                    <a:pt x="4241" y="3541"/>
                    <a:pt x="4316" y="3512"/>
                    <a:pt x="4391" y="3512"/>
                  </a:cubicBezTo>
                  <a:cubicBezTo>
                    <a:pt x="4466" y="3512"/>
                    <a:pt x="4541" y="3541"/>
                    <a:pt x="4598" y="3598"/>
                  </a:cubicBezTo>
                  <a:cubicBezTo>
                    <a:pt x="4712" y="3712"/>
                    <a:pt x="4712" y="3897"/>
                    <a:pt x="4598" y="4012"/>
                  </a:cubicBezTo>
                  <a:lnTo>
                    <a:pt x="3245" y="5364"/>
                  </a:lnTo>
                  <a:lnTo>
                    <a:pt x="5219" y="8325"/>
                  </a:lnTo>
                  <a:cubicBezTo>
                    <a:pt x="5278" y="8414"/>
                    <a:pt x="5272" y="8500"/>
                    <a:pt x="5264" y="8546"/>
                  </a:cubicBezTo>
                  <a:cubicBezTo>
                    <a:pt x="5255" y="8591"/>
                    <a:pt x="5226" y="8674"/>
                    <a:pt x="5138" y="8732"/>
                  </a:cubicBezTo>
                  <a:cubicBezTo>
                    <a:pt x="5090" y="8764"/>
                    <a:pt x="5035" y="8780"/>
                    <a:pt x="4977" y="8780"/>
                  </a:cubicBezTo>
                  <a:cubicBezTo>
                    <a:pt x="4878" y="8780"/>
                    <a:pt x="4788" y="8732"/>
                    <a:pt x="4733" y="8651"/>
                  </a:cubicBezTo>
                  <a:lnTo>
                    <a:pt x="2824" y="5787"/>
                  </a:lnTo>
                  <a:lnTo>
                    <a:pt x="1757" y="6853"/>
                  </a:lnTo>
                  <a:lnTo>
                    <a:pt x="1757" y="8488"/>
                  </a:lnTo>
                  <a:cubicBezTo>
                    <a:pt x="1757" y="8649"/>
                    <a:pt x="1625" y="8782"/>
                    <a:pt x="1464" y="8782"/>
                  </a:cubicBezTo>
                  <a:cubicBezTo>
                    <a:pt x="1303" y="8782"/>
                    <a:pt x="1172" y="8649"/>
                    <a:pt x="1172" y="8488"/>
                  </a:cubicBezTo>
                  <a:lnTo>
                    <a:pt x="1172" y="1463"/>
                  </a:lnTo>
                  <a:cubicBezTo>
                    <a:pt x="1172" y="1302"/>
                    <a:pt x="1303" y="1171"/>
                    <a:pt x="1464" y="1171"/>
                  </a:cubicBezTo>
                  <a:close/>
                  <a:moveTo>
                    <a:pt x="1464" y="0"/>
                  </a:moveTo>
                  <a:cubicBezTo>
                    <a:pt x="657" y="0"/>
                    <a:pt x="1" y="657"/>
                    <a:pt x="1" y="1463"/>
                  </a:cubicBezTo>
                  <a:lnTo>
                    <a:pt x="1" y="8488"/>
                  </a:lnTo>
                  <a:cubicBezTo>
                    <a:pt x="1" y="9295"/>
                    <a:pt x="657" y="9951"/>
                    <a:pt x="1464" y="9951"/>
                  </a:cubicBezTo>
                  <a:cubicBezTo>
                    <a:pt x="2270" y="9951"/>
                    <a:pt x="2927" y="9295"/>
                    <a:pt x="2927" y="8488"/>
                  </a:cubicBezTo>
                  <a:lnTo>
                    <a:pt x="2927" y="8053"/>
                  </a:lnTo>
                  <a:lnTo>
                    <a:pt x="3758" y="9300"/>
                  </a:lnTo>
                  <a:cubicBezTo>
                    <a:pt x="4031" y="9709"/>
                    <a:pt x="4485" y="9951"/>
                    <a:pt x="4977" y="9951"/>
                  </a:cubicBezTo>
                  <a:cubicBezTo>
                    <a:pt x="5267" y="9951"/>
                    <a:pt x="5548" y="9866"/>
                    <a:pt x="5787" y="9705"/>
                  </a:cubicBezTo>
                  <a:cubicBezTo>
                    <a:pt x="6113" y="9489"/>
                    <a:pt x="6336" y="9158"/>
                    <a:pt x="6412" y="8775"/>
                  </a:cubicBezTo>
                  <a:cubicBezTo>
                    <a:pt x="6488" y="8391"/>
                    <a:pt x="6410" y="8001"/>
                    <a:pt x="6194" y="7676"/>
                  </a:cubicBezTo>
                  <a:lnTo>
                    <a:pt x="4752" y="5512"/>
                  </a:lnTo>
                  <a:lnTo>
                    <a:pt x="5426" y="4840"/>
                  </a:lnTo>
                  <a:cubicBezTo>
                    <a:pt x="5996" y="4269"/>
                    <a:pt x="5996" y="3340"/>
                    <a:pt x="5426" y="2771"/>
                  </a:cubicBezTo>
                  <a:cubicBezTo>
                    <a:pt x="5141" y="2485"/>
                    <a:pt x="4766" y="2342"/>
                    <a:pt x="4391" y="2342"/>
                  </a:cubicBezTo>
                  <a:cubicBezTo>
                    <a:pt x="4016" y="2342"/>
                    <a:pt x="3641" y="2485"/>
                    <a:pt x="3357" y="2771"/>
                  </a:cubicBezTo>
                  <a:lnTo>
                    <a:pt x="2927" y="3199"/>
                  </a:lnTo>
                  <a:lnTo>
                    <a:pt x="2927" y="1463"/>
                  </a:lnTo>
                  <a:cubicBezTo>
                    <a:pt x="2927" y="657"/>
                    <a:pt x="2270" y="0"/>
                    <a:pt x="14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3" name="Google Shape;11023;p81"/>
          <p:cNvGrpSpPr/>
          <p:nvPr/>
        </p:nvGrpSpPr>
        <p:grpSpPr>
          <a:xfrm>
            <a:off x="6236750" y="3755436"/>
            <a:ext cx="407391" cy="407391"/>
            <a:chOff x="7137330" y="2571753"/>
            <a:chExt cx="417024" cy="417024"/>
          </a:xfrm>
        </p:grpSpPr>
        <p:sp>
          <p:nvSpPr>
            <p:cNvPr id="11024" name="Google Shape;11024;p81"/>
            <p:cNvSpPr/>
            <p:nvPr/>
          </p:nvSpPr>
          <p:spPr>
            <a:xfrm>
              <a:off x="7235854" y="2645840"/>
              <a:ext cx="219949" cy="268826"/>
            </a:xfrm>
            <a:custGeom>
              <a:avLst/>
              <a:gdLst/>
              <a:ahLst/>
              <a:cxnLst/>
              <a:rect l="l" t="t" r="r" b="b"/>
              <a:pathLst>
                <a:path w="10539" h="12881" extrusionOk="0">
                  <a:moveTo>
                    <a:pt x="5271" y="1172"/>
                  </a:moveTo>
                  <a:cubicBezTo>
                    <a:pt x="7530" y="1172"/>
                    <a:pt x="9368" y="3010"/>
                    <a:pt x="9368" y="5270"/>
                  </a:cubicBezTo>
                  <a:cubicBezTo>
                    <a:pt x="9368" y="6273"/>
                    <a:pt x="8717" y="7797"/>
                    <a:pt x="7624" y="9343"/>
                  </a:cubicBezTo>
                  <a:cubicBezTo>
                    <a:pt x="6513" y="10917"/>
                    <a:pt x="5536" y="11665"/>
                    <a:pt x="5271" y="11708"/>
                  </a:cubicBezTo>
                  <a:cubicBezTo>
                    <a:pt x="5004" y="11665"/>
                    <a:pt x="4029" y="10917"/>
                    <a:pt x="2916" y="9343"/>
                  </a:cubicBezTo>
                  <a:cubicBezTo>
                    <a:pt x="1825" y="7797"/>
                    <a:pt x="1172" y="6273"/>
                    <a:pt x="1172" y="5270"/>
                  </a:cubicBezTo>
                  <a:cubicBezTo>
                    <a:pt x="1172" y="3010"/>
                    <a:pt x="3010" y="1172"/>
                    <a:pt x="5271" y="1172"/>
                  </a:cubicBezTo>
                  <a:close/>
                  <a:moveTo>
                    <a:pt x="5271" y="1"/>
                  </a:moveTo>
                  <a:cubicBezTo>
                    <a:pt x="2366" y="1"/>
                    <a:pt x="1" y="2364"/>
                    <a:pt x="1" y="5270"/>
                  </a:cubicBezTo>
                  <a:cubicBezTo>
                    <a:pt x="1" y="7084"/>
                    <a:pt x="1409" y="9247"/>
                    <a:pt x="2014" y="10093"/>
                  </a:cubicBezTo>
                  <a:cubicBezTo>
                    <a:pt x="2481" y="10747"/>
                    <a:pt x="4098" y="12881"/>
                    <a:pt x="5271" y="12881"/>
                  </a:cubicBezTo>
                  <a:cubicBezTo>
                    <a:pt x="6444" y="12881"/>
                    <a:pt x="8059" y="10747"/>
                    <a:pt x="8528" y="10093"/>
                  </a:cubicBezTo>
                  <a:cubicBezTo>
                    <a:pt x="9133" y="9247"/>
                    <a:pt x="10539" y="7084"/>
                    <a:pt x="10539" y="5270"/>
                  </a:cubicBezTo>
                  <a:cubicBezTo>
                    <a:pt x="10539" y="2364"/>
                    <a:pt x="8175" y="1"/>
                    <a:pt x="52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81"/>
            <p:cNvSpPr/>
            <p:nvPr/>
          </p:nvSpPr>
          <p:spPr>
            <a:xfrm>
              <a:off x="7137330" y="2571753"/>
              <a:ext cx="417024" cy="417024"/>
            </a:xfrm>
            <a:custGeom>
              <a:avLst/>
              <a:gdLst/>
              <a:ahLst/>
              <a:cxnLst/>
              <a:rect l="l" t="t" r="r" b="b"/>
              <a:pathLst>
                <a:path w="19982" h="19982" extrusionOk="0">
                  <a:moveTo>
                    <a:pt x="9992" y="1171"/>
                  </a:moveTo>
                  <a:cubicBezTo>
                    <a:pt x="14855" y="1171"/>
                    <a:pt x="18812" y="5127"/>
                    <a:pt x="18812" y="9991"/>
                  </a:cubicBezTo>
                  <a:cubicBezTo>
                    <a:pt x="18812" y="14854"/>
                    <a:pt x="14855" y="18810"/>
                    <a:pt x="9992" y="18810"/>
                  </a:cubicBezTo>
                  <a:cubicBezTo>
                    <a:pt x="5127" y="18810"/>
                    <a:pt x="1171" y="14854"/>
                    <a:pt x="1171" y="9991"/>
                  </a:cubicBezTo>
                  <a:cubicBezTo>
                    <a:pt x="1171" y="5127"/>
                    <a:pt x="5127" y="1171"/>
                    <a:pt x="9992" y="1171"/>
                  </a:cubicBezTo>
                  <a:close/>
                  <a:moveTo>
                    <a:pt x="9992" y="0"/>
                  </a:moveTo>
                  <a:cubicBezTo>
                    <a:pt x="4490" y="0"/>
                    <a:pt x="0" y="4490"/>
                    <a:pt x="0" y="9990"/>
                  </a:cubicBezTo>
                  <a:cubicBezTo>
                    <a:pt x="0" y="15491"/>
                    <a:pt x="4490" y="19981"/>
                    <a:pt x="9992" y="19981"/>
                  </a:cubicBezTo>
                  <a:cubicBezTo>
                    <a:pt x="15493" y="19981"/>
                    <a:pt x="19981" y="15491"/>
                    <a:pt x="19981" y="9990"/>
                  </a:cubicBezTo>
                  <a:cubicBezTo>
                    <a:pt x="19981" y="4488"/>
                    <a:pt x="15492" y="0"/>
                    <a:pt x="9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81"/>
            <p:cNvSpPr/>
            <p:nvPr/>
          </p:nvSpPr>
          <p:spPr>
            <a:xfrm>
              <a:off x="7284751" y="2694716"/>
              <a:ext cx="122173" cy="122194"/>
            </a:xfrm>
            <a:custGeom>
              <a:avLst/>
              <a:gdLst/>
              <a:ahLst/>
              <a:cxnLst/>
              <a:rect l="l" t="t" r="r" b="b"/>
              <a:pathLst>
                <a:path w="5854" h="5855" extrusionOk="0">
                  <a:moveTo>
                    <a:pt x="2928" y="1172"/>
                  </a:moveTo>
                  <a:cubicBezTo>
                    <a:pt x="3895" y="1172"/>
                    <a:pt x="4684" y="1959"/>
                    <a:pt x="4684" y="2928"/>
                  </a:cubicBezTo>
                  <a:cubicBezTo>
                    <a:pt x="4684" y="3896"/>
                    <a:pt x="3895" y="4683"/>
                    <a:pt x="2928" y="4683"/>
                  </a:cubicBezTo>
                  <a:cubicBezTo>
                    <a:pt x="1958" y="4683"/>
                    <a:pt x="1171" y="3896"/>
                    <a:pt x="1171" y="2928"/>
                  </a:cubicBezTo>
                  <a:cubicBezTo>
                    <a:pt x="2139" y="2928"/>
                    <a:pt x="2928" y="2139"/>
                    <a:pt x="2928" y="1172"/>
                  </a:cubicBezTo>
                  <a:close/>
                  <a:moveTo>
                    <a:pt x="2928" y="1"/>
                  </a:moveTo>
                  <a:cubicBezTo>
                    <a:pt x="2655" y="1"/>
                    <a:pt x="2374" y="47"/>
                    <a:pt x="2066" y="142"/>
                  </a:cubicBezTo>
                  <a:cubicBezTo>
                    <a:pt x="1732" y="245"/>
                    <a:pt x="1562" y="616"/>
                    <a:pt x="1704" y="936"/>
                  </a:cubicBezTo>
                  <a:cubicBezTo>
                    <a:pt x="1885" y="1345"/>
                    <a:pt x="1569" y="1756"/>
                    <a:pt x="1177" y="1756"/>
                  </a:cubicBezTo>
                  <a:cubicBezTo>
                    <a:pt x="1099" y="1756"/>
                    <a:pt x="1018" y="1740"/>
                    <a:pt x="938" y="1704"/>
                  </a:cubicBezTo>
                  <a:cubicBezTo>
                    <a:pt x="860" y="1670"/>
                    <a:pt x="780" y="1654"/>
                    <a:pt x="701" y="1654"/>
                  </a:cubicBezTo>
                  <a:cubicBezTo>
                    <a:pt x="453" y="1654"/>
                    <a:pt x="219" y="1813"/>
                    <a:pt x="142" y="2067"/>
                  </a:cubicBezTo>
                  <a:cubicBezTo>
                    <a:pt x="46" y="2373"/>
                    <a:pt x="0" y="2656"/>
                    <a:pt x="0" y="2928"/>
                  </a:cubicBezTo>
                  <a:cubicBezTo>
                    <a:pt x="0" y="4542"/>
                    <a:pt x="1313" y="5854"/>
                    <a:pt x="2928" y="5854"/>
                  </a:cubicBezTo>
                  <a:cubicBezTo>
                    <a:pt x="4541" y="5854"/>
                    <a:pt x="5854" y="4542"/>
                    <a:pt x="5854" y="2928"/>
                  </a:cubicBezTo>
                  <a:cubicBezTo>
                    <a:pt x="5854" y="1313"/>
                    <a:pt x="4541" y="1"/>
                    <a:pt x="29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81"/>
          <p:cNvGrpSpPr/>
          <p:nvPr/>
        </p:nvGrpSpPr>
        <p:grpSpPr>
          <a:xfrm>
            <a:off x="5620418" y="3755436"/>
            <a:ext cx="407391" cy="407391"/>
            <a:chOff x="6613801" y="2571753"/>
            <a:chExt cx="417024" cy="417024"/>
          </a:xfrm>
        </p:grpSpPr>
        <p:sp>
          <p:nvSpPr>
            <p:cNvPr id="11028" name="Google Shape;11028;p81"/>
            <p:cNvSpPr/>
            <p:nvPr/>
          </p:nvSpPr>
          <p:spPr>
            <a:xfrm>
              <a:off x="6613801" y="2571753"/>
              <a:ext cx="417024" cy="417024"/>
            </a:xfrm>
            <a:custGeom>
              <a:avLst/>
              <a:gdLst/>
              <a:ahLst/>
              <a:cxnLst/>
              <a:rect l="l" t="t" r="r" b="b"/>
              <a:pathLst>
                <a:path w="19982" h="19982" extrusionOk="0">
                  <a:moveTo>
                    <a:pt x="9991" y="1171"/>
                  </a:moveTo>
                  <a:cubicBezTo>
                    <a:pt x="14854" y="1171"/>
                    <a:pt x="18812" y="5127"/>
                    <a:pt x="18812" y="9991"/>
                  </a:cubicBezTo>
                  <a:cubicBezTo>
                    <a:pt x="18812" y="14854"/>
                    <a:pt x="14854" y="18810"/>
                    <a:pt x="9991" y="18810"/>
                  </a:cubicBezTo>
                  <a:cubicBezTo>
                    <a:pt x="5127" y="18810"/>
                    <a:pt x="1171" y="14854"/>
                    <a:pt x="1171" y="9991"/>
                  </a:cubicBezTo>
                  <a:cubicBezTo>
                    <a:pt x="1171" y="5127"/>
                    <a:pt x="5127" y="1171"/>
                    <a:pt x="9991" y="1171"/>
                  </a:cubicBezTo>
                  <a:close/>
                  <a:moveTo>
                    <a:pt x="9991" y="0"/>
                  </a:moveTo>
                  <a:cubicBezTo>
                    <a:pt x="4490" y="0"/>
                    <a:pt x="0" y="4490"/>
                    <a:pt x="0" y="9990"/>
                  </a:cubicBezTo>
                  <a:cubicBezTo>
                    <a:pt x="0" y="15493"/>
                    <a:pt x="4490" y="19981"/>
                    <a:pt x="9991" y="19981"/>
                  </a:cubicBezTo>
                  <a:cubicBezTo>
                    <a:pt x="15493" y="19981"/>
                    <a:pt x="19981" y="15491"/>
                    <a:pt x="19981" y="9990"/>
                  </a:cubicBezTo>
                  <a:cubicBezTo>
                    <a:pt x="19981" y="4488"/>
                    <a:pt x="15491" y="0"/>
                    <a:pt x="99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81"/>
            <p:cNvSpPr/>
            <p:nvPr/>
          </p:nvSpPr>
          <p:spPr>
            <a:xfrm>
              <a:off x="6663449" y="2645840"/>
              <a:ext cx="317704" cy="268826"/>
            </a:xfrm>
            <a:custGeom>
              <a:avLst/>
              <a:gdLst/>
              <a:ahLst/>
              <a:cxnLst/>
              <a:rect l="l" t="t" r="r" b="b"/>
              <a:pathLst>
                <a:path w="15223" h="12881" extrusionOk="0">
                  <a:moveTo>
                    <a:pt x="12295" y="1172"/>
                  </a:moveTo>
                  <a:cubicBezTo>
                    <a:pt x="12619" y="1172"/>
                    <a:pt x="12881" y="1435"/>
                    <a:pt x="12881" y="1757"/>
                  </a:cubicBezTo>
                  <a:cubicBezTo>
                    <a:pt x="12881" y="2079"/>
                    <a:pt x="12617" y="2343"/>
                    <a:pt x="12295" y="2343"/>
                  </a:cubicBezTo>
                  <a:cubicBezTo>
                    <a:pt x="11973" y="2343"/>
                    <a:pt x="11709" y="2079"/>
                    <a:pt x="11709" y="1757"/>
                  </a:cubicBezTo>
                  <a:cubicBezTo>
                    <a:pt x="11709" y="1435"/>
                    <a:pt x="11973" y="1172"/>
                    <a:pt x="12295" y="1172"/>
                  </a:cubicBezTo>
                  <a:close/>
                  <a:moveTo>
                    <a:pt x="2343" y="4685"/>
                  </a:moveTo>
                  <a:cubicBezTo>
                    <a:pt x="2592" y="4685"/>
                    <a:pt x="2827" y="4763"/>
                    <a:pt x="3022" y="4902"/>
                  </a:cubicBezTo>
                  <a:cubicBezTo>
                    <a:pt x="2330" y="5410"/>
                    <a:pt x="1821" y="6015"/>
                    <a:pt x="1513" y="6677"/>
                  </a:cubicBezTo>
                  <a:cubicBezTo>
                    <a:pt x="1301" y="6461"/>
                    <a:pt x="1173" y="6167"/>
                    <a:pt x="1173" y="5856"/>
                  </a:cubicBezTo>
                  <a:cubicBezTo>
                    <a:pt x="1173" y="5210"/>
                    <a:pt x="1697" y="4685"/>
                    <a:pt x="2343" y="4685"/>
                  </a:cubicBezTo>
                  <a:close/>
                  <a:moveTo>
                    <a:pt x="12881" y="4685"/>
                  </a:moveTo>
                  <a:cubicBezTo>
                    <a:pt x="13526" y="4685"/>
                    <a:pt x="14052" y="5208"/>
                    <a:pt x="14052" y="5854"/>
                  </a:cubicBezTo>
                  <a:cubicBezTo>
                    <a:pt x="14052" y="6167"/>
                    <a:pt x="13923" y="6461"/>
                    <a:pt x="13712" y="6677"/>
                  </a:cubicBezTo>
                  <a:cubicBezTo>
                    <a:pt x="13404" y="6015"/>
                    <a:pt x="12893" y="5410"/>
                    <a:pt x="12201" y="4902"/>
                  </a:cubicBezTo>
                  <a:cubicBezTo>
                    <a:pt x="12396" y="4763"/>
                    <a:pt x="12633" y="4685"/>
                    <a:pt x="12881" y="4685"/>
                  </a:cubicBezTo>
                  <a:close/>
                  <a:moveTo>
                    <a:pt x="7616" y="4685"/>
                  </a:moveTo>
                  <a:cubicBezTo>
                    <a:pt x="9058" y="4685"/>
                    <a:pt x="10407" y="5074"/>
                    <a:pt x="11416" y="5778"/>
                  </a:cubicBezTo>
                  <a:cubicBezTo>
                    <a:pt x="12360" y="6440"/>
                    <a:pt x="12881" y="7299"/>
                    <a:pt x="12881" y="8196"/>
                  </a:cubicBezTo>
                  <a:cubicBezTo>
                    <a:pt x="12881" y="9095"/>
                    <a:pt x="12360" y="9953"/>
                    <a:pt x="11416" y="10615"/>
                  </a:cubicBezTo>
                  <a:cubicBezTo>
                    <a:pt x="10407" y="11320"/>
                    <a:pt x="9056" y="11710"/>
                    <a:pt x="7612" y="11710"/>
                  </a:cubicBezTo>
                  <a:cubicBezTo>
                    <a:pt x="6167" y="11710"/>
                    <a:pt x="4816" y="11320"/>
                    <a:pt x="3807" y="10615"/>
                  </a:cubicBezTo>
                  <a:cubicBezTo>
                    <a:pt x="2863" y="9953"/>
                    <a:pt x="2343" y="9095"/>
                    <a:pt x="2343" y="8196"/>
                  </a:cubicBezTo>
                  <a:cubicBezTo>
                    <a:pt x="2343" y="7299"/>
                    <a:pt x="2863" y="6440"/>
                    <a:pt x="3807" y="5778"/>
                  </a:cubicBezTo>
                  <a:cubicBezTo>
                    <a:pt x="4816" y="5074"/>
                    <a:pt x="6165" y="4685"/>
                    <a:pt x="7609" y="4685"/>
                  </a:cubicBezTo>
                  <a:close/>
                  <a:moveTo>
                    <a:pt x="8782" y="0"/>
                  </a:moveTo>
                  <a:cubicBezTo>
                    <a:pt x="8538" y="0"/>
                    <a:pt x="8309" y="156"/>
                    <a:pt x="8228" y="402"/>
                  </a:cubicBezTo>
                  <a:lnTo>
                    <a:pt x="7186" y="3524"/>
                  </a:lnTo>
                  <a:cubicBezTo>
                    <a:pt x="6065" y="3576"/>
                    <a:pt x="4998" y="3836"/>
                    <a:pt x="4073" y="4276"/>
                  </a:cubicBezTo>
                  <a:cubicBezTo>
                    <a:pt x="3634" y="3797"/>
                    <a:pt x="3011" y="3514"/>
                    <a:pt x="2343" y="3514"/>
                  </a:cubicBezTo>
                  <a:cubicBezTo>
                    <a:pt x="1051" y="3514"/>
                    <a:pt x="0" y="4565"/>
                    <a:pt x="0" y="5856"/>
                  </a:cubicBezTo>
                  <a:cubicBezTo>
                    <a:pt x="0" y="6702"/>
                    <a:pt x="469" y="7478"/>
                    <a:pt x="1186" y="7889"/>
                  </a:cubicBezTo>
                  <a:cubicBezTo>
                    <a:pt x="1177" y="7991"/>
                    <a:pt x="1171" y="8094"/>
                    <a:pt x="1171" y="8196"/>
                  </a:cubicBezTo>
                  <a:cubicBezTo>
                    <a:pt x="1171" y="9488"/>
                    <a:pt x="1870" y="10687"/>
                    <a:pt x="3137" y="11573"/>
                  </a:cubicBezTo>
                  <a:cubicBezTo>
                    <a:pt x="4340" y="12415"/>
                    <a:pt x="5928" y="12881"/>
                    <a:pt x="7611" y="12881"/>
                  </a:cubicBezTo>
                  <a:cubicBezTo>
                    <a:pt x="9293" y="12881"/>
                    <a:pt x="10883" y="12415"/>
                    <a:pt x="12086" y="11573"/>
                  </a:cubicBezTo>
                  <a:cubicBezTo>
                    <a:pt x="13353" y="10687"/>
                    <a:pt x="14050" y="9488"/>
                    <a:pt x="14050" y="8196"/>
                  </a:cubicBezTo>
                  <a:cubicBezTo>
                    <a:pt x="14050" y="8094"/>
                    <a:pt x="14046" y="7991"/>
                    <a:pt x="14037" y="7889"/>
                  </a:cubicBezTo>
                  <a:cubicBezTo>
                    <a:pt x="14754" y="7478"/>
                    <a:pt x="15223" y="6702"/>
                    <a:pt x="15223" y="5856"/>
                  </a:cubicBezTo>
                  <a:cubicBezTo>
                    <a:pt x="15223" y="4565"/>
                    <a:pt x="14172" y="3514"/>
                    <a:pt x="12881" y="3514"/>
                  </a:cubicBezTo>
                  <a:cubicBezTo>
                    <a:pt x="12212" y="3514"/>
                    <a:pt x="11589" y="3797"/>
                    <a:pt x="11152" y="4276"/>
                  </a:cubicBezTo>
                  <a:cubicBezTo>
                    <a:pt x="10330" y="3885"/>
                    <a:pt x="9396" y="3636"/>
                    <a:pt x="8412" y="3549"/>
                  </a:cubicBezTo>
                  <a:lnTo>
                    <a:pt x="9153" y="1327"/>
                  </a:lnTo>
                  <a:lnTo>
                    <a:pt x="10540" y="1789"/>
                  </a:lnTo>
                  <a:cubicBezTo>
                    <a:pt x="10556" y="2742"/>
                    <a:pt x="11338" y="3514"/>
                    <a:pt x="12295" y="3514"/>
                  </a:cubicBezTo>
                  <a:cubicBezTo>
                    <a:pt x="13263" y="3514"/>
                    <a:pt x="14052" y="2725"/>
                    <a:pt x="14052" y="1757"/>
                  </a:cubicBezTo>
                  <a:cubicBezTo>
                    <a:pt x="14052" y="790"/>
                    <a:pt x="13263" y="1"/>
                    <a:pt x="12295" y="1"/>
                  </a:cubicBezTo>
                  <a:cubicBezTo>
                    <a:pt x="11732" y="1"/>
                    <a:pt x="11232" y="268"/>
                    <a:pt x="10910" y="678"/>
                  </a:cubicBezTo>
                  <a:lnTo>
                    <a:pt x="8968" y="31"/>
                  </a:lnTo>
                  <a:cubicBezTo>
                    <a:pt x="8906" y="10"/>
                    <a:pt x="8844" y="0"/>
                    <a:pt x="87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81"/>
            <p:cNvSpPr/>
            <p:nvPr/>
          </p:nvSpPr>
          <p:spPr>
            <a:xfrm>
              <a:off x="6748992" y="2768030"/>
              <a:ext cx="48898" cy="48878"/>
            </a:xfrm>
            <a:custGeom>
              <a:avLst/>
              <a:gdLst/>
              <a:ahLst/>
              <a:cxnLst/>
              <a:rect l="l" t="t" r="r" b="b"/>
              <a:pathLst>
                <a:path w="2343" h="2342" extrusionOk="0">
                  <a:moveTo>
                    <a:pt x="1171" y="1"/>
                  </a:moveTo>
                  <a:cubicBezTo>
                    <a:pt x="526" y="1"/>
                    <a:pt x="0" y="525"/>
                    <a:pt x="0" y="1170"/>
                  </a:cubicBezTo>
                  <a:cubicBezTo>
                    <a:pt x="0" y="1816"/>
                    <a:pt x="526" y="2341"/>
                    <a:pt x="1171" y="2341"/>
                  </a:cubicBezTo>
                  <a:cubicBezTo>
                    <a:pt x="1817" y="2341"/>
                    <a:pt x="2342" y="1816"/>
                    <a:pt x="2342" y="1170"/>
                  </a:cubicBezTo>
                  <a:cubicBezTo>
                    <a:pt x="2342" y="525"/>
                    <a:pt x="1817" y="1"/>
                    <a:pt x="11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1" name="Google Shape;11031;p81"/>
            <p:cNvSpPr/>
            <p:nvPr/>
          </p:nvSpPr>
          <p:spPr>
            <a:xfrm>
              <a:off x="6846703" y="2768030"/>
              <a:ext cx="48898" cy="48878"/>
            </a:xfrm>
            <a:custGeom>
              <a:avLst/>
              <a:gdLst/>
              <a:ahLst/>
              <a:cxnLst/>
              <a:rect l="l" t="t" r="r" b="b"/>
              <a:pathLst>
                <a:path w="2343" h="2342" extrusionOk="0">
                  <a:moveTo>
                    <a:pt x="1172" y="1"/>
                  </a:moveTo>
                  <a:cubicBezTo>
                    <a:pt x="526" y="1"/>
                    <a:pt x="1" y="525"/>
                    <a:pt x="1" y="1170"/>
                  </a:cubicBezTo>
                  <a:cubicBezTo>
                    <a:pt x="1" y="1816"/>
                    <a:pt x="526" y="2341"/>
                    <a:pt x="1172" y="2341"/>
                  </a:cubicBezTo>
                  <a:cubicBezTo>
                    <a:pt x="1818" y="2341"/>
                    <a:pt x="2343" y="1816"/>
                    <a:pt x="2343" y="1170"/>
                  </a:cubicBezTo>
                  <a:cubicBezTo>
                    <a:pt x="2343" y="525"/>
                    <a:pt x="1818" y="1"/>
                    <a:pt x="11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2" name="Google Shape;11032;p81"/>
            <p:cNvSpPr/>
            <p:nvPr/>
          </p:nvSpPr>
          <p:spPr>
            <a:xfrm>
              <a:off x="6759469" y="2841323"/>
              <a:ext cx="125658" cy="35938"/>
            </a:xfrm>
            <a:custGeom>
              <a:avLst/>
              <a:gdLst/>
              <a:ahLst/>
              <a:cxnLst/>
              <a:rect l="l" t="t" r="r" b="b"/>
              <a:pathLst>
                <a:path w="6021" h="1722" extrusionOk="0">
                  <a:moveTo>
                    <a:pt x="670" y="0"/>
                  </a:moveTo>
                  <a:cubicBezTo>
                    <a:pt x="455" y="0"/>
                    <a:pt x="249" y="119"/>
                    <a:pt x="146" y="324"/>
                  </a:cubicBezTo>
                  <a:cubicBezTo>
                    <a:pt x="1" y="614"/>
                    <a:pt x="117" y="965"/>
                    <a:pt x="407" y="1110"/>
                  </a:cubicBezTo>
                  <a:cubicBezTo>
                    <a:pt x="1223" y="1516"/>
                    <a:pt x="2116" y="1722"/>
                    <a:pt x="3011" y="1722"/>
                  </a:cubicBezTo>
                  <a:cubicBezTo>
                    <a:pt x="3905" y="1722"/>
                    <a:pt x="4800" y="1518"/>
                    <a:pt x="5614" y="1110"/>
                  </a:cubicBezTo>
                  <a:cubicBezTo>
                    <a:pt x="5904" y="965"/>
                    <a:pt x="6021" y="614"/>
                    <a:pt x="5875" y="324"/>
                  </a:cubicBezTo>
                  <a:cubicBezTo>
                    <a:pt x="5774" y="119"/>
                    <a:pt x="5567" y="0"/>
                    <a:pt x="5352" y="0"/>
                  </a:cubicBezTo>
                  <a:cubicBezTo>
                    <a:pt x="5264" y="0"/>
                    <a:pt x="5174" y="20"/>
                    <a:pt x="5090" y="62"/>
                  </a:cubicBezTo>
                  <a:cubicBezTo>
                    <a:pt x="4439" y="388"/>
                    <a:pt x="3725" y="551"/>
                    <a:pt x="3011" y="551"/>
                  </a:cubicBezTo>
                  <a:cubicBezTo>
                    <a:pt x="2296" y="551"/>
                    <a:pt x="1582" y="388"/>
                    <a:pt x="931" y="62"/>
                  </a:cubicBezTo>
                  <a:cubicBezTo>
                    <a:pt x="847" y="20"/>
                    <a:pt x="758" y="0"/>
                    <a:pt x="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3" name="Google Shape;11033;p81"/>
          <p:cNvGrpSpPr/>
          <p:nvPr/>
        </p:nvGrpSpPr>
        <p:grpSpPr>
          <a:xfrm>
            <a:off x="7908242" y="3238780"/>
            <a:ext cx="407411" cy="407411"/>
            <a:chOff x="2964567" y="2571753"/>
            <a:chExt cx="417045" cy="417045"/>
          </a:xfrm>
        </p:grpSpPr>
        <p:sp>
          <p:nvSpPr>
            <p:cNvPr id="11034" name="Google Shape;11034;p81"/>
            <p:cNvSpPr/>
            <p:nvPr/>
          </p:nvSpPr>
          <p:spPr>
            <a:xfrm>
              <a:off x="2964567" y="2571753"/>
              <a:ext cx="417045" cy="417045"/>
            </a:xfrm>
            <a:custGeom>
              <a:avLst/>
              <a:gdLst/>
              <a:ahLst/>
              <a:cxnLst/>
              <a:rect l="l" t="t" r="r" b="b"/>
              <a:pathLst>
                <a:path w="19983" h="19983" extrusionOk="0">
                  <a:moveTo>
                    <a:pt x="9992" y="1170"/>
                  </a:moveTo>
                  <a:cubicBezTo>
                    <a:pt x="14855" y="1170"/>
                    <a:pt x="18812" y="4866"/>
                    <a:pt x="18812" y="9405"/>
                  </a:cubicBezTo>
                  <a:cubicBezTo>
                    <a:pt x="18812" y="13925"/>
                    <a:pt x="14855" y="17601"/>
                    <a:pt x="9992" y="17601"/>
                  </a:cubicBezTo>
                  <a:cubicBezTo>
                    <a:pt x="9111" y="17601"/>
                    <a:pt x="8240" y="17481"/>
                    <a:pt x="7407" y="17242"/>
                  </a:cubicBezTo>
                  <a:cubicBezTo>
                    <a:pt x="7354" y="17226"/>
                    <a:pt x="7299" y="17218"/>
                    <a:pt x="7245" y="17218"/>
                  </a:cubicBezTo>
                  <a:cubicBezTo>
                    <a:pt x="7153" y="17218"/>
                    <a:pt x="7062" y="17240"/>
                    <a:pt x="6979" y="17282"/>
                  </a:cubicBezTo>
                  <a:lnTo>
                    <a:pt x="4723" y="18439"/>
                  </a:lnTo>
                  <a:lnTo>
                    <a:pt x="4723" y="16262"/>
                  </a:lnTo>
                  <a:cubicBezTo>
                    <a:pt x="4723" y="16078"/>
                    <a:pt x="4637" y="15904"/>
                    <a:pt x="4490" y="15793"/>
                  </a:cubicBezTo>
                  <a:cubicBezTo>
                    <a:pt x="2381" y="14208"/>
                    <a:pt x="1171" y="11880"/>
                    <a:pt x="1171" y="9405"/>
                  </a:cubicBezTo>
                  <a:cubicBezTo>
                    <a:pt x="1171" y="4866"/>
                    <a:pt x="5129" y="1170"/>
                    <a:pt x="9992" y="1170"/>
                  </a:cubicBezTo>
                  <a:close/>
                  <a:moveTo>
                    <a:pt x="9992" y="1"/>
                  </a:moveTo>
                  <a:cubicBezTo>
                    <a:pt x="4575" y="1"/>
                    <a:pt x="0" y="4153"/>
                    <a:pt x="0" y="9407"/>
                  </a:cubicBezTo>
                  <a:cubicBezTo>
                    <a:pt x="0" y="12221"/>
                    <a:pt x="1359" y="14795"/>
                    <a:pt x="3552" y="16548"/>
                  </a:cubicBezTo>
                  <a:lnTo>
                    <a:pt x="3552" y="19396"/>
                  </a:lnTo>
                  <a:cubicBezTo>
                    <a:pt x="3552" y="19602"/>
                    <a:pt x="3659" y="19791"/>
                    <a:pt x="3832" y="19897"/>
                  </a:cubicBezTo>
                  <a:cubicBezTo>
                    <a:pt x="3925" y="19953"/>
                    <a:pt x="4031" y="19982"/>
                    <a:pt x="4138" y="19982"/>
                  </a:cubicBezTo>
                  <a:cubicBezTo>
                    <a:pt x="4229" y="19982"/>
                    <a:pt x="4320" y="19961"/>
                    <a:pt x="4405" y="19918"/>
                  </a:cubicBezTo>
                  <a:lnTo>
                    <a:pt x="7310" y="18429"/>
                  </a:lnTo>
                  <a:cubicBezTo>
                    <a:pt x="8180" y="18657"/>
                    <a:pt x="9081" y="18772"/>
                    <a:pt x="9992" y="18772"/>
                  </a:cubicBezTo>
                  <a:cubicBezTo>
                    <a:pt x="15500" y="18772"/>
                    <a:pt x="19983" y="14570"/>
                    <a:pt x="19983" y="9407"/>
                  </a:cubicBezTo>
                  <a:cubicBezTo>
                    <a:pt x="19983" y="4151"/>
                    <a:pt x="15405" y="1"/>
                    <a:pt x="9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81"/>
            <p:cNvSpPr/>
            <p:nvPr/>
          </p:nvSpPr>
          <p:spPr>
            <a:xfrm>
              <a:off x="3037777" y="2694715"/>
              <a:ext cx="270642" cy="146633"/>
            </a:xfrm>
            <a:custGeom>
              <a:avLst/>
              <a:gdLst/>
              <a:ahLst/>
              <a:cxnLst/>
              <a:rect l="l" t="t" r="r" b="b"/>
              <a:pathLst>
                <a:path w="12968" h="7026" extrusionOk="0">
                  <a:moveTo>
                    <a:pt x="5362" y="1463"/>
                  </a:moveTo>
                  <a:lnTo>
                    <a:pt x="7241" y="3341"/>
                  </a:lnTo>
                  <a:cubicBezTo>
                    <a:pt x="7353" y="3454"/>
                    <a:pt x="7503" y="3513"/>
                    <a:pt x="7655" y="3513"/>
                  </a:cubicBezTo>
                  <a:cubicBezTo>
                    <a:pt x="7744" y="3513"/>
                    <a:pt x="7833" y="3493"/>
                    <a:pt x="7917" y="3451"/>
                  </a:cubicBezTo>
                  <a:lnTo>
                    <a:pt x="10216" y="2303"/>
                  </a:lnTo>
                  <a:lnTo>
                    <a:pt x="7605" y="5565"/>
                  </a:lnTo>
                  <a:lnTo>
                    <a:pt x="5726" y="3685"/>
                  </a:lnTo>
                  <a:cubicBezTo>
                    <a:pt x="5614" y="3573"/>
                    <a:pt x="5463" y="3514"/>
                    <a:pt x="5311" y="3514"/>
                  </a:cubicBezTo>
                  <a:cubicBezTo>
                    <a:pt x="5223" y="3514"/>
                    <a:pt x="5133" y="3534"/>
                    <a:pt x="5051" y="3575"/>
                  </a:cubicBezTo>
                  <a:lnTo>
                    <a:pt x="2751" y="4725"/>
                  </a:lnTo>
                  <a:lnTo>
                    <a:pt x="2751" y="4725"/>
                  </a:lnTo>
                  <a:lnTo>
                    <a:pt x="5362" y="1463"/>
                  </a:lnTo>
                  <a:close/>
                  <a:moveTo>
                    <a:pt x="5312" y="1"/>
                  </a:moveTo>
                  <a:cubicBezTo>
                    <a:pt x="5302" y="1"/>
                    <a:pt x="5291" y="1"/>
                    <a:pt x="5281" y="2"/>
                  </a:cubicBezTo>
                  <a:cubicBezTo>
                    <a:pt x="5114" y="12"/>
                    <a:pt x="4959" y="92"/>
                    <a:pt x="4856" y="221"/>
                  </a:cubicBezTo>
                  <a:lnTo>
                    <a:pt x="172" y="6075"/>
                  </a:lnTo>
                  <a:cubicBezTo>
                    <a:pt x="0" y="6290"/>
                    <a:pt x="2" y="6595"/>
                    <a:pt x="174" y="6809"/>
                  </a:cubicBezTo>
                  <a:cubicBezTo>
                    <a:pt x="288" y="6950"/>
                    <a:pt x="457" y="7026"/>
                    <a:pt x="630" y="7026"/>
                  </a:cubicBezTo>
                  <a:cubicBezTo>
                    <a:pt x="719" y="7026"/>
                    <a:pt x="808" y="7006"/>
                    <a:pt x="892" y="6964"/>
                  </a:cubicBezTo>
                  <a:lnTo>
                    <a:pt x="5198" y="4811"/>
                  </a:lnTo>
                  <a:lnTo>
                    <a:pt x="7241" y="6855"/>
                  </a:lnTo>
                  <a:cubicBezTo>
                    <a:pt x="7349" y="6964"/>
                    <a:pt x="7496" y="7026"/>
                    <a:pt x="7650" y="7026"/>
                  </a:cubicBezTo>
                  <a:cubicBezTo>
                    <a:pt x="7662" y="7026"/>
                    <a:pt x="7674" y="7025"/>
                    <a:pt x="7687" y="7024"/>
                  </a:cubicBezTo>
                  <a:cubicBezTo>
                    <a:pt x="7853" y="7016"/>
                    <a:pt x="8007" y="6936"/>
                    <a:pt x="8111" y="6807"/>
                  </a:cubicBezTo>
                  <a:lnTo>
                    <a:pt x="12795" y="951"/>
                  </a:lnTo>
                  <a:cubicBezTo>
                    <a:pt x="12967" y="737"/>
                    <a:pt x="12965" y="431"/>
                    <a:pt x="12792" y="219"/>
                  </a:cubicBezTo>
                  <a:cubicBezTo>
                    <a:pt x="12679" y="78"/>
                    <a:pt x="12510" y="1"/>
                    <a:pt x="12337" y="1"/>
                  </a:cubicBezTo>
                  <a:cubicBezTo>
                    <a:pt x="12249" y="1"/>
                    <a:pt x="12159" y="21"/>
                    <a:pt x="12075" y="63"/>
                  </a:cubicBezTo>
                  <a:lnTo>
                    <a:pt x="7770" y="2216"/>
                  </a:lnTo>
                  <a:lnTo>
                    <a:pt x="5726" y="173"/>
                  </a:lnTo>
                  <a:cubicBezTo>
                    <a:pt x="5617" y="62"/>
                    <a:pt x="5467" y="1"/>
                    <a:pt x="53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6" name="Google Shape;11036;p81"/>
          <p:cNvGrpSpPr/>
          <p:nvPr/>
        </p:nvGrpSpPr>
        <p:grpSpPr>
          <a:xfrm>
            <a:off x="1922414" y="3815897"/>
            <a:ext cx="407391" cy="286470"/>
            <a:chOff x="3476576" y="2633631"/>
            <a:chExt cx="417024" cy="293244"/>
          </a:xfrm>
        </p:grpSpPr>
        <p:sp>
          <p:nvSpPr>
            <p:cNvPr id="11037" name="Google Shape;11037;p81"/>
            <p:cNvSpPr/>
            <p:nvPr/>
          </p:nvSpPr>
          <p:spPr>
            <a:xfrm>
              <a:off x="3476576" y="2633631"/>
              <a:ext cx="417024" cy="293244"/>
            </a:xfrm>
            <a:custGeom>
              <a:avLst/>
              <a:gdLst/>
              <a:ahLst/>
              <a:cxnLst/>
              <a:rect l="l" t="t" r="r" b="b"/>
              <a:pathLst>
                <a:path w="19982" h="14051" extrusionOk="0">
                  <a:moveTo>
                    <a:pt x="17056" y="1172"/>
                  </a:moveTo>
                  <a:cubicBezTo>
                    <a:pt x="18023" y="1172"/>
                    <a:pt x="18811" y="1961"/>
                    <a:pt x="18811" y="2929"/>
                  </a:cubicBezTo>
                  <a:lnTo>
                    <a:pt x="18811" y="11124"/>
                  </a:lnTo>
                  <a:cubicBezTo>
                    <a:pt x="18811" y="12092"/>
                    <a:pt x="18023" y="12881"/>
                    <a:pt x="17056" y="12881"/>
                  </a:cubicBezTo>
                  <a:lnTo>
                    <a:pt x="2927" y="12881"/>
                  </a:lnTo>
                  <a:cubicBezTo>
                    <a:pt x="1959" y="12881"/>
                    <a:pt x="1172" y="12092"/>
                    <a:pt x="1172" y="11124"/>
                  </a:cubicBezTo>
                  <a:lnTo>
                    <a:pt x="1172" y="2929"/>
                  </a:lnTo>
                  <a:cubicBezTo>
                    <a:pt x="1172" y="1961"/>
                    <a:pt x="1959" y="1172"/>
                    <a:pt x="2927" y="1172"/>
                  </a:cubicBezTo>
                  <a:close/>
                  <a:moveTo>
                    <a:pt x="2927" y="1"/>
                  </a:moveTo>
                  <a:cubicBezTo>
                    <a:pt x="1313" y="1"/>
                    <a:pt x="1" y="1315"/>
                    <a:pt x="1" y="2929"/>
                  </a:cubicBezTo>
                  <a:lnTo>
                    <a:pt x="1" y="11124"/>
                  </a:lnTo>
                  <a:cubicBezTo>
                    <a:pt x="1" y="12738"/>
                    <a:pt x="1313" y="14050"/>
                    <a:pt x="2927" y="14050"/>
                  </a:cubicBezTo>
                  <a:lnTo>
                    <a:pt x="17056" y="14050"/>
                  </a:lnTo>
                  <a:cubicBezTo>
                    <a:pt x="18669" y="14050"/>
                    <a:pt x="19982" y="12738"/>
                    <a:pt x="19982" y="11124"/>
                  </a:cubicBezTo>
                  <a:lnTo>
                    <a:pt x="19982" y="2929"/>
                  </a:lnTo>
                  <a:cubicBezTo>
                    <a:pt x="19982" y="1315"/>
                    <a:pt x="18669" y="1"/>
                    <a:pt x="17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81"/>
            <p:cNvSpPr/>
            <p:nvPr/>
          </p:nvSpPr>
          <p:spPr>
            <a:xfrm>
              <a:off x="3636206" y="2706945"/>
              <a:ext cx="122194" cy="146633"/>
            </a:xfrm>
            <a:custGeom>
              <a:avLst/>
              <a:gdLst/>
              <a:ahLst/>
              <a:cxnLst/>
              <a:rect l="l" t="t" r="r" b="b"/>
              <a:pathLst>
                <a:path w="5855" h="7026" extrusionOk="0">
                  <a:moveTo>
                    <a:pt x="1172" y="1643"/>
                  </a:moveTo>
                  <a:lnTo>
                    <a:pt x="4165" y="3514"/>
                  </a:lnTo>
                  <a:lnTo>
                    <a:pt x="1172" y="5384"/>
                  </a:lnTo>
                  <a:lnTo>
                    <a:pt x="1172" y="1643"/>
                  </a:lnTo>
                  <a:close/>
                  <a:moveTo>
                    <a:pt x="586" y="0"/>
                  </a:moveTo>
                  <a:cubicBezTo>
                    <a:pt x="489" y="0"/>
                    <a:pt x="391" y="25"/>
                    <a:pt x="302" y="74"/>
                  </a:cubicBezTo>
                  <a:cubicBezTo>
                    <a:pt x="116" y="178"/>
                    <a:pt x="1" y="373"/>
                    <a:pt x="1" y="587"/>
                  </a:cubicBezTo>
                  <a:lnTo>
                    <a:pt x="1" y="6440"/>
                  </a:lnTo>
                  <a:cubicBezTo>
                    <a:pt x="1" y="6653"/>
                    <a:pt x="116" y="6849"/>
                    <a:pt x="302" y="6953"/>
                  </a:cubicBezTo>
                  <a:cubicBezTo>
                    <a:pt x="389" y="7001"/>
                    <a:pt x="487" y="7026"/>
                    <a:pt x="585" y="7026"/>
                  </a:cubicBezTo>
                  <a:cubicBezTo>
                    <a:pt x="693" y="7026"/>
                    <a:pt x="801" y="6997"/>
                    <a:pt x="896" y="6937"/>
                  </a:cubicBezTo>
                  <a:lnTo>
                    <a:pt x="5580" y="4010"/>
                  </a:lnTo>
                  <a:cubicBezTo>
                    <a:pt x="5750" y="3903"/>
                    <a:pt x="5854" y="3714"/>
                    <a:pt x="5854" y="3513"/>
                  </a:cubicBezTo>
                  <a:cubicBezTo>
                    <a:pt x="5854" y="3311"/>
                    <a:pt x="5750" y="3123"/>
                    <a:pt x="5580" y="3017"/>
                  </a:cubicBezTo>
                  <a:lnTo>
                    <a:pt x="896" y="90"/>
                  </a:lnTo>
                  <a:cubicBezTo>
                    <a:pt x="801" y="30"/>
                    <a:pt x="694" y="0"/>
                    <a:pt x="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9" name="Google Shape;11039;p81"/>
          <p:cNvGrpSpPr/>
          <p:nvPr/>
        </p:nvGrpSpPr>
        <p:grpSpPr>
          <a:xfrm>
            <a:off x="2538746" y="3755508"/>
            <a:ext cx="407411" cy="407248"/>
            <a:chOff x="3988564" y="2571836"/>
            <a:chExt cx="417045" cy="416878"/>
          </a:xfrm>
        </p:grpSpPr>
        <p:sp>
          <p:nvSpPr>
            <p:cNvPr id="11040" name="Google Shape;11040;p81"/>
            <p:cNvSpPr/>
            <p:nvPr/>
          </p:nvSpPr>
          <p:spPr>
            <a:xfrm>
              <a:off x="4090678" y="2650431"/>
              <a:ext cx="213124" cy="259268"/>
            </a:xfrm>
            <a:custGeom>
              <a:avLst/>
              <a:gdLst/>
              <a:ahLst/>
              <a:cxnLst/>
              <a:rect l="l" t="t" r="r" b="b"/>
              <a:pathLst>
                <a:path w="10212" h="12423" extrusionOk="0">
                  <a:moveTo>
                    <a:pt x="4938" y="1172"/>
                  </a:moveTo>
                  <a:cubicBezTo>
                    <a:pt x="7267" y="1172"/>
                    <a:pt x="8610" y="2621"/>
                    <a:pt x="8610" y="3081"/>
                  </a:cubicBezTo>
                  <a:cubicBezTo>
                    <a:pt x="8610" y="3348"/>
                    <a:pt x="8308" y="3471"/>
                    <a:pt x="8102" y="3471"/>
                  </a:cubicBezTo>
                  <a:cubicBezTo>
                    <a:pt x="7867" y="3471"/>
                    <a:pt x="7733" y="3357"/>
                    <a:pt x="7407" y="3026"/>
                  </a:cubicBezTo>
                  <a:cubicBezTo>
                    <a:pt x="6933" y="2541"/>
                    <a:pt x="6282" y="1879"/>
                    <a:pt x="4821" y="1879"/>
                  </a:cubicBezTo>
                  <a:cubicBezTo>
                    <a:pt x="4177" y="1879"/>
                    <a:pt x="3602" y="2046"/>
                    <a:pt x="3162" y="2362"/>
                  </a:cubicBezTo>
                  <a:cubicBezTo>
                    <a:pt x="2687" y="2700"/>
                    <a:pt x="2417" y="3188"/>
                    <a:pt x="2417" y="3701"/>
                  </a:cubicBezTo>
                  <a:cubicBezTo>
                    <a:pt x="2417" y="4145"/>
                    <a:pt x="2603" y="4758"/>
                    <a:pt x="3491" y="5152"/>
                  </a:cubicBezTo>
                  <a:cubicBezTo>
                    <a:pt x="3997" y="5378"/>
                    <a:pt x="4646" y="5506"/>
                    <a:pt x="5334" y="5642"/>
                  </a:cubicBezTo>
                  <a:cubicBezTo>
                    <a:pt x="7566" y="6081"/>
                    <a:pt x="9029" y="6514"/>
                    <a:pt x="9029" y="8449"/>
                  </a:cubicBezTo>
                  <a:cubicBezTo>
                    <a:pt x="9029" y="8455"/>
                    <a:pt x="9029" y="8464"/>
                    <a:pt x="9029" y="8478"/>
                  </a:cubicBezTo>
                  <a:cubicBezTo>
                    <a:pt x="9035" y="8646"/>
                    <a:pt x="9028" y="9518"/>
                    <a:pt x="8347" y="10222"/>
                  </a:cubicBezTo>
                  <a:cubicBezTo>
                    <a:pt x="7688" y="10903"/>
                    <a:pt x="6597" y="11248"/>
                    <a:pt x="5102" y="11252"/>
                  </a:cubicBezTo>
                  <a:cubicBezTo>
                    <a:pt x="2240" y="11250"/>
                    <a:pt x="1171" y="9891"/>
                    <a:pt x="1171" y="9033"/>
                  </a:cubicBezTo>
                  <a:cubicBezTo>
                    <a:pt x="1171" y="8780"/>
                    <a:pt x="1518" y="8672"/>
                    <a:pt x="1656" y="8672"/>
                  </a:cubicBezTo>
                  <a:cubicBezTo>
                    <a:pt x="1844" y="8672"/>
                    <a:pt x="2005" y="8837"/>
                    <a:pt x="2327" y="9212"/>
                  </a:cubicBezTo>
                  <a:cubicBezTo>
                    <a:pt x="2843" y="9813"/>
                    <a:pt x="3551" y="10636"/>
                    <a:pt x="5095" y="10636"/>
                  </a:cubicBezTo>
                  <a:cubicBezTo>
                    <a:pt x="6363" y="10636"/>
                    <a:pt x="7727" y="9881"/>
                    <a:pt x="7727" y="8612"/>
                  </a:cubicBezTo>
                  <a:cubicBezTo>
                    <a:pt x="7727" y="7951"/>
                    <a:pt x="7363" y="7445"/>
                    <a:pt x="6647" y="7109"/>
                  </a:cubicBezTo>
                  <a:cubicBezTo>
                    <a:pt x="6130" y="6866"/>
                    <a:pt x="5472" y="6726"/>
                    <a:pt x="4773" y="6578"/>
                  </a:cubicBezTo>
                  <a:cubicBezTo>
                    <a:pt x="2620" y="6120"/>
                    <a:pt x="1209" y="5683"/>
                    <a:pt x="1209" y="3859"/>
                  </a:cubicBezTo>
                  <a:cubicBezTo>
                    <a:pt x="1209" y="2893"/>
                    <a:pt x="1667" y="2191"/>
                    <a:pt x="2606" y="1711"/>
                  </a:cubicBezTo>
                  <a:cubicBezTo>
                    <a:pt x="3388" y="1313"/>
                    <a:pt x="4350" y="1172"/>
                    <a:pt x="4938" y="1172"/>
                  </a:cubicBezTo>
                  <a:close/>
                  <a:moveTo>
                    <a:pt x="4938" y="1"/>
                  </a:moveTo>
                  <a:cubicBezTo>
                    <a:pt x="2944" y="1"/>
                    <a:pt x="39" y="991"/>
                    <a:pt x="39" y="3861"/>
                  </a:cubicBezTo>
                  <a:cubicBezTo>
                    <a:pt x="39" y="5149"/>
                    <a:pt x="579" y="6129"/>
                    <a:pt x="1644" y="6772"/>
                  </a:cubicBezTo>
                  <a:cubicBezTo>
                    <a:pt x="2505" y="7293"/>
                    <a:pt x="3581" y="7523"/>
                    <a:pt x="4529" y="7724"/>
                  </a:cubicBezTo>
                  <a:cubicBezTo>
                    <a:pt x="5159" y="7857"/>
                    <a:pt x="5755" y="7984"/>
                    <a:pt x="6149" y="8170"/>
                  </a:cubicBezTo>
                  <a:cubicBezTo>
                    <a:pt x="6556" y="8359"/>
                    <a:pt x="6556" y="8518"/>
                    <a:pt x="6556" y="8612"/>
                  </a:cubicBezTo>
                  <a:cubicBezTo>
                    <a:pt x="6556" y="9100"/>
                    <a:pt x="5785" y="9465"/>
                    <a:pt x="5095" y="9465"/>
                  </a:cubicBezTo>
                  <a:cubicBezTo>
                    <a:pt x="4089" y="9465"/>
                    <a:pt x="3664" y="8971"/>
                    <a:pt x="3215" y="8449"/>
                  </a:cubicBezTo>
                  <a:cubicBezTo>
                    <a:pt x="2833" y="8005"/>
                    <a:pt x="2401" y="7501"/>
                    <a:pt x="1656" y="7501"/>
                  </a:cubicBezTo>
                  <a:cubicBezTo>
                    <a:pt x="860" y="7501"/>
                    <a:pt x="0" y="8087"/>
                    <a:pt x="0" y="9035"/>
                  </a:cubicBezTo>
                  <a:cubicBezTo>
                    <a:pt x="0" y="10459"/>
                    <a:pt x="1462" y="12423"/>
                    <a:pt x="5104" y="12423"/>
                  </a:cubicBezTo>
                  <a:cubicBezTo>
                    <a:pt x="6926" y="12419"/>
                    <a:pt x="8301" y="11954"/>
                    <a:pt x="9187" y="11036"/>
                  </a:cubicBezTo>
                  <a:cubicBezTo>
                    <a:pt x="10167" y="10024"/>
                    <a:pt x="10211" y="8803"/>
                    <a:pt x="10200" y="8442"/>
                  </a:cubicBezTo>
                  <a:cubicBezTo>
                    <a:pt x="10199" y="7101"/>
                    <a:pt x="9638" y="6090"/>
                    <a:pt x="8536" y="5435"/>
                  </a:cubicBezTo>
                  <a:cubicBezTo>
                    <a:pt x="7642" y="4904"/>
                    <a:pt x="6537" y="4685"/>
                    <a:pt x="5560" y="4492"/>
                  </a:cubicBezTo>
                  <a:cubicBezTo>
                    <a:pt x="4939" y="4370"/>
                    <a:pt x="4354" y="4255"/>
                    <a:pt x="3966" y="4084"/>
                  </a:cubicBezTo>
                  <a:cubicBezTo>
                    <a:pt x="3588" y="3916"/>
                    <a:pt x="3588" y="3781"/>
                    <a:pt x="3588" y="3703"/>
                  </a:cubicBezTo>
                  <a:cubicBezTo>
                    <a:pt x="3588" y="3429"/>
                    <a:pt x="4016" y="3050"/>
                    <a:pt x="4821" y="3050"/>
                  </a:cubicBezTo>
                  <a:cubicBezTo>
                    <a:pt x="5790" y="3050"/>
                    <a:pt x="6153" y="3418"/>
                    <a:pt x="6570" y="3847"/>
                  </a:cubicBezTo>
                  <a:cubicBezTo>
                    <a:pt x="6921" y="4202"/>
                    <a:pt x="7354" y="4644"/>
                    <a:pt x="8102" y="4644"/>
                  </a:cubicBezTo>
                  <a:cubicBezTo>
                    <a:pt x="8966" y="4644"/>
                    <a:pt x="9781" y="4016"/>
                    <a:pt x="9781" y="3082"/>
                  </a:cubicBezTo>
                  <a:cubicBezTo>
                    <a:pt x="9781" y="1768"/>
                    <a:pt x="7722" y="1"/>
                    <a:pt x="4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1" name="Google Shape;11041;p81"/>
            <p:cNvSpPr/>
            <p:nvPr/>
          </p:nvSpPr>
          <p:spPr>
            <a:xfrm>
              <a:off x="3988564" y="2571836"/>
              <a:ext cx="417045" cy="416878"/>
            </a:xfrm>
            <a:custGeom>
              <a:avLst/>
              <a:gdLst/>
              <a:ahLst/>
              <a:cxnLst/>
              <a:rect l="l" t="t" r="r" b="b"/>
              <a:pathLst>
                <a:path w="19983" h="19975" extrusionOk="0">
                  <a:moveTo>
                    <a:pt x="5465" y="1172"/>
                  </a:moveTo>
                  <a:cubicBezTo>
                    <a:pt x="6229" y="1172"/>
                    <a:pt x="6714" y="1356"/>
                    <a:pt x="7184" y="1548"/>
                  </a:cubicBezTo>
                  <a:cubicBezTo>
                    <a:pt x="7842" y="1820"/>
                    <a:pt x="8120" y="1882"/>
                    <a:pt x="8506" y="1882"/>
                  </a:cubicBezTo>
                  <a:cubicBezTo>
                    <a:pt x="8831" y="1882"/>
                    <a:pt x="9232" y="1838"/>
                    <a:pt x="10000" y="1838"/>
                  </a:cubicBezTo>
                  <a:cubicBezTo>
                    <a:pt x="13275" y="1838"/>
                    <a:pt x="15226" y="3478"/>
                    <a:pt x="16286" y="4855"/>
                  </a:cubicBezTo>
                  <a:cubicBezTo>
                    <a:pt x="17660" y="6641"/>
                    <a:pt x="18149" y="8709"/>
                    <a:pt x="18149" y="9937"/>
                  </a:cubicBezTo>
                  <a:cubicBezTo>
                    <a:pt x="18149" y="11304"/>
                    <a:pt x="17841" y="11405"/>
                    <a:pt x="18414" y="12744"/>
                  </a:cubicBezTo>
                  <a:cubicBezTo>
                    <a:pt x="18610" y="13203"/>
                    <a:pt x="18812" y="13675"/>
                    <a:pt x="18812" y="14565"/>
                  </a:cubicBezTo>
                  <a:cubicBezTo>
                    <a:pt x="18812" y="15702"/>
                    <a:pt x="18373" y="16765"/>
                    <a:pt x="17575" y="17561"/>
                  </a:cubicBezTo>
                  <a:cubicBezTo>
                    <a:pt x="16776" y="18358"/>
                    <a:pt x="15671" y="18803"/>
                    <a:pt x="14546" y="18803"/>
                  </a:cubicBezTo>
                  <a:cubicBezTo>
                    <a:pt x="14544" y="18803"/>
                    <a:pt x="14542" y="18803"/>
                    <a:pt x="14540" y="18803"/>
                  </a:cubicBezTo>
                  <a:lnTo>
                    <a:pt x="14519" y="18803"/>
                  </a:lnTo>
                  <a:cubicBezTo>
                    <a:pt x="13754" y="18803"/>
                    <a:pt x="13270" y="18612"/>
                    <a:pt x="12799" y="18418"/>
                  </a:cubicBezTo>
                  <a:cubicBezTo>
                    <a:pt x="12161" y="18154"/>
                    <a:pt x="11842" y="18085"/>
                    <a:pt x="11520" y="18085"/>
                  </a:cubicBezTo>
                  <a:cubicBezTo>
                    <a:pt x="11167" y="18085"/>
                    <a:pt x="10809" y="18168"/>
                    <a:pt x="10022" y="18168"/>
                  </a:cubicBezTo>
                  <a:cubicBezTo>
                    <a:pt x="6746" y="18168"/>
                    <a:pt x="4785" y="16516"/>
                    <a:pt x="3717" y="15131"/>
                  </a:cubicBezTo>
                  <a:cubicBezTo>
                    <a:pt x="2328" y="13328"/>
                    <a:pt x="1835" y="11257"/>
                    <a:pt x="1835" y="10031"/>
                  </a:cubicBezTo>
                  <a:cubicBezTo>
                    <a:pt x="1835" y="8674"/>
                    <a:pt x="2146" y="8571"/>
                    <a:pt x="1569" y="7222"/>
                  </a:cubicBezTo>
                  <a:cubicBezTo>
                    <a:pt x="1375" y="6765"/>
                    <a:pt x="1173" y="6293"/>
                    <a:pt x="1171" y="5408"/>
                  </a:cubicBezTo>
                  <a:cubicBezTo>
                    <a:pt x="1175" y="3063"/>
                    <a:pt x="3100" y="1172"/>
                    <a:pt x="5465" y="1172"/>
                  </a:cubicBezTo>
                  <a:close/>
                  <a:moveTo>
                    <a:pt x="5465" y="0"/>
                  </a:moveTo>
                  <a:cubicBezTo>
                    <a:pt x="3993" y="0"/>
                    <a:pt x="2617" y="552"/>
                    <a:pt x="1587" y="1582"/>
                  </a:cubicBezTo>
                  <a:cubicBezTo>
                    <a:pt x="566" y="2603"/>
                    <a:pt x="4" y="3960"/>
                    <a:pt x="0" y="5403"/>
                  </a:cubicBezTo>
                  <a:lnTo>
                    <a:pt x="0" y="5414"/>
                  </a:lnTo>
                  <a:cubicBezTo>
                    <a:pt x="2" y="6535"/>
                    <a:pt x="274" y="7170"/>
                    <a:pt x="492" y="7682"/>
                  </a:cubicBezTo>
                  <a:cubicBezTo>
                    <a:pt x="938" y="8725"/>
                    <a:pt x="664" y="8547"/>
                    <a:pt x="664" y="10031"/>
                  </a:cubicBezTo>
                  <a:cubicBezTo>
                    <a:pt x="664" y="11738"/>
                    <a:pt x="1385" y="14023"/>
                    <a:pt x="2790" y="15845"/>
                  </a:cubicBezTo>
                  <a:cubicBezTo>
                    <a:pt x="4019" y="17439"/>
                    <a:pt x="6270" y="19339"/>
                    <a:pt x="10022" y="19339"/>
                  </a:cubicBezTo>
                  <a:cubicBezTo>
                    <a:pt x="10942" y="19339"/>
                    <a:pt x="11234" y="19255"/>
                    <a:pt x="11494" y="19255"/>
                  </a:cubicBezTo>
                  <a:cubicBezTo>
                    <a:pt x="11700" y="19255"/>
                    <a:pt x="11887" y="19308"/>
                    <a:pt x="12353" y="19500"/>
                  </a:cubicBezTo>
                  <a:cubicBezTo>
                    <a:pt x="12875" y="19716"/>
                    <a:pt x="13523" y="19974"/>
                    <a:pt x="14519" y="19974"/>
                  </a:cubicBezTo>
                  <a:lnTo>
                    <a:pt x="14554" y="19974"/>
                  </a:lnTo>
                  <a:cubicBezTo>
                    <a:pt x="15985" y="19974"/>
                    <a:pt x="17386" y="19403"/>
                    <a:pt x="18402" y="18391"/>
                  </a:cubicBezTo>
                  <a:cubicBezTo>
                    <a:pt x="19422" y="17374"/>
                    <a:pt x="19983" y="16015"/>
                    <a:pt x="19983" y="14565"/>
                  </a:cubicBezTo>
                  <a:cubicBezTo>
                    <a:pt x="19983" y="13436"/>
                    <a:pt x="19711" y="12797"/>
                    <a:pt x="19491" y="12284"/>
                  </a:cubicBezTo>
                  <a:cubicBezTo>
                    <a:pt x="19045" y="11243"/>
                    <a:pt x="19320" y="11421"/>
                    <a:pt x="19320" y="9937"/>
                  </a:cubicBezTo>
                  <a:cubicBezTo>
                    <a:pt x="19320" y="8218"/>
                    <a:pt x="18603" y="5946"/>
                    <a:pt x="17213" y="4140"/>
                  </a:cubicBezTo>
                  <a:cubicBezTo>
                    <a:pt x="15994" y="2557"/>
                    <a:pt x="13753" y="667"/>
                    <a:pt x="10000" y="667"/>
                  </a:cubicBezTo>
                  <a:cubicBezTo>
                    <a:pt x="9146" y="667"/>
                    <a:pt x="8785" y="712"/>
                    <a:pt x="8528" y="712"/>
                  </a:cubicBezTo>
                  <a:cubicBezTo>
                    <a:pt x="8261" y="712"/>
                    <a:pt x="8109" y="664"/>
                    <a:pt x="7630" y="466"/>
                  </a:cubicBezTo>
                  <a:cubicBezTo>
                    <a:pt x="7110" y="252"/>
                    <a:pt x="6461" y="0"/>
                    <a:pt x="54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2" name="Google Shape;11042;p81"/>
          <p:cNvGrpSpPr/>
          <p:nvPr/>
        </p:nvGrpSpPr>
        <p:grpSpPr>
          <a:xfrm>
            <a:off x="3155099" y="3755436"/>
            <a:ext cx="407391" cy="407391"/>
            <a:chOff x="4500573" y="2571753"/>
            <a:chExt cx="417024" cy="417024"/>
          </a:xfrm>
        </p:grpSpPr>
        <p:sp>
          <p:nvSpPr>
            <p:cNvPr id="11043" name="Google Shape;11043;p81"/>
            <p:cNvSpPr/>
            <p:nvPr/>
          </p:nvSpPr>
          <p:spPr>
            <a:xfrm>
              <a:off x="4550263" y="2632817"/>
              <a:ext cx="317683" cy="293244"/>
            </a:xfrm>
            <a:custGeom>
              <a:avLst/>
              <a:gdLst/>
              <a:ahLst/>
              <a:cxnLst/>
              <a:rect l="l" t="t" r="r" b="b"/>
              <a:pathLst>
                <a:path w="15222" h="14051" extrusionOk="0">
                  <a:moveTo>
                    <a:pt x="7616" y="1172"/>
                  </a:moveTo>
                  <a:cubicBezTo>
                    <a:pt x="8529" y="1202"/>
                    <a:pt x="10613" y="1570"/>
                    <a:pt x="10613" y="4280"/>
                  </a:cubicBezTo>
                  <a:cubicBezTo>
                    <a:pt x="10613" y="4791"/>
                    <a:pt x="10565" y="5662"/>
                    <a:pt x="10565" y="5683"/>
                  </a:cubicBezTo>
                  <a:cubicBezTo>
                    <a:pt x="10565" y="6490"/>
                    <a:pt x="11186" y="6530"/>
                    <a:pt x="11312" y="6530"/>
                  </a:cubicBezTo>
                  <a:cubicBezTo>
                    <a:pt x="11563" y="6530"/>
                    <a:pt x="11867" y="6461"/>
                    <a:pt x="12149" y="6399"/>
                  </a:cubicBezTo>
                  <a:lnTo>
                    <a:pt x="12149" y="6399"/>
                  </a:lnTo>
                  <a:cubicBezTo>
                    <a:pt x="11697" y="6589"/>
                    <a:pt x="10875" y="6838"/>
                    <a:pt x="10875" y="7608"/>
                  </a:cubicBezTo>
                  <a:cubicBezTo>
                    <a:pt x="10875" y="9260"/>
                    <a:pt x="12294" y="9897"/>
                    <a:pt x="13233" y="10316"/>
                  </a:cubicBezTo>
                  <a:cubicBezTo>
                    <a:pt x="13419" y="10399"/>
                    <a:pt x="13661" y="10509"/>
                    <a:pt x="13838" y="10608"/>
                  </a:cubicBezTo>
                  <a:cubicBezTo>
                    <a:pt x="13590" y="10652"/>
                    <a:pt x="13247" y="10703"/>
                    <a:pt x="12826" y="10802"/>
                  </a:cubicBezTo>
                  <a:cubicBezTo>
                    <a:pt x="12446" y="10894"/>
                    <a:pt x="12149" y="11195"/>
                    <a:pt x="12067" y="11574"/>
                  </a:cubicBezTo>
                  <a:cubicBezTo>
                    <a:pt x="12058" y="11614"/>
                    <a:pt x="12049" y="11652"/>
                    <a:pt x="12041" y="11683"/>
                  </a:cubicBezTo>
                  <a:cubicBezTo>
                    <a:pt x="11837" y="11646"/>
                    <a:pt x="11549" y="11584"/>
                    <a:pt x="11156" y="11584"/>
                  </a:cubicBezTo>
                  <a:cubicBezTo>
                    <a:pt x="10220" y="11584"/>
                    <a:pt x="9658" y="11968"/>
                    <a:pt x="9161" y="12306"/>
                  </a:cubicBezTo>
                  <a:cubicBezTo>
                    <a:pt x="8711" y="12614"/>
                    <a:pt x="8322" y="12879"/>
                    <a:pt x="7611" y="12881"/>
                  </a:cubicBezTo>
                  <a:cubicBezTo>
                    <a:pt x="6900" y="12879"/>
                    <a:pt x="6511" y="12614"/>
                    <a:pt x="6060" y="12306"/>
                  </a:cubicBezTo>
                  <a:cubicBezTo>
                    <a:pt x="5563" y="11968"/>
                    <a:pt x="5000" y="11584"/>
                    <a:pt x="4064" y="11584"/>
                  </a:cubicBezTo>
                  <a:cubicBezTo>
                    <a:pt x="3671" y="11584"/>
                    <a:pt x="3381" y="11646"/>
                    <a:pt x="3180" y="11683"/>
                  </a:cubicBezTo>
                  <a:cubicBezTo>
                    <a:pt x="3171" y="11652"/>
                    <a:pt x="3164" y="11614"/>
                    <a:pt x="3155" y="11574"/>
                  </a:cubicBezTo>
                  <a:cubicBezTo>
                    <a:pt x="3072" y="11195"/>
                    <a:pt x="2775" y="10894"/>
                    <a:pt x="2394" y="10802"/>
                  </a:cubicBezTo>
                  <a:cubicBezTo>
                    <a:pt x="1973" y="10703"/>
                    <a:pt x="1630" y="10652"/>
                    <a:pt x="1384" y="10608"/>
                  </a:cubicBezTo>
                  <a:cubicBezTo>
                    <a:pt x="1559" y="10509"/>
                    <a:pt x="1803" y="10399"/>
                    <a:pt x="1987" y="10316"/>
                  </a:cubicBezTo>
                  <a:cubicBezTo>
                    <a:pt x="2927" y="9897"/>
                    <a:pt x="4347" y="9260"/>
                    <a:pt x="4347" y="7608"/>
                  </a:cubicBezTo>
                  <a:cubicBezTo>
                    <a:pt x="4347" y="6838"/>
                    <a:pt x="3525" y="6589"/>
                    <a:pt x="3072" y="6399"/>
                  </a:cubicBezTo>
                  <a:lnTo>
                    <a:pt x="3072" y="6399"/>
                  </a:lnTo>
                  <a:cubicBezTo>
                    <a:pt x="3355" y="6461"/>
                    <a:pt x="3657" y="6530"/>
                    <a:pt x="3910" y="6530"/>
                  </a:cubicBezTo>
                  <a:cubicBezTo>
                    <a:pt x="4034" y="6530"/>
                    <a:pt x="4655" y="6490"/>
                    <a:pt x="4655" y="5683"/>
                  </a:cubicBezTo>
                  <a:cubicBezTo>
                    <a:pt x="4655" y="5662"/>
                    <a:pt x="4609" y="4793"/>
                    <a:pt x="4609" y="4280"/>
                  </a:cubicBezTo>
                  <a:cubicBezTo>
                    <a:pt x="4609" y="1558"/>
                    <a:pt x="6698" y="1199"/>
                    <a:pt x="7616" y="1172"/>
                  </a:cubicBezTo>
                  <a:close/>
                  <a:moveTo>
                    <a:pt x="7602" y="1"/>
                  </a:moveTo>
                  <a:cubicBezTo>
                    <a:pt x="7201" y="11"/>
                    <a:pt x="6164" y="98"/>
                    <a:pt x="5219" y="691"/>
                  </a:cubicBezTo>
                  <a:cubicBezTo>
                    <a:pt x="4407" y="1200"/>
                    <a:pt x="3438" y="2237"/>
                    <a:pt x="3438" y="4280"/>
                  </a:cubicBezTo>
                  <a:cubicBezTo>
                    <a:pt x="3438" y="4714"/>
                    <a:pt x="3454" y="5041"/>
                    <a:pt x="3466" y="5288"/>
                  </a:cubicBezTo>
                  <a:cubicBezTo>
                    <a:pt x="3176" y="5225"/>
                    <a:pt x="2914" y="5159"/>
                    <a:pt x="2711" y="5159"/>
                  </a:cubicBezTo>
                  <a:cubicBezTo>
                    <a:pt x="2005" y="5159"/>
                    <a:pt x="1492" y="5593"/>
                    <a:pt x="1492" y="6187"/>
                  </a:cubicBezTo>
                  <a:cubicBezTo>
                    <a:pt x="1492" y="7031"/>
                    <a:pt x="2302" y="7355"/>
                    <a:pt x="2785" y="7547"/>
                  </a:cubicBezTo>
                  <a:cubicBezTo>
                    <a:pt x="2907" y="7595"/>
                    <a:pt x="3077" y="7664"/>
                    <a:pt x="3173" y="7717"/>
                  </a:cubicBezTo>
                  <a:cubicBezTo>
                    <a:pt x="3084" y="8885"/>
                    <a:pt x="1453" y="9124"/>
                    <a:pt x="595" y="9723"/>
                  </a:cubicBezTo>
                  <a:cubicBezTo>
                    <a:pt x="201" y="9999"/>
                    <a:pt x="1" y="10337"/>
                    <a:pt x="1" y="10730"/>
                  </a:cubicBezTo>
                  <a:cubicBezTo>
                    <a:pt x="1" y="11119"/>
                    <a:pt x="194" y="11425"/>
                    <a:pt x="547" y="11590"/>
                  </a:cubicBezTo>
                  <a:cubicBezTo>
                    <a:pt x="892" y="11752"/>
                    <a:pt x="1340" y="11765"/>
                    <a:pt x="2032" y="11920"/>
                  </a:cubicBezTo>
                  <a:cubicBezTo>
                    <a:pt x="2081" y="12138"/>
                    <a:pt x="2134" y="12318"/>
                    <a:pt x="2231" y="12474"/>
                  </a:cubicBezTo>
                  <a:cubicBezTo>
                    <a:pt x="2428" y="12789"/>
                    <a:pt x="2691" y="12874"/>
                    <a:pt x="2981" y="12874"/>
                  </a:cubicBezTo>
                  <a:cubicBezTo>
                    <a:pt x="3325" y="12874"/>
                    <a:pt x="3708" y="12754"/>
                    <a:pt x="4064" y="12754"/>
                  </a:cubicBezTo>
                  <a:cubicBezTo>
                    <a:pt x="4639" y="12754"/>
                    <a:pt x="4975" y="12984"/>
                    <a:pt x="5400" y="13274"/>
                  </a:cubicBezTo>
                  <a:cubicBezTo>
                    <a:pt x="5907" y="13619"/>
                    <a:pt x="6537" y="14050"/>
                    <a:pt x="7609" y="14050"/>
                  </a:cubicBezTo>
                  <a:lnTo>
                    <a:pt x="7611" y="14050"/>
                  </a:lnTo>
                  <a:cubicBezTo>
                    <a:pt x="8683" y="14050"/>
                    <a:pt x="9315" y="13620"/>
                    <a:pt x="9821" y="13274"/>
                  </a:cubicBezTo>
                  <a:cubicBezTo>
                    <a:pt x="10247" y="12984"/>
                    <a:pt x="10581" y="12754"/>
                    <a:pt x="11156" y="12754"/>
                  </a:cubicBezTo>
                  <a:cubicBezTo>
                    <a:pt x="11621" y="12754"/>
                    <a:pt x="11881" y="12881"/>
                    <a:pt x="12228" y="12881"/>
                  </a:cubicBezTo>
                  <a:cubicBezTo>
                    <a:pt x="12647" y="12881"/>
                    <a:pt x="12874" y="12660"/>
                    <a:pt x="12991" y="12474"/>
                  </a:cubicBezTo>
                  <a:cubicBezTo>
                    <a:pt x="13088" y="12318"/>
                    <a:pt x="13139" y="12136"/>
                    <a:pt x="13189" y="11920"/>
                  </a:cubicBezTo>
                  <a:cubicBezTo>
                    <a:pt x="13880" y="11765"/>
                    <a:pt x="14328" y="11752"/>
                    <a:pt x="14673" y="11590"/>
                  </a:cubicBezTo>
                  <a:cubicBezTo>
                    <a:pt x="15027" y="11425"/>
                    <a:pt x="15221" y="11119"/>
                    <a:pt x="15221" y="10730"/>
                  </a:cubicBezTo>
                  <a:cubicBezTo>
                    <a:pt x="15221" y="10337"/>
                    <a:pt x="15020" y="9999"/>
                    <a:pt x="14625" y="9723"/>
                  </a:cubicBezTo>
                  <a:cubicBezTo>
                    <a:pt x="13769" y="9124"/>
                    <a:pt x="12136" y="8885"/>
                    <a:pt x="12048" y="7717"/>
                  </a:cubicBezTo>
                  <a:cubicBezTo>
                    <a:pt x="12143" y="7664"/>
                    <a:pt x="12313" y="7595"/>
                    <a:pt x="12435" y="7547"/>
                  </a:cubicBezTo>
                  <a:cubicBezTo>
                    <a:pt x="12918" y="7355"/>
                    <a:pt x="13728" y="7031"/>
                    <a:pt x="13728" y="6187"/>
                  </a:cubicBezTo>
                  <a:cubicBezTo>
                    <a:pt x="13728" y="5593"/>
                    <a:pt x="13215" y="5159"/>
                    <a:pt x="12509" y="5159"/>
                  </a:cubicBezTo>
                  <a:cubicBezTo>
                    <a:pt x="12306" y="5159"/>
                    <a:pt x="12044" y="5225"/>
                    <a:pt x="11754" y="5288"/>
                  </a:cubicBezTo>
                  <a:cubicBezTo>
                    <a:pt x="11768" y="5041"/>
                    <a:pt x="11782" y="4714"/>
                    <a:pt x="11782" y="4280"/>
                  </a:cubicBezTo>
                  <a:cubicBezTo>
                    <a:pt x="11782" y="2246"/>
                    <a:pt x="10822" y="1211"/>
                    <a:pt x="10017" y="700"/>
                  </a:cubicBezTo>
                  <a:cubicBezTo>
                    <a:pt x="9076" y="105"/>
                    <a:pt x="8037" y="13"/>
                    <a:pt x="76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81"/>
            <p:cNvSpPr/>
            <p:nvPr/>
          </p:nvSpPr>
          <p:spPr>
            <a:xfrm>
              <a:off x="4500573" y="2571753"/>
              <a:ext cx="417024" cy="417024"/>
            </a:xfrm>
            <a:custGeom>
              <a:avLst/>
              <a:gdLst/>
              <a:ahLst/>
              <a:cxnLst/>
              <a:rect l="l" t="t" r="r" b="b"/>
              <a:pathLst>
                <a:path w="19982" h="19982" extrusionOk="0">
                  <a:moveTo>
                    <a:pt x="17017" y="1172"/>
                  </a:moveTo>
                  <a:cubicBezTo>
                    <a:pt x="17990" y="1172"/>
                    <a:pt x="18812" y="1975"/>
                    <a:pt x="18812" y="2927"/>
                  </a:cubicBezTo>
                  <a:lnTo>
                    <a:pt x="18812" y="17017"/>
                  </a:lnTo>
                  <a:cubicBezTo>
                    <a:pt x="18812" y="17990"/>
                    <a:pt x="17990" y="18811"/>
                    <a:pt x="17017" y="18811"/>
                  </a:cubicBezTo>
                  <a:lnTo>
                    <a:pt x="2966" y="18811"/>
                  </a:lnTo>
                  <a:cubicBezTo>
                    <a:pt x="1993" y="18811"/>
                    <a:pt x="1172" y="17990"/>
                    <a:pt x="1172" y="17017"/>
                  </a:cubicBezTo>
                  <a:lnTo>
                    <a:pt x="1172" y="2927"/>
                  </a:lnTo>
                  <a:cubicBezTo>
                    <a:pt x="1172" y="1975"/>
                    <a:pt x="1993" y="1172"/>
                    <a:pt x="2966" y="1172"/>
                  </a:cubicBezTo>
                  <a:close/>
                  <a:moveTo>
                    <a:pt x="2966" y="1"/>
                  </a:moveTo>
                  <a:cubicBezTo>
                    <a:pt x="1349" y="1"/>
                    <a:pt x="1" y="1310"/>
                    <a:pt x="1" y="2927"/>
                  </a:cubicBezTo>
                  <a:lnTo>
                    <a:pt x="1" y="17015"/>
                  </a:lnTo>
                  <a:cubicBezTo>
                    <a:pt x="1" y="18636"/>
                    <a:pt x="1349" y="19982"/>
                    <a:pt x="2966" y="19982"/>
                  </a:cubicBezTo>
                  <a:lnTo>
                    <a:pt x="17017" y="19982"/>
                  </a:lnTo>
                  <a:cubicBezTo>
                    <a:pt x="18635" y="19982"/>
                    <a:pt x="19982" y="18634"/>
                    <a:pt x="19982" y="17015"/>
                  </a:cubicBezTo>
                  <a:lnTo>
                    <a:pt x="19982" y="2927"/>
                  </a:lnTo>
                  <a:cubicBezTo>
                    <a:pt x="19982" y="1310"/>
                    <a:pt x="18635" y="1"/>
                    <a:pt x="17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5" name="Google Shape;11045;p81"/>
          <p:cNvGrpSpPr/>
          <p:nvPr/>
        </p:nvGrpSpPr>
        <p:grpSpPr>
          <a:xfrm>
            <a:off x="3771431" y="3755436"/>
            <a:ext cx="407391" cy="407391"/>
            <a:chOff x="5012603" y="2571753"/>
            <a:chExt cx="417024" cy="417024"/>
          </a:xfrm>
        </p:grpSpPr>
        <p:sp>
          <p:nvSpPr>
            <p:cNvPr id="11046" name="Google Shape;11046;p81"/>
            <p:cNvSpPr/>
            <p:nvPr/>
          </p:nvSpPr>
          <p:spPr>
            <a:xfrm>
              <a:off x="5133124" y="2631210"/>
              <a:ext cx="180818" cy="300048"/>
            </a:xfrm>
            <a:custGeom>
              <a:avLst/>
              <a:gdLst/>
              <a:ahLst/>
              <a:cxnLst/>
              <a:rect l="l" t="t" r="r" b="b"/>
              <a:pathLst>
                <a:path w="8664" h="14377" extrusionOk="0">
                  <a:moveTo>
                    <a:pt x="4683" y="1171"/>
                  </a:moveTo>
                  <a:lnTo>
                    <a:pt x="4683" y="3395"/>
                  </a:lnTo>
                  <a:cubicBezTo>
                    <a:pt x="4683" y="3719"/>
                    <a:pt x="4945" y="3980"/>
                    <a:pt x="5269" y="3980"/>
                  </a:cubicBezTo>
                  <a:lnTo>
                    <a:pt x="7493" y="3980"/>
                  </a:lnTo>
                  <a:lnTo>
                    <a:pt x="7493" y="5620"/>
                  </a:lnTo>
                  <a:lnTo>
                    <a:pt x="5269" y="5620"/>
                  </a:lnTo>
                  <a:cubicBezTo>
                    <a:pt x="4945" y="5620"/>
                    <a:pt x="4683" y="5882"/>
                    <a:pt x="4683" y="6206"/>
                  </a:cubicBezTo>
                  <a:lnTo>
                    <a:pt x="4683" y="9859"/>
                  </a:lnTo>
                  <a:cubicBezTo>
                    <a:pt x="4683" y="10227"/>
                    <a:pt x="4706" y="10648"/>
                    <a:pt x="4975" y="10986"/>
                  </a:cubicBezTo>
                  <a:cubicBezTo>
                    <a:pt x="5327" y="11423"/>
                    <a:pt x="5899" y="11474"/>
                    <a:pt x="6299" y="11474"/>
                  </a:cubicBezTo>
                  <a:lnTo>
                    <a:pt x="7494" y="11474"/>
                  </a:lnTo>
                  <a:lnTo>
                    <a:pt x="7494" y="13158"/>
                  </a:lnTo>
                  <a:cubicBezTo>
                    <a:pt x="7137" y="13183"/>
                    <a:pt x="6635" y="13207"/>
                    <a:pt x="6113" y="13207"/>
                  </a:cubicBezTo>
                  <a:cubicBezTo>
                    <a:pt x="3848" y="13207"/>
                    <a:pt x="3044" y="11806"/>
                    <a:pt x="3044" y="10607"/>
                  </a:cubicBezTo>
                  <a:lnTo>
                    <a:pt x="3044" y="6206"/>
                  </a:lnTo>
                  <a:cubicBezTo>
                    <a:pt x="3044" y="5882"/>
                    <a:pt x="2782" y="5620"/>
                    <a:pt x="2460" y="5620"/>
                  </a:cubicBezTo>
                  <a:lnTo>
                    <a:pt x="1172" y="5620"/>
                  </a:lnTo>
                  <a:lnTo>
                    <a:pt x="1172" y="4090"/>
                  </a:lnTo>
                  <a:cubicBezTo>
                    <a:pt x="2035" y="3913"/>
                    <a:pt x="2690" y="3487"/>
                    <a:pt x="3120" y="2820"/>
                  </a:cubicBezTo>
                  <a:cubicBezTo>
                    <a:pt x="3463" y="2289"/>
                    <a:pt x="3608" y="1697"/>
                    <a:pt x="3703" y="1171"/>
                  </a:cubicBezTo>
                  <a:close/>
                  <a:moveTo>
                    <a:pt x="3208" y="0"/>
                  </a:moveTo>
                  <a:cubicBezTo>
                    <a:pt x="2922" y="0"/>
                    <a:pt x="2677" y="207"/>
                    <a:pt x="2631" y="490"/>
                  </a:cubicBezTo>
                  <a:cubicBezTo>
                    <a:pt x="2409" y="1822"/>
                    <a:pt x="2209" y="2861"/>
                    <a:pt x="537" y="3000"/>
                  </a:cubicBezTo>
                  <a:cubicBezTo>
                    <a:pt x="234" y="3025"/>
                    <a:pt x="1" y="3278"/>
                    <a:pt x="1" y="3582"/>
                  </a:cubicBezTo>
                  <a:lnTo>
                    <a:pt x="1" y="6206"/>
                  </a:lnTo>
                  <a:cubicBezTo>
                    <a:pt x="1" y="6529"/>
                    <a:pt x="263" y="6791"/>
                    <a:pt x="586" y="6791"/>
                  </a:cubicBezTo>
                  <a:lnTo>
                    <a:pt x="1874" y="6791"/>
                  </a:lnTo>
                  <a:lnTo>
                    <a:pt x="1874" y="10607"/>
                  </a:lnTo>
                  <a:cubicBezTo>
                    <a:pt x="1874" y="12618"/>
                    <a:pt x="3355" y="14377"/>
                    <a:pt x="6111" y="14377"/>
                  </a:cubicBezTo>
                  <a:cubicBezTo>
                    <a:pt x="7158" y="14377"/>
                    <a:pt x="8098" y="14285"/>
                    <a:pt x="8137" y="14281"/>
                  </a:cubicBezTo>
                  <a:cubicBezTo>
                    <a:pt x="8436" y="14251"/>
                    <a:pt x="8664" y="14000"/>
                    <a:pt x="8664" y="13699"/>
                  </a:cubicBezTo>
                  <a:lnTo>
                    <a:pt x="8664" y="10888"/>
                  </a:lnTo>
                  <a:cubicBezTo>
                    <a:pt x="8664" y="10565"/>
                    <a:pt x="8402" y="10303"/>
                    <a:pt x="8078" y="10303"/>
                  </a:cubicBezTo>
                  <a:lnTo>
                    <a:pt x="6299" y="10303"/>
                  </a:lnTo>
                  <a:cubicBezTo>
                    <a:pt x="5828" y="10303"/>
                    <a:pt x="5855" y="10292"/>
                    <a:pt x="5855" y="9859"/>
                  </a:cubicBezTo>
                  <a:lnTo>
                    <a:pt x="5855" y="6791"/>
                  </a:lnTo>
                  <a:lnTo>
                    <a:pt x="8078" y="6791"/>
                  </a:lnTo>
                  <a:cubicBezTo>
                    <a:pt x="8402" y="6791"/>
                    <a:pt x="8664" y="6529"/>
                    <a:pt x="8664" y="6206"/>
                  </a:cubicBezTo>
                  <a:lnTo>
                    <a:pt x="8664" y="3397"/>
                  </a:lnTo>
                  <a:cubicBezTo>
                    <a:pt x="8664" y="3073"/>
                    <a:pt x="8402" y="2811"/>
                    <a:pt x="8078" y="2811"/>
                  </a:cubicBezTo>
                  <a:lnTo>
                    <a:pt x="5855" y="2811"/>
                  </a:lnTo>
                  <a:lnTo>
                    <a:pt x="5855" y="586"/>
                  </a:lnTo>
                  <a:cubicBezTo>
                    <a:pt x="5855" y="262"/>
                    <a:pt x="5593" y="0"/>
                    <a:pt x="5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7" name="Google Shape;11047;p81"/>
            <p:cNvSpPr/>
            <p:nvPr/>
          </p:nvSpPr>
          <p:spPr>
            <a:xfrm>
              <a:off x="5012603" y="2571753"/>
              <a:ext cx="417024" cy="417024"/>
            </a:xfrm>
            <a:custGeom>
              <a:avLst/>
              <a:gdLst/>
              <a:ahLst/>
              <a:cxnLst/>
              <a:rect l="l" t="t" r="r" b="b"/>
              <a:pathLst>
                <a:path w="19982" h="19982" extrusionOk="0">
                  <a:moveTo>
                    <a:pt x="17053" y="1172"/>
                  </a:moveTo>
                  <a:cubicBezTo>
                    <a:pt x="18007" y="1172"/>
                    <a:pt x="18810" y="1993"/>
                    <a:pt x="18810" y="2966"/>
                  </a:cubicBezTo>
                  <a:lnTo>
                    <a:pt x="18810" y="17017"/>
                  </a:lnTo>
                  <a:cubicBezTo>
                    <a:pt x="18810" y="17990"/>
                    <a:pt x="18007" y="18811"/>
                    <a:pt x="17053" y="18811"/>
                  </a:cubicBezTo>
                  <a:lnTo>
                    <a:pt x="2965" y="18811"/>
                  </a:lnTo>
                  <a:cubicBezTo>
                    <a:pt x="1992" y="18811"/>
                    <a:pt x="1169" y="17990"/>
                    <a:pt x="1169" y="17017"/>
                  </a:cubicBezTo>
                  <a:lnTo>
                    <a:pt x="1169" y="2966"/>
                  </a:lnTo>
                  <a:cubicBezTo>
                    <a:pt x="1169" y="1993"/>
                    <a:pt x="1992" y="1172"/>
                    <a:pt x="2965" y="1172"/>
                  </a:cubicBezTo>
                  <a:close/>
                  <a:moveTo>
                    <a:pt x="2965" y="1"/>
                  </a:moveTo>
                  <a:cubicBezTo>
                    <a:pt x="1346" y="1"/>
                    <a:pt x="0" y="1349"/>
                    <a:pt x="0" y="2966"/>
                  </a:cubicBezTo>
                  <a:lnTo>
                    <a:pt x="0" y="17015"/>
                  </a:lnTo>
                  <a:cubicBezTo>
                    <a:pt x="0" y="18636"/>
                    <a:pt x="1348" y="19982"/>
                    <a:pt x="2965" y="19982"/>
                  </a:cubicBezTo>
                  <a:lnTo>
                    <a:pt x="17053" y="19982"/>
                  </a:lnTo>
                  <a:cubicBezTo>
                    <a:pt x="18672" y="19982"/>
                    <a:pt x="19981" y="18634"/>
                    <a:pt x="19981" y="17015"/>
                  </a:cubicBezTo>
                  <a:lnTo>
                    <a:pt x="19981" y="2966"/>
                  </a:lnTo>
                  <a:cubicBezTo>
                    <a:pt x="19981" y="1349"/>
                    <a:pt x="18672" y="1"/>
                    <a:pt x="170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8" name="Google Shape;11048;p81"/>
          <p:cNvSpPr/>
          <p:nvPr/>
        </p:nvSpPr>
        <p:spPr>
          <a:xfrm>
            <a:off x="5212789" y="3238852"/>
            <a:ext cx="407383" cy="407383"/>
          </a:xfrm>
          <a:custGeom>
            <a:avLst/>
            <a:gdLst/>
            <a:ahLst/>
            <a:cxnLst/>
            <a:rect l="l" t="t" r="r" b="b"/>
            <a:pathLst>
              <a:path w="19982" h="19982" extrusionOk="0">
                <a:moveTo>
                  <a:pt x="14602" y="3500"/>
                </a:moveTo>
                <a:cubicBezTo>
                  <a:pt x="15137" y="3500"/>
                  <a:pt x="15682" y="3563"/>
                  <a:pt x="16247" y="3689"/>
                </a:cubicBezTo>
                <a:cubicBezTo>
                  <a:pt x="16179" y="4154"/>
                  <a:pt x="16095" y="4705"/>
                  <a:pt x="16033" y="5120"/>
                </a:cubicBezTo>
                <a:cubicBezTo>
                  <a:pt x="15810" y="5075"/>
                  <a:pt x="15484" y="5035"/>
                  <a:pt x="15150" y="5035"/>
                </a:cubicBezTo>
                <a:cubicBezTo>
                  <a:pt x="14968" y="5035"/>
                  <a:pt x="14783" y="5047"/>
                  <a:pt x="14611" y="5076"/>
                </a:cubicBezTo>
                <a:cubicBezTo>
                  <a:pt x="13536" y="5258"/>
                  <a:pt x="12918" y="5925"/>
                  <a:pt x="12918" y="6907"/>
                </a:cubicBezTo>
                <a:lnTo>
                  <a:pt x="12918" y="8819"/>
                </a:lnTo>
                <a:cubicBezTo>
                  <a:pt x="12918" y="9143"/>
                  <a:pt x="13180" y="9405"/>
                  <a:pt x="13504" y="9405"/>
                </a:cubicBezTo>
                <a:lnTo>
                  <a:pt x="15681" y="9405"/>
                </a:lnTo>
                <a:lnTo>
                  <a:pt x="15388" y="10576"/>
                </a:lnTo>
                <a:lnTo>
                  <a:pt x="13504" y="10576"/>
                </a:lnTo>
                <a:cubicBezTo>
                  <a:pt x="13180" y="10576"/>
                  <a:pt x="12918" y="10838"/>
                  <a:pt x="12918" y="11161"/>
                </a:cubicBezTo>
                <a:lnTo>
                  <a:pt x="12918" y="18811"/>
                </a:lnTo>
                <a:lnTo>
                  <a:pt x="11162" y="18811"/>
                </a:lnTo>
                <a:lnTo>
                  <a:pt x="11162" y="11161"/>
                </a:lnTo>
                <a:cubicBezTo>
                  <a:pt x="11162" y="10838"/>
                  <a:pt x="10900" y="10576"/>
                  <a:pt x="10576" y="10576"/>
                </a:cubicBezTo>
                <a:lnTo>
                  <a:pt x="9407" y="10576"/>
                </a:lnTo>
                <a:lnTo>
                  <a:pt x="9407" y="9405"/>
                </a:lnTo>
                <a:lnTo>
                  <a:pt x="10576" y="9405"/>
                </a:lnTo>
                <a:cubicBezTo>
                  <a:pt x="10900" y="9405"/>
                  <a:pt x="11162" y="9143"/>
                  <a:pt x="11162" y="8821"/>
                </a:cubicBezTo>
                <a:cubicBezTo>
                  <a:pt x="11162" y="7215"/>
                  <a:pt x="11162" y="6481"/>
                  <a:pt x="11162" y="6143"/>
                </a:cubicBezTo>
                <a:cubicBezTo>
                  <a:pt x="11162" y="5520"/>
                  <a:pt x="11163" y="4843"/>
                  <a:pt x="11770" y="4324"/>
                </a:cubicBezTo>
                <a:cubicBezTo>
                  <a:pt x="12234" y="3928"/>
                  <a:pt x="12823" y="3687"/>
                  <a:pt x="13628" y="3571"/>
                </a:cubicBezTo>
                <a:cubicBezTo>
                  <a:pt x="13950" y="3524"/>
                  <a:pt x="14274" y="3500"/>
                  <a:pt x="14602" y="3500"/>
                </a:cubicBezTo>
                <a:close/>
                <a:moveTo>
                  <a:pt x="17017" y="1170"/>
                </a:moveTo>
                <a:cubicBezTo>
                  <a:pt x="17990" y="1170"/>
                  <a:pt x="18811" y="1975"/>
                  <a:pt x="18811" y="2927"/>
                </a:cubicBezTo>
                <a:lnTo>
                  <a:pt x="18811" y="17056"/>
                </a:lnTo>
                <a:cubicBezTo>
                  <a:pt x="18811" y="18023"/>
                  <a:pt x="18024" y="18811"/>
                  <a:pt x="17056" y="18811"/>
                </a:cubicBezTo>
                <a:lnTo>
                  <a:pt x="14089" y="18811"/>
                </a:lnTo>
                <a:lnTo>
                  <a:pt x="14089" y="11747"/>
                </a:lnTo>
                <a:lnTo>
                  <a:pt x="15846" y="11747"/>
                </a:lnTo>
                <a:cubicBezTo>
                  <a:pt x="16115" y="11747"/>
                  <a:pt x="16348" y="11565"/>
                  <a:pt x="16414" y="11305"/>
                </a:cubicBezTo>
                <a:lnTo>
                  <a:pt x="16999" y="8963"/>
                </a:lnTo>
                <a:cubicBezTo>
                  <a:pt x="17042" y="8787"/>
                  <a:pt x="17003" y="8602"/>
                  <a:pt x="16893" y="8460"/>
                </a:cubicBezTo>
                <a:cubicBezTo>
                  <a:pt x="16782" y="8317"/>
                  <a:pt x="16612" y="8235"/>
                  <a:pt x="16431" y="8235"/>
                </a:cubicBezTo>
                <a:lnTo>
                  <a:pt x="14089" y="8235"/>
                </a:lnTo>
                <a:lnTo>
                  <a:pt x="14089" y="6909"/>
                </a:lnTo>
                <a:cubicBezTo>
                  <a:pt x="14089" y="6638"/>
                  <a:pt x="14144" y="6343"/>
                  <a:pt x="14808" y="6229"/>
                </a:cubicBezTo>
                <a:cubicBezTo>
                  <a:pt x="14936" y="6208"/>
                  <a:pt x="15061" y="6199"/>
                  <a:pt x="15182" y="6199"/>
                </a:cubicBezTo>
                <a:cubicBezTo>
                  <a:pt x="15552" y="6199"/>
                  <a:pt x="15890" y="6283"/>
                  <a:pt x="16198" y="6360"/>
                </a:cubicBezTo>
                <a:cubicBezTo>
                  <a:pt x="16304" y="6387"/>
                  <a:pt x="16415" y="6421"/>
                  <a:pt x="16532" y="6421"/>
                </a:cubicBezTo>
                <a:cubicBezTo>
                  <a:pt x="16632" y="6421"/>
                  <a:pt x="16736" y="6396"/>
                  <a:pt x="16847" y="6321"/>
                </a:cubicBezTo>
                <a:cubicBezTo>
                  <a:pt x="16983" y="6229"/>
                  <a:pt x="17074" y="6084"/>
                  <a:pt x="17098" y="5923"/>
                </a:cubicBezTo>
                <a:cubicBezTo>
                  <a:pt x="17098" y="5923"/>
                  <a:pt x="17362" y="4156"/>
                  <a:pt x="17482" y="3339"/>
                </a:cubicBezTo>
                <a:cubicBezTo>
                  <a:pt x="17525" y="3049"/>
                  <a:pt x="17346" y="2769"/>
                  <a:pt x="17063" y="2690"/>
                </a:cubicBezTo>
                <a:cubicBezTo>
                  <a:pt x="16267" y="2463"/>
                  <a:pt x="15346" y="2343"/>
                  <a:pt x="14504" y="2343"/>
                </a:cubicBezTo>
                <a:cubicBezTo>
                  <a:pt x="14137" y="2343"/>
                  <a:pt x="13786" y="2365"/>
                  <a:pt x="13467" y="2412"/>
                </a:cubicBezTo>
                <a:cubicBezTo>
                  <a:pt x="12434" y="2562"/>
                  <a:pt x="11646" y="2888"/>
                  <a:pt x="11009" y="3434"/>
                </a:cubicBezTo>
                <a:cubicBezTo>
                  <a:pt x="10121" y="4193"/>
                  <a:pt x="10010" y="5168"/>
                  <a:pt x="9999" y="5833"/>
                </a:cubicBezTo>
                <a:cubicBezTo>
                  <a:pt x="9999" y="5847"/>
                  <a:pt x="9999" y="7029"/>
                  <a:pt x="9999" y="8235"/>
                </a:cubicBezTo>
                <a:lnTo>
                  <a:pt x="8821" y="8235"/>
                </a:lnTo>
                <a:cubicBezTo>
                  <a:pt x="8497" y="8235"/>
                  <a:pt x="8236" y="8497"/>
                  <a:pt x="8236" y="8819"/>
                </a:cubicBezTo>
                <a:lnTo>
                  <a:pt x="8236" y="11161"/>
                </a:lnTo>
                <a:cubicBezTo>
                  <a:pt x="8236" y="11485"/>
                  <a:pt x="8497" y="11747"/>
                  <a:pt x="8821" y="11747"/>
                </a:cubicBezTo>
                <a:lnTo>
                  <a:pt x="9991" y="11747"/>
                </a:lnTo>
                <a:lnTo>
                  <a:pt x="9991" y="18811"/>
                </a:lnTo>
                <a:lnTo>
                  <a:pt x="2927" y="18811"/>
                </a:lnTo>
                <a:cubicBezTo>
                  <a:pt x="1959" y="18811"/>
                  <a:pt x="1172" y="18023"/>
                  <a:pt x="1172" y="17054"/>
                </a:cubicBezTo>
                <a:lnTo>
                  <a:pt x="1172" y="2927"/>
                </a:lnTo>
                <a:cubicBezTo>
                  <a:pt x="1172" y="1959"/>
                  <a:pt x="1959" y="1170"/>
                  <a:pt x="2927" y="1170"/>
                </a:cubicBezTo>
                <a:close/>
                <a:moveTo>
                  <a:pt x="2927" y="1"/>
                </a:moveTo>
                <a:cubicBezTo>
                  <a:pt x="1314" y="1"/>
                  <a:pt x="1" y="1313"/>
                  <a:pt x="1" y="2927"/>
                </a:cubicBezTo>
                <a:lnTo>
                  <a:pt x="1" y="17056"/>
                </a:lnTo>
                <a:cubicBezTo>
                  <a:pt x="1" y="18669"/>
                  <a:pt x="1314" y="19982"/>
                  <a:pt x="2927" y="19982"/>
                </a:cubicBezTo>
                <a:lnTo>
                  <a:pt x="17054" y="19982"/>
                </a:lnTo>
                <a:cubicBezTo>
                  <a:pt x="18669" y="19982"/>
                  <a:pt x="19982" y="18669"/>
                  <a:pt x="19982" y="17056"/>
                </a:cubicBezTo>
                <a:lnTo>
                  <a:pt x="19982" y="2927"/>
                </a:lnTo>
                <a:cubicBezTo>
                  <a:pt x="19982" y="2145"/>
                  <a:pt x="19669" y="1409"/>
                  <a:pt x="19101" y="853"/>
                </a:cubicBezTo>
                <a:cubicBezTo>
                  <a:pt x="18538" y="303"/>
                  <a:pt x="17797" y="1"/>
                  <a:pt x="170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9" name="Google Shape;11049;p81"/>
          <p:cNvGrpSpPr/>
          <p:nvPr/>
        </p:nvGrpSpPr>
        <p:grpSpPr>
          <a:xfrm>
            <a:off x="5733329" y="3238790"/>
            <a:ext cx="407432" cy="407391"/>
            <a:chOff x="812101" y="2571761"/>
            <a:chExt cx="417066" cy="417024"/>
          </a:xfrm>
        </p:grpSpPr>
        <p:sp>
          <p:nvSpPr>
            <p:cNvPr id="11050" name="Google Shape;11050;p81"/>
            <p:cNvSpPr/>
            <p:nvPr/>
          </p:nvSpPr>
          <p:spPr>
            <a:xfrm>
              <a:off x="935084" y="2694744"/>
              <a:ext cx="171071" cy="171071"/>
            </a:xfrm>
            <a:custGeom>
              <a:avLst/>
              <a:gdLst/>
              <a:ahLst/>
              <a:cxnLst/>
              <a:rect l="l" t="t" r="r" b="b"/>
              <a:pathLst>
                <a:path w="8197" h="8197" extrusionOk="0">
                  <a:moveTo>
                    <a:pt x="4099" y="1171"/>
                  </a:moveTo>
                  <a:cubicBezTo>
                    <a:pt x="5712" y="1171"/>
                    <a:pt x="7027" y="2484"/>
                    <a:pt x="7027" y="4097"/>
                  </a:cubicBezTo>
                  <a:cubicBezTo>
                    <a:pt x="7027" y="5712"/>
                    <a:pt x="5712" y="7025"/>
                    <a:pt x="4099" y="7025"/>
                  </a:cubicBezTo>
                  <a:cubicBezTo>
                    <a:pt x="2486" y="7025"/>
                    <a:pt x="1171" y="5712"/>
                    <a:pt x="1171" y="4097"/>
                  </a:cubicBezTo>
                  <a:cubicBezTo>
                    <a:pt x="1171" y="2484"/>
                    <a:pt x="2486" y="1171"/>
                    <a:pt x="4099" y="1171"/>
                  </a:cubicBezTo>
                  <a:close/>
                  <a:moveTo>
                    <a:pt x="4099" y="0"/>
                  </a:moveTo>
                  <a:cubicBezTo>
                    <a:pt x="1840" y="0"/>
                    <a:pt x="0" y="1838"/>
                    <a:pt x="0" y="4097"/>
                  </a:cubicBezTo>
                  <a:cubicBezTo>
                    <a:pt x="0" y="6358"/>
                    <a:pt x="1840" y="8196"/>
                    <a:pt x="4099" y="8196"/>
                  </a:cubicBezTo>
                  <a:cubicBezTo>
                    <a:pt x="6358" y="8196"/>
                    <a:pt x="8196" y="6358"/>
                    <a:pt x="8196" y="4097"/>
                  </a:cubicBezTo>
                  <a:cubicBezTo>
                    <a:pt x="8196" y="1838"/>
                    <a:pt x="6358" y="0"/>
                    <a:pt x="40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81"/>
            <p:cNvSpPr/>
            <p:nvPr/>
          </p:nvSpPr>
          <p:spPr>
            <a:xfrm>
              <a:off x="860977" y="2620616"/>
              <a:ext cx="319311" cy="319290"/>
            </a:xfrm>
            <a:custGeom>
              <a:avLst/>
              <a:gdLst/>
              <a:ahLst/>
              <a:cxnLst/>
              <a:rect l="l" t="t" r="r" b="b"/>
              <a:pathLst>
                <a:path w="15300" h="15299" extrusionOk="0">
                  <a:moveTo>
                    <a:pt x="12333" y="1171"/>
                  </a:moveTo>
                  <a:cubicBezTo>
                    <a:pt x="13306" y="1171"/>
                    <a:pt x="14128" y="1994"/>
                    <a:pt x="14128" y="2967"/>
                  </a:cubicBezTo>
                  <a:lnTo>
                    <a:pt x="14128" y="12334"/>
                  </a:lnTo>
                  <a:cubicBezTo>
                    <a:pt x="14128" y="13307"/>
                    <a:pt x="13306" y="14129"/>
                    <a:pt x="12333" y="14129"/>
                  </a:cubicBezTo>
                  <a:lnTo>
                    <a:pt x="2968" y="14129"/>
                  </a:lnTo>
                  <a:cubicBezTo>
                    <a:pt x="1993" y="14129"/>
                    <a:pt x="1172" y="13307"/>
                    <a:pt x="1172" y="12334"/>
                  </a:cubicBezTo>
                  <a:lnTo>
                    <a:pt x="1172" y="2967"/>
                  </a:lnTo>
                  <a:cubicBezTo>
                    <a:pt x="1172" y="1994"/>
                    <a:pt x="1993" y="1171"/>
                    <a:pt x="2968" y="1171"/>
                  </a:cubicBezTo>
                  <a:close/>
                  <a:moveTo>
                    <a:pt x="2968" y="0"/>
                  </a:moveTo>
                  <a:cubicBezTo>
                    <a:pt x="1351" y="0"/>
                    <a:pt x="1" y="1346"/>
                    <a:pt x="1" y="2967"/>
                  </a:cubicBezTo>
                  <a:lnTo>
                    <a:pt x="1" y="12334"/>
                  </a:lnTo>
                  <a:cubicBezTo>
                    <a:pt x="1" y="13952"/>
                    <a:pt x="1349" y="15299"/>
                    <a:pt x="2968" y="15299"/>
                  </a:cubicBezTo>
                  <a:lnTo>
                    <a:pt x="12333" y="15299"/>
                  </a:lnTo>
                  <a:cubicBezTo>
                    <a:pt x="13953" y="15299"/>
                    <a:pt x="15299" y="13951"/>
                    <a:pt x="15299" y="12334"/>
                  </a:cubicBezTo>
                  <a:lnTo>
                    <a:pt x="15299" y="2967"/>
                  </a:lnTo>
                  <a:cubicBezTo>
                    <a:pt x="15299" y="1345"/>
                    <a:pt x="13948" y="0"/>
                    <a:pt x="12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81"/>
            <p:cNvSpPr/>
            <p:nvPr/>
          </p:nvSpPr>
          <p:spPr>
            <a:xfrm>
              <a:off x="812101" y="2571761"/>
              <a:ext cx="417066" cy="417024"/>
            </a:xfrm>
            <a:custGeom>
              <a:avLst/>
              <a:gdLst/>
              <a:ahLst/>
              <a:cxnLst/>
              <a:rect l="l" t="t" r="r" b="b"/>
              <a:pathLst>
                <a:path w="19984" h="19982" extrusionOk="0">
                  <a:moveTo>
                    <a:pt x="17056" y="1172"/>
                  </a:moveTo>
                  <a:cubicBezTo>
                    <a:pt x="18025" y="1172"/>
                    <a:pt x="18812" y="1959"/>
                    <a:pt x="18812" y="2927"/>
                  </a:cubicBezTo>
                  <a:lnTo>
                    <a:pt x="18812" y="17056"/>
                  </a:lnTo>
                  <a:cubicBezTo>
                    <a:pt x="18812" y="18023"/>
                    <a:pt x="18025" y="18811"/>
                    <a:pt x="17056" y="18811"/>
                  </a:cubicBezTo>
                  <a:lnTo>
                    <a:pt x="2928" y="18811"/>
                  </a:lnTo>
                  <a:cubicBezTo>
                    <a:pt x="1961" y="18811"/>
                    <a:pt x="1172" y="18023"/>
                    <a:pt x="1172" y="17056"/>
                  </a:cubicBezTo>
                  <a:lnTo>
                    <a:pt x="1172" y="2927"/>
                  </a:lnTo>
                  <a:cubicBezTo>
                    <a:pt x="1172" y="1959"/>
                    <a:pt x="1961" y="1172"/>
                    <a:pt x="2928" y="1172"/>
                  </a:cubicBezTo>
                  <a:close/>
                  <a:moveTo>
                    <a:pt x="2928" y="1"/>
                  </a:moveTo>
                  <a:cubicBezTo>
                    <a:pt x="1313" y="1"/>
                    <a:pt x="1" y="1313"/>
                    <a:pt x="1" y="2927"/>
                  </a:cubicBezTo>
                  <a:lnTo>
                    <a:pt x="1" y="17056"/>
                  </a:lnTo>
                  <a:cubicBezTo>
                    <a:pt x="1" y="18669"/>
                    <a:pt x="1313" y="19982"/>
                    <a:pt x="2928" y="19982"/>
                  </a:cubicBezTo>
                  <a:lnTo>
                    <a:pt x="17056" y="19982"/>
                  </a:lnTo>
                  <a:cubicBezTo>
                    <a:pt x="18669" y="19982"/>
                    <a:pt x="19984" y="18669"/>
                    <a:pt x="19984" y="17056"/>
                  </a:cubicBezTo>
                  <a:lnTo>
                    <a:pt x="19984" y="2927"/>
                  </a:lnTo>
                  <a:cubicBezTo>
                    <a:pt x="19984" y="1313"/>
                    <a:pt x="18669" y="1"/>
                    <a:pt x="17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81"/>
            <p:cNvSpPr/>
            <p:nvPr/>
          </p:nvSpPr>
          <p:spPr>
            <a:xfrm>
              <a:off x="1081712" y="2670306"/>
              <a:ext cx="48878" cy="48898"/>
            </a:xfrm>
            <a:custGeom>
              <a:avLst/>
              <a:gdLst/>
              <a:ahLst/>
              <a:cxnLst/>
              <a:rect l="l" t="t" r="r" b="b"/>
              <a:pathLst>
                <a:path w="2342" h="2343" extrusionOk="0">
                  <a:moveTo>
                    <a:pt x="1170" y="0"/>
                  </a:moveTo>
                  <a:cubicBezTo>
                    <a:pt x="524" y="0"/>
                    <a:pt x="1" y="526"/>
                    <a:pt x="1" y="1171"/>
                  </a:cubicBezTo>
                  <a:cubicBezTo>
                    <a:pt x="1" y="1817"/>
                    <a:pt x="524" y="2342"/>
                    <a:pt x="1170" y="2342"/>
                  </a:cubicBezTo>
                  <a:cubicBezTo>
                    <a:pt x="1816" y="2342"/>
                    <a:pt x="2341" y="1817"/>
                    <a:pt x="2341" y="1171"/>
                  </a:cubicBezTo>
                  <a:cubicBezTo>
                    <a:pt x="2341" y="526"/>
                    <a:pt x="1816" y="0"/>
                    <a:pt x="11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4" name="Google Shape;11054;p81"/>
          <p:cNvGrpSpPr/>
          <p:nvPr/>
        </p:nvGrpSpPr>
        <p:grpSpPr>
          <a:xfrm>
            <a:off x="6253923" y="3238790"/>
            <a:ext cx="407391" cy="407391"/>
            <a:chOff x="1323129" y="2571761"/>
            <a:chExt cx="417024" cy="417024"/>
          </a:xfrm>
        </p:grpSpPr>
        <p:sp>
          <p:nvSpPr>
            <p:cNvPr id="11055" name="Google Shape;11055;p81"/>
            <p:cNvSpPr/>
            <p:nvPr/>
          </p:nvSpPr>
          <p:spPr>
            <a:xfrm>
              <a:off x="1385007" y="2719183"/>
              <a:ext cx="73337" cy="219907"/>
            </a:xfrm>
            <a:custGeom>
              <a:avLst/>
              <a:gdLst/>
              <a:ahLst/>
              <a:cxnLst/>
              <a:rect l="l" t="t" r="r" b="b"/>
              <a:pathLst>
                <a:path w="3514" h="10537" extrusionOk="0">
                  <a:moveTo>
                    <a:pt x="2342" y="1171"/>
                  </a:moveTo>
                  <a:lnTo>
                    <a:pt x="2342" y="9367"/>
                  </a:lnTo>
                  <a:lnTo>
                    <a:pt x="1171" y="9367"/>
                  </a:lnTo>
                  <a:lnTo>
                    <a:pt x="1171" y="1171"/>
                  </a:lnTo>
                  <a:close/>
                  <a:moveTo>
                    <a:pt x="586" y="0"/>
                  </a:moveTo>
                  <a:cubicBezTo>
                    <a:pt x="264" y="0"/>
                    <a:pt x="0" y="262"/>
                    <a:pt x="0" y="586"/>
                  </a:cubicBezTo>
                  <a:lnTo>
                    <a:pt x="0" y="9951"/>
                  </a:lnTo>
                  <a:cubicBezTo>
                    <a:pt x="0" y="10275"/>
                    <a:pt x="264" y="10537"/>
                    <a:pt x="586" y="10537"/>
                  </a:cubicBezTo>
                  <a:lnTo>
                    <a:pt x="2928" y="10537"/>
                  </a:lnTo>
                  <a:cubicBezTo>
                    <a:pt x="3252" y="10537"/>
                    <a:pt x="3514" y="10275"/>
                    <a:pt x="3514" y="9951"/>
                  </a:cubicBezTo>
                  <a:lnTo>
                    <a:pt x="3514" y="586"/>
                  </a:lnTo>
                  <a:cubicBezTo>
                    <a:pt x="3514" y="262"/>
                    <a:pt x="325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6" name="Google Shape;11056;p81"/>
            <p:cNvSpPr/>
            <p:nvPr/>
          </p:nvSpPr>
          <p:spPr>
            <a:xfrm>
              <a:off x="1385007" y="2621430"/>
              <a:ext cx="73337" cy="73337"/>
            </a:xfrm>
            <a:custGeom>
              <a:avLst/>
              <a:gdLst/>
              <a:ahLst/>
              <a:cxnLst/>
              <a:rect l="l" t="t" r="r" b="b"/>
              <a:pathLst>
                <a:path w="3514" h="3514" extrusionOk="0">
                  <a:moveTo>
                    <a:pt x="1757" y="1171"/>
                  </a:moveTo>
                  <a:cubicBezTo>
                    <a:pt x="2081" y="1171"/>
                    <a:pt x="2342" y="1435"/>
                    <a:pt x="2342" y="1757"/>
                  </a:cubicBezTo>
                  <a:cubicBezTo>
                    <a:pt x="2342" y="2080"/>
                    <a:pt x="2081" y="2342"/>
                    <a:pt x="1757" y="2342"/>
                  </a:cubicBezTo>
                  <a:cubicBezTo>
                    <a:pt x="1435" y="2342"/>
                    <a:pt x="1171" y="2080"/>
                    <a:pt x="1171" y="1757"/>
                  </a:cubicBezTo>
                  <a:cubicBezTo>
                    <a:pt x="1171" y="1435"/>
                    <a:pt x="1435" y="1171"/>
                    <a:pt x="1757" y="1171"/>
                  </a:cubicBezTo>
                  <a:close/>
                  <a:moveTo>
                    <a:pt x="1757" y="0"/>
                  </a:moveTo>
                  <a:cubicBezTo>
                    <a:pt x="789" y="0"/>
                    <a:pt x="0" y="789"/>
                    <a:pt x="0" y="1757"/>
                  </a:cubicBezTo>
                  <a:cubicBezTo>
                    <a:pt x="0" y="2726"/>
                    <a:pt x="789" y="3513"/>
                    <a:pt x="1757" y="3513"/>
                  </a:cubicBezTo>
                  <a:cubicBezTo>
                    <a:pt x="2726" y="3513"/>
                    <a:pt x="3514" y="2726"/>
                    <a:pt x="3514" y="1757"/>
                  </a:cubicBezTo>
                  <a:cubicBezTo>
                    <a:pt x="3514" y="789"/>
                    <a:pt x="2726" y="0"/>
                    <a:pt x="1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81"/>
            <p:cNvSpPr/>
            <p:nvPr/>
          </p:nvSpPr>
          <p:spPr>
            <a:xfrm>
              <a:off x="1482759" y="2718786"/>
              <a:ext cx="195510" cy="220304"/>
            </a:xfrm>
            <a:custGeom>
              <a:avLst/>
              <a:gdLst/>
              <a:ahLst/>
              <a:cxnLst/>
              <a:rect l="l" t="t" r="r" b="b"/>
              <a:pathLst>
                <a:path w="9368" h="10556" extrusionOk="0">
                  <a:moveTo>
                    <a:pt x="5559" y="1173"/>
                  </a:moveTo>
                  <a:cubicBezTo>
                    <a:pt x="5720" y="1173"/>
                    <a:pt x="5883" y="1186"/>
                    <a:pt x="6044" y="1212"/>
                  </a:cubicBezTo>
                  <a:cubicBezTo>
                    <a:pt x="7422" y="1435"/>
                    <a:pt x="8196" y="2535"/>
                    <a:pt x="8196" y="3669"/>
                  </a:cubicBezTo>
                  <a:lnTo>
                    <a:pt x="8196" y="9386"/>
                  </a:lnTo>
                  <a:lnTo>
                    <a:pt x="7025" y="9386"/>
                  </a:lnTo>
                  <a:lnTo>
                    <a:pt x="7025" y="4702"/>
                  </a:lnTo>
                  <a:cubicBezTo>
                    <a:pt x="7025" y="3411"/>
                    <a:pt x="5975" y="2360"/>
                    <a:pt x="4683" y="2360"/>
                  </a:cubicBezTo>
                  <a:cubicBezTo>
                    <a:pt x="3392" y="2360"/>
                    <a:pt x="2341" y="3411"/>
                    <a:pt x="2341" y="4702"/>
                  </a:cubicBezTo>
                  <a:lnTo>
                    <a:pt x="2341" y="9386"/>
                  </a:lnTo>
                  <a:lnTo>
                    <a:pt x="1170" y="9386"/>
                  </a:lnTo>
                  <a:lnTo>
                    <a:pt x="1170" y="1190"/>
                  </a:lnTo>
                  <a:lnTo>
                    <a:pt x="2341" y="1190"/>
                  </a:lnTo>
                  <a:lnTo>
                    <a:pt x="2341" y="1776"/>
                  </a:lnTo>
                  <a:cubicBezTo>
                    <a:pt x="2341" y="2011"/>
                    <a:pt x="2484" y="2225"/>
                    <a:pt x="2704" y="2316"/>
                  </a:cubicBezTo>
                  <a:cubicBezTo>
                    <a:pt x="2776" y="2346"/>
                    <a:pt x="2852" y="2361"/>
                    <a:pt x="2928" y="2361"/>
                  </a:cubicBezTo>
                  <a:cubicBezTo>
                    <a:pt x="3080" y="2361"/>
                    <a:pt x="3229" y="2301"/>
                    <a:pt x="3341" y="2190"/>
                  </a:cubicBezTo>
                  <a:lnTo>
                    <a:pt x="3615" y="1916"/>
                  </a:lnTo>
                  <a:cubicBezTo>
                    <a:pt x="4086" y="1443"/>
                    <a:pt x="4813" y="1173"/>
                    <a:pt x="5559" y="1173"/>
                  </a:cubicBezTo>
                  <a:close/>
                  <a:moveTo>
                    <a:pt x="5553" y="0"/>
                  </a:moveTo>
                  <a:cubicBezTo>
                    <a:pt x="4823" y="0"/>
                    <a:pt x="4110" y="189"/>
                    <a:pt x="3509" y="536"/>
                  </a:cubicBezTo>
                  <a:cubicBezTo>
                    <a:pt x="3475" y="246"/>
                    <a:pt x="3227" y="19"/>
                    <a:pt x="2927" y="19"/>
                  </a:cubicBezTo>
                  <a:lnTo>
                    <a:pt x="586" y="19"/>
                  </a:lnTo>
                  <a:cubicBezTo>
                    <a:pt x="262" y="19"/>
                    <a:pt x="1" y="281"/>
                    <a:pt x="1" y="605"/>
                  </a:cubicBezTo>
                  <a:lnTo>
                    <a:pt x="1" y="9970"/>
                  </a:lnTo>
                  <a:cubicBezTo>
                    <a:pt x="1" y="10294"/>
                    <a:pt x="262" y="10556"/>
                    <a:pt x="586" y="10556"/>
                  </a:cubicBezTo>
                  <a:lnTo>
                    <a:pt x="2927" y="10556"/>
                  </a:lnTo>
                  <a:cubicBezTo>
                    <a:pt x="3250" y="10556"/>
                    <a:pt x="3512" y="10294"/>
                    <a:pt x="3512" y="9970"/>
                  </a:cubicBezTo>
                  <a:lnTo>
                    <a:pt x="3512" y="4702"/>
                  </a:lnTo>
                  <a:cubicBezTo>
                    <a:pt x="3512" y="4056"/>
                    <a:pt x="4038" y="3531"/>
                    <a:pt x="4683" y="3531"/>
                  </a:cubicBezTo>
                  <a:cubicBezTo>
                    <a:pt x="5329" y="3531"/>
                    <a:pt x="5854" y="4056"/>
                    <a:pt x="5854" y="4702"/>
                  </a:cubicBezTo>
                  <a:lnTo>
                    <a:pt x="5854" y="9970"/>
                  </a:lnTo>
                  <a:cubicBezTo>
                    <a:pt x="5854" y="10294"/>
                    <a:pt x="6116" y="10556"/>
                    <a:pt x="6440" y="10556"/>
                  </a:cubicBezTo>
                  <a:lnTo>
                    <a:pt x="8782" y="10556"/>
                  </a:lnTo>
                  <a:cubicBezTo>
                    <a:pt x="9104" y="10556"/>
                    <a:pt x="9368" y="10294"/>
                    <a:pt x="9368" y="9970"/>
                  </a:cubicBezTo>
                  <a:lnTo>
                    <a:pt x="9368" y="3669"/>
                  </a:lnTo>
                  <a:cubicBezTo>
                    <a:pt x="9368" y="1921"/>
                    <a:pt x="8131" y="364"/>
                    <a:pt x="6231" y="55"/>
                  </a:cubicBezTo>
                  <a:cubicBezTo>
                    <a:pt x="6005" y="18"/>
                    <a:pt x="5779" y="0"/>
                    <a:pt x="55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81"/>
            <p:cNvSpPr/>
            <p:nvPr/>
          </p:nvSpPr>
          <p:spPr>
            <a:xfrm>
              <a:off x="1323129" y="2571761"/>
              <a:ext cx="417024" cy="417024"/>
            </a:xfrm>
            <a:custGeom>
              <a:avLst/>
              <a:gdLst/>
              <a:ahLst/>
              <a:cxnLst/>
              <a:rect l="l" t="t" r="r" b="b"/>
              <a:pathLst>
                <a:path w="19982" h="19982" extrusionOk="0">
                  <a:moveTo>
                    <a:pt x="17015" y="1170"/>
                  </a:moveTo>
                  <a:cubicBezTo>
                    <a:pt x="17989" y="1170"/>
                    <a:pt x="18810" y="1993"/>
                    <a:pt x="18810" y="2966"/>
                  </a:cubicBezTo>
                  <a:lnTo>
                    <a:pt x="18810" y="17015"/>
                  </a:lnTo>
                  <a:cubicBezTo>
                    <a:pt x="18810" y="17990"/>
                    <a:pt x="17989" y="18811"/>
                    <a:pt x="17015" y="18811"/>
                  </a:cubicBezTo>
                  <a:lnTo>
                    <a:pt x="2965" y="18811"/>
                  </a:lnTo>
                  <a:cubicBezTo>
                    <a:pt x="1992" y="18811"/>
                    <a:pt x="1170" y="17990"/>
                    <a:pt x="1170" y="17015"/>
                  </a:cubicBezTo>
                  <a:lnTo>
                    <a:pt x="1170" y="2966"/>
                  </a:lnTo>
                  <a:cubicBezTo>
                    <a:pt x="1170" y="1993"/>
                    <a:pt x="1992" y="1170"/>
                    <a:pt x="2965" y="1170"/>
                  </a:cubicBezTo>
                  <a:close/>
                  <a:moveTo>
                    <a:pt x="2965" y="1"/>
                  </a:moveTo>
                  <a:cubicBezTo>
                    <a:pt x="1347" y="1"/>
                    <a:pt x="0" y="1349"/>
                    <a:pt x="0" y="2966"/>
                  </a:cubicBezTo>
                  <a:lnTo>
                    <a:pt x="0" y="17015"/>
                  </a:lnTo>
                  <a:cubicBezTo>
                    <a:pt x="0" y="18635"/>
                    <a:pt x="1348" y="19982"/>
                    <a:pt x="2965" y="19982"/>
                  </a:cubicBezTo>
                  <a:lnTo>
                    <a:pt x="17017" y="19982"/>
                  </a:lnTo>
                  <a:cubicBezTo>
                    <a:pt x="18635" y="19982"/>
                    <a:pt x="19981" y="18634"/>
                    <a:pt x="19981" y="17015"/>
                  </a:cubicBezTo>
                  <a:lnTo>
                    <a:pt x="19981" y="2966"/>
                  </a:lnTo>
                  <a:cubicBezTo>
                    <a:pt x="19981" y="1347"/>
                    <a:pt x="18633" y="1"/>
                    <a:pt x="17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59" name="Google Shape;11059;p81"/>
          <p:cNvSpPr/>
          <p:nvPr/>
        </p:nvSpPr>
        <p:spPr>
          <a:xfrm>
            <a:off x="6827427" y="3275603"/>
            <a:ext cx="409401" cy="333886"/>
          </a:xfrm>
          <a:custGeom>
            <a:avLst/>
            <a:gdLst/>
            <a:ahLst/>
            <a:cxnLst/>
            <a:rect l="l" t="t" r="r" b="b"/>
            <a:pathLst>
              <a:path w="20081" h="16377" extrusionOk="0">
                <a:moveTo>
                  <a:pt x="13632" y="1165"/>
                </a:moveTo>
                <a:cubicBezTo>
                  <a:pt x="14903" y="1165"/>
                  <a:pt x="15458" y="1658"/>
                  <a:pt x="15826" y="1984"/>
                </a:cubicBezTo>
                <a:cubicBezTo>
                  <a:pt x="16040" y="2173"/>
                  <a:pt x="16244" y="2353"/>
                  <a:pt x="16548" y="2353"/>
                </a:cubicBezTo>
                <a:cubicBezTo>
                  <a:pt x="16762" y="2353"/>
                  <a:pt x="17038" y="2293"/>
                  <a:pt x="17344" y="2196"/>
                </a:cubicBezTo>
                <a:lnTo>
                  <a:pt x="17344" y="2196"/>
                </a:lnTo>
                <a:cubicBezTo>
                  <a:pt x="17236" y="2288"/>
                  <a:pt x="17119" y="2376"/>
                  <a:pt x="16995" y="2461"/>
                </a:cubicBezTo>
                <a:cubicBezTo>
                  <a:pt x="16780" y="2612"/>
                  <a:pt x="16689" y="2889"/>
                  <a:pt x="16778" y="3137"/>
                </a:cubicBezTo>
                <a:cubicBezTo>
                  <a:pt x="16861" y="3373"/>
                  <a:pt x="17082" y="3528"/>
                  <a:pt x="17329" y="3528"/>
                </a:cubicBezTo>
                <a:cubicBezTo>
                  <a:pt x="17343" y="3528"/>
                  <a:pt x="17358" y="3527"/>
                  <a:pt x="17372" y="3526"/>
                </a:cubicBezTo>
                <a:cubicBezTo>
                  <a:pt x="17475" y="3519"/>
                  <a:pt x="17576" y="3508"/>
                  <a:pt x="17680" y="3494"/>
                </a:cubicBezTo>
                <a:lnTo>
                  <a:pt x="17680" y="3494"/>
                </a:lnTo>
                <a:cubicBezTo>
                  <a:pt x="17275" y="3802"/>
                  <a:pt x="16921" y="3990"/>
                  <a:pt x="16937" y="4786"/>
                </a:cubicBezTo>
                <a:cubicBezTo>
                  <a:pt x="16937" y="4826"/>
                  <a:pt x="16939" y="4881"/>
                  <a:pt x="16939" y="4971"/>
                </a:cubicBezTo>
                <a:cubicBezTo>
                  <a:pt x="16939" y="6510"/>
                  <a:pt x="16350" y="9097"/>
                  <a:pt x="14694" y="11320"/>
                </a:cubicBezTo>
                <a:cubicBezTo>
                  <a:pt x="13372" y="13093"/>
                  <a:pt x="10896" y="15207"/>
                  <a:pt x="6611" y="15207"/>
                </a:cubicBezTo>
                <a:cubicBezTo>
                  <a:pt x="5368" y="15207"/>
                  <a:pt x="4159" y="14996"/>
                  <a:pt x="3001" y="14582"/>
                </a:cubicBezTo>
                <a:cubicBezTo>
                  <a:pt x="4359" y="14345"/>
                  <a:pt x="5612" y="13799"/>
                  <a:pt x="6698" y="12960"/>
                </a:cubicBezTo>
                <a:cubicBezTo>
                  <a:pt x="6893" y="12812"/>
                  <a:pt x="6972" y="12557"/>
                  <a:pt x="6900" y="12323"/>
                </a:cubicBezTo>
                <a:cubicBezTo>
                  <a:pt x="6827" y="12090"/>
                  <a:pt x="6617" y="11925"/>
                  <a:pt x="6372" y="11913"/>
                </a:cubicBezTo>
                <a:cubicBezTo>
                  <a:pt x="5203" y="11849"/>
                  <a:pt x="4280" y="11209"/>
                  <a:pt x="3767" y="10448"/>
                </a:cubicBezTo>
                <a:cubicBezTo>
                  <a:pt x="3968" y="10434"/>
                  <a:pt x="4207" y="10404"/>
                  <a:pt x="4564" y="10340"/>
                </a:cubicBezTo>
                <a:cubicBezTo>
                  <a:pt x="4832" y="10294"/>
                  <a:pt x="5030" y="10071"/>
                  <a:pt x="5047" y="9801"/>
                </a:cubicBezTo>
                <a:cubicBezTo>
                  <a:pt x="5065" y="9532"/>
                  <a:pt x="4895" y="9286"/>
                  <a:pt x="4637" y="9205"/>
                </a:cubicBezTo>
                <a:cubicBezTo>
                  <a:pt x="3296" y="8787"/>
                  <a:pt x="2498" y="8025"/>
                  <a:pt x="2180" y="6838"/>
                </a:cubicBezTo>
                <a:lnTo>
                  <a:pt x="2180" y="6838"/>
                </a:lnTo>
                <a:cubicBezTo>
                  <a:pt x="2390" y="6891"/>
                  <a:pt x="2642" y="6933"/>
                  <a:pt x="3057" y="6986"/>
                </a:cubicBezTo>
                <a:cubicBezTo>
                  <a:pt x="3081" y="6989"/>
                  <a:pt x="3105" y="6991"/>
                  <a:pt x="3129" y="6991"/>
                </a:cubicBezTo>
                <a:cubicBezTo>
                  <a:pt x="3359" y="6991"/>
                  <a:pt x="3571" y="6854"/>
                  <a:pt x="3666" y="6640"/>
                </a:cubicBezTo>
                <a:cubicBezTo>
                  <a:pt x="3770" y="6403"/>
                  <a:pt x="3707" y="6125"/>
                  <a:pt x="3508" y="5957"/>
                </a:cubicBezTo>
                <a:cubicBezTo>
                  <a:pt x="2014" y="4697"/>
                  <a:pt x="1936" y="3409"/>
                  <a:pt x="2210" y="2373"/>
                </a:cubicBezTo>
                <a:lnTo>
                  <a:pt x="2210" y="2373"/>
                </a:lnTo>
                <a:cubicBezTo>
                  <a:pt x="4267" y="4464"/>
                  <a:pt x="6801" y="5670"/>
                  <a:pt x="9880" y="5882"/>
                </a:cubicBezTo>
                <a:cubicBezTo>
                  <a:pt x="9894" y="5883"/>
                  <a:pt x="9908" y="5884"/>
                  <a:pt x="9921" y="5884"/>
                </a:cubicBezTo>
                <a:cubicBezTo>
                  <a:pt x="10265" y="5884"/>
                  <a:pt x="10539" y="5586"/>
                  <a:pt x="10503" y="5239"/>
                </a:cubicBezTo>
                <a:cubicBezTo>
                  <a:pt x="10372" y="3940"/>
                  <a:pt x="10634" y="2919"/>
                  <a:pt x="11281" y="2203"/>
                </a:cubicBezTo>
                <a:cubicBezTo>
                  <a:pt x="11975" y="1437"/>
                  <a:pt x="12981" y="1165"/>
                  <a:pt x="13632" y="1165"/>
                </a:cubicBezTo>
                <a:close/>
                <a:moveTo>
                  <a:pt x="13631" y="1"/>
                </a:moveTo>
                <a:cubicBezTo>
                  <a:pt x="12698" y="1"/>
                  <a:pt x="11363" y="368"/>
                  <a:pt x="10413" y="1418"/>
                </a:cubicBezTo>
                <a:cubicBezTo>
                  <a:pt x="9665" y="2245"/>
                  <a:pt x="9291" y="3332"/>
                  <a:pt x="9300" y="4649"/>
                </a:cubicBezTo>
                <a:cubicBezTo>
                  <a:pt x="6556" y="4315"/>
                  <a:pt x="4306" y="3079"/>
                  <a:pt x="2438" y="887"/>
                </a:cubicBezTo>
                <a:cubicBezTo>
                  <a:pt x="2327" y="756"/>
                  <a:pt x="2163" y="681"/>
                  <a:pt x="1993" y="681"/>
                </a:cubicBezTo>
                <a:cubicBezTo>
                  <a:pt x="1966" y="681"/>
                  <a:pt x="1938" y="683"/>
                  <a:pt x="1911" y="687"/>
                </a:cubicBezTo>
                <a:cubicBezTo>
                  <a:pt x="1713" y="715"/>
                  <a:pt x="1541" y="843"/>
                  <a:pt x="1460" y="1025"/>
                </a:cubicBezTo>
                <a:cubicBezTo>
                  <a:pt x="1207" y="1582"/>
                  <a:pt x="876" y="2444"/>
                  <a:pt x="922" y="3466"/>
                </a:cubicBezTo>
                <a:cubicBezTo>
                  <a:pt x="952" y="4138"/>
                  <a:pt x="1138" y="4773"/>
                  <a:pt x="1479" y="5368"/>
                </a:cubicBezTo>
                <a:cubicBezTo>
                  <a:pt x="1469" y="5367"/>
                  <a:pt x="1459" y="5367"/>
                  <a:pt x="1449" y="5367"/>
                </a:cubicBezTo>
                <a:cubicBezTo>
                  <a:pt x="1114" y="5367"/>
                  <a:pt x="843" y="5650"/>
                  <a:pt x="865" y="5990"/>
                </a:cubicBezTo>
                <a:cubicBezTo>
                  <a:pt x="963" y="7455"/>
                  <a:pt x="1501" y="8589"/>
                  <a:pt x="2470" y="9380"/>
                </a:cubicBezTo>
                <a:cubicBezTo>
                  <a:pt x="2284" y="9528"/>
                  <a:pt x="2208" y="9773"/>
                  <a:pt x="2274" y="9999"/>
                </a:cubicBezTo>
                <a:cubicBezTo>
                  <a:pt x="2578" y="11057"/>
                  <a:pt x="3469" y="12207"/>
                  <a:pt x="4833" y="12757"/>
                </a:cubicBezTo>
                <a:cubicBezTo>
                  <a:pt x="3802" y="13279"/>
                  <a:pt x="2644" y="13546"/>
                  <a:pt x="1412" y="13546"/>
                </a:cubicBezTo>
                <a:cubicBezTo>
                  <a:pt x="1173" y="13546"/>
                  <a:pt x="932" y="13536"/>
                  <a:pt x="689" y="13516"/>
                </a:cubicBezTo>
                <a:cubicBezTo>
                  <a:pt x="673" y="13515"/>
                  <a:pt x="658" y="13514"/>
                  <a:pt x="642" y="13514"/>
                </a:cubicBezTo>
                <a:cubicBezTo>
                  <a:pt x="390" y="13514"/>
                  <a:pt x="164" y="13676"/>
                  <a:pt x="84" y="13919"/>
                </a:cubicBezTo>
                <a:cubicBezTo>
                  <a:pt x="0" y="14177"/>
                  <a:pt x="105" y="14460"/>
                  <a:pt x="338" y="14600"/>
                </a:cubicBezTo>
                <a:cubicBezTo>
                  <a:pt x="2284" y="15778"/>
                  <a:pt x="4395" y="16376"/>
                  <a:pt x="6611" y="16376"/>
                </a:cubicBezTo>
                <a:cubicBezTo>
                  <a:pt x="11382" y="16376"/>
                  <a:pt x="14151" y="14008"/>
                  <a:pt x="15631" y="12019"/>
                </a:cubicBezTo>
                <a:cubicBezTo>
                  <a:pt x="17461" y="9567"/>
                  <a:pt x="18108" y="6689"/>
                  <a:pt x="18108" y="4971"/>
                </a:cubicBezTo>
                <a:cubicBezTo>
                  <a:pt x="18108" y="4747"/>
                  <a:pt x="18103" y="4701"/>
                  <a:pt x="18110" y="4637"/>
                </a:cubicBezTo>
                <a:cubicBezTo>
                  <a:pt x="18336" y="4435"/>
                  <a:pt x="18964" y="4133"/>
                  <a:pt x="19935" y="2718"/>
                </a:cubicBezTo>
                <a:cubicBezTo>
                  <a:pt x="20080" y="2505"/>
                  <a:pt x="20070" y="2221"/>
                  <a:pt x="19909" y="2019"/>
                </a:cubicBezTo>
                <a:cubicBezTo>
                  <a:pt x="19795" y="1879"/>
                  <a:pt x="19625" y="1801"/>
                  <a:pt x="19451" y="1801"/>
                </a:cubicBezTo>
                <a:cubicBezTo>
                  <a:pt x="19377" y="1801"/>
                  <a:pt x="19303" y="1815"/>
                  <a:pt x="19231" y="1844"/>
                </a:cubicBezTo>
                <a:cubicBezTo>
                  <a:pt x="19194" y="1860"/>
                  <a:pt x="19155" y="1874"/>
                  <a:pt x="19118" y="1890"/>
                </a:cubicBezTo>
                <a:cubicBezTo>
                  <a:pt x="19269" y="1630"/>
                  <a:pt x="19392" y="1356"/>
                  <a:pt x="19490" y="1062"/>
                </a:cubicBezTo>
                <a:cubicBezTo>
                  <a:pt x="19564" y="841"/>
                  <a:pt x="19498" y="598"/>
                  <a:pt x="19327" y="443"/>
                </a:cubicBezTo>
                <a:cubicBezTo>
                  <a:pt x="19217" y="344"/>
                  <a:pt x="19076" y="292"/>
                  <a:pt x="18934" y="292"/>
                </a:cubicBezTo>
                <a:cubicBezTo>
                  <a:pt x="18853" y="292"/>
                  <a:pt x="18771" y="309"/>
                  <a:pt x="18694" y="344"/>
                </a:cubicBezTo>
                <a:cubicBezTo>
                  <a:pt x="18690" y="345"/>
                  <a:pt x="18676" y="351"/>
                  <a:pt x="18651" y="363"/>
                </a:cubicBezTo>
                <a:cubicBezTo>
                  <a:pt x="17724" y="830"/>
                  <a:pt x="16999" y="1103"/>
                  <a:pt x="16670" y="1166"/>
                </a:cubicBezTo>
                <a:cubicBezTo>
                  <a:pt x="16647" y="1147"/>
                  <a:pt x="16624" y="1126"/>
                  <a:pt x="16603" y="1106"/>
                </a:cubicBezTo>
                <a:cubicBezTo>
                  <a:pt x="16194" y="745"/>
                  <a:pt x="15347" y="1"/>
                  <a:pt x="13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60" name="Google Shape;11060;p81"/>
          <p:cNvGrpSpPr/>
          <p:nvPr/>
        </p:nvGrpSpPr>
        <p:grpSpPr>
          <a:xfrm>
            <a:off x="7390398" y="3238843"/>
            <a:ext cx="408023" cy="407411"/>
            <a:chOff x="2344476" y="2571761"/>
            <a:chExt cx="417671" cy="417045"/>
          </a:xfrm>
        </p:grpSpPr>
        <p:sp>
          <p:nvSpPr>
            <p:cNvPr id="11061" name="Google Shape;11061;p81"/>
            <p:cNvSpPr/>
            <p:nvPr/>
          </p:nvSpPr>
          <p:spPr>
            <a:xfrm>
              <a:off x="2344476" y="2571761"/>
              <a:ext cx="417671" cy="417045"/>
            </a:xfrm>
            <a:custGeom>
              <a:avLst/>
              <a:gdLst/>
              <a:ahLst/>
              <a:cxnLst/>
              <a:rect l="l" t="t" r="r" b="b"/>
              <a:pathLst>
                <a:path w="20013" h="19983" extrusionOk="0">
                  <a:moveTo>
                    <a:pt x="10022" y="1170"/>
                  </a:moveTo>
                  <a:cubicBezTo>
                    <a:pt x="14886" y="1170"/>
                    <a:pt x="18842" y="5127"/>
                    <a:pt x="18842" y="9990"/>
                  </a:cubicBezTo>
                  <a:cubicBezTo>
                    <a:pt x="18842" y="14855"/>
                    <a:pt x="14886" y="18811"/>
                    <a:pt x="10023" y="18811"/>
                  </a:cubicBezTo>
                  <a:cubicBezTo>
                    <a:pt x="8516" y="18811"/>
                    <a:pt x="7030" y="18423"/>
                    <a:pt x="5726" y="17691"/>
                  </a:cubicBezTo>
                  <a:cubicBezTo>
                    <a:pt x="5638" y="17641"/>
                    <a:pt x="5539" y="17615"/>
                    <a:pt x="5440" y="17615"/>
                  </a:cubicBezTo>
                  <a:cubicBezTo>
                    <a:pt x="5393" y="17615"/>
                    <a:pt x="5345" y="17621"/>
                    <a:pt x="5298" y="17632"/>
                  </a:cubicBezTo>
                  <a:lnTo>
                    <a:pt x="1419" y="18595"/>
                  </a:lnTo>
                  <a:lnTo>
                    <a:pt x="2381" y="14715"/>
                  </a:lnTo>
                  <a:cubicBezTo>
                    <a:pt x="2417" y="14570"/>
                    <a:pt x="2395" y="14416"/>
                    <a:pt x="2323" y="14287"/>
                  </a:cubicBezTo>
                  <a:cubicBezTo>
                    <a:pt x="1590" y="12982"/>
                    <a:pt x="1203" y="11498"/>
                    <a:pt x="1203" y="9990"/>
                  </a:cubicBezTo>
                  <a:cubicBezTo>
                    <a:pt x="1203" y="5127"/>
                    <a:pt x="5159" y="1170"/>
                    <a:pt x="10022" y="1170"/>
                  </a:cubicBezTo>
                  <a:close/>
                  <a:moveTo>
                    <a:pt x="10023" y="1"/>
                  </a:moveTo>
                  <a:cubicBezTo>
                    <a:pt x="4522" y="1"/>
                    <a:pt x="32" y="4491"/>
                    <a:pt x="32" y="9990"/>
                  </a:cubicBezTo>
                  <a:cubicBezTo>
                    <a:pt x="32" y="11620"/>
                    <a:pt x="432" y="13226"/>
                    <a:pt x="1191" y="14655"/>
                  </a:cubicBezTo>
                  <a:lnTo>
                    <a:pt x="50" y="19256"/>
                  </a:lnTo>
                  <a:cubicBezTo>
                    <a:pt x="0" y="19455"/>
                    <a:pt x="58" y="19665"/>
                    <a:pt x="204" y="19810"/>
                  </a:cubicBezTo>
                  <a:cubicBezTo>
                    <a:pt x="313" y="19921"/>
                    <a:pt x="461" y="19982"/>
                    <a:pt x="614" y="19982"/>
                  </a:cubicBezTo>
                  <a:cubicBezTo>
                    <a:pt x="662" y="19982"/>
                    <a:pt x="710" y="19976"/>
                    <a:pt x="757" y="19964"/>
                  </a:cubicBezTo>
                  <a:lnTo>
                    <a:pt x="5358" y="18823"/>
                  </a:lnTo>
                  <a:cubicBezTo>
                    <a:pt x="6788" y="19582"/>
                    <a:pt x="8394" y="19982"/>
                    <a:pt x="10022" y="19982"/>
                  </a:cubicBezTo>
                  <a:cubicBezTo>
                    <a:pt x="12680" y="19982"/>
                    <a:pt x="15187" y="18940"/>
                    <a:pt x="17078" y="17047"/>
                  </a:cubicBezTo>
                  <a:cubicBezTo>
                    <a:pt x="18971" y="15156"/>
                    <a:pt x="20013" y="12649"/>
                    <a:pt x="20013" y="9990"/>
                  </a:cubicBezTo>
                  <a:cubicBezTo>
                    <a:pt x="20013" y="7333"/>
                    <a:pt x="18971" y="4827"/>
                    <a:pt x="17080" y="2934"/>
                  </a:cubicBezTo>
                  <a:cubicBezTo>
                    <a:pt x="15187" y="1043"/>
                    <a:pt x="12680" y="1"/>
                    <a:pt x="100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2" name="Google Shape;11062;p81"/>
            <p:cNvSpPr/>
            <p:nvPr/>
          </p:nvSpPr>
          <p:spPr>
            <a:xfrm>
              <a:off x="2421672" y="2657388"/>
              <a:ext cx="260625" cy="243636"/>
            </a:xfrm>
            <a:custGeom>
              <a:avLst/>
              <a:gdLst/>
              <a:ahLst/>
              <a:cxnLst/>
              <a:rect l="l" t="t" r="r" b="b"/>
              <a:pathLst>
                <a:path w="12488" h="11674" extrusionOk="0">
                  <a:moveTo>
                    <a:pt x="3164" y="1171"/>
                  </a:moveTo>
                  <a:cubicBezTo>
                    <a:pt x="3352" y="1171"/>
                    <a:pt x="3536" y="1247"/>
                    <a:pt x="3710" y="1424"/>
                  </a:cubicBezTo>
                  <a:lnTo>
                    <a:pt x="3719" y="1433"/>
                  </a:lnTo>
                  <a:cubicBezTo>
                    <a:pt x="4757" y="2473"/>
                    <a:pt x="4683" y="2832"/>
                    <a:pt x="4449" y="3068"/>
                  </a:cubicBezTo>
                  <a:cubicBezTo>
                    <a:pt x="4240" y="3275"/>
                    <a:pt x="3625" y="3692"/>
                    <a:pt x="3427" y="3892"/>
                  </a:cubicBezTo>
                  <a:cubicBezTo>
                    <a:pt x="2960" y="4359"/>
                    <a:pt x="3046" y="5081"/>
                    <a:pt x="3685" y="6039"/>
                  </a:cubicBezTo>
                  <a:cubicBezTo>
                    <a:pt x="4065" y="6611"/>
                    <a:pt x="4568" y="7166"/>
                    <a:pt x="4805" y="7405"/>
                  </a:cubicBezTo>
                  <a:lnTo>
                    <a:pt x="4806" y="7405"/>
                  </a:lnTo>
                  <a:cubicBezTo>
                    <a:pt x="5045" y="7642"/>
                    <a:pt x="5599" y="8146"/>
                    <a:pt x="6172" y="8527"/>
                  </a:cubicBezTo>
                  <a:cubicBezTo>
                    <a:pt x="6727" y="8895"/>
                    <a:pt x="7202" y="9079"/>
                    <a:pt x="7594" y="9079"/>
                  </a:cubicBezTo>
                  <a:cubicBezTo>
                    <a:pt x="7880" y="9079"/>
                    <a:pt x="8123" y="8981"/>
                    <a:pt x="8320" y="8785"/>
                  </a:cubicBezTo>
                  <a:cubicBezTo>
                    <a:pt x="8518" y="8585"/>
                    <a:pt x="8935" y="7971"/>
                    <a:pt x="9144" y="7762"/>
                  </a:cubicBezTo>
                  <a:cubicBezTo>
                    <a:pt x="9238" y="7668"/>
                    <a:pt x="9331" y="7609"/>
                    <a:pt x="9460" y="7609"/>
                  </a:cubicBezTo>
                  <a:cubicBezTo>
                    <a:pt x="9549" y="7609"/>
                    <a:pt x="9655" y="7637"/>
                    <a:pt x="9790" y="7702"/>
                  </a:cubicBezTo>
                  <a:cubicBezTo>
                    <a:pt x="10172" y="7886"/>
                    <a:pt x="10582" y="8297"/>
                    <a:pt x="10779" y="8493"/>
                  </a:cubicBezTo>
                  <a:lnTo>
                    <a:pt x="10788" y="8502"/>
                  </a:lnTo>
                  <a:cubicBezTo>
                    <a:pt x="11239" y="8944"/>
                    <a:pt x="11037" y="9452"/>
                    <a:pt x="10593" y="9898"/>
                  </a:cubicBezTo>
                  <a:cubicBezTo>
                    <a:pt x="10190" y="10300"/>
                    <a:pt x="9680" y="10502"/>
                    <a:pt x="9068" y="10502"/>
                  </a:cubicBezTo>
                  <a:cubicBezTo>
                    <a:pt x="8521" y="10502"/>
                    <a:pt x="7892" y="10341"/>
                    <a:pt x="7184" y="10020"/>
                  </a:cubicBezTo>
                  <a:cubicBezTo>
                    <a:pt x="5868" y="9420"/>
                    <a:pt x="4676" y="8428"/>
                    <a:pt x="4228" y="7984"/>
                  </a:cubicBezTo>
                  <a:cubicBezTo>
                    <a:pt x="3784" y="7536"/>
                    <a:pt x="2792" y="6344"/>
                    <a:pt x="2192" y="5028"/>
                  </a:cubicBezTo>
                  <a:cubicBezTo>
                    <a:pt x="1511" y="3527"/>
                    <a:pt x="1552" y="2381"/>
                    <a:pt x="2314" y="1619"/>
                  </a:cubicBezTo>
                  <a:cubicBezTo>
                    <a:pt x="2583" y="1350"/>
                    <a:pt x="2877" y="1171"/>
                    <a:pt x="3164" y="1171"/>
                  </a:cubicBezTo>
                  <a:close/>
                  <a:moveTo>
                    <a:pt x="3169" y="1"/>
                  </a:moveTo>
                  <a:cubicBezTo>
                    <a:pt x="2619" y="1"/>
                    <a:pt x="2030" y="247"/>
                    <a:pt x="1486" y="791"/>
                  </a:cubicBezTo>
                  <a:cubicBezTo>
                    <a:pt x="701" y="1576"/>
                    <a:pt x="0" y="3034"/>
                    <a:pt x="1127" y="5512"/>
                  </a:cubicBezTo>
                  <a:cubicBezTo>
                    <a:pt x="1794" y="6979"/>
                    <a:pt x="2868" y="8274"/>
                    <a:pt x="3398" y="8810"/>
                  </a:cubicBezTo>
                  <a:lnTo>
                    <a:pt x="3402" y="8813"/>
                  </a:lnTo>
                  <a:cubicBezTo>
                    <a:pt x="3938" y="9344"/>
                    <a:pt x="5235" y="10418"/>
                    <a:pt x="6699" y="11085"/>
                  </a:cubicBezTo>
                  <a:cubicBezTo>
                    <a:pt x="7490" y="11445"/>
                    <a:pt x="8308" y="11674"/>
                    <a:pt x="9088" y="11674"/>
                  </a:cubicBezTo>
                  <a:cubicBezTo>
                    <a:pt x="9940" y="11674"/>
                    <a:pt x="10746" y="11400"/>
                    <a:pt x="11421" y="10726"/>
                  </a:cubicBezTo>
                  <a:cubicBezTo>
                    <a:pt x="12488" y="9657"/>
                    <a:pt x="12399" y="8442"/>
                    <a:pt x="11607" y="7665"/>
                  </a:cubicBezTo>
                  <a:cubicBezTo>
                    <a:pt x="11219" y="7278"/>
                    <a:pt x="10791" y="6885"/>
                    <a:pt x="10297" y="6648"/>
                  </a:cubicBezTo>
                  <a:cubicBezTo>
                    <a:pt x="10009" y="6509"/>
                    <a:pt x="9725" y="6440"/>
                    <a:pt x="9455" y="6440"/>
                  </a:cubicBezTo>
                  <a:cubicBezTo>
                    <a:pt x="9034" y="6440"/>
                    <a:pt x="8646" y="6606"/>
                    <a:pt x="8316" y="6935"/>
                  </a:cubicBezTo>
                  <a:cubicBezTo>
                    <a:pt x="8070" y="7180"/>
                    <a:pt x="7732" y="7665"/>
                    <a:pt x="7538" y="7904"/>
                  </a:cubicBezTo>
                  <a:cubicBezTo>
                    <a:pt x="7035" y="7819"/>
                    <a:pt x="6032" y="6974"/>
                    <a:pt x="5634" y="6577"/>
                  </a:cubicBezTo>
                  <a:cubicBezTo>
                    <a:pt x="5236" y="6179"/>
                    <a:pt x="4393" y="5174"/>
                    <a:pt x="4308" y="4674"/>
                  </a:cubicBezTo>
                  <a:cubicBezTo>
                    <a:pt x="4545" y="4481"/>
                    <a:pt x="5031" y="4141"/>
                    <a:pt x="5277" y="3895"/>
                  </a:cubicBezTo>
                  <a:cubicBezTo>
                    <a:pt x="5817" y="3354"/>
                    <a:pt x="5919" y="2652"/>
                    <a:pt x="5564" y="1914"/>
                  </a:cubicBezTo>
                  <a:cubicBezTo>
                    <a:pt x="5327" y="1421"/>
                    <a:pt x="4934" y="993"/>
                    <a:pt x="4546" y="605"/>
                  </a:cubicBezTo>
                  <a:cubicBezTo>
                    <a:pt x="4165" y="216"/>
                    <a:pt x="3684" y="1"/>
                    <a:pt x="31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1066"/>
        <p:cNvGrpSpPr/>
        <p:nvPr/>
      </p:nvGrpSpPr>
      <p:grpSpPr>
        <a:xfrm>
          <a:off x="0" y="0"/>
          <a:ext cx="0" cy="0"/>
          <a:chOff x="0" y="0"/>
          <a:chExt cx="0" cy="0"/>
        </a:xfrm>
      </p:grpSpPr>
      <p:pic>
        <p:nvPicPr>
          <p:cNvPr id="11067" name="Google Shape;11067;p82">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892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nagement Consulting Toolkit by Slidesgo">
  <a:themeElements>
    <a:clrScheme name="Simple Light">
      <a:dk1>
        <a:srgbClr val="FFFFFF"/>
      </a:dk1>
      <a:lt1>
        <a:srgbClr val="000000"/>
      </a:lt1>
      <a:dk2>
        <a:srgbClr val="D38B13"/>
      </a:dk2>
      <a:lt2>
        <a:srgbClr val="3E3E3E"/>
      </a:lt2>
      <a:accent1>
        <a:srgbClr val="FFCD76"/>
      </a:accent1>
      <a:accent2>
        <a:srgbClr val="FFFFFF"/>
      </a:accent2>
      <a:accent3>
        <a:srgbClr val="D38B13"/>
      </a:accent3>
      <a:accent4>
        <a:srgbClr val="3E3E3E"/>
      </a:accent4>
      <a:accent5>
        <a:srgbClr val="FFCD76"/>
      </a:accent5>
      <a:accent6>
        <a:srgbClr val="FFFFFF"/>
      </a:accent6>
      <a:hlink>
        <a:srgbClr val="FFCD76"/>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8248464-6923-4309-886e-eb9aa9140c69" xsi:nil="true"/>
    <lcf76f155ced4ddcb4097134ff3c332f xmlns="b1e039f1-2e54-4fee-9963-632c30d57e5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BCF731E1663974D92022F8E43001B87" ma:contentTypeVersion="11" ma:contentTypeDescription="Ein neues Dokument erstellen." ma:contentTypeScope="" ma:versionID="1b5978d9707d5908fcbbcb2c15a3235f">
  <xsd:schema xmlns:xsd="http://www.w3.org/2001/XMLSchema" xmlns:xs="http://www.w3.org/2001/XMLSchema" xmlns:p="http://schemas.microsoft.com/office/2006/metadata/properties" xmlns:ns2="b1e039f1-2e54-4fee-9963-632c30d57e5e" xmlns:ns3="b8248464-6923-4309-886e-eb9aa9140c69" targetNamespace="http://schemas.microsoft.com/office/2006/metadata/properties" ma:root="true" ma:fieldsID="2a21d23047d15014bfda081c37e054d2" ns2:_="" ns3:_="">
    <xsd:import namespace="b1e039f1-2e54-4fee-9963-632c30d57e5e"/>
    <xsd:import namespace="b8248464-6923-4309-886e-eb9aa9140c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e039f1-2e54-4fee-9963-632c30d57e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c6159e26-e387-4955-8c38-302e604e49c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248464-6923-4309-886e-eb9aa9140c6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a290407-9199-4b36-9d9e-73d559672ea6}" ma:internalName="TaxCatchAll" ma:showField="CatchAllData" ma:web="b8248464-6923-4309-886e-eb9aa9140c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842A3-F7E3-4AD6-8347-C3BB9C4C1632}">
  <ds:schemaRefs>
    <ds:schemaRef ds:uri="b1e039f1-2e54-4fee-9963-632c30d57e5e"/>
    <ds:schemaRef ds:uri="b8248464-6923-4309-886e-eb9aa9140c6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72B1110-8E32-4DAB-AD01-90181B9621A5}">
  <ds:schemaRefs>
    <ds:schemaRef ds:uri="b1e039f1-2e54-4fee-9963-632c30d57e5e"/>
    <ds:schemaRef ds:uri="b8248464-6923-4309-886e-eb9aa9140c6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7909A80-E032-472F-BFD5-AB585FE2CF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95</Slides>
  <Notes>72</Notes>
  <HiddenSlides>8</HiddenSlides>
  <ScaleCrop>false</ScaleCrop>
  <HeadingPairs>
    <vt:vector size="4" baseType="variant">
      <vt:variant>
        <vt:lpstr>Theme</vt:lpstr>
      </vt:variant>
      <vt:variant>
        <vt:i4>2</vt:i4>
      </vt:variant>
      <vt:variant>
        <vt:lpstr>Slide Titles</vt:lpstr>
      </vt:variant>
      <vt:variant>
        <vt:i4>95</vt:i4>
      </vt:variant>
    </vt:vector>
  </HeadingPairs>
  <TitlesOfParts>
    <vt:vector size="97" baseType="lpstr">
      <vt:lpstr>Management Consulting Toolkit by Slidesgo</vt:lpstr>
      <vt:lpstr>Slidesgo Final Pages</vt:lpstr>
      <vt:lpstr>AI Powered Quantum Chatbot</vt:lpstr>
      <vt:lpstr>Streamlit</vt:lpstr>
      <vt:lpstr>Streamlit </vt:lpstr>
      <vt:lpstr>PowerPoint Presentation</vt:lpstr>
      <vt:lpstr>Streamlit-Hosting</vt:lpstr>
      <vt:lpstr>React</vt:lpstr>
      <vt:lpstr>PowerPoint Presentation</vt:lpstr>
      <vt:lpstr>PyWebIO </vt:lpstr>
      <vt:lpstr>PowerPoint Presentation</vt:lpstr>
      <vt:lpstr>Anvil </vt:lpstr>
      <vt:lpstr>PowerPoint Presentation</vt:lpstr>
      <vt:lpstr>Gradio </vt:lpstr>
      <vt:lpstr>PowerPoint Presentation</vt:lpstr>
      <vt:lpstr>FlowiseAI </vt:lpstr>
      <vt:lpstr>PowerPoint Presentation</vt:lpstr>
      <vt:lpstr>PowerPoint Presentation</vt:lpstr>
      <vt:lpstr>Empfehlung</vt:lpstr>
      <vt:lpstr>Interaktionsmodalitäten</vt:lpstr>
      <vt:lpstr>Multimodale Interaktion </vt:lpstr>
      <vt:lpstr>Arten von Output</vt:lpstr>
      <vt:lpstr>Kommunikationsformate</vt:lpstr>
      <vt:lpstr>Output-Formatting - Prinzipien der Formatierung </vt:lpstr>
      <vt:lpstr>API Nutzung Python</vt:lpstr>
      <vt:lpstr>PowerPoint Presentation</vt:lpstr>
      <vt:lpstr>API Nutzung Postman</vt:lpstr>
      <vt:lpstr>API Nutzung Postman</vt:lpstr>
      <vt:lpstr>API Nutzung Postman</vt:lpstr>
      <vt:lpstr>Ausblick: LlAMAINDEX</vt:lpstr>
      <vt:lpstr>LlAMAINDEX</vt:lpstr>
      <vt:lpstr>LlAMAINDEX</vt:lpstr>
      <vt:lpstr>LlAMAINDEX - zusätzliche PDFs</vt:lpstr>
      <vt:lpstr>LlAMAINDEX – DCQO PDF</vt:lpstr>
      <vt:lpstr>LlAMAINDEX – umformulierte Frage</vt:lpstr>
      <vt:lpstr>Probleme</vt:lpstr>
      <vt:lpstr>Beispielhafte Cloud-Integration mit Azure</vt:lpstr>
      <vt:lpstr>Beispielhafte Cloud-Integration mit Azure</vt:lpstr>
      <vt:lpstr>Beispielhafte Cloud-Integration mit Azure</vt:lpstr>
      <vt:lpstr>Beispielhafte Cloud-Integration mit Azure</vt:lpstr>
      <vt:lpstr>Wesentliche Aspekte bei der Projektplanung </vt:lpstr>
      <vt:lpstr>Interaktionsmodalitäten</vt:lpstr>
      <vt:lpstr>Output-Formatting</vt:lpstr>
      <vt:lpstr>Output-Formatierungstechniken</vt:lpstr>
      <vt:lpstr>Formatierungstools</vt:lpstr>
      <vt:lpstr>Möglicher System PROMPT? Was sagt ihr?</vt:lpstr>
      <vt:lpstr>Table of Contents</vt:lpstr>
      <vt:lpstr>Our Company</vt:lpstr>
      <vt:lpstr>Solution</vt:lpstr>
      <vt:lpstr>The Problem</vt:lpstr>
      <vt:lpstr>Understanding the Problem </vt:lpstr>
      <vt:lpstr>Maturity Model</vt:lpstr>
      <vt:lpstr>The “Entering a New Market” Framework Includes 3 Components</vt:lpstr>
      <vt:lpstr>Business Roadmap</vt:lpstr>
      <vt:lpstr>SWOT</vt:lpstr>
      <vt:lpstr>Data Gathering Survey</vt:lpstr>
      <vt:lpstr>Financial Analysis</vt:lpstr>
      <vt:lpstr>Ansoff Growth Matrix</vt:lpstr>
      <vt:lpstr>Segmentation by Distribution</vt:lpstr>
      <vt:lpstr>Strategy Map</vt:lpstr>
      <vt:lpstr>Strategy Map</vt:lpstr>
      <vt:lpstr>Awesome Words</vt:lpstr>
      <vt:lpstr>Our Solution</vt:lpstr>
      <vt:lpstr>—Someone Famous</vt:lpstr>
      <vt:lpstr>PowerPoint Presentation</vt:lpstr>
      <vt:lpstr>5,600.00</vt:lpstr>
      <vt:lpstr>A picture always reinforces the concept</vt:lpstr>
      <vt:lpstr>Target</vt:lpstr>
      <vt:lpstr>Our Target</vt:lpstr>
      <vt:lpstr>55%</vt:lpstr>
      <vt:lpstr>Our Consultants</vt:lpstr>
      <vt:lpstr>Market Research</vt:lpstr>
      <vt:lpstr>Our Partners </vt:lpstr>
      <vt:lpstr>Testimonials </vt:lpstr>
      <vt:lpstr>Upcoming Goals</vt:lpstr>
      <vt:lpstr>Thanks</vt:lpstr>
      <vt:lpstr>Alternative Resources</vt:lpstr>
      <vt:lpstr>Resources</vt:lpstr>
      <vt:lpstr>Instructions for use (free users)</vt:lpstr>
      <vt:lpstr>Instructions for use (premium users)</vt:lpstr>
      <vt:lpstr>Fonts &amp; colors used</vt:lpstr>
      <vt:lpstr>PowerPoint Presentation</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Educational Icons</vt:lpstr>
      <vt:lpstr>Business Icons</vt:lpstr>
      <vt:lpstr>Help &amp; Support Icons</vt:lpstr>
      <vt:lpstr>Creative Process Icons</vt:lpstr>
      <vt:lpstr>PowerPoint Presentation</vt:lpstr>
      <vt:lpstr>SEO &amp; Marketing Ic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Powered Quantum Chatbot</dc:title>
  <dc:creator>Kayatas, Sinem (710)</dc:creator>
  <cp:revision>1</cp:revision>
  <dcterms:modified xsi:type="dcterms:W3CDTF">2025-01-13T11:4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CF731E1663974D92022F8E43001B87</vt:lpwstr>
  </property>
  <property fmtid="{D5CDD505-2E9C-101B-9397-08002B2CF9AE}" pid="3" name="MediaServiceImageTags">
    <vt:lpwstr/>
  </property>
</Properties>
</file>